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5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3">
  <p:sldMasterIdLst>
    <p:sldMasterId id="2147483931" r:id="rId1"/>
  </p:sldMasterIdLst>
  <p:notesMasterIdLst>
    <p:notesMasterId r:id="rId28"/>
  </p:notesMasterIdLst>
  <p:handoutMasterIdLst>
    <p:handoutMasterId r:id="rId29"/>
  </p:handoutMasterIdLst>
  <p:sldIdLst>
    <p:sldId id="666" r:id="rId2"/>
    <p:sldId id="637" r:id="rId3"/>
    <p:sldId id="704" r:id="rId4"/>
    <p:sldId id="709" r:id="rId5"/>
    <p:sldId id="703" r:id="rId6"/>
    <p:sldId id="721" r:id="rId7"/>
    <p:sldId id="711" r:id="rId8"/>
    <p:sldId id="712" r:id="rId9"/>
    <p:sldId id="713" r:id="rId10"/>
    <p:sldId id="714" r:id="rId11"/>
    <p:sldId id="732" r:id="rId12"/>
    <p:sldId id="717" r:id="rId13"/>
    <p:sldId id="718" r:id="rId14"/>
    <p:sldId id="726" r:id="rId15"/>
    <p:sldId id="723" r:id="rId16"/>
    <p:sldId id="728" r:id="rId17"/>
    <p:sldId id="724" r:id="rId18"/>
    <p:sldId id="731" r:id="rId19"/>
    <p:sldId id="730" r:id="rId20"/>
    <p:sldId id="719" r:id="rId21"/>
    <p:sldId id="725" r:id="rId22"/>
    <p:sldId id="729" r:id="rId23"/>
    <p:sldId id="722" r:id="rId24"/>
    <p:sldId id="720" r:id="rId25"/>
    <p:sldId id="701" r:id="rId26"/>
    <p:sldId id="715" r:id="rId27"/>
  </p:sldIdLst>
  <p:sldSz cx="9144000" cy="6858000" type="screen4x3"/>
  <p:notesSz cx="6794500" cy="99314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99">
          <p15:clr>
            <a:srgbClr val="A4A3A4"/>
          </p15:clr>
        </p15:guide>
        <p15:guide id="2" pos="3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Gemmer, Michael" initials="MG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F9F"/>
    <a:srgbClr val="00599D"/>
    <a:srgbClr val="FF9933"/>
    <a:srgbClr val="CC0099"/>
    <a:srgbClr val="1F15EB"/>
    <a:srgbClr val="FF00FF"/>
    <a:srgbClr val="2352BB"/>
    <a:srgbClr val="0033CC"/>
    <a:srgbClr val="0069B8"/>
    <a:srgbClr val="88B3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2205" autoAdjust="0"/>
    <p:restoredTop sz="96395" autoAdjust="0"/>
  </p:normalViewPr>
  <p:slideViewPr>
    <p:cSldViewPr snapToObjects="1">
      <p:cViewPr varScale="1">
        <p:scale>
          <a:sx n="163" d="100"/>
          <a:sy n="163" d="100"/>
        </p:scale>
        <p:origin x="804" y="120"/>
      </p:cViewPr>
      <p:guideLst>
        <p:guide orient="horz" pos="799"/>
        <p:guide pos="340"/>
      </p:guideLst>
    </p:cSldViewPr>
  </p:slideViewPr>
  <p:outlineViewPr>
    <p:cViewPr>
      <p:scale>
        <a:sx n="33" d="100"/>
        <a:sy n="33" d="100"/>
      </p:scale>
      <p:origin x="0" y="-756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>
      <p:cViewPr varScale="1">
        <p:scale>
          <a:sx n="116" d="100"/>
          <a:sy n="116" d="100"/>
        </p:scale>
        <p:origin x="-5208" y="-102"/>
      </p:cViewPr>
      <p:guideLst>
        <p:guide orient="horz" pos="3128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7"/>
            <a:ext cx="2945290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7628" y="7"/>
            <a:ext cx="2945290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2852"/>
            <a:ext cx="2945290" cy="496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7628" y="9432852"/>
            <a:ext cx="2945290" cy="496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63EF7E7F-48D8-4C89-8CED-1492A6348DFE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66096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7"/>
            <a:ext cx="2945290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7628" y="7"/>
            <a:ext cx="2945290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4950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5988" y="744538"/>
            <a:ext cx="4964112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927" y="4717223"/>
            <a:ext cx="5434646" cy="44695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Textmasterformate durch Klicken bearbeiten</a:t>
            </a:r>
          </a:p>
          <a:p>
            <a:pPr lvl="1"/>
            <a:r>
              <a:rPr lang="en-GB" noProof="0" smtClean="0"/>
              <a:t>Zweite Ebene</a:t>
            </a:r>
          </a:p>
          <a:p>
            <a:pPr lvl="2"/>
            <a:r>
              <a:rPr lang="en-GB" noProof="0" smtClean="0"/>
              <a:t>Dritte Ebene</a:t>
            </a:r>
          </a:p>
          <a:p>
            <a:pPr lvl="3"/>
            <a:r>
              <a:rPr lang="en-GB" noProof="0" smtClean="0"/>
              <a:t>Vierte Ebene</a:t>
            </a:r>
          </a:p>
          <a:p>
            <a:pPr lvl="4"/>
            <a:r>
              <a:rPr lang="en-GB" noProof="0" smtClean="0"/>
              <a:t>Fünfte Ebene</a:t>
            </a:r>
          </a:p>
        </p:txBody>
      </p:sp>
      <p:sp>
        <p:nvSpPr>
          <p:cNvPr id="819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2852"/>
            <a:ext cx="2945290" cy="496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19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7628" y="9432852"/>
            <a:ext cx="2945290" cy="496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5AD29E01-E7D8-4472-AC38-C56E84AF6052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7786707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fld id="{4508FDCD-D586-4D45-A0AB-9829436ED356}" type="slidenum">
              <a:rPr lang="en-GB" altLang="de-DE">
                <a:solidFill>
                  <a:prstClr val="black"/>
                </a:solidFill>
              </a:rPr>
              <a:pPr/>
              <a:t>1</a:t>
            </a:fld>
            <a:endParaRPr lang="en-GB" altLang="de-DE" dirty="0">
              <a:solidFill>
                <a:prstClr val="black"/>
              </a:solidFill>
            </a:endParaRPr>
          </a:p>
        </p:txBody>
      </p:sp>
      <p:sp>
        <p:nvSpPr>
          <p:cNvPr id="81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19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de-DE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0179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 altLang="de-DE" dirty="0"/>
          </a:p>
        </p:txBody>
      </p:sp>
      <p:sp>
        <p:nvSpPr>
          <p:cNvPr id="50180" name="Foliennummernplatzhalter 3"/>
          <p:cNvSpPr txBox="1">
            <a:spLocks noGrp="1"/>
          </p:cNvSpPr>
          <p:nvPr/>
        </p:nvSpPr>
        <p:spPr bwMode="auto">
          <a:xfrm>
            <a:off x="3848106" y="9433242"/>
            <a:ext cx="2944813" cy="4965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521" tIns="45761" rIns="91521" bIns="45761" anchor="b"/>
          <a:lstStyle>
            <a:lvl1pPr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1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72EE493C-6336-4EC0-A08B-DC4E2AA20E92}" type="slidenum">
              <a:rPr lang="de-DE" altLang="de-DE" sz="1200">
                <a:solidFill>
                  <a:srgbClr val="000000"/>
                </a:solidFill>
                <a:latin typeface="Arial" pitchFamily="34" charset="0"/>
              </a:rPr>
              <a:pPr algn="r" eaLnBrk="1" hangingPunct="1">
                <a:spcBef>
                  <a:spcPct val="0"/>
                </a:spcBef>
              </a:pPr>
              <a:t>3</a:t>
            </a:fld>
            <a:endParaRPr lang="de-DE" altLang="de-DE" sz="1200" dirty="0">
              <a:solidFill>
                <a:srgbClr val="00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51092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DC19142-5A66-4833-97CA-8E3F2253B20F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977279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DC19142-5A66-4833-97CA-8E3F2253B20F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601099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46491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DC19142-5A66-4833-97CA-8E3F2253B20F}" type="slidenum">
              <a:rPr lang="de-DE" smtClean="0"/>
              <a:pPr>
                <a:defRPr/>
              </a:pPr>
              <a:t>2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009761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png"/><Relationship Id="rId3" Type="http://schemas.openxmlformats.org/officeDocument/2006/relationships/image" Target="../media/image2.jpeg"/><Relationship Id="rId7" Type="http://schemas.openxmlformats.org/officeDocument/2006/relationships/image" Target="../media/image6.png"/><Relationship Id="rId12" Type="http://schemas.openxmlformats.org/officeDocument/2006/relationships/image" Target="../media/image11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11" Type="http://schemas.openxmlformats.org/officeDocument/2006/relationships/image" Target="../media/image10.jpeg"/><Relationship Id="rId5" Type="http://schemas.openxmlformats.org/officeDocument/2006/relationships/image" Target="../media/image4.png"/><Relationship Id="rId15" Type="http://schemas.openxmlformats.org/officeDocument/2006/relationships/image" Target="../media/image14.png"/><Relationship Id="rId10" Type="http://schemas.openxmlformats.org/officeDocument/2006/relationships/image" Target="../media/image9.png"/><Relationship Id="rId4" Type="http://schemas.openxmlformats.org/officeDocument/2006/relationships/image" Target="../media/image3.jpeg"/><Relationship Id="rId9" Type="http://schemas.openxmlformats.org/officeDocument/2006/relationships/image" Target="../media/image8.png"/><Relationship Id="rId14" Type="http://schemas.openxmlformats.org/officeDocument/2006/relationships/image" Target="../media/image1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76"/>
          <p:cNvSpPr>
            <a:spLocks noChangeShapeType="1"/>
          </p:cNvSpPr>
          <p:nvPr/>
        </p:nvSpPr>
        <p:spPr bwMode="auto">
          <a:xfrm>
            <a:off x="6048375" y="0"/>
            <a:ext cx="0" cy="1938338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hangingPunct="0"/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Line 75"/>
          <p:cNvSpPr>
            <a:spLocks noChangeShapeType="1"/>
          </p:cNvSpPr>
          <p:nvPr/>
        </p:nvSpPr>
        <p:spPr bwMode="auto">
          <a:xfrm>
            <a:off x="3082925" y="0"/>
            <a:ext cx="0" cy="1931988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hangingPunct="0"/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Rectangle 69"/>
          <p:cNvSpPr>
            <a:spLocks noChangeArrowheads="1"/>
          </p:cNvSpPr>
          <p:nvPr/>
        </p:nvSpPr>
        <p:spPr bwMode="auto">
          <a:xfrm>
            <a:off x="0" y="6035675"/>
            <a:ext cx="9144000" cy="84138"/>
          </a:xfrm>
          <a:prstGeom prst="rect">
            <a:avLst/>
          </a:prstGeom>
          <a:solidFill>
            <a:srgbClr val="FF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de-DE" alt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7" name="Rectangle 62"/>
          <p:cNvSpPr>
            <a:spLocks noChangeArrowheads="1"/>
          </p:cNvSpPr>
          <p:nvPr/>
        </p:nvSpPr>
        <p:spPr bwMode="auto">
          <a:xfrm>
            <a:off x="0" y="1919288"/>
            <a:ext cx="9144000" cy="4116387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endParaRPr lang="en-GB" alt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" name="Line 82"/>
          <p:cNvSpPr>
            <a:spLocks noChangeShapeType="1"/>
          </p:cNvSpPr>
          <p:nvPr/>
        </p:nvSpPr>
        <p:spPr bwMode="auto">
          <a:xfrm rot="16200000">
            <a:off x="4572000" y="-2633662"/>
            <a:ext cx="0" cy="914400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hangingPunct="0"/>
            <a:endParaRPr lang="de-DE">
              <a:solidFill>
                <a:srgbClr val="000000"/>
              </a:solidFill>
            </a:endParaRPr>
          </a:p>
        </p:txBody>
      </p:sp>
      <p:pic>
        <p:nvPicPr>
          <p:cNvPr id="9" name="Picture 90" descr="image00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58"/>
          <a:stretch>
            <a:fillRect/>
          </a:stretch>
        </p:blipFill>
        <p:spPr bwMode="auto">
          <a:xfrm>
            <a:off x="6064251" y="0"/>
            <a:ext cx="3095625" cy="1922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Line 76"/>
          <p:cNvSpPr>
            <a:spLocks noChangeShapeType="1"/>
          </p:cNvSpPr>
          <p:nvPr/>
        </p:nvSpPr>
        <p:spPr bwMode="auto">
          <a:xfrm>
            <a:off x="6056313" y="-15875"/>
            <a:ext cx="0" cy="1938338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hangingPunct="0"/>
            <a:endParaRPr lang="de-DE">
              <a:solidFill>
                <a:srgbClr val="000000"/>
              </a:solidFill>
            </a:endParaRPr>
          </a:p>
        </p:txBody>
      </p:sp>
      <p:sp>
        <p:nvSpPr>
          <p:cNvPr id="13" name="Line 75"/>
          <p:cNvSpPr>
            <a:spLocks noChangeShapeType="1"/>
          </p:cNvSpPr>
          <p:nvPr/>
        </p:nvSpPr>
        <p:spPr bwMode="auto">
          <a:xfrm>
            <a:off x="3090863" y="-15875"/>
            <a:ext cx="0" cy="1931988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hangingPunct="0"/>
            <a:endParaRPr lang="de-DE">
              <a:solidFill>
                <a:srgbClr val="000000"/>
              </a:solidFill>
            </a:endParaRPr>
          </a:p>
        </p:txBody>
      </p:sp>
      <p:sp>
        <p:nvSpPr>
          <p:cNvPr id="15" name="Line 82"/>
          <p:cNvSpPr>
            <a:spLocks noChangeShapeType="1"/>
          </p:cNvSpPr>
          <p:nvPr/>
        </p:nvSpPr>
        <p:spPr bwMode="auto">
          <a:xfrm rot="16200000">
            <a:off x="4579938" y="-2649537"/>
            <a:ext cx="0" cy="914400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eaLnBrk="0" hangingPunct="0"/>
            <a:endParaRPr lang="de-DE">
              <a:solidFill>
                <a:srgbClr val="000000"/>
              </a:solidFill>
            </a:endParaRPr>
          </a:p>
        </p:txBody>
      </p:sp>
      <p:pic>
        <p:nvPicPr>
          <p:cNvPr id="16" name="Picture 87" descr="FAIR_farb_RGB_3cm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5938" y="6142038"/>
            <a:ext cx="898525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" descr="FCAR3________L____4___ Kopie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342" r="2133" b="6625"/>
          <a:stretch/>
        </p:blipFill>
        <p:spPr bwMode="auto">
          <a:xfrm>
            <a:off x="3283025" y="0"/>
            <a:ext cx="3017168" cy="1903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 Box 47"/>
          <p:cNvSpPr txBox="1">
            <a:spLocks noChangeAspect="1" noChangeArrowheads="1"/>
          </p:cNvSpPr>
          <p:nvPr/>
        </p:nvSpPr>
        <p:spPr bwMode="auto">
          <a:xfrm>
            <a:off x="4413250" y="6575425"/>
            <a:ext cx="596900" cy="22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1275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412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41275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41275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41275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12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12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12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12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de-DE" sz="900">
                <a:solidFill>
                  <a:srgbClr val="000000"/>
                </a:solidFill>
              </a:rPr>
              <a:t>Sweden</a:t>
            </a:r>
          </a:p>
        </p:txBody>
      </p:sp>
      <p:sp>
        <p:nvSpPr>
          <p:cNvPr id="19" name="Text Box 20"/>
          <p:cNvSpPr txBox="1">
            <a:spLocks noChangeAspect="1" noChangeArrowheads="1"/>
          </p:cNvSpPr>
          <p:nvPr/>
        </p:nvSpPr>
        <p:spPr bwMode="auto">
          <a:xfrm>
            <a:off x="887413" y="6583363"/>
            <a:ext cx="53975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1275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412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41275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41275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41275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12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12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12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12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de-DE" sz="900">
                <a:solidFill>
                  <a:srgbClr val="000000"/>
                </a:solidFill>
              </a:rPr>
              <a:t>France</a:t>
            </a:r>
          </a:p>
        </p:txBody>
      </p:sp>
      <p:sp>
        <p:nvSpPr>
          <p:cNvPr id="20" name="Text Box 11"/>
          <p:cNvSpPr txBox="1">
            <a:spLocks noChangeAspect="1" noChangeArrowheads="1"/>
          </p:cNvSpPr>
          <p:nvPr/>
        </p:nvSpPr>
        <p:spPr bwMode="auto">
          <a:xfrm>
            <a:off x="1997075" y="6583363"/>
            <a:ext cx="431800" cy="227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1275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412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41275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41275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41275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12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12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12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12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de-DE" sz="900">
                <a:solidFill>
                  <a:srgbClr val="000000"/>
                </a:solidFill>
              </a:rPr>
              <a:t>India</a:t>
            </a:r>
          </a:p>
        </p:txBody>
      </p:sp>
      <p:pic>
        <p:nvPicPr>
          <p:cNvPr id="21" name="Picture 29"/>
          <p:cNvPicPr preferRelativeResize="0"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413" y="6345238"/>
            <a:ext cx="360362" cy="265112"/>
          </a:xfrm>
          <a:prstGeom prst="rect">
            <a:avLst/>
          </a:prstGeom>
          <a:noFill/>
          <a:ln w="9525" cap="rnd">
            <a:solidFill>
              <a:srgbClr val="000000"/>
            </a:solidFill>
            <a:prstDash val="sys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 Box 17"/>
          <p:cNvSpPr txBox="1">
            <a:spLocks noChangeAspect="1" noChangeArrowheads="1"/>
          </p:cNvSpPr>
          <p:nvPr/>
        </p:nvSpPr>
        <p:spPr bwMode="auto">
          <a:xfrm>
            <a:off x="412750" y="6581775"/>
            <a:ext cx="5588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1275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412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41275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41275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41275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12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12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12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12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de-DE" sz="900">
                <a:solidFill>
                  <a:srgbClr val="000000"/>
                </a:solidFill>
              </a:rPr>
              <a:t>Finland</a:t>
            </a:r>
          </a:p>
        </p:txBody>
      </p:sp>
      <p:pic>
        <p:nvPicPr>
          <p:cNvPr id="23" name="Picture 19"/>
          <p:cNvPicPr preferRelativeResize="0"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488" y="6345238"/>
            <a:ext cx="360362" cy="244475"/>
          </a:xfrm>
          <a:prstGeom prst="rect">
            <a:avLst/>
          </a:prstGeom>
          <a:noFill/>
          <a:ln w="9525" cap="rnd" algn="ctr">
            <a:solidFill>
              <a:srgbClr val="000000"/>
            </a:solidFill>
            <a:prstDash val="sys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2"/>
          <p:cNvPicPr preferRelativeResize="0"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2725" y="6345238"/>
            <a:ext cx="414338" cy="252412"/>
          </a:xfrm>
          <a:prstGeom prst="rect">
            <a:avLst/>
          </a:prstGeom>
          <a:noFill/>
          <a:ln w="9525" cap="rnd" algn="ctr">
            <a:solidFill>
              <a:srgbClr val="000000"/>
            </a:solidFill>
            <a:prstDash val="sys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 Box 23"/>
          <p:cNvSpPr txBox="1">
            <a:spLocks noChangeAspect="1" noChangeArrowheads="1"/>
          </p:cNvSpPr>
          <p:nvPr/>
        </p:nvSpPr>
        <p:spPr bwMode="auto">
          <a:xfrm>
            <a:off x="1354138" y="6583363"/>
            <a:ext cx="654050" cy="227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1275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412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41275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41275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41275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12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12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12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12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de-DE" sz="900">
                <a:solidFill>
                  <a:srgbClr val="000000"/>
                </a:solidFill>
              </a:rPr>
              <a:t>Germany</a:t>
            </a:r>
          </a:p>
        </p:txBody>
      </p:sp>
      <p:pic>
        <p:nvPicPr>
          <p:cNvPr id="26" name="Picture 34"/>
          <p:cNvPicPr preferRelativeResize="0"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2063" y="6357938"/>
            <a:ext cx="360362" cy="228600"/>
          </a:xfrm>
          <a:prstGeom prst="rect">
            <a:avLst/>
          </a:prstGeom>
          <a:noFill/>
          <a:ln w="9525" cap="rnd">
            <a:solidFill>
              <a:srgbClr val="000000"/>
            </a:solidFill>
            <a:prstDash val="sys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ext Box 35"/>
          <p:cNvSpPr txBox="1">
            <a:spLocks noChangeAspect="1" noChangeArrowheads="1"/>
          </p:cNvSpPr>
          <p:nvPr/>
        </p:nvSpPr>
        <p:spPr bwMode="auto">
          <a:xfrm>
            <a:off x="2438400" y="6583363"/>
            <a:ext cx="539750" cy="227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1275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412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41275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41275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41275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12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12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12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12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de-DE" sz="900">
                <a:solidFill>
                  <a:srgbClr val="000000"/>
                </a:solidFill>
              </a:rPr>
              <a:t>Poland</a:t>
            </a:r>
          </a:p>
        </p:txBody>
      </p:sp>
      <p:sp>
        <p:nvSpPr>
          <p:cNvPr id="28" name="Text Box 44"/>
          <p:cNvSpPr txBox="1">
            <a:spLocks noChangeAspect="1" noChangeArrowheads="1"/>
          </p:cNvSpPr>
          <p:nvPr/>
        </p:nvSpPr>
        <p:spPr bwMode="auto">
          <a:xfrm>
            <a:off x="5019675" y="6572250"/>
            <a:ext cx="377825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1275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412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41275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41275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41275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12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12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12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12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de-DE" sz="900">
                <a:solidFill>
                  <a:srgbClr val="000000"/>
                </a:solidFill>
              </a:rPr>
              <a:t>UK </a:t>
            </a:r>
          </a:p>
        </p:txBody>
      </p:sp>
      <p:pic>
        <p:nvPicPr>
          <p:cNvPr id="29" name="Picture 46"/>
          <p:cNvPicPr preferRelativeResize="0"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9613" y="6357938"/>
            <a:ext cx="360362" cy="228600"/>
          </a:xfrm>
          <a:prstGeom prst="rect">
            <a:avLst/>
          </a:prstGeom>
          <a:noFill/>
          <a:ln w="9525" cap="rnd" algn="ctr">
            <a:solidFill>
              <a:srgbClr val="000000"/>
            </a:solidFill>
            <a:prstDash val="sys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Text Box 50"/>
          <p:cNvSpPr txBox="1">
            <a:spLocks noChangeAspect="1" noChangeArrowheads="1"/>
          </p:cNvSpPr>
          <p:nvPr/>
        </p:nvSpPr>
        <p:spPr bwMode="auto">
          <a:xfrm>
            <a:off x="2925763" y="6583363"/>
            <a:ext cx="641350" cy="227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1275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412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41275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41275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41275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12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12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12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12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de-DE" sz="900">
                <a:solidFill>
                  <a:srgbClr val="000000"/>
                </a:solidFill>
              </a:rPr>
              <a:t>Romania</a:t>
            </a:r>
          </a:p>
        </p:txBody>
      </p:sp>
      <p:pic>
        <p:nvPicPr>
          <p:cNvPr id="31" name="Picture 52"/>
          <p:cNvPicPr preferRelativeResize="0"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2350" y="6357938"/>
            <a:ext cx="360363" cy="244475"/>
          </a:xfrm>
          <a:prstGeom prst="rect">
            <a:avLst/>
          </a:prstGeom>
          <a:noFill/>
          <a:ln w="9525" cap="rnd">
            <a:solidFill>
              <a:srgbClr val="000000"/>
            </a:solidFill>
            <a:prstDash val="sys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Text Box 53"/>
          <p:cNvSpPr txBox="1">
            <a:spLocks noChangeAspect="1" noChangeArrowheads="1"/>
          </p:cNvSpPr>
          <p:nvPr/>
        </p:nvSpPr>
        <p:spPr bwMode="auto">
          <a:xfrm>
            <a:off x="3470275" y="6581775"/>
            <a:ext cx="533400" cy="22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1275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412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41275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41275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41275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12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12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12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12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de-DE" sz="900">
                <a:solidFill>
                  <a:srgbClr val="000000"/>
                </a:solidFill>
              </a:rPr>
              <a:t>Russia</a:t>
            </a:r>
          </a:p>
        </p:txBody>
      </p:sp>
      <p:sp>
        <p:nvSpPr>
          <p:cNvPr id="33" name="Text Box 41"/>
          <p:cNvSpPr txBox="1">
            <a:spLocks noChangeAspect="1" noChangeArrowheads="1"/>
          </p:cNvSpPr>
          <p:nvPr/>
        </p:nvSpPr>
        <p:spPr bwMode="auto">
          <a:xfrm>
            <a:off x="3932238" y="6578600"/>
            <a:ext cx="622300" cy="22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1275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412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41275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41275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41275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12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12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12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127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de-DE" sz="900">
                <a:solidFill>
                  <a:srgbClr val="000000"/>
                </a:solidFill>
              </a:rPr>
              <a:t>Slovenia</a:t>
            </a:r>
          </a:p>
        </p:txBody>
      </p:sp>
      <p:pic>
        <p:nvPicPr>
          <p:cNvPr id="34" name="Picture 62" descr="slowenien-fahne-slowenia-flagge_0_g_60px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2413" y="6357938"/>
            <a:ext cx="360362" cy="239712"/>
          </a:xfrm>
          <a:prstGeom prst="rect">
            <a:avLst/>
          </a:prstGeom>
          <a:noFill/>
          <a:ln w="9525" cap="rnd">
            <a:solidFill>
              <a:schemeClr val="tx1"/>
            </a:solidFill>
            <a:prstDash val="sys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94" descr="romania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5938" y="6357938"/>
            <a:ext cx="360362" cy="241300"/>
          </a:xfrm>
          <a:prstGeom prst="rect">
            <a:avLst/>
          </a:prstGeom>
          <a:noFill/>
          <a:ln w="9525" cap="rnd">
            <a:solidFill>
              <a:schemeClr val="tx1"/>
            </a:solidFill>
            <a:prstDash val="sys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8"/>
          <p:cNvPicPr preferRelativeResize="0"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9675" y="6357938"/>
            <a:ext cx="360363" cy="241300"/>
          </a:xfrm>
          <a:prstGeom prst="rect">
            <a:avLst/>
          </a:prstGeom>
          <a:noFill/>
          <a:ln w="9525" cap="rnd" algn="ctr">
            <a:solidFill>
              <a:srgbClr val="000000"/>
            </a:solidFill>
            <a:prstDash val="sys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Grafik 29" descr="http://www.nationalflaggen.de/media/flags/flagge-indien.gif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6125" y="6357938"/>
            <a:ext cx="360363" cy="252412"/>
          </a:xfrm>
          <a:prstGeom prst="rect">
            <a:avLst/>
          </a:prstGeom>
          <a:noFill/>
          <a:ln w="9525">
            <a:solidFill>
              <a:schemeClr val="tx1"/>
            </a:solidFill>
            <a:prstDash val="sys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Bild 1" descr="FAIR_Fotomontage_2016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8" t="16222" r="-487" b="-2786"/>
          <a:stretch>
            <a:fillRect/>
          </a:stretch>
        </p:blipFill>
        <p:spPr bwMode="auto">
          <a:xfrm>
            <a:off x="-1" y="2331"/>
            <a:ext cx="3313113" cy="19709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03238" y="2419350"/>
            <a:ext cx="8064500" cy="1441450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03238" y="4124325"/>
            <a:ext cx="6127750" cy="1465263"/>
          </a:xfrm>
        </p:spPr>
        <p:txBody>
          <a:bodyPr anchor="b"/>
          <a:lstStyle>
            <a:lvl1pPr marL="0" indent="0">
              <a:defRPr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59952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b-NO" smtClean="0"/>
              <a:t>Harald Hagelskamp - Fair Exp. &amp; Acc. 14.12.2018</a:t>
            </a:r>
            <a:endParaRPr lang="de-DE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45B6828-12B1-4087-AD8A-C8CFF49D7AD5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7644678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742113" y="225425"/>
            <a:ext cx="2151062" cy="61563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287338" y="225425"/>
            <a:ext cx="6302375" cy="6156325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b-NO" smtClean="0"/>
              <a:t>Harald Hagelskamp - Fair Exp. &amp; Acc. 14.12.2018</a:t>
            </a:r>
            <a:endParaRPr lang="de-DE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7206634-924F-4D10-8FF5-D0E4438F92FA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814020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Inhaltsplatzhalter 2"/>
          <p:cNvSpPr>
            <a:spLocks noGrp="1"/>
          </p:cNvSpPr>
          <p:nvPr>
            <p:ph idx="1"/>
          </p:nvPr>
        </p:nvSpPr>
        <p:spPr>
          <a:xfrm>
            <a:off x="395536" y="1125538"/>
            <a:ext cx="4104457" cy="5256212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6" name="Inhaltsplatzhalter 2"/>
          <p:cNvSpPr>
            <a:spLocks noGrp="1"/>
          </p:cNvSpPr>
          <p:nvPr>
            <p:ph idx="12"/>
          </p:nvPr>
        </p:nvSpPr>
        <p:spPr>
          <a:xfrm>
            <a:off x="4572000" y="1125538"/>
            <a:ext cx="4104457" cy="5256212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3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b-NO" smtClean="0"/>
              <a:t>Harald Hagelskamp - Fair Exp. &amp; Acc. 14.12.2018</a:t>
            </a:r>
            <a:endParaRPr lang="de-DE" dirty="0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806D4C5-8A28-49C5-A521-37EA1E62BB4E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585964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39291316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b-NO" smtClean="0"/>
              <a:t>Harald Hagelskamp - Fair Exp. &amp; Acc. 14.12.2018</a:t>
            </a:r>
            <a:endParaRPr lang="de-DE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5F4DA67-991B-4EB5-9A21-73616E0AD689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3392751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none"/>
            </a:lvl1pPr>
          </a:lstStyle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55576" y="2636912"/>
            <a:ext cx="7772400" cy="1500187"/>
          </a:xfrm>
        </p:spPr>
        <p:txBody>
          <a:bodyPr anchor="b"/>
          <a:lstStyle>
            <a:lvl1pPr marL="0" indent="0">
              <a:buNone/>
              <a:defRPr sz="32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b-NO" smtClean="0"/>
              <a:t>Harald Hagelskamp - Fair Exp. &amp; Acc. 14.12.2018</a:t>
            </a:r>
            <a:endParaRPr lang="de-DE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CE51E22-3452-45F4-8CF2-571A1B757D52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6365059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287338" y="1125538"/>
            <a:ext cx="4225925" cy="52562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65663" y="1125538"/>
            <a:ext cx="4227512" cy="52562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b-NO" smtClean="0"/>
              <a:t>Harald Hagelskamp - Fair Exp. &amp; Acc. 14.12.2018</a:t>
            </a: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5FB0746-1158-4B46-97B5-C4921A67BB55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9676593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b-NO" smtClean="0"/>
              <a:t>Harald Hagelskamp - Fair Exp. &amp; Acc. 14.12.2018</a:t>
            </a:r>
            <a:endParaRPr lang="de-DE" dirty="0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7FD26B7-D7B4-4B18-8C07-3E986B2C8CE3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834410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b-NO" smtClean="0"/>
              <a:t>Harald Hagelskamp - Fair Exp. &amp; Acc. 14.12.2018</a:t>
            </a:r>
            <a:endParaRPr lang="de-DE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03DB117-FEA0-4D68-987C-531F4C53721B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9671828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b-NO" smtClean="0"/>
              <a:t>Harald Hagelskamp - Fair Exp. &amp; Acc. 14.12.2018</a:t>
            </a:r>
            <a:endParaRPr lang="de-DE" dirty="0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2DE2E47-4340-4BB9-B58C-5BC226AC72D8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0339917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b-NO" smtClean="0"/>
              <a:t>Harald Hagelskamp - Fair Exp. &amp; Acc. 14.12.2018</a:t>
            </a: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9047B6D-BA7C-4B40-9BD0-A0B51AD51B3A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2407065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de-DE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b-NO" smtClean="0"/>
              <a:t>Harald Hagelskamp - Fair Exp. &amp; Acc. 14.12.2018</a:t>
            </a: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1906D18-7BFB-4988-8CC7-16683522604D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5684085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87338" y="225425"/>
            <a:ext cx="8605837" cy="490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 smtClean="0"/>
              <a:t>Titelmasterformat durch Klicken bearbeiten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7338" y="1125538"/>
            <a:ext cx="8605837" cy="525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 smtClean="0"/>
              <a:t>Textmasterformate durch Klicken bearbeiten</a:t>
            </a:r>
          </a:p>
          <a:p>
            <a:pPr lvl="1"/>
            <a:r>
              <a:rPr lang="en-GB" altLang="de-DE" smtClean="0"/>
              <a:t>Zweite Ebene</a:t>
            </a:r>
          </a:p>
          <a:p>
            <a:pPr lvl="2"/>
            <a:r>
              <a:rPr lang="en-GB" altLang="de-DE" smtClean="0"/>
              <a:t>Dritte Ebene</a:t>
            </a:r>
          </a:p>
          <a:p>
            <a:pPr lvl="3"/>
            <a:r>
              <a:rPr lang="en-GB" altLang="de-DE" smtClean="0"/>
              <a:t>Vierte Ebene</a:t>
            </a:r>
          </a:p>
          <a:p>
            <a:pPr lvl="4"/>
            <a:r>
              <a:rPr lang="en-GB" altLang="de-DE" smtClean="0"/>
              <a:t>Fünfte Ebene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-36513" y="6607175"/>
            <a:ext cx="4392613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1200" smtClean="0">
                <a:solidFill>
                  <a:srgbClr val="00599D"/>
                </a:solidFill>
              </a:defRPr>
            </a:lvl1pPr>
          </a:lstStyle>
          <a:p>
            <a:pPr>
              <a:defRPr/>
            </a:pPr>
            <a:r>
              <a:rPr lang="nb-NO" smtClean="0"/>
              <a:t>Harald Hagelskamp - Fair Exp. &amp; Acc. 14.12.2018</a:t>
            </a:r>
            <a:endParaRPr lang="de-DE" dirty="0"/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16913" y="6607175"/>
            <a:ext cx="728662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00599D"/>
                </a:solidFill>
              </a:defRPr>
            </a:lvl1pPr>
          </a:lstStyle>
          <a:p>
            <a:fld id="{E422D1AD-2B9C-47AD-940D-BAF2E4A9A068}" type="slidenum">
              <a:rPr lang="de-DE" altLang="de-DE"/>
              <a:pPr/>
              <a:t>‹Nr.›</a:t>
            </a:fld>
            <a:endParaRPr lang="de-DE" altLang="de-DE"/>
          </a:p>
        </p:txBody>
      </p:sp>
      <p:sp>
        <p:nvSpPr>
          <p:cNvPr id="2054" name="Rectangle 8"/>
          <p:cNvSpPr>
            <a:spLocks noChangeArrowheads="1"/>
          </p:cNvSpPr>
          <p:nvPr/>
        </p:nvSpPr>
        <p:spPr bwMode="auto">
          <a:xfrm>
            <a:off x="4356100" y="6607175"/>
            <a:ext cx="1404938" cy="84138"/>
          </a:xfrm>
          <a:prstGeom prst="rect">
            <a:avLst/>
          </a:prstGeom>
          <a:solidFill>
            <a:srgbClr val="FF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de-DE" alt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55" name="Rectangle 9"/>
          <p:cNvSpPr>
            <a:spLocks noChangeArrowheads="1"/>
          </p:cNvSpPr>
          <p:nvPr/>
        </p:nvSpPr>
        <p:spPr bwMode="auto">
          <a:xfrm>
            <a:off x="5757863" y="6607175"/>
            <a:ext cx="1404937" cy="84138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de-DE" alt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56" name="Rectangle 10"/>
          <p:cNvSpPr>
            <a:spLocks noChangeArrowheads="1"/>
          </p:cNvSpPr>
          <p:nvPr/>
        </p:nvSpPr>
        <p:spPr bwMode="auto">
          <a:xfrm>
            <a:off x="7162800" y="6607175"/>
            <a:ext cx="1404938" cy="84138"/>
          </a:xfrm>
          <a:prstGeom prst="rect">
            <a:avLst/>
          </a:prstGeom>
          <a:solidFill>
            <a:srgbClr val="0033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de-DE" alt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57" name="Rectangle 11"/>
          <p:cNvSpPr>
            <a:spLocks noChangeArrowheads="1"/>
          </p:cNvSpPr>
          <p:nvPr/>
        </p:nvSpPr>
        <p:spPr bwMode="auto">
          <a:xfrm>
            <a:off x="0" y="6524625"/>
            <a:ext cx="9144000" cy="82550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de-DE" alt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58" name="Rectangle 12"/>
          <p:cNvSpPr>
            <a:spLocks noChangeArrowheads="1"/>
          </p:cNvSpPr>
          <p:nvPr/>
        </p:nvSpPr>
        <p:spPr bwMode="auto">
          <a:xfrm>
            <a:off x="5757863" y="6691313"/>
            <a:ext cx="2809875" cy="82550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de-DE" alt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59" name="Rectangle 13"/>
          <p:cNvSpPr>
            <a:spLocks noChangeArrowheads="1"/>
          </p:cNvSpPr>
          <p:nvPr/>
        </p:nvSpPr>
        <p:spPr bwMode="auto">
          <a:xfrm>
            <a:off x="4356100" y="6775450"/>
            <a:ext cx="1404938" cy="82550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de-DE" alt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60" name="Rectangle 14"/>
          <p:cNvSpPr>
            <a:spLocks noChangeArrowheads="1"/>
          </p:cNvSpPr>
          <p:nvPr/>
        </p:nvSpPr>
        <p:spPr bwMode="auto">
          <a:xfrm>
            <a:off x="0" y="873125"/>
            <a:ext cx="9144000" cy="82550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de-DE" altLang="de-DE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0491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2" r:id="rId1"/>
    <p:sldLayoutId id="2147483933" r:id="rId2"/>
    <p:sldLayoutId id="2147483934" r:id="rId3"/>
    <p:sldLayoutId id="2147483935" r:id="rId4"/>
    <p:sldLayoutId id="2147483936" r:id="rId5"/>
    <p:sldLayoutId id="2147483937" r:id="rId6"/>
    <p:sldLayoutId id="2147483938" r:id="rId7"/>
    <p:sldLayoutId id="2147483939" r:id="rId8"/>
    <p:sldLayoutId id="2147483940" r:id="rId9"/>
    <p:sldLayoutId id="2147483941" r:id="rId10"/>
    <p:sldLayoutId id="2147483942" r:id="rId11"/>
    <p:sldLayoutId id="2147483943" r:id="rId12"/>
    <p:sldLayoutId id="2147484003" r:id="rId13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rtl="0" fontAlgn="base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9pPr>
    </p:titleStyle>
    <p:bodyStyle>
      <a:lvl1pPr marL="85725" indent="-85725" algn="l" rtl="0" fontAlgn="base">
        <a:spcBef>
          <a:spcPct val="20000"/>
        </a:spcBef>
        <a:spcAft>
          <a:spcPct val="0"/>
        </a:spcAft>
        <a:buClr>
          <a:srgbClr val="0066CC"/>
        </a:buClr>
        <a:buFont typeface="Wingdings" pitchFamily="2" charset="2"/>
        <a:defRPr sz="2400">
          <a:solidFill>
            <a:srgbClr val="00599D"/>
          </a:solidFill>
          <a:latin typeface="+mn-lt"/>
          <a:ea typeface="+mn-ea"/>
          <a:cs typeface="+mn-cs"/>
        </a:defRPr>
      </a:lvl1pPr>
      <a:lvl2pPr marL="419100" indent="-266700" algn="l" rtl="0" fontAlgn="base">
        <a:spcBef>
          <a:spcPct val="20000"/>
        </a:spcBef>
        <a:spcAft>
          <a:spcPct val="0"/>
        </a:spcAft>
        <a:buClr>
          <a:srgbClr val="FF9900"/>
        </a:buClr>
        <a:buSzPct val="14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2pPr>
      <a:lvl3pPr marL="514350" indent="400050" algn="l" rtl="0" fontAlgn="base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</a:defRPr>
      </a:lvl3pPr>
      <a:lvl4pPr marL="714375" indent="-20638" algn="l" rtl="0" fontAlgn="base">
        <a:spcBef>
          <a:spcPct val="20000"/>
        </a:spcBef>
        <a:spcAft>
          <a:spcPct val="0"/>
        </a:spcAft>
        <a:defRPr sz="1600" i="1">
          <a:solidFill>
            <a:srgbClr val="990000"/>
          </a:solidFill>
          <a:latin typeface="+mn-lt"/>
        </a:defRPr>
      </a:lvl4pPr>
      <a:lvl5pPr marL="2143125" indent="-1247775" algn="l" rtl="0" fontAlgn="base">
        <a:spcBef>
          <a:spcPct val="20000"/>
        </a:spcBef>
        <a:spcAft>
          <a:spcPct val="0"/>
        </a:spcAft>
        <a:defRPr sz="1600">
          <a:solidFill>
            <a:srgbClr val="0066CC"/>
          </a:solidFill>
          <a:latin typeface="+mn-lt"/>
        </a:defRPr>
      </a:lvl5pPr>
      <a:lvl6pPr marL="2600325" indent="-1247775" algn="l" rtl="0" eaLnBrk="1" fontAlgn="base" hangingPunct="1">
        <a:spcBef>
          <a:spcPct val="20000"/>
        </a:spcBef>
        <a:spcAft>
          <a:spcPct val="0"/>
        </a:spcAft>
        <a:defRPr sz="1600">
          <a:solidFill>
            <a:srgbClr val="0066CC"/>
          </a:solidFill>
          <a:latin typeface="+mn-lt"/>
        </a:defRPr>
      </a:lvl6pPr>
      <a:lvl7pPr marL="3057525" indent="-1247775" algn="l" rtl="0" eaLnBrk="1" fontAlgn="base" hangingPunct="1">
        <a:spcBef>
          <a:spcPct val="20000"/>
        </a:spcBef>
        <a:spcAft>
          <a:spcPct val="0"/>
        </a:spcAft>
        <a:defRPr sz="1600">
          <a:solidFill>
            <a:srgbClr val="0066CC"/>
          </a:solidFill>
          <a:latin typeface="+mn-lt"/>
        </a:defRPr>
      </a:lvl7pPr>
      <a:lvl8pPr marL="3514725" indent="-1247775" algn="l" rtl="0" eaLnBrk="1" fontAlgn="base" hangingPunct="1">
        <a:spcBef>
          <a:spcPct val="20000"/>
        </a:spcBef>
        <a:spcAft>
          <a:spcPct val="0"/>
        </a:spcAft>
        <a:defRPr sz="1600">
          <a:solidFill>
            <a:srgbClr val="0066CC"/>
          </a:solidFill>
          <a:latin typeface="+mn-lt"/>
        </a:defRPr>
      </a:lvl8pPr>
      <a:lvl9pPr marL="3971925" indent="-1247775" algn="l" rtl="0" eaLnBrk="1" fontAlgn="base" hangingPunct="1">
        <a:spcBef>
          <a:spcPct val="20000"/>
        </a:spcBef>
        <a:spcAft>
          <a:spcPct val="0"/>
        </a:spcAft>
        <a:defRPr sz="1600">
          <a:solidFill>
            <a:srgbClr val="0066CC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12" Type="http://schemas.openxmlformats.org/officeDocument/2006/relationships/image" Target="../media/image36.emf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0.png"/><Relationship Id="rId11" Type="http://schemas.openxmlformats.org/officeDocument/2006/relationships/image" Target="../media/image35.png"/><Relationship Id="rId5" Type="http://schemas.openxmlformats.org/officeDocument/2006/relationships/image" Target="../media/image29.png"/><Relationship Id="rId10" Type="http://schemas.openxmlformats.org/officeDocument/2006/relationships/image" Target="../media/image34.png"/><Relationship Id="rId4" Type="http://schemas.openxmlformats.org/officeDocument/2006/relationships/image" Target="../media/image28.png"/><Relationship Id="rId9" Type="http://schemas.openxmlformats.org/officeDocument/2006/relationships/image" Target="../media/image3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42.jpeg"/><Relationship Id="rId7" Type="http://schemas.openxmlformats.org/officeDocument/2006/relationships/image" Target="../media/image46.pn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jpeg"/><Relationship Id="rId13" Type="http://schemas.openxmlformats.org/officeDocument/2006/relationships/image" Target="../media/image56.jpeg"/><Relationship Id="rId3" Type="http://schemas.openxmlformats.org/officeDocument/2006/relationships/tags" Target="../tags/tag4.xml"/><Relationship Id="rId7" Type="http://schemas.openxmlformats.org/officeDocument/2006/relationships/image" Target="../media/image17.emf"/><Relationship Id="rId12" Type="http://schemas.openxmlformats.org/officeDocument/2006/relationships/image" Target="../media/image55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54.jpe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53.jpeg"/><Relationship Id="rId4" Type="http://schemas.openxmlformats.org/officeDocument/2006/relationships/tags" Target="../tags/tag5.xml"/><Relationship Id="rId9" Type="http://schemas.openxmlformats.org/officeDocument/2006/relationships/image" Target="../media/image52.jpeg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7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8313" y="2349500"/>
            <a:ext cx="8640762" cy="1441450"/>
          </a:xfrm>
        </p:spPr>
        <p:txBody>
          <a:bodyPr/>
          <a:lstStyle/>
          <a:p>
            <a:pPr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GB" sz="2800" dirty="0" smtClean="0">
                <a:latin typeface="Calibri" panose="020F0502020204030204" pitchFamily="34" charset="0"/>
              </a:rPr>
              <a:t>FAIR Experiments &amp; Accelerator – 14</a:t>
            </a:r>
            <a:r>
              <a:rPr lang="en-GB" sz="2800" baseline="30000" dirty="0" smtClean="0">
                <a:latin typeface="Calibri" panose="020F0502020204030204" pitchFamily="34" charset="0"/>
              </a:rPr>
              <a:t>st</a:t>
            </a:r>
            <a:r>
              <a:rPr lang="en-GB" sz="2800" dirty="0" smtClean="0">
                <a:latin typeface="Calibri" panose="020F0502020204030204" pitchFamily="34" charset="0"/>
              </a:rPr>
              <a:t> Dec. </a:t>
            </a:r>
            <a:r>
              <a:rPr lang="en-GB" sz="2800" dirty="0">
                <a:latin typeface="Calibri" panose="020F0502020204030204" pitchFamily="34" charset="0"/>
              </a:rPr>
              <a:t>2018</a:t>
            </a:r>
            <a:r>
              <a:rPr lang="en-GB" altLang="de-DE" sz="2800" dirty="0" smtClean="0"/>
              <a:t/>
            </a:r>
            <a:br>
              <a:rPr lang="en-GB" altLang="de-DE" sz="2800" dirty="0" smtClean="0"/>
            </a:br>
            <a:r>
              <a:rPr lang="en-GB" sz="2800" b="1" dirty="0">
                <a:latin typeface="Calibri" panose="020F0502020204030204" pitchFamily="34" charset="0"/>
              </a:rPr>
              <a:t>FAIR </a:t>
            </a:r>
            <a:r>
              <a:rPr lang="en-GB" sz="2800" b="1" dirty="0" smtClean="0">
                <a:latin typeface="Calibri" panose="020F0502020204030204" pitchFamily="34" charset="0"/>
              </a:rPr>
              <a:t>– Construction &amp; Installation</a:t>
            </a:r>
            <a:endParaRPr lang="en-GB" altLang="de-DE" sz="2800" b="1" i="1" dirty="0" smtClean="0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8313" y="3789363"/>
            <a:ext cx="8316912" cy="2233612"/>
          </a:xfrm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en-GB" sz="2800" b="1" dirty="0" smtClean="0">
              <a:latin typeface="Calibri" panose="020F0502020204030204" pitchFamily="34" charset="0"/>
            </a:endParaRPr>
          </a:p>
          <a:p>
            <a:pPr eaLnBrk="1" hangingPunct="1">
              <a:lnSpc>
                <a:spcPct val="90000"/>
              </a:lnSpc>
            </a:pPr>
            <a:endParaRPr lang="en-GB" sz="2800" b="1" dirty="0">
              <a:latin typeface="Calibri" panose="020F0502020204030204" pitchFamily="34" charset="0"/>
            </a:endParaRPr>
          </a:p>
          <a:p>
            <a:pPr eaLnBrk="1" hangingPunct="1">
              <a:lnSpc>
                <a:spcPct val="90000"/>
              </a:lnSpc>
            </a:pPr>
            <a:r>
              <a:rPr lang="en-GB" sz="2800" b="1" dirty="0" smtClean="0">
                <a:latin typeface="Calibri" panose="020F0502020204030204" pitchFamily="34" charset="0"/>
              </a:rPr>
              <a:t>Harald Hagelskamp</a:t>
            </a:r>
            <a:endParaRPr lang="en-GB" sz="2800" b="1" i="1" dirty="0">
              <a:latin typeface="Calibri" panose="020F0502020204030204" pitchFamily="34" charset="0"/>
            </a:endParaRPr>
          </a:p>
          <a:p>
            <a:pPr eaLnBrk="1" hangingPunct="1">
              <a:lnSpc>
                <a:spcPct val="90000"/>
              </a:lnSpc>
            </a:pPr>
            <a:r>
              <a:rPr lang="en-US" sz="2800" i="1" dirty="0" smtClean="0">
                <a:latin typeface="Calibri" panose="020F0502020204030204" pitchFamily="34" charset="0"/>
              </a:rPr>
              <a:t>Site Manager</a:t>
            </a:r>
            <a:endParaRPr lang="en-US" sz="2800" i="1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04459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ieren 2"/>
          <p:cNvGrpSpPr/>
          <p:nvPr/>
        </p:nvGrpSpPr>
        <p:grpSpPr>
          <a:xfrm>
            <a:off x="111451" y="1052737"/>
            <a:ext cx="8830019" cy="5357563"/>
            <a:chOff x="111449" y="1052737"/>
            <a:chExt cx="8830019" cy="5357563"/>
          </a:xfrm>
        </p:grpSpPr>
        <p:sp>
          <p:nvSpPr>
            <p:cNvPr id="4" name="Rectangle 151"/>
            <p:cNvSpPr>
              <a:spLocks noChangeArrowheads="1"/>
            </p:cNvSpPr>
            <p:nvPr/>
          </p:nvSpPr>
          <p:spPr bwMode="gray">
            <a:xfrm>
              <a:off x="111451" y="1474081"/>
              <a:ext cx="8830017" cy="4936219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7D7D7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88000" tIns="0" rIns="0" bIns="0" anchor="ctr"/>
            <a:lstStyle/>
            <a:p>
              <a:pPr defTabSz="801688" eaLnBrk="0" hangingPunct="0">
                <a:defRPr/>
              </a:pPr>
              <a:endParaRPr lang="en-US" b="1" noProof="1">
                <a:solidFill>
                  <a:srgbClr val="000000"/>
                </a:solidFill>
                <a:ea typeface="ヒラギノ角ゴ ProN W3" charset="-128"/>
                <a:sym typeface="Arial" pitchFamily="34" charset="0"/>
              </a:endParaRPr>
            </a:p>
          </p:txBody>
        </p:sp>
        <p:sp>
          <p:nvSpPr>
            <p:cNvPr id="5" name="Rectangle 19"/>
            <p:cNvSpPr>
              <a:spLocks noChangeArrowheads="1"/>
            </p:cNvSpPr>
            <p:nvPr/>
          </p:nvSpPr>
          <p:spPr bwMode="gray">
            <a:xfrm>
              <a:off x="111449" y="1052737"/>
              <a:ext cx="8830017" cy="423211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7D7D7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88000" tIns="0" rIns="0" bIns="0" anchor="ctr"/>
            <a:lstStyle/>
            <a:p>
              <a:pPr defTabSz="801688" eaLnBrk="0" hangingPunct="0">
                <a:defRPr/>
              </a:pPr>
              <a:endParaRPr lang="en-US" sz="1600" b="1" noProof="1">
                <a:solidFill>
                  <a:srgbClr val="00599D"/>
                </a:solidFill>
                <a:latin typeface="Calibri" panose="020F0502020204030204" pitchFamily="34" charset="0"/>
                <a:sym typeface="Arial" pitchFamily="34" charset="0"/>
              </a:endParaRPr>
            </a:p>
          </p:txBody>
        </p:sp>
      </p:grpSp>
      <p:sp>
        <p:nvSpPr>
          <p:cNvPr id="6" name="Titel 1"/>
          <p:cNvSpPr txBox="1">
            <a:spLocks/>
          </p:cNvSpPr>
          <p:nvPr/>
        </p:nvSpPr>
        <p:spPr>
          <a:xfrm>
            <a:off x="287338" y="225425"/>
            <a:ext cx="8605837" cy="490538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9pPr>
          </a:lstStyle>
          <a:p>
            <a:r>
              <a:rPr lang="en-US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FAIR Project Progress – Civil Construction</a:t>
            </a:r>
            <a:br>
              <a:rPr lang="en-US" kern="0" dirty="0" smtClean="0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de-DE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Foliennummernplatzhalter 3"/>
          <p:cNvSpPr txBox="1">
            <a:spLocks/>
          </p:cNvSpPr>
          <p:nvPr/>
        </p:nvSpPr>
        <p:spPr bwMode="auto">
          <a:xfrm>
            <a:off x="8316913" y="6607175"/>
            <a:ext cx="728662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599D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B13E67DB-3F5A-400D-8115-4A6680BE68C1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  <p:sp>
        <p:nvSpPr>
          <p:cNvPr id="12" name="Rechteck 11"/>
          <p:cNvSpPr/>
          <p:nvPr/>
        </p:nvSpPr>
        <p:spPr>
          <a:xfrm>
            <a:off x="467544" y="1104749"/>
            <a:ext cx="534877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599D"/>
                </a:solidFill>
                <a:latin typeface="Calibri" panose="020F0502020204030204" pitchFamily="34" charset="0"/>
              </a:rPr>
              <a:t>Excavation Pit </a:t>
            </a:r>
            <a:r>
              <a:rPr lang="en-US" dirty="0" smtClean="0">
                <a:solidFill>
                  <a:srgbClr val="00599D"/>
                </a:solidFill>
                <a:latin typeface="Calibri" panose="020F0502020204030204" pitchFamily="34" charset="0"/>
              </a:rPr>
              <a:t>4 Area North – CBM Experiment Building</a:t>
            </a:r>
            <a:endParaRPr lang="de-DE" dirty="0">
              <a:solidFill>
                <a:srgbClr val="00599D"/>
              </a:solidFill>
              <a:latin typeface="Calibri" panose="020F0502020204030204" pitchFamily="34" charset="0"/>
            </a:endParaRPr>
          </a:p>
        </p:txBody>
      </p:sp>
      <p:sp>
        <p:nvSpPr>
          <p:cNvPr id="14" name="Fußzeilenplatzhalter 1"/>
          <p:cNvSpPr txBox="1">
            <a:spLocks/>
          </p:cNvSpPr>
          <p:nvPr/>
        </p:nvSpPr>
        <p:spPr>
          <a:xfrm>
            <a:off x="96034" y="6597352"/>
            <a:ext cx="4392613" cy="250825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nb-NO" sz="1200" dirty="0">
                <a:solidFill>
                  <a:srgbClr val="0070C0"/>
                </a:solidFill>
              </a:rPr>
              <a:t>Harald Hagelskamp - Fair Exp. &amp; Acc. 14.12.2018</a:t>
            </a:r>
            <a:endParaRPr lang="de-DE" sz="1200" dirty="0">
              <a:solidFill>
                <a:srgbClr val="0070C0"/>
              </a:solidFill>
            </a:endParaRPr>
          </a:p>
        </p:txBody>
      </p:sp>
      <p:pic>
        <p:nvPicPr>
          <p:cNvPr id="16" name="Grafik 1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5616" y="1661133"/>
            <a:ext cx="6602236" cy="4557391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Ellipse 1"/>
          <p:cNvSpPr/>
          <p:nvPr/>
        </p:nvSpPr>
        <p:spPr>
          <a:xfrm rot="1505044">
            <a:off x="5727496" y="2218802"/>
            <a:ext cx="1512168" cy="2592288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9526111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 txBox="1">
            <a:spLocks/>
          </p:cNvSpPr>
          <p:nvPr/>
        </p:nvSpPr>
        <p:spPr bwMode="auto">
          <a:xfrm>
            <a:off x="8316913" y="6607175"/>
            <a:ext cx="728662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599D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0ECB536F-118C-48DF-B346-38E5E90C7A54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2051720" y="3212976"/>
            <a:ext cx="536408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200" b="1" kern="0" dirty="0" smtClean="0">
                <a:solidFill>
                  <a:srgbClr val="00599D"/>
                </a:solidFill>
                <a:latin typeface="Calibri" panose="020F0502020204030204" pitchFamily="34" charset="0"/>
                <a:ea typeface="+mj-ea"/>
                <a:cs typeface="+mj-cs"/>
              </a:rPr>
              <a:t>Accelerator &amp; Experiment </a:t>
            </a:r>
            <a:r>
              <a:rPr lang="en-US" sz="3200" b="1" kern="0" dirty="0" smtClean="0">
                <a:solidFill>
                  <a:srgbClr val="00599D"/>
                </a:solidFill>
                <a:latin typeface="Calibri" panose="020F0502020204030204" pitchFamily="34" charset="0"/>
                <a:ea typeface="+mj-ea"/>
                <a:cs typeface="+mj-cs"/>
              </a:rPr>
              <a:t> Installation</a:t>
            </a:r>
            <a:endParaRPr lang="en-US" sz="3200" b="1" kern="0" dirty="0">
              <a:solidFill>
                <a:srgbClr val="00599D"/>
              </a:solidFill>
              <a:latin typeface="Calibri" panose="020F0502020204030204" pitchFamily="34" charset="0"/>
              <a:ea typeface="+mj-ea"/>
              <a:cs typeface="+mj-cs"/>
            </a:endParaRPr>
          </a:p>
        </p:txBody>
      </p:sp>
      <p:sp>
        <p:nvSpPr>
          <p:cNvPr id="6" name="Fußzeilenplatzhalter 1"/>
          <p:cNvSpPr txBox="1">
            <a:spLocks/>
          </p:cNvSpPr>
          <p:nvPr/>
        </p:nvSpPr>
        <p:spPr>
          <a:xfrm>
            <a:off x="-36513" y="6607175"/>
            <a:ext cx="4392613" cy="250825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nb-NO" sz="1200" dirty="0">
                <a:solidFill>
                  <a:srgbClr val="0070C0"/>
                </a:solidFill>
              </a:rPr>
              <a:t>Harald Hagelskamp - Fair Exp. &amp; Acc. 14.12.2018</a:t>
            </a:r>
            <a:endParaRPr lang="de-DE" sz="1200" dirty="0">
              <a:solidFill>
                <a:srgbClr val="0070C0"/>
              </a:solidFill>
            </a:endParaRPr>
          </a:p>
        </p:txBody>
      </p:sp>
      <p:sp>
        <p:nvSpPr>
          <p:cNvPr id="7" name="Titel 1"/>
          <p:cNvSpPr txBox="1">
            <a:spLocks/>
          </p:cNvSpPr>
          <p:nvPr/>
        </p:nvSpPr>
        <p:spPr>
          <a:xfrm>
            <a:off x="214635" y="154279"/>
            <a:ext cx="8605837" cy="532181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9pPr>
          </a:lstStyle>
          <a:p>
            <a:r>
              <a:rPr lang="en-US" kern="0" dirty="0" smtClean="0">
                <a:latin typeface="Calibri" panose="020F0502020204030204" pitchFamily="34" charset="0"/>
              </a:rPr>
              <a:t>FAIR </a:t>
            </a:r>
            <a:r>
              <a:rPr lang="de-DE" dirty="0"/>
              <a:t>Site Management </a:t>
            </a:r>
            <a:endParaRPr lang="en-US" kern="0" dirty="0" smtClean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934105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/>
        </p:nvSpPr>
        <p:spPr>
          <a:xfrm>
            <a:off x="362761" y="1052736"/>
            <a:ext cx="8235915" cy="479184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endParaRPr lang="en-US" sz="2000" dirty="0" smtClean="0">
              <a:solidFill>
                <a:srgbClr val="00599D"/>
              </a:solidFill>
              <a:latin typeface="Arial" pitchFamily="34" charset="0"/>
              <a:cs typeface="Arial" charset="0"/>
            </a:endParaRPr>
          </a:p>
          <a:p>
            <a:endParaRPr lang="en-US" sz="2000" dirty="0" smtClean="0">
              <a:solidFill>
                <a:srgbClr val="00599D"/>
              </a:solidFill>
              <a:latin typeface="Arial" pitchFamily="34" charset="0"/>
              <a:cs typeface="Arial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000" dirty="0" smtClean="0">
              <a:solidFill>
                <a:srgbClr val="00599D"/>
              </a:solidFill>
              <a:latin typeface="Arial" pitchFamily="34" charset="0"/>
              <a:cs typeface="Arial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000" dirty="0">
              <a:solidFill>
                <a:srgbClr val="00599D"/>
              </a:solidFill>
              <a:latin typeface="Arial" pitchFamily="34" charset="0"/>
              <a:cs typeface="Arial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000" dirty="0" smtClean="0">
              <a:solidFill>
                <a:srgbClr val="00599D"/>
              </a:solidFill>
              <a:latin typeface="Arial" pitchFamily="34" charset="0"/>
              <a:cs typeface="Arial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000" dirty="0">
              <a:solidFill>
                <a:srgbClr val="00599D"/>
              </a:solidFill>
              <a:latin typeface="Arial" pitchFamily="34" charset="0"/>
              <a:cs typeface="Arial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000" dirty="0" smtClean="0">
              <a:solidFill>
                <a:srgbClr val="00599D"/>
              </a:solidFill>
              <a:latin typeface="Arial" pitchFamily="34" charset="0"/>
              <a:cs typeface="Arial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000" dirty="0">
              <a:solidFill>
                <a:srgbClr val="00599D"/>
              </a:solidFill>
              <a:latin typeface="Arial" pitchFamily="34" charset="0"/>
              <a:cs typeface="Arial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000" dirty="0" smtClean="0">
              <a:solidFill>
                <a:srgbClr val="00599D"/>
              </a:solidFill>
              <a:latin typeface="Arial" pitchFamily="34" charset="0"/>
              <a:cs typeface="Arial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000" dirty="0">
              <a:solidFill>
                <a:srgbClr val="00599D"/>
              </a:solidFill>
              <a:latin typeface="Arial" pitchFamily="34" charset="0"/>
              <a:cs typeface="Arial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000" dirty="0" smtClean="0">
              <a:solidFill>
                <a:srgbClr val="00599D"/>
              </a:solidFill>
              <a:latin typeface="Arial" pitchFamily="34" charset="0"/>
              <a:cs typeface="Arial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000" dirty="0" smtClean="0">
              <a:solidFill>
                <a:srgbClr val="00599D"/>
              </a:solidFill>
              <a:latin typeface="Arial" pitchFamily="34" charset="0"/>
              <a:cs typeface="Arial" charset="0"/>
            </a:endParaRPr>
          </a:p>
          <a:p>
            <a:pPr algn="ctr"/>
            <a:endParaRPr lang="de-DE" sz="2000" dirty="0">
              <a:solidFill>
                <a:srgbClr val="00599D"/>
              </a:solidFill>
              <a:latin typeface="Arial" pitchFamily="34" charset="0"/>
              <a:cs typeface="Arial" charset="0"/>
            </a:endParaRPr>
          </a:p>
        </p:txBody>
      </p:sp>
      <p:sp>
        <p:nvSpPr>
          <p:cNvPr id="3" name="Titel 1"/>
          <p:cNvSpPr>
            <a:spLocks/>
          </p:cNvSpPr>
          <p:nvPr/>
        </p:nvSpPr>
        <p:spPr bwMode="auto">
          <a:xfrm>
            <a:off x="183698" y="158232"/>
            <a:ext cx="8605838" cy="490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 altLang="ru-RU" sz="2800" dirty="0" smtClean="0">
                <a:solidFill>
                  <a:srgbClr val="00599D"/>
                </a:solidFill>
              </a:rPr>
              <a:t>Site Management Organization</a:t>
            </a:r>
            <a:endParaRPr lang="en-US" altLang="ru-RU" sz="2800" dirty="0">
              <a:solidFill>
                <a:srgbClr val="00599D"/>
              </a:solidFill>
            </a:endParaRP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35896" y="5033361"/>
            <a:ext cx="4752950" cy="136226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6488" y="1268760"/>
            <a:ext cx="6264696" cy="3436460"/>
          </a:xfrm>
          <a:prstGeom prst="rect">
            <a:avLst/>
          </a:prstGeom>
        </p:spPr>
      </p:pic>
      <p:sp>
        <p:nvSpPr>
          <p:cNvPr id="10" name="Fußzeilenplatzhalt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nb-NO" smtClean="0"/>
              <a:t>Harald Hagelskamp - Fair Exp. &amp; Acc. 14.12.2018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31779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287337" y="134242"/>
            <a:ext cx="8605837" cy="715963"/>
          </a:xfrm>
        </p:spPr>
        <p:txBody>
          <a:bodyPr/>
          <a:lstStyle/>
          <a:p>
            <a:r>
              <a:rPr lang="de-DE" dirty="0" smtClean="0"/>
              <a:t>Site Management </a:t>
            </a:r>
            <a:br>
              <a:rPr lang="de-DE" dirty="0" smtClean="0"/>
            </a:br>
            <a:r>
              <a:rPr lang="de-DE" sz="2000" dirty="0"/>
              <a:t>I</a:t>
            </a:r>
            <a:r>
              <a:rPr lang="de-DE" sz="2000" dirty="0" smtClean="0"/>
              <a:t>nterface </a:t>
            </a:r>
            <a:r>
              <a:rPr lang="de-DE" sz="2000" dirty="0" err="1" smtClean="0"/>
              <a:t>Coordination</a:t>
            </a:r>
            <a:endParaRPr lang="de-DE" sz="2000" dirty="0"/>
          </a:p>
        </p:txBody>
      </p:sp>
      <p:sp>
        <p:nvSpPr>
          <p:cNvPr id="10" name="Textfeld 9"/>
          <p:cNvSpPr txBox="1"/>
          <p:nvPr/>
        </p:nvSpPr>
        <p:spPr>
          <a:xfrm>
            <a:off x="179513" y="1111686"/>
            <a:ext cx="8856984" cy="400110"/>
          </a:xfrm>
          <a:prstGeom prst="rect">
            <a:avLst/>
          </a:prstGeom>
          <a:solidFill>
            <a:schemeClr val="accent1"/>
          </a:solidFill>
          <a:ln w="15875"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pPr lvl="0" algn="ctr" eaLnBrk="0" hangingPunct="0">
              <a:spcBef>
                <a:spcPct val="20000"/>
              </a:spcBef>
              <a:buClr>
                <a:srgbClr val="0066CC"/>
              </a:buClr>
            </a:pPr>
            <a:r>
              <a:rPr lang="en-US" sz="2000" kern="0" dirty="0" smtClean="0">
                <a:solidFill>
                  <a:srgbClr val="00599D"/>
                </a:solidFill>
                <a:latin typeface="Arial"/>
                <a:cs typeface="+mn-cs"/>
              </a:rPr>
              <a:t>Civil</a:t>
            </a:r>
            <a:r>
              <a:rPr lang="en-US" sz="2000" kern="0" dirty="0" smtClean="0">
                <a:solidFill>
                  <a:srgbClr val="00599D"/>
                </a:solidFill>
                <a:latin typeface="Arial"/>
                <a:cs typeface="+mn-cs"/>
              </a:rPr>
              <a:t>, Technical Services and </a:t>
            </a:r>
            <a:r>
              <a:rPr lang="en-US" sz="2000" kern="0" dirty="0" smtClean="0">
                <a:solidFill>
                  <a:srgbClr val="00599D"/>
                </a:solidFill>
                <a:latin typeface="Arial"/>
                <a:cs typeface="+mn-cs"/>
              </a:rPr>
              <a:t>Acc. &amp; Exp.</a:t>
            </a:r>
            <a:endParaRPr lang="en-US" sz="2000" kern="0" dirty="0">
              <a:solidFill>
                <a:srgbClr val="00599D"/>
              </a:solidFill>
              <a:latin typeface="Arial"/>
              <a:cs typeface="+mn-cs"/>
            </a:endParaRP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nb-NO" dirty="0" smtClean="0"/>
              <a:t>Harald Hagelskamp - Fair Exp. &amp; Acc. 14.12.2018</a:t>
            </a:r>
            <a:endParaRPr lang="de-DE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536" y="1745748"/>
            <a:ext cx="6161993" cy="4564881"/>
          </a:xfrm>
          <a:prstGeom prst="rect">
            <a:avLst/>
          </a:prstGeom>
        </p:spPr>
      </p:pic>
      <p:sp>
        <p:nvSpPr>
          <p:cNvPr id="3" name="Textfeld 2"/>
          <p:cNvSpPr txBox="1"/>
          <p:nvPr/>
        </p:nvSpPr>
        <p:spPr>
          <a:xfrm>
            <a:off x="6804248" y="2848035"/>
            <a:ext cx="2184584" cy="1631216"/>
          </a:xfrm>
          <a:prstGeom prst="rect">
            <a:avLst/>
          </a:prstGeom>
          <a:solidFill>
            <a:schemeClr val="accent5">
              <a:lumMod val="90000"/>
            </a:schemeClr>
          </a:solidFill>
          <a:ln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2000" kern="0" dirty="0" err="1">
                <a:solidFill>
                  <a:srgbClr val="00599D"/>
                </a:solidFill>
                <a:latin typeface="Arial"/>
              </a:rPr>
              <a:t>Simultaneous</a:t>
            </a:r>
            <a:r>
              <a:rPr lang="de-DE" sz="2000" kern="0" dirty="0">
                <a:solidFill>
                  <a:srgbClr val="00599D"/>
                </a:solidFill>
                <a:latin typeface="Arial"/>
              </a:rPr>
              <a:t> Installation</a:t>
            </a:r>
          </a:p>
          <a:p>
            <a:pPr algn="ctr"/>
            <a:endParaRPr lang="de-DE" sz="2000" kern="0" dirty="0">
              <a:solidFill>
                <a:srgbClr val="00599D"/>
              </a:solidFill>
              <a:latin typeface="Arial"/>
            </a:endParaRPr>
          </a:p>
          <a:p>
            <a:pPr algn="ctr"/>
            <a:endParaRPr lang="de-DE" sz="2000" kern="0" dirty="0">
              <a:solidFill>
                <a:srgbClr val="00599D"/>
              </a:solidFill>
              <a:latin typeface="Arial"/>
            </a:endParaRPr>
          </a:p>
          <a:p>
            <a:pPr algn="ctr"/>
            <a:r>
              <a:rPr lang="de-DE" sz="2000" kern="0" dirty="0">
                <a:solidFill>
                  <a:srgbClr val="00599D"/>
                </a:solidFill>
                <a:latin typeface="Arial"/>
              </a:rPr>
              <a:t>2020 </a:t>
            </a:r>
            <a:r>
              <a:rPr lang="de-DE" sz="2000" kern="0" dirty="0" smtClean="0">
                <a:solidFill>
                  <a:srgbClr val="00599D"/>
                </a:solidFill>
                <a:latin typeface="Arial"/>
              </a:rPr>
              <a:t>- 2022 </a:t>
            </a:r>
            <a:endParaRPr lang="de-DE" sz="2000" kern="0" dirty="0">
              <a:solidFill>
                <a:srgbClr val="00599D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23849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/>
          <p:cNvSpPr>
            <a:spLocks/>
          </p:cNvSpPr>
          <p:nvPr/>
        </p:nvSpPr>
        <p:spPr bwMode="auto">
          <a:xfrm>
            <a:off x="323528" y="106954"/>
            <a:ext cx="8605838" cy="490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de-DE" sz="2800" kern="0" dirty="0">
                <a:solidFill>
                  <a:srgbClr val="00599D"/>
                </a:solidFill>
                <a:latin typeface="Arial"/>
                <a:ea typeface="+mj-ea"/>
                <a:cs typeface="+mj-cs"/>
              </a:rPr>
              <a:t>Site Management </a:t>
            </a:r>
            <a:br>
              <a:rPr lang="de-DE" sz="2800" kern="0" dirty="0">
                <a:solidFill>
                  <a:srgbClr val="00599D"/>
                </a:solidFill>
                <a:latin typeface="Arial"/>
                <a:ea typeface="+mj-ea"/>
                <a:cs typeface="+mj-cs"/>
              </a:rPr>
            </a:br>
            <a:r>
              <a:rPr lang="de-DE" sz="2000" kern="0" dirty="0">
                <a:solidFill>
                  <a:srgbClr val="00599D"/>
                </a:solidFill>
                <a:latin typeface="Arial"/>
                <a:ea typeface="+mj-ea"/>
                <a:cs typeface="+mj-cs"/>
              </a:rPr>
              <a:t>Interface </a:t>
            </a:r>
            <a:r>
              <a:rPr lang="de-DE" sz="2000" kern="0" dirty="0" err="1">
                <a:solidFill>
                  <a:srgbClr val="00599D"/>
                </a:solidFill>
                <a:latin typeface="Arial"/>
                <a:ea typeface="+mj-ea"/>
                <a:cs typeface="+mj-cs"/>
              </a:rPr>
              <a:t>Coordination</a:t>
            </a:r>
            <a:endParaRPr lang="en-US" altLang="ru-RU" sz="2800" dirty="0">
              <a:solidFill>
                <a:srgbClr val="00599D"/>
              </a:solidFill>
            </a:endParaRPr>
          </a:p>
        </p:txBody>
      </p:sp>
      <p:sp>
        <p:nvSpPr>
          <p:cNvPr id="7" name="Fußzeilenplatzhalter 1"/>
          <p:cNvSpPr>
            <a:spLocks noGrp="1"/>
          </p:cNvSpPr>
          <p:nvPr>
            <p:ph type="ftr" sz="quarter" idx="10"/>
          </p:nvPr>
        </p:nvSpPr>
        <p:spPr>
          <a:xfrm>
            <a:off x="-36513" y="6607175"/>
            <a:ext cx="4392613" cy="250825"/>
          </a:xfrm>
        </p:spPr>
        <p:txBody>
          <a:bodyPr/>
          <a:lstStyle/>
          <a:p>
            <a:pPr>
              <a:defRPr/>
            </a:pPr>
            <a:r>
              <a:rPr lang="nb-NO" dirty="0"/>
              <a:t>Harald Hagelskamp - Fair Exp. &amp; Acc. 14.12.2018</a:t>
            </a:r>
            <a:endParaRPr lang="de-DE" dirty="0"/>
          </a:p>
        </p:txBody>
      </p:sp>
      <p:sp>
        <p:nvSpPr>
          <p:cNvPr id="8" name="Textfeld 7"/>
          <p:cNvSpPr txBox="1"/>
          <p:nvPr/>
        </p:nvSpPr>
        <p:spPr>
          <a:xfrm>
            <a:off x="433694" y="955466"/>
            <a:ext cx="8235915" cy="338554"/>
          </a:xfrm>
          <a:prstGeom prst="rect">
            <a:avLst/>
          </a:prstGeom>
          <a:solidFill>
            <a:schemeClr val="accent1"/>
          </a:solidFill>
          <a:ln w="15875"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de-DE"/>
            </a:defPPr>
            <a:lvl1pPr lvl="0" algn="ctr" eaLnBrk="0" hangingPunct="0">
              <a:spcBef>
                <a:spcPct val="20000"/>
              </a:spcBef>
              <a:buClr>
                <a:srgbClr val="0066CC"/>
              </a:buClr>
              <a:defRPr sz="2000" kern="0">
                <a:solidFill>
                  <a:srgbClr val="00599D"/>
                </a:solidFill>
                <a:latin typeface="Arial"/>
              </a:defRPr>
            </a:lvl1pPr>
          </a:lstStyle>
          <a:p>
            <a:r>
              <a:rPr lang="de-DE" sz="1600" dirty="0" err="1" smtClean="0"/>
              <a:t>Simultaneous</a:t>
            </a:r>
            <a:r>
              <a:rPr lang="de-DE" sz="1600" dirty="0" smtClean="0"/>
              <a:t> Installation </a:t>
            </a:r>
            <a:r>
              <a:rPr lang="de-DE" sz="1600" dirty="0" err="1" smtClean="0"/>
              <a:t>of</a:t>
            </a:r>
            <a:r>
              <a:rPr lang="de-DE" sz="1600" dirty="0" smtClean="0"/>
              <a:t> Technical Services in Buildings </a:t>
            </a:r>
            <a:r>
              <a:rPr lang="de-DE" sz="1600" dirty="0" err="1" smtClean="0"/>
              <a:t>of</a:t>
            </a:r>
            <a:r>
              <a:rPr lang="de-DE" sz="1600" dirty="0" smtClean="0"/>
              <a:t> Area North</a:t>
            </a:r>
            <a:endParaRPr lang="de-DE" sz="1600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5710" y="1318691"/>
            <a:ext cx="7020779" cy="5089044"/>
          </a:xfrm>
          <a:prstGeom prst="rect">
            <a:avLst/>
          </a:prstGeom>
        </p:spPr>
      </p:pic>
      <p:sp>
        <p:nvSpPr>
          <p:cNvPr id="9" name="Textfeld 8"/>
          <p:cNvSpPr txBox="1"/>
          <p:nvPr/>
        </p:nvSpPr>
        <p:spPr>
          <a:xfrm>
            <a:off x="3806915" y="1318691"/>
            <a:ext cx="1440160" cy="184666"/>
          </a:xfrm>
          <a:prstGeom prst="rect">
            <a:avLst/>
          </a:prstGeom>
          <a:solidFill>
            <a:srgbClr val="FFC000"/>
          </a:solidFill>
          <a:ln w="15875"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600" b="1" dirty="0" smtClean="0"/>
              <a:t>2020</a:t>
            </a:r>
            <a:endParaRPr lang="de-DE" sz="600" b="1" dirty="0"/>
          </a:p>
        </p:txBody>
      </p:sp>
      <p:sp>
        <p:nvSpPr>
          <p:cNvPr id="10" name="Textfeld 9"/>
          <p:cNvSpPr txBox="1"/>
          <p:nvPr/>
        </p:nvSpPr>
        <p:spPr>
          <a:xfrm>
            <a:off x="5292080" y="1318691"/>
            <a:ext cx="1485165" cy="184666"/>
          </a:xfrm>
          <a:prstGeom prst="rect">
            <a:avLst/>
          </a:prstGeom>
          <a:solidFill>
            <a:srgbClr val="FFC000"/>
          </a:solidFill>
          <a:ln w="15875"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600" b="1" dirty="0" smtClean="0"/>
              <a:t>2021</a:t>
            </a:r>
            <a:endParaRPr lang="de-DE" sz="600" b="1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11493" y="1503356"/>
            <a:ext cx="742055" cy="763721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52583" y="2033985"/>
            <a:ext cx="1118722" cy="671233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65552" y="2663915"/>
            <a:ext cx="823796" cy="653462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69128" y="3328610"/>
            <a:ext cx="872307" cy="618697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98900" y="4047926"/>
            <a:ext cx="1513560" cy="407910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18563" y="3982139"/>
            <a:ext cx="773435" cy="565452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890333" y="5737099"/>
            <a:ext cx="822127" cy="630297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581890" y="4587541"/>
            <a:ext cx="1289776" cy="514727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657473" y="5215092"/>
            <a:ext cx="1057274" cy="433387"/>
          </a:xfrm>
          <a:prstGeom prst="rect">
            <a:avLst/>
          </a:prstGeom>
        </p:spPr>
      </p:pic>
      <p:pic>
        <p:nvPicPr>
          <p:cNvPr id="18" name="Grafik 17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84667" y="3573016"/>
            <a:ext cx="1839062" cy="2861805"/>
          </a:xfrm>
          <a:prstGeom prst="rect">
            <a:avLst/>
          </a:prstGeom>
          <a:effectLst>
            <a:outerShdw blurRad="50800" dist="38100" dir="2700000" sx="102000" sy="102000" algn="tl" rotWithShape="0">
              <a:prstClr val="black">
                <a:alpha val="21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80249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287337" y="134242"/>
            <a:ext cx="8605837" cy="715963"/>
          </a:xfrm>
        </p:spPr>
        <p:txBody>
          <a:bodyPr/>
          <a:lstStyle/>
          <a:p>
            <a:r>
              <a:rPr lang="de-DE" dirty="0" smtClean="0"/>
              <a:t>Site Management </a:t>
            </a:r>
            <a:br>
              <a:rPr lang="de-DE" dirty="0" smtClean="0"/>
            </a:br>
            <a:r>
              <a:rPr lang="de-DE" sz="2000" dirty="0"/>
              <a:t>I</a:t>
            </a:r>
            <a:r>
              <a:rPr lang="de-DE" sz="2000" dirty="0" smtClean="0"/>
              <a:t>nterface </a:t>
            </a:r>
            <a:r>
              <a:rPr lang="de-DE" sz="2000" dirty="0" err="1" smtClean="0"/>
              <a:t>Coordination</a:t>
            </a:r>
            <a:endParaRPr lang="de-DE" sz="2000" dirty="0"/>
          </a:p>
        </p:txBody>
      </p:sp>
      <p:sp>
        <p:nvSpPr>
          <p:cNvPr id="10" name="Textfeld 9"/>
          <p:cNvSpPr txBox="1"/>
          <p:nvPr/>
        </p:nvSpPr>
        <p:spPr>
          <a:xfrm>
            <a:off x="286507" y="1039679"/>
            <a:ext cx="8667963" cy="400110"/>
          </a:xfrm>
          <a:prstGeom prst="rect">
            <a:avLst/>
          </a:prstGeom>
          <a:solidFill>
            <a:schemeClr val="accent1"/>
          </a:solidFill>
          <a:ln w="15875"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pPr lvl="0" algn="ctr" eaLnBrk="0" hangingPunct="0">
              <a:spcBef>
                <a:spcPct val="20000"/>
              </a:spcBef>
              <a:buClr>
                <a:srgbClr val="0066CC"/>
              </a:buClr>
            </a:pPr>
            <a:r>
              <a:rPr lang="en-US" sz="2000" kern="0" dirty="0" smtClean="0">
                <a:solidFill>
                  <a:srgbClr val="00599D"/>
                </a:solidFill>
                <a:latin typeface="Arial"/>
                <a:cs typeface="+mn-cs"/>
              </a:rPr>
              <a:t>Lean Construction Management (LCM)</a:t>
            </a:r>
            <a:endParaRPr lang="en-US" sz="2000" kern="0" dirty="0">
              <a:solidFill>
                <a:srgbClr val="00599D"/>
              </a:solidFill>
              <a:latin typeface="Arial"/>
              <a:cs typeface="+mn-cs"/>
            </a:endParaRP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nb-NO" smtClean="0"/>
              <a:t>Harald Hagelskamp - Fair Exp. &amp; Acc. 14.12.2018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3105" y="1818287"/>
            <a:ext cx="8370079" cy="1146790"/>
          </a:xfrm>
          <a:prstGeom prst="rect">
            <a:avLst/>
          </a:prstGeom>
          <a:ln w="15875">
            <a:solidFill>
              <a:schemeClr val="accent6">
                <a:lumMod val="60000"/>
                <a:lumOff val="40000"/>
              </a:schemeClr>
            </a:solidFill>
          </a:ln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1165" y="3068960"/>
            <a:ext cx="8370079" cy="875376"/>
          </a:xfrm>
          <a:prstGeom prst="rect">
            <a:avLst/>
          </a:prstGeom>
          <a:ln w="15875">
            <a:solidFill>
              <a:schemeClr val="accent6">
                <a:lumMod val="60000"/>
                <a:lumOff val="40000"/>
              </a:schemeClr>
            </a:solidFill>
          </a:ln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5681" y="4144246"/>
            <a:ext cx="8365564" cy="882742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flipV="1">
            <a:off x="315681" y="5213976"/>
            <a:ext cx="8365564" cy="741205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5681" y="4123213"/>
            <a:ext cx="8365564" cy="882742"/>
          </a:xfrm>
          <a:prstGeom prst="rect">
            <a:avLst/>
          </a:prstGeom>
          <a:ln w="15875">
            <a:solidFill>
              <a:schemeClr val="accent6">
                <a:lumMod val="60000"/>
                <a:lumOff val="40000"/>
              </a:schemeClr>
            </a:solidFill>
          </a:ln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flipV="1">
            <a:off x="315681" y="5192943"/>
            <a:ext cx="8365564" cy="741205"/>
          </a:xfrm>
          <a:prstGeom prst="rect">
            <a:avLst/>
          </a:prstGeom>
          <a:ln w="15875">
            <a:solidFill>
              <a:schemeClr val="accent6">
                <a:lumMod val="60000"/>
                <a:lumOff val="40000"/>
              </a:schemeClr>
            </a:solidFill>
          </a:ln>
        </p:spPr>
      </p:pic>
      <p:sp>
        <p:nvSpPr>
          <p:cNvPr id="17" name="Textfeld 16"/>
          <p:cNvSpPr txBox="1"/>
          <p:nvPr/>
        </p:nvSpPr>
        <p:spPr>
          <a:xfrm>
            <a:off x="1331516" y="1484975"/>
            <a:ext cx="3384500" cy="30777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1400" b="1" dirty="0" smtClean="0"/>
              <a:t>2020</a:t>
            </a:r>
            <a:endParaRPr lang="de-DE" sz="1400" b="1" dirty="0"/>
          </a:p>
        </p:txBody>
      </p:sp>
      <p:sp>
        <p:nvSpPr>
          <p:cNvPr id="18" name="Textfeld 17"/>
          <p:cNvSpPr txBox="1"/>
          <p:nvPr/>
        </p:nvSpPr>
        <p:spPr>
          <a:xfrm>
            <a:off x="4716016" y="1486620"/>
            <a:ext cx="3888432" cy="30777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1400" b="1" dirty="0" smtClean="0"/>
              <a:t>2021</a:t>
            </a:r>
            <a:endParaRPr lang="de-DE" sz="1400" b="1" dirty="0"/>
          </a:p>
        </p:txBody>
      </p:sp>
      <p:sp>
        <p:nvSpPr>
          <p:cNvPr id="21" name="Rechteck 20"/>
          <p:cNvSpPr/>
          <p:nvPr/>
        </p:nvSpPr>
        <p:spPr>
          <a:xfrm>
            <a:off x="6516216" y="1841228"/>
            <a:ext cx="1728192" cy="4014340"/>
          </a:xfrm>
          <a:prstGeom prst="rect">
            <a:avLst/>
          </a:prstGeom>
          <a:solidFill>
            <a:srgbClr val="FF9F9F">
              <a:alpha val="19000"/>
            </a:srgb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Textfeld 21"/>
          <p:cNvSpPr txBox="1"/>
          <p:nvPr/>
        </p:nvSpPr>
        <p:spPr>
          <a:xfrm>
            <a:off x="6552220" y="2209118"/>
            <a:ext cx="1656184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sz="1000" b="1" dirty="0"/>
              <a:t>6</a:t>
            </a:r>
            <a:r>
              <a:rPr lang="de-DE" sz="1000" b="1" dirty="0" smtClean="0"/>
              <a:t> months overlap</a:t>
            </a:r>
          </a:p>
          <a:p>
            <a:pPr algn="ctr"/>
            <a:r>
              <a:rPr lang="de-DE" sz="1000" b="1" dirty="0" err="1" smtClean="0"/>
              <a:t>of</a:t>
            </a:r>
            <a:r>
              <a:rPr lang="de-DE" sz="1000" b="1" dirty="0" smtClean="0"/>
              <a:t> </a:t>
            </a:r>
            <a:r>
              <a:rPr lang="de-DE" sz="1000" b="1" dirty="0" err="1" smtClean="0"/>
              <a:t>minimum</a:t>
            </a:r>
            <a:r>
              <a:rPr lang="de-DE" sz="1000" b="1" dirty="0" smtClean="0"/>
              <a:t> 3 </a:t>
            </a:r>
            <a:r>
              <a:rPr lang="de-DE" sz="1000" b="1" dirty="0" err="1" smtClean="0"/>
              <a:t>sections</a:t>
            </a:r>
            <a:endParaRPr lang="de-DE" sz="1000" b="1" dirty="0"/>
          </a:p>
        </p:txBody>
      </p:sp>
    </p:spTree>
    <p:extLst>
      <p:ext uri="{BB962C8B-B14F-4D97-AF65-F5344CB8AC3E}">
        <p14:creationId xmlns:p14="http://schemas.microsoft.com/office/powerpoint/2010/main" val="417407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15" name="Gerade Verbindung 58"/>
          <p:cNvCxnSpPr/>
          <p:nvPr/>
        </p:nvCxnSpPr>
        <p:spPr>
          <a:xfrm>
            <a:off x="4537762" y="6366340"/>
            <a:ext cx="1" cy="50621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647" t="18823" r="2648" b="20654"/>
          <a:stretch/>
        </p:blipFill>
        <p:spPr>
          <a:xfrm>
            <a:off x="5020021" y="2329441"/>
            <a:ext cx="3628265" cy="2117441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5" t="34248" r="4511" b="2876"/>
          <a:stretch/>
        </p:blipFill>
        <p:spPr>
          <a:xfrm>
            <a:off x="395536" y="1844824"/>
            <a:ext cx="3888432" cy="2092341"/>
          </a:xfrm>
          <a:prstGeom prst="rect">
            <a:avLst/>
          </a:prstGeom>
        </p:spPr>
      </p:pic>
      <p:pic>
        <p:nvPicPr>
          <p:cNvPr id="27" name="Grafik 2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0363" y="4548816"/>
            <a:ext cx="878167" cy="704364"/>
          </a:xfrm>
          <a:prstGeom prst="rect">
            <a:avLst/>
          </a:prstGeom>
        </p:spPr>
      </p:pic>
      <p:pic>
        <p:nvPicPr>
          <p:cNvPr id="29" name="Grafik 2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67473" y="4844202"/>
            <a:ext cx="1823094" cy="742436"/>
          </a:xfrm>
          <a:prstGeom prst="rect">
            <a:avLst/>
          </a:prstGeom>
        </p:spPr>
      </p:pic>
      <p:sp>
        <p:nvSpPr>
          <p:cNvPr id="47" name="Text Box 143"/>
          <p:cNvSpPr txBox="1">
            <a:spLocks noChangeArrowheads="1"/>
          </p:cNvSpPr>
          <p:nvPr/>
        </p:nvSpPr>
        <p:spPr bwMode="gray">
          <a:xfrm>
            <a:off x="395536" y="4137702"/>
            <a:ext cx="1829347" cy="2242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defTabSz="6531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57" kern="0" noProof="1">
                <a:solidFill>
                  <a:schemeClr val="bg1">
                    <a:lumMod val="50000"/>
                  </a:schemeClr>
                </a:solidFill>
              </a:rPr>
              <a:t>(1) </a:t>
            </a:r>
            <a:r>
              <a:rPr lang="en-GB" sz="857" kern="0" noProof="1">
                <a:solidFill>
                  <a:prstClr val="black"/>
                </a:solidFill>
              </a:rPr>
              <a:t>Verständnis &amp; Gesamtprozess</a:t>
            </a:r>
          </a:p>
        </p:txBody>
      </p:sp>
      <p:sp>
        <p:nvSpPr>
          <p:cNvPr id="48" name="Text Box 144"/>
          <p:cNvSpPr txBox="1">
            <a:spLocks noChangeArrowheads="1"/>
          </p:cNvSpPr>
          <p:nvPr/>
        </p:nvSpPr>
        <p:spPr bwMode="gray">
          <a:xfrm>
            <a:off x="2242206" y="4534668"/>
            <a:ext cx="1135247" cy="2242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defTabSz="6531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57" kern="0" noProof="1">
                <a:solidFill>
                  <a:schemeClr val="bg1">
                    <a:lumMod val="50000"/>
                  </a:schemeClr>
                </a:solidFill>
              </a:rPr>
              <a:t>(2) </a:t>
            </a:r>
            <a:r>
              <a:rPr lang="en-GB" sz="857" kern="0" noProof="1">
                <a:solidFill>
                  <a:prstClr val="black"/>
                </a:solidFill>
              </a:rPr>
              <a:t>Prozessplanung</a:t>
            </a:r>
          </a:p>
        </p:txBody>
      </p:sp>
      <p:pic>
        <p:nvPicPr>
          <p:cNvPr id="33" name="Grafik 3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09852" y="5110697"/>
            <a:ext cx="1156379" cy="643349"/>
          </a:xfrm>
          <a:prstGeom prst="rect">
            <a:avLst/>
          </a:prstGeom>
        </p:spPr>
      </p:pic>
      <p:pic>
        <p:nvPicPr>
          <p:cNvPr id="34" name="Grafik 3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04114" y="5293235"/>
            <a:ext cx="1139058" cy="645466"/>
          </a:xfrm>
          <a:prstGeom prst="rect">
            <a:avLst/>
          </a:prstGeom>
        </p:spPr>
      </p:pic>
      <p:pic>
        <p:nvPicPr>
          <p:cNvPr id="35" name="Grafik 3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26263" y="5488129"/>
            <a:ext cx="1362161" cy="865462"/>
          </a:xfrm>
          <a:prstGeom prst="rect">
            <a:avLst/>
          </a:prstGeom>
        </p:spPr>
      </p:pic>
      <p:sp>
        <p:nvSpPr>
          <p:cNvPr id="55" name="Text Box 145"/>
          <p:cNvSpPr txBox="1">
            <a:spLocks noChangeArrowheads="1"/>
          </p:cNvSpPr>
          <p:nvPr/>
        </p:nvSpPr>
        <p:spPr bwMode="gray">
          <a:xfrm>
            <a:off x="3920371" y="4766419"/>
            <a:ext cx="1287532" cy="2242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defTabSz="6531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57" kern="0" noProof="1">
                <a:solidFill>
                  <a:schemeClr val="bg1">
                    <a:lumMod val="50000"/>
                  </a:schemeClr>
                </a:solidFill>
              </a:rPr>
              <a:t>(3) </a:t>
            </a:r>
            <a:r>
              <a:rPr lang="en-GB" sz="857" kern="0" noProof="1">
                <a:solidFill>
                  <a:prstClr val="black"/>
                </a:solidFill>
              </a:rPr>
              <a:t>6 Wochenvorschau</a:t>
            </a:r>
          </a:p>
        </p:txBody>
      </p:sp>
      <p:sp>
        <p:nvSpPr>
          <p:cNvPr id="56" name="Text Box 146"/>
          <p:cNvSpPr txBox="1">
            <a:spLocks noChangeArrowheads="1"/>
          </p:cNvSpPr>
          <p:nvPr/>
        </p:nvSpPr>
        <p:spPr bwMode="gray">
          <a:xfrm>
            <a:off x="5550599" y="5048944"/>
            <a:ext cx="1141659" cy="2242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defTabSz="6531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57" kern="0" noProof="1">
                <a:solidFill>
                  <a:schemeClr val="bg1">
                    <a:lumMod val="50000"/>
                  </a:schemeClr>
                </a:solidFill>
              </a:rPr>
              <a:t>(4) </a:t>
            </a:r>
            <a:r>
              <a:rPr lang="en-GB" sz="857" kern="0" noProof="1">
                <a:solidFill>
                  <a:prstClr val="black"/>
                </a:solidFill>
              </a:rPr>
              <a:t>Wochenplanung</a:t>
            </a:r>
          </a:p>
        </p:txBody>
      </p:sp>
      <p:sp>
        <p:nvSpPr>
          <p:cNvPr id="57" name="Text Box 146"/>
          <p:cNvSpPr txBox="1">
            <a:spLocks noChangeArrowheads="1"/>
          </p:cNvSpPr>
          <p:nvPr/>
        </p:nvSpPr>
        <p:spPr bwMode="gray">
          <a:xfrm>
            <a:off x="7187278" y="5225761"/>
            <a:ext cx="928459" cy="2242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defTabSz="6531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57" kern="0" noProof="1">
                <a:solidFill>
                  <a:schemeClr val="bg1">
                    <a:lumMod val="50000"/>
                  </a:schemeClr>
                </a:solidFill>
              </a:rPr>
              <a:t>(5) </a:t>
            </a:r>
            <a:r>
              <a:rPr lang="en-GB" sz="857" kern="0" noProof="1">
                <a:solidFill>
                  <a:prstClr val="black"/>
                </a:solidFill>
              </a:rPr>
              <a:t>Kennzahlen</a:t>
            </a:r>
          </a:p>
        </p:txBody>
      </p:sp>
      <p:sp>
        <p:nvSpPr>
          <p:cNvPr id="7" name="Bogen 6"/>
          <p:cNvSpPr/>
          <p:nvPr/>
        </p:nvSpPr>
        <p:spPr>
          <a:xfrm>
            <a:off x="1983356" y="4249816"/>
            <a:ext cx="428758" cy="628717"/>
          </a:xfrm>
          <a:prstGeom prst="arc">
            <a:avLst/>
          </a:prstGeom>
          <a:ln w="158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2" name="Bogen 31"/>
          <p:cNvSpPr/>
          <p:nvPr/>
        </p:nvSpPr>
        <p:spPr>
          <a:xfrm>
            <a:off x="2670965" y="4652253"/>
            <a:ext cx="1463708" cy="628717"/>
          </a:xfrm>
          <a:prstGeom prst="arc">
            <a:avLst>
              <a:gd name="adj1" fmla="val 16200000"/>
              <a:gd name="adj2" fmla="val 20722212"/>
            </a:avLst>
          </a:prstGeom>
          <a:ln w="158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" name="Bogen 35"/>
          <p:cNvSpPr/>
          <p:nvPr/>
        </p:nvSpPr>
        <p:spPr>
          <a:xfrm>
            <a:off x="4453958" y="4911402"/>
            <a:ext cx="1463708" cy="628717"/>
          </a:xfrm>
          <a:prstGeom prst="arc">
            <a:avLst>
              <a:gd name="adj1" fmla="val 16200000"/>
              <a:gd name="adj2" fmla="val 20722212"/>
            </a:avLst>
          </a:prstGeom>
          <a:ln w="158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7" name="Bogen 36"/>
          <p:cNvSpPr/>
          <p:nvPr/>
        </p:nvSpPr>
        <p:spPr>
          <a:xfrm>
            <a:off x="5911318" y="5154390"/>
            <a:ext cx="1463708" cy="628717"/>
          </a:xfrm>
          <a:prstGeom prst="arc">
            <a:avLst>
              <a:gd name="adj1" fmla="val 16200000"/>
              <a:gd name="adj2" fmla="val 20722212"/>
            </a:avLst>
          </a:prstGeom>
          <a:ln w="158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Titel 1"/>
          <p:cNvSpPr>
            <a:spLocks/>
          </p:cNvSpPr>
          <p:nvPr/>
        </p:nvSpPr>
        <p:spPr bwMode="auto">
          <a:xfrm>
            <a:off x="323528" y="106954"/>
            <a:ext cx="8605838" cy="490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de-DE" sz="2800" kern="0" dirty="0">
                <a:solidFill>
                  <a:srgbClr val="00599D"/>
                </a:solidFill>
                <a:latin typeface="Arial"/>
                <a:ea typeface="+mj-ea"/>
                <a:cs typeface="+mj-cs"/>
              </a:rPr>
              <a:t>Site Management </a:t>
            </a:r>
            <a:br>
              <a:rPr lang="de-DE" sz="2800" kern="0" dirty="0">
                <a:solidFill>
                  <a:srgbClr val="00599D"/>
                </a:solidFill>
                <a:latin typeface="Arial"/>
                <a:ea typeface="+mj-ea"/>
                <a:cs typeface="+mj-cs"/>
              </a:rPr>
            </a:br>
            <a:r>
              <a:rPr lang="de-DE" sz="2000" kern="0" dirty="0">
                <a:solidFill>
                  <a:srgbClr val="00599D"/>
                </a:solidFill>
                <a:latin typeface="Arial"/>
                <a:ea typeface="+mj-ea"/>
                <a:cs typeface="+mj-cs"/>
              </a:rPr>
              <a:t>Interface </a:t>
            </a:r>
            <a:r>
              <a:rPr lang="de-DE" sz="2000" kern="0" dirty="0" err="1">
                <a:solidFill>
                  <a:srgbClr val="00599D"/>
                </a:solidFill>
                <a:latin typeface="Arial"/>
                <a:ea typeface="+mj-ea"/>
                <a:cs typeface="+mj-cs"/>
              </a:rPr>
              <a:t>Coordination</a:t>
            </a:r>
            <a:endParaRPr lang="en-US" altLang="ru-RU" sz="2800" dirty="0">
              <a:solidFill>
                <a:srgbClr val="00599D"/>
              </a:solidFill>
            </a:endParaRPr>
          </a:p>
        </p:txBody>
      </p:sp>
      <p:sp>
        <p:nvSpPr>
          <p:cNvPr id="39" name="Textfeld 38"/>
          <p:cNvSpPr txBox="1"/>
          <p:nvPr/>
        </p:nvSpPr>
        <p:spPr>
          <a:xfrm>
            <a:off x="417634" y="1030459"/>
            <a:ext cx="8235915" cy="634020"/>
          </a:xfrm>
          <a:prstGeom prst="rect">
            <a:avLst/>
          </a:prstGeom>
          <a:solidFill>
            <a:schemeClr val="accent1"/>
          </a:solidFill>
          <a:ln w="15875"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>
            <a:defPPr>
              <a:defRPr lang="de-DE"/>
            </a:defPPr>
            <a:lvl1pPr lvl="0" algn="ctr" eaLnBrk="0" hangingPunct="0">
              <a:spcBef>
                <a:spcPct val="20000"/>
              </a:spcBef>
              <a:buClr>
                <a:srgbClr val="0066CC"/>
              </a:buClr>
              <a:defRPr sz="1600" kern="0">
                <a:solidFill>
                  <a:srgbClr val="00599D"/>
                </a:solidFill>
                <a:latin typeface="Arial"/>
              </a:defRPr>
            </a:lvl1pPr>
          </a:lstStyle>
          <a:p>
            <a:r>
              <a:rPr lang="de-DE" dirty="0"/>
              <a:t>Lean Construction Management Tool (LCM)</a:t>
            </a:r>
          </a:p>
          <a:p>
            <a:r>
              <a:rPr lang="de-DE" dirty="0" smtClean="0"/>
              <a:t>Team </a:t>
            </a:r>
            <a:r>
              <a:rPr lang="de-DE" dirty="0" err="1" smtClean="0"/>
              <a:t>Effor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82898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/>
          <p:cNvSpPr>
            <a:spLocks noGrp="1"/>
          </p:cNvSpPr>
          <p:nvPr>
            <p:ph idx="1"/>
          </p:nvPr>
        </p:nvSpPr>
        <p:spPr>
          <a:xfrm>
            <a:off x="317571" y="1556792"/>
            <a:ext cx="8605837" cy="2160240"/>
          </a:xfrm>
        </p:spPr>
        <p:txBody>
          <a:bodyPr/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The Installation </a:t>
            </a:r>
            <a:r>
              <a:rPr lang="de-DE" sz="1200" dirty="0" err="1"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dirty="0" err="1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dirty="0" err="1"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clerator</a:t>
            </a: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omponents 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will </a:t>
            </a:r>
            <a:r>
              <a:rPr lang="de-DE" sz="1200" dirty="0" err="1">
                <a:latin typeface="Arial" panose="020B0604020202020204" pitchFamily="34" charset="0"/>
                <a:cs typeface="Arial" panose="020B0604020202020204" pitchFamily="34" charset="0"/>
              </a:rPr>
              <a:t>take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dirty="0" err="1">
                <a:latin typeface="Arial" panose="020B0604020202020204" pitchFamily="34" charset="0"/>
                <a:cs typeface="Arial" panose="020B0604020202020204" pitchFamily="34" charset="0"/>
              </a:rPr>
              <a:t>place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b="1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imultaneously</a:t>
            </a:r>
            <a:r>
              <a:rPr lang="de-DE" sz="12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b="1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de-DE" sz="12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b="1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interactively</a:t>
            </a:r>
            <a:r>
              <a:rPr lang="de-DE" sz="12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dirty="0" err="1">
                <a:latin typeface="Arial" panose="020B0604020202020204" pitchFamily="34" charset="0"/>
                <a:cs typeface="Arial" panose="020B0604020202020204" pitchFamily="34" charset="0"/>
              </a:rPr>
              <a:t>with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dirty="0" err="1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dirty="0" err="1">
                <a:latin typeface="Arial" panose="020B0604020202020204" pitchFamily="34" charset="0"/>
                <a:cs typeface="Arial" panose="020B0604020202020204" pitchFamily="34" charset="0"/>
              </a:rPr>
              <a:t>installation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dirty="0" err="1"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dirty="0" err="1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 B</a:t>
            </a: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uilding Technology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Equipment.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b="1" i="1" dirty="0">
                <a:latin typeface="Arial" panose="020B0604020202020204" pitchFamily="34" charset="0"/>
                <a:cs typeface="Arial" panose="020B0604020202020204" pitchFamily="34" charset="0"/>
              </a:rPr>
              <a:t>LCM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was 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elected</a:t>
            </a: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s</a:t>
            </a: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de-DE" sz="1200" b="1" i="1" dirty="0" err="1"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  <a:r>
              <a:rPr lang="de-DE" sz="1200" b="1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rocess</a:t>
            </a:r>
            <a:r>
              <a:rPr lang="de-DE" sz="12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b="1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oordination</a:t>
            </a:r>
            <a:r>
              <a:rPr lang="de-DE" sz="12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 Tool 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manage all 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nterfaces 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uring</a:t>
            </a: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imultaneous</a:t>
            </a: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Installation 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Building Technology Services 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ccelerator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Experiment System Components.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de-DE" sz="1200" b="1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trategy</a:t>
            </a:r>
            <a:r>
              <a:rPr lang="de-DE" sz="12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 Plan </a:t>
            </a: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was 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eveloped</a:t>
            </a: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ensure</a:t>
            </a: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a 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oordinated</a:t>
            </a: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upply, </a:t>
            </a:r>
            <a:r>
              <a:rPr lang="de-DE" sz="1200" dirty="0" err="1"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elivery</a:t>
            </a: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nstallation 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all 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ccelerator</a:t>
            </a: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Experiment Components.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An </a:t>
            </a:r>
            <a:r>
              <a:rPr lang="de-DE" sz="12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Installation Team </a:t>
            </a: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was 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established</a:t>
            </a: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ensure</a:t>
            </a: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uccessful</a:t>
            </a: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Implementation 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b="1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trategy</a:t>
            </a:r>
            <a:r>
              <a:rPr lang="de-DE" sz="12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 Plan</a:t>
            </a:r>
            <a:r>
              <a:rPr lang="de-DE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sz="1600" dirty="0"/>
          </a:p>
          <a:p>
            <a:pPr marL="333375" lvl="1" indent="0">
              <a:buNone/>
            </a:pPr>
            <a:endParaRPr lang="de-DE" sz="1600" b="1" dirty="0"/>
          </a:p>
          <a:p>
            <a:pPr marL="333375" lvl="1" indent="0">
              <a:buNone/>
            </a:pPr>
            <a:r>
              <a:rPr lang="de-DE" sz="2000" b="1" dirty="0" smtClean="0"/>
              <a:t>					</a:t>
            </a:r>
            <a:endParaRPr lang="de-DE" sz="2000" b="1" u="sng" dirty="0"/>
          </a:p>
          <a:p>
            <a:pPr marL="0" indent="0"/>
            <a:endParaRPr lang="de-DE" dirty="0"/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287337" y="134242"/>
            <a:ext cx="8605837" cy="715963"/>
          </a:xfrm>
        </p:spPr>
        <p:txBody>
          <a:bodyPr/>
          <a:lstStyle/>
          <a:p>
            <a:r>
              <a:rPr lang="de-DE" dirty="0" smtClean="0"/>
              <a:t>Site Management </a:t>
            </a:r>
            <a:br>
              <a:rPr lang="de-DE" dirty="0" smtClean="0"/>
            </a:br>
            <a:r>
              <a:rPr lang="de-DE" sz="2000" dirty="0"/>
              <a:t>I</a:t>
            </a:r>
            <a:r>
              <a:rPr lang="de-DE" sz="2000" dirty="0" smtClean="0"/>
              <a:t>nterface </a:t>
            </a:r>
            <a:r>
              <a:rPr lang="de-DE" sz="2000" dirty="0" err="1" smtClean="0"/>
              <a:t>Coordination</a:t>
            </a:r>
            <a:endParaRPr lang="de-DE" sz="2000" dirty="0"/>
          </a:p>
        </p:txBody>
      </p:sp>
      <p:sp>
        <p:nvSpPr>
          <p:cNvPr id="10" name="Textfeld 9"/>
          <p:cNvSpPr txBox="1"/>
          <p:nvPr/>
        </p:nvSpPr>
        <p:spPr>
          <a:xfrm>
            <a:off x="286507" y="1111686"/>
            <a:ext cx="8667963" cy="400110"/>
          </a:xfrm>
          <a:prstGeom prst="rect">
            <a:avLst/>
          </a:prstGeom>
          <a:solidFill>
            <a:schemeClr val="accent1"/>
          </a:solidFill>
          <a:ln w="15875"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pPr lvl="0" algn="ctr" eaLnBrk="0" hangingPunct="0">
              <a:spcBef>
                <a:spcPct val="20000"/>
              </a:spcBef>
              <a:buClr>
                <a:srgbClr val="0066CC"/>
              </a:buClr>
            </a:pPr>
            <a:r>
              <a:rPr lang="en-US" sz="2000" kern="0" dirty="0" smtClean="0">
                <a:solidFill>
                  <a:srgbClr val="00599D"/>
                </a:solidFill>
                <a:latin typeface="Arial"/>
                <a:cs typeface="+mn-cs"/>
              </a:rPr>
              <a:t>Lean Construction Management (LCM)</a:t>
            </a:r>
            <a:endParaRPr lang="en-US" sz="2000" kern="0" dirty="0">
              <a:solidFill>
                <a:srgbClr val="00599D"/>
              </a:solidFill>
              <a:latin typeface="Arial"/>
              <a:cs typeface="+mn-cs"/>
            </a:endParaRPr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nb-NO" smtClean="0"/>
              <a:t>Harald Hagelskamp - Fair Exp. &amp; Acc. 14.12.2018</a:t>
            </a:r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4979" y="3725889"/>
            <a:ext cx="8059193" cy="2693901"/>
          </a:xfrm>
          <a:prstGeom prst="rect">
            <a:avLst/>
          </a:prstGeom>
        </p:spPr>
      </p:pic>
      <p:sp>
        <p:nvSpPr>
          <p:cNvPr id="11" name="Ellipse 10"/>
          <p:cNvSpPr/>
          <p:nvPr/>
        </p:nvSpPr>
        <p:spPr>
          <a:xfrm>
            <a:off x="2675798" y="3941927"/>
            <a:ext cx="450050" cy="189007"/>
          </a:xfrm>
          <a:prstGeom prst="ellipse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Ellipse 12"/>
          <p:cNvSpPr/>
          <p:nvPr/>
        </p:nvSpPr>
        <p:spPr>
          <a:xfrm>
            <a:off x="1850779" y="6091978"/>
            <a:ext cx="450050" cy="189007"/>
          </a:xfrm>
          <a:prstGeom prst="ellipse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Ellipse 13"/>
          <p:cNvSpPr/>
          <p:nvPr/>
        </p:nvSpPr>
        <p:spPr>
          <a:xfrm>
            <a:off x="3170853" y="4816790"/>
            <a:ext cx="450050" cy="189007"/>
          </a:xfrm>
          <a:prstGeom prst="ellipse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Ellipse 14"/>
          <p:cNvSpPr/>
          <p:nvPr/>
        </p:nvSpPr>
        <p:spPr>
          <a:xfrm>
            <a:off x="4079549" y="4741910"/>
            <a:ext cx="450050" cy="189007"/>
          </a:xfrm>
          <a:prstGeom prst="ellipse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Ellipse 15"/>
          <p:cNvSpPr/>
          <p:nvPr/>
        </p:nvSpPr>
        <p:spPr>
          <a:xfrm>
            <a:off x="3900058" y="5946938"/>
            <a:ext cx="1320014" cy="189007"/>
          </a:xfrm>
          <a:prstGeom prst="ellipse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7379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7528" y="116632"/>
            <a:ext cx="8605837" cy="490538"/>
          </a:xfrm>
        </p:spPr>
        <p:txBody>
          <a:bodyPr/>
          <a:lstStyle/>
          <a:p>
            <a:r>
              <a:rPr lang="de-DE" dirty="0" smtClean="0"/>
              <a:t>Site Management</a:t>
            </a:r>
            <a:br>
              <a:rPr lang="de-DE" dirty="0" smtClean="0"/>
            </a:br>
            <a:r>
              <a:rPr lang="de-DE" sz="2000" dirty="0" smtClean="0"/>
              <a:t>Installation Team</a:t>
            </a:r>
            <a:endParaRPr lang="de-DE" sz="2000" dirty="0"/>
          </a:p>
        </p:txBody>
      </p:sp>
      <p:sp>
        <p:nvSpPr>
          <p:cNvPr id="6" name="Inhaltsplatzhalter 2"/>
          <p:cNvSpPr>
            <a:spLocks noGrp="1"/>
          </p:cNvSpPr>
          <p:nvPr>
            <p:ph idx="1"/>
          </p:nvPr>
        </p:nvSpPr>
        <p:spPr>
          <a:xfrm>
            <a:off x="323528" y="1700808"/>
            <a:ext cx="8605837" cy="2808312"/>
          </a:xfrm>
        </p:spPr>
        <p:txBody>
          <a:bodyPr/>
          <a:lstStyle/>
          <a:p>
            <a:pPr marL="771525" lvl="2" indent="-34290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00599D"/>
                </a:solidFill>
                <a:sym typeface="Wingdings" panose="05000000000000000000" pitchFamily="2" charset="2"/>
              </a:rPr>
              <a:t>All </a:t>
            </a:r>
            <a:r>
              <a:rPr lang="en-US" sz="1400" dirty="0">
                <a:solidFill>
                  <a:srgbClr val="00599D"/>
                </a:solidFill>
                <a:sym typeface="Wingdings" panose="05000000000000000000" pitchFamily="2" charset="2"/>
              </a:rPr>
              <a:t>installation activities for all </a:t>
            </a:r>
            <a:r>
              <a:rPr lang="en-US" sz="1400" dirty="0" smtClean="0">
                <a:solidFill>
                  <a:srgbClr val="00599D"/>
                </a:solidFill>
                <a:sym typeface="Wingdings" panose="05000000000000000000" pitchFamily="2" charset="2"/>
              </a:rPr>
              <a:t>Subprojects </a:t>
            </a:r>
            <a:r>
              <a:rPr lang="en-US" sz="1400" dirty="0">
                <a:solidFill>
                  <a:srgbClr val="00599D"/>
                </a:solidFill>
                <a:sym typeface="Wingdings" panose="05000000000000000000" pitchFamily="2" charset="2"/>
              </a:rPr>
              <a:t>are centrally coordinated by the Team</a:t>
            </a:r>
            <a:r>
              <a:rPr lang="en-US" sz="1400" dirty="0" smtClean="0">
                <a:solidFill>
                  <a:srgbClr val="00599D"/>
                </a:solidFill>
                <a:sym typeface="Wingdings" panose="05000000000000000000" pitchFamily="2" charset="2"/>
              </a:rPr>
              <a:t>.</a:t>
            </a:r>
            <a:endParaRPr lang="en-US" sz="1400" dirty="0" smtClean="0">
              <a:solidFill>
                <a:srgbClr val="00599D"/>
              </a:solidFill>
              <a:ea typeface="+mn-ea"/>
              <a:cs typeface="+mn-cs"/>
              <a:sym typeface="Wingdings" panose="05000000000000000000" pitchFamily="2" charset="2"/>
            </a:endParaRPr>
          </a:p>
          <a:p>
            <a:pPr marL="971550" lvl="3" indent="-34290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599D"/>
                </a:solidFill>
                <a:ea typeface="+mn-ea"/>
                <a:cs typeface="+mn-cs"/>
                <a:sym typeface="Wingdings" panose="05000000000000000000" pitchFamily="2" charset="2"/>
              </a:rPr>
              <a:t>Sharing and allocation of </a:t>
            </a:r>
            <a:r>
              <a:rPr lang="en-US" sz="1200" b="1" dirty="0" smtClean="0">
                <a:solidFill>
                  <a:srgbClr val="00599D"/>
                </a:solidFill>
                <a:ea typeface="+mn-ea"/>
                <a:cs typeface="+mn-cs"/>
                <a:sym typeface="Wingdings" panose="05000000000000000000" pitchFamily="2" charset="2"/>
              </a:rPr>
              <a:t>Resources</a:t>
            </a:r>
            <a:r>
              <a:rPr lang="en-US" sz="1200" dirty="0" smtClean="0">
                <a:solidFill>
                  <a:srgbClr val="00599D"/>
                </a:solidFill>
                <a:ea typeface="+mn-ea"/>
                <a:cs typeface="+mn-cs"/>
                <a:sym typeface="Wingdings" panose="05000000000000000000" pitchFamily="2" charset="2"/>
              </a:rPr>
              <a:t> </a:t>
            </a:r>
            <a:r>
              <a:rPr lang="en-US" sz="1200" dirty="0">
                <a:solidFill>
                  <a:srgbClr val="00599D"/>
                </a:solidFill>
                <a:ea typeface="+mn-ea"/>
                <a:cs typeface="+mn-cs"/>
                <a:sym typeface="Wingdings" panose="05000000000000000000" pitchFamily="2" charset="2"/>
              </a:rPr>
              <a:t>will be </a:t>
            </a:r>
            <a:r>
              <a:rPr lang="en-US" sz="1200" dirty="0" smtClean="0">
                <a:solidFill>
                  <a:srgbClr val="00599D"/>
                </a:solidFill>
                <a:ea typeface="+mn-ea"/>
                <a:cs typeface="+mn-cs"/>
                <a:sym typeface="Wingdings" panose="05000000000000000000" pitchFamily="2" charset="2"/>
              </a:rPr>
              <a:t>done interchangeably </a:t>
            </a:r>
            <a:r>
              <a:rPr lang="en-US" sz="1200" dirty="0">
                <a:solidFill>
                  <a:srgbClr val="00599D"/>
                </a:solidFill>
                <a:ea typeface="+mn-ea"/>
                <a:cs typeface="+mn-cs"/>
                <a:sym typeface="Wingdings" panose="05000000000000000000" pitchFamily="2" charset="2"/>
              </a:rPr>
              <a:t>between </a:t>
            </a:r>
            <a:r>
              <a:rPr lang="en-US" sz="1200" dirty="0" smtClean="0">
                <a:solidFill>
                  <a:srgbClr val="00599D"/>
                </a:solidFill>
                <a:ea typeface="+mn-ea"/>
                <a:cs typeface="+mn-cs"/>
                <a:sym typeface="Wingdings" panose="05000000000000000000" pitchFamily="2" charset="2"/>
              </a:rPr>
              <a:t>Subprojects.</a:t>
            </a:r>
            <a:endParaRPr lang="en-US" sz="1200" dirty="0" smtClean="0">
              <a:solidFill>
                <a:srgbClr val="00599D"/>
              </a:solidFill>
              <a:ea typeface="+mn-ea"/>
              <a:cs typeface="+mn-cs"/>
              <a:sym typeface="Wingdings" panose="05000000000000000000" pitchFamily="2" charset="2"/>
            </a:endParaRPr>
          </a:p>
          <a:p>
            <a:pPr marL="971550" lvl="3" indent="-34290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599D"/>
                </a:solidFill>
                <a:ea typeface="+mn-ea"/>
                <a:cs typeface="+mn-cs"/>
                <a:sym typeface="Wingdings" panose="05000000000000000000" pitchFamily="2" charset="2"/>
              </a:rPr>
              <a:t>Sharing and transfer of  </a:t>
            </a:r>
            <a:r>
              <a:rPr lang="en-US" sz="1200" b="1" dirty="0" smtClean="0">
                <a:solidFill>
                  <a:srgbClr val="00599D"/>
                </a:solidFill>
                <a:ea typeface="+mn-ea"/>
                <a:cs typeface="+mn-cs"/>
                <a:sym typeface="Wingdings" panose="05000000000000000000" pitchFamily="2" charset="2"/>
              </a:rPr>
              <a:t>Lessons Learnt </a:t>
            </a:r>
            <a:r>
              <a:rPr lang="en-US" sz="1200" dirty="0" smtClean="0">
                <a:solidFill>
                  <a:srgbClr val="00599D"/>
                </a:solidFill>
                <a:ea typeface="+mn-ea"/>
                <a:cs typeface="+mn-cs"/>
                <a:sym typeface="Wingdings" panose="05000000000000000000" pitchFamily="2" charset="2"/>
              </a:rPr>
              <a:t>from between Subprojects.</a:t>
            </a:r>
          </a:p>
          <a:p>
            <a:pPr marL="971550" lvl="3" indent="-3429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599D"/>
                </a:solidFill>
                <a:ea typeface="+mn-ea"/>
                <a:cs typeface="+mn-cs"/>
                <a:sym typeface="Wingdings" panose="05000000000000000000" pitchFamily="2" charset="2"/>
              </a:rPr>
              <a:t>T</a:t>
            </a:r>
            <a:r>
              <a:rPr lang="en-US" sz="1200" dirty="0" smtClean="0">
                <a:solidFill>
                  <a:srgbClr val="00599D"/>
                </a:solidFill>
                <a:ea typeface="+mn-ea"/>
                <a:cs typeface="+mn-cs"/>
                <a:sym typeface="Wingdings" panose="05000000000000000000" pitchFamily="2" charset="2"/>
              </a:rPr>
              <a:t>he responsibility for the </a:t>
            </a:r>
            <a:r>
              <a:rPr lang="en-US" sz="1200" b="1" dirty="0" smtClean="0">
                <a:solidFill>
                  <a:srgbClr val="00599D"/>
                </a:solidFill>
                <a:ea typeface="+mn-ea"/>
                <a:cs typeface="+mn-cs"/>
                <a:sym typeface="Wingdings" panose="05000000000000000000" pitchFamily="2" charset="2"/>
              </a:rPr>
              <a:t>coordination</a:t>
            </a:r>
            <a:r>
              <a:rPr lang="en-US" sz="1200" dirty="0" smtClean="0">
                <a:solidFill>
                  <a:srgbClr val="00599D"/>
                </a:solidFill>
                <a:ea typeface="+mn-ea"/>
                <a:cs typeface="+mn-cs"/>
                <a:sym typeface="Wingdings" panose="05000000000000000000" pitchFamily="2" charset="2"/>
              </a:rPr>
              <a:t> and timing lies with the Installation Team.</a:t>
            </a:r>
          </a:p>
          <a:p>
            <a:pPr marL="971550" lvl="3" indent="-34290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599D"/>
                </a:solidFill>
                <a:ea typeface="+mn-ea"/>
                <a:cs typeface="+mn-cs"/>
                <a:sym typeface="Wingdings" panose="05000000000000000000" pitchFamily="2" charset="2"/>
              </a:rPr>
              <a:t>The responsibility for the </a:t>
            </a:r>
            <a:r>
              <a:rPr lang="en-US" sz="1200" b="1" dirty="0" smtClean="0">
                <a:solidFill>
                  <a:srgbClr val="00599D"/>
                </a:solidFill>
                <a:ea typeface="+mn-ea"/>
                <a:cs typeface="+mn-cs"/>
                <a:sym typeface="Wingdings" panose="05000000000000000000" pitchFamily="2" charset="2"/>
              </a:rPr>
              <a:t>technical correctness </a:t>
            </a:r>
            <a:r>
              <a:rPr lang="en-US" sz="1200" dirty="0" smtClean="0">
                <a:solidFill>
                  <a:srgbClr val="00599D"/>
                </a:solidFill>
                <a:ea typeface="+mn-ea"/>
                <a:cs typeface="+mn-cs"/>
                <a:sym typeface="Wingdings" panose="05000000000000000000" pitchFamily="2" charset="2"/>
              </a:rPr>
              <a:t>and </a:t>
            </a:r>
            <a:r>
              <a:rPr lang="en-US" sz="1200" b="1" dirty="0" smtClean="0">
                <a:solidFill>
                  <a:srgbClr val="00599D"/>
                </a:solidFill>
                <a:ea typeface="+mn-ea"/>
                <a:cs typeface="+mn-cs"/>
                <a:sym typeface="Wingdings" panose="05000000000000000000" pitchFamily="2" charset="2"/>
              </a:rPr>
              <a:t>quality</a:t>
            </a:r>
            <a:r>
              <a:rPr lang="en-US" sz="1200" dirty="0" smtClean="0">
                <a:solidFill>
                  <a:srgbClr val="00599D"/>
                </a:solidFill>
                <a:ea typeface="+mn-ea"/>
                <a:cs typeface="+mn-cs"/>
                <a:sym typeface="Wingdings" panose="05000000000000000000" pitchFamily="2" charset="2"/>
              </a:rPr>
              <a:t> of the installation lies with the Subproject.</a:t>
            </a:r>
          </a:p>
          <a:p>
            <a:pPr marL="771525" lvl="2" indent="-342900">
              <a:buFont typeface="Arial" panose="020B0604020202020204" pitchFamily="34" charset="0"/>
              <a:buChar char="•"/>
            </a:pPr>
            <a:endParaRPr lang="en-US" sz="1600" i="1" dirty="0">
              <a:solidFill>
                <a:srgbClr val="00599D"/>
              </a:solidFill>
              <a:ea typeface="+mn-ea"/>
              <a:cs typeface="+mn-cs"/>
              <a:sym typeface="Wingdings" panose="05000000000000000000" pitchFamily="2" charset="2"/>
            </a:endParaRPr>
          </a:p>
          <a:p>
            <a:pPr marL="771525" lvl="2" indent="-34290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599D"/>
                </a:solidFill>
                <a:sym typeface="Wingdings" panose="05000000000000000000" pitchFamily="2" charset="2"/>
              </a:rPr>
              <a:t>P</a:t>
            </a:r>
            <a:r>
              <a:rPr lang="en-US" sz="1400" dirty="0" smtClean="0">
                <a:solidFill>
                  <a:srgbClr val="00599D"/>
                </a:solidFill>
                <a:sym typeface="Wingdings" panose="05000000000000000000" pitchFamily="2" charset="2"/>
              </a:rPr>
              <a:t>re-defined </a:t>
            </a:r>
            <a:r>
              <a:rPr lang="en-US" sz="1400" dirty="0" smtClean="0">
                <a:solidFill>
                  <a:srgbClr val="00599D"/>
                </a:solidFill>
                <a:sym typeface="Wingdings" panose="05000000000000000000" pitchFamily="2" charset="2"/>
              </a:rPr>
              <a:t>installation </a:t>
            </a:r>
            <a:r>
              <a:rPr lang="en-US" sz="1400" dirty="0">
                <a:solidFill>
                  <a:srgbClr val="00599D"/>
                </a:solidFill>
                <a:sym typeface="Wingdings" panose="05000000000000000000" pitchFamily="2" charset="2"/>
              </a:rPr>
              <a:t>packages </a:t>
            </a:r>
            <a:endParaRPr lang="en-US" sz="1400" dirty="0" smtClean="0">
              <a:solidFill>
                <a:srgbClr val="00599D"/>
              </a:solidFill>
              <a:sym typeface="Wingdings" panose="05000000000000000000" pitchFamily="2" charset="2"/>
            </a:endParaRPr>
          </a:p>
          <a:p>
            <a:pPr marL="971550" lvl="3" indent="-34290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599D"/>
                </a:solidFill>
                <a:sym typeface="Wingdings" panose="05000000000000000000" pitchFamily="2" charset="2"/>
              </a:rPr>
              <a:t>The Team is preparing documented modularized Installation </a:t>
            </a:r>
            <a:r>
              <a:rPr lang="en-US" sz="1200" dirty="0">
                <a:solidFill>
                  <a:srgbClr val="00599D"/>
                </a:solidFill>
                <a:sym typeface="Wingdings" panose="05000000000000000000" pitchFamily="2" charset="2"/>
              </a:rPr>
              <a:t>W</a:t>
            </a:r>
            <a:r>
              <a:rPr lang="en-US" sz="1200" dirty="0" smtClean="0">
                <a:solidFill>
                  <a:srgbClr val="00599D"/>
                </a:solidFill>
                <a:sym typeface="Wingdings" panose="05000000000000000000" pitchFamily="2" charset="2"/>
              </a:rPr>
              <a:t>ork </a:t>
            </a:r>
            <a:r>
              <a:rPr lang="en-US" sz="1200" dirty="0">
                <a:solidFill>
                  <a:srgbClr val="00599D"/>
                </a:solidFill>
                <a:sym typeface="Wingdings" panose="05000000000000000000" pitchFamily="2" charset="2"/>
              </a:rPr>
              <a:t>I</a:t>
            </a:r>
            <a:r>
              <a:rPr lang="en-US" sz="1200" dirty="0" smtClean="0">
                <a:solidFill>
                  <a:srgbClr val="00599D"/>
                </a:solidFill>
                <a:sym typeface="Wingdings" panose="05000000000000000000" pitchFamily="2" charset="2"/>
              </a:rPr>
              <a:t>nstructions.</a:t>
            </a:r>
            <a:endParaRPr lang="en-US" sz="1200" dirty="0">
              <a:solidFill>
                <a:srgbClr val="00599D"/>
              </a:solidFill>
              <a:sym typeface="Wingdings" panose="05000000000000000000" pitchFamily="2" charset="2"/>
            </a:endParaRPr>
          </a:p>
          <a:p>
            <a:pPr marL="971550" lvl="3" indent="-34290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599D"/>
                </a:solidFill>
                <a:sym typeface="Wingdings" panose="05000000000000000000" pitchFamily="2" charset="2"/>
              </a:rPr>
              <a:t>Will </a:t>
            </a:r>
            <a:r>
              <a:rPr lang="en-US" sz="1200" dirty="0">
                <a:solidFill>
                  <a:srgbClr val="00599D"/>
                </a:solidFill>
                <a:sym typeface="Wingdings" panose="05000000000000000000" pitchFamily="2" charset="2"/>
              </a:rPr>
              <a:t>be executed by </a:t>
            </a:r>
            <a:r>
              <a:rPr lang="en-US" sz="1200" dirty="0" smtClean="0">
                <a:solidFill>
                  <a:srgbClr val="00599D"/>
                </a:solidFill>
                <a:sym typeface="Wingdings" panose="05000000000000000000" pitchFamily="2" charset="2"/>
              </a:rPr>
              <a:t>internal and external resources.</a:t>
            </a:r>
          </a:p>
          <a:p>
            <a:pPr marL="971550" lvl="3" indent="-34290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599D"/>
                </a:solidFill>
                <a:sym typeface="Wingdings" panose="05000000000000000000" pitchFamily="2" charset="2"/>
              </a:rPr>
              <a:t>Always supervised and </a:t>
            </a:r>
            <a:r>
              <a:rPr lang="en-US" sz="1200" dirty="0" smtClean="0">
                <a:solidFill>
                  <a:srgbClr val="00599D"/>
                </a:solidFill>
                <a:sym typeface="Wingdings" panose="05000000000000000000" pitchFamily="2" charset="2"/>
              </a:rPr>
              <a:t>coordinated by </a:t>
            </a:r>
            <a:r>
              <a:rPr lang="en-US" sz="1200" dirty="0">
                <a:solidFill>
                  <a:srgbClr val="00599D"/>
                </a:solidFill>
                <a:sym typeface="Wingdings" panose="05000000000000000000" pitchFamily="2" charset="2"/>
              </a:rPr>
              <a:t>FAIR personnel. </a:t>
            </a:r>
            <a:endParaRPr lang="en-US" sz="1200" dirty="0" smtClean="0">
              <a:solidFill>
                <a:srgbClr val="00599D"/>
              </a:solidFill>
              <a:sym typeface="Wingdings" panose="05000000000000000000" pitchFamily="2" charset="2"/>
            </a:endParaRPr>
          </a:p>
          <a:p>
            <a:pPr marL="771525" lvl="2" indent="-342900">
              <a:buFont typeface="Arial" panose="020B0604020202020204" pitchFamily="34" charset="0"/>
              <a:buChar char="•"/>
            </a:pPr>
            <a:endParaRPr lang="en-US" sz="1400" dirty="0">
              <a:solidFill>
                <a:srgbClr val="00599D"/>
              </a:solidFill>
              <a:ea typeface="+mn-ea"/>
              <a:cs typeface="+mn-cs"/>
              <a:sym typeface="Wingdings" panose="05000000000000000000" pitchFamily="2" charset="2"/>
            </a:endParaRPr>
          </a:p>
          <a:p>
            <a:pPr marL="771525" lvl="2" indent="-34290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00599D"/>
                </a:solidFill>
                <a:ea typeface="+mn-ea"/>
                <a:cs typeface="+mn-cs"/>
                <a:sym typeface="Wingdings" panose="05000000000000000000" pitchFamily="2" charset="2"/>
              </a:rPr>
              <a:t>Assembly Groups and Transport Modules</a:t>
            </a:r>
            <a:endParaRPr lang="de-DE" sz="1400" dirty="0" smtClean="0">
              <a:solidFill>
                <a:srgbClr val="00599D"/>
              </a:solidFill>
              <a:ea typeface="+mn-ea"/>
              <a:cs typeface="+mn-cs"/>
              <a:sym typeface="Wingdings" panose="05000000000000000000" pitchFamily="2" charset="2"/>
            </a:endParaRPr>
          </a:p>
          <a:p>
            <a:pPr marL="771525" lvl="2" indent="-342900">
              <a:buFont typeface="Arial" panose="020B0604020202020204" pitchFamily="34" charset="0"/>
              <a:buChar char="•"/>
            </a:pPr>
            <a:endParaRPr lang="de-DE" sz="1400" dirty="0" smtClean="0">
              <a:solidFill>
                <a:srgbClr val="00599D"/>
              </a:solidFill>
              <a:ea typeface="+mn-ea"/>
              <a:cs typeface="+mn-cs"/>
              <a:sym typeface="Wingdings" panose="05000000000000000000" pitchFamily="2" charset="2"/>
            </a:endParaRPr>
          </a:p>
          <a:p>
            <a:pPr marL="0" indent="0"/>
            <a:endParaRPr lang="de-DE" sz="1000" dirty="0" smtClean="0"/>
          </a:p>
          <a:p>
            <a:pPr marL="771525" lvl="2" indent="-342900">
              <a:buFont typeface="Arial" panose="020B0604020202020204" pitchFamily="34" charset="0"/>
              <a:buChar char="•"/>
            </a:pPr>
            <a:endParaRPr lang="de-DE" sz="1000" dirty="0" smtClean="0"/>
          </a:p>
          <a:p>
            <a:pPr marL="676275" lvl="1" indent="-342900">
              <a:buFont typeface="Arial" panose="020B0604020202020204" pitchFamily="34" charset="0"/>
              <a:buChar char="•"/>
            </a:pPr>
            <a:endParaRPr lang="de-DE" sz="1200" dirty="0"/>
          </a:p>
          <a:p>
            <a:pPr marL="333375" lvl="1" indent="0">
              <a:buNone/>
            </a:pPr>
            <a:r>
              <a:rPr lang="de-DE" sz="2000" b="1" dirty="0" smtClean="0"/>
              <a:t>					</a:t>
            </a:r>
            <a:endParaRPr lang="de-DE" sz="2000" b="1" u="sng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3E67DB-3F5A-400D-8115-4A6680BE68C1}" type="slidenum">
              <a:rPr lang="de-DE" smtClean="0"/>
              <a:pPr>
                <a:defRPr/>
              </a:pPr>
              <a:t>18</a:t>
            </a:fld>
            <a:endParaRPr lang="de-DE"/>
          </a:p>
        </p:txBody>
      </p:sp>
      <p:sp>
        <p:nvSpPr>
          <p:cNvPr id="7" name="Textfeld 6"/>
          <p:cNvSpPr txBox="1"/>
          <p:nvPr/>
        </p:nvSpPr>
        <p:spPr>
          <a:xfrm>
            <a:off x="218165" y="1124744"/>
            <a:ext cx="8827410" cy="369332"/>
          </a:xfrm>
          <a:prstGeom prst="rect">
            <a:avLst/>
          </a:prstGeom>
          <a:solidFill>
            <a:schemeClr val="accent1"/>
          </a:solidFill>
          <a:ln w="15875"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pPr marL="333375" lvl="1" indent="0" algn="ctr">
              <a:buNone/>
            </a:pPr>
            <a:r>
              <a:rPr lang="de-DE" dirty="0">
                <a:solidFill>
                  <a:srgbClr val="00599D"/>
                </a:solidFill>
                <a:sym typeface="Wingdings" panose="05000000000000000000" pitchFamily="2" charset="2"/>
              </a:rPr>
              <a:t>The </a:t>
            </a:r>
            <a:r>
              <a:rPr lang="de-DE" dirty="0" err="1">
                <a:solidFill>
                  <a:srgbClr val="00599D"/>
                </a:solidFill>
                <a:sym typeface="Wingdings" panose="05000000000000000000" pitchFamily="2" charset="2"/>
              </a:rPr>
              <a:t>Roles</a:t>
            </a:r>
            <a:r>
              <a:rPr lang="de-DE" dirty="0">
                <a:solidFill>
                  <a:srgbClr val="00599D"/>
                </a:solidFill>
                <a:sym typeface="Wingdings" panose="05000000000000000000" pitchFamily="2" charset="2"/>
              </a:rPr>
              <a:t> </a:t>
            </a:r>
            <a:r>
              <a:rPr lang="de-DE" dirty="0" err="1">
                <a:solidFill>
                  <a:srgbClr val="00599D"/>
                </a:solidFill>
                <a:sym typeface="Wingdings" panose="05000000000000000000" pitchFamily="2" charset="2"/>
              </a:rPr>
              <a:t>and</a:t>
            </a:r>
            <a:r>
              <a:rPr lang="de-DE" dirty="0">
                <a:solidFill>
                  <a:srgbClr val="00599D"/>
                </a:solidFill>
                <a:sym typeface="Wingdings" panose="05000000000000000000" pitchFamily="2" charset="2"/>
              </a:rPr>
              <a:t> </a:t>
            </a:r>
            <a:r>
              <a:rPr lang="de-DE" dirty="0" err="1">
                <a:solidFill>
                  <a:srgbClr val="00599D"/>
                </a:solidFill>
                <a:sym typeface="Wingdings" panose="05000000000000000000" pitchFamily="2" charset="2"/>
              </a:rPr>
              <a:t>Reponsibilities</a:t>
            </a:r>
            <a:r>
              <a:rPr lang="de-DE" dirty="0">
                <a:solidFill>
                  <a:srgbClr val="00599D"/>
                </a:solidFill>
                <a:sym typeface="Wingdings" panose="05000000000000000000" pitchFamily="2" charset="2"/>
              </a:rPr>
              <a:t> </a:t>
            </a:r>
            <a:r>
              <a:rPr lang="de-DE" dirty="0" err="1">
                <a:solidFill>
                  <a:srgbClr val="00599D"/>
                </a:solidFill>
                <a:sym typeface="Wingdings" panose="05000000000000000000" pitchFamily="2" charset="2"/>
              </a:rPr>
              <a:t>of</a:t>
            </a:r>
            <a:r>
              <a:rPr lang="de-DE" dirty="0">
                <a:solidFill>
                  <a:srgbClr val="00599D"/>
                </a:solidFill>
                <a:sym typeface="Wingdings" panose="05000000000000000000" pitchFamily="2" charset="2"/>
              </a:rPr>
              <a:t> </a:t>
            </a:r>
            <a:r>
              <a:rPr lang="de-DE" dirty="0" err="1">
                <a:solidFill>
                  <a:srgbClr val="00599D"/>
                </a:solidFill>
                <a:sym typeface="Wingdings" panose="05000000000000000000" pitchFamily="2" charset="2"/>
              </a:rPr>
              <a:t>the</a:t>
            </a:r>
            <a:r>
              <a:rPr lang="de-DE" dirty="0">
                <a:solidFill>
                  <a:srgbClr val="00599D"/>
                </a:solidFill>
                <a:sym typeface="Wingdings" panose="05000000000000000000" pitchFamily="2" charset="2"/>
              </a:rPr>
              <a:t> Installation Team</a:t>
            </a:r>
            <a:endParaRPr lang="en-US" dirty="0">
              <a:solidFill>
                <a:srgbClr val="00599D"/>
              </a:solidFill>
              <a:sym typeface="Wingdings" panose="05000000000000000000" pitchFamily="2" charset="2"/>
            </a:endParaRPr>
          </a:p>
        </p:txBody>
      </p:sp>
      <p:pic>
        <p:nvPicPr>
          <p:cNvPr id="8" name="Grafik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0113" y="4351963"/>
            <a:ext cx="3089300" cy="20293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Grafik 8" descr="Bildschirmausschnitt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639" y="4731515"/>
            <a:ext cx="4704417" cy="1649813"/>
          </a:xfrm>
          <a:prstGeom prst="rect">
            <a:avLst/>
          </a:prstGeom>
        </p:spPr>
      </p:pic>
      <p:cxnSp>
        <p:nvCxnSpPr>
          <p:cNvPr id="4" name="Gerader Verbinder 3"/>
          <p:cNvCxnSpPr/>
          <p:nvPr/>
        </p:nvCxnSpPr>
        <p:spPr>
          <a:xfrm>
            <a:off x="1763688" y="4728826"/>
            <a:ext cx="0" cy="1652502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0" name="Gerader Verbinder 9"/>
          <p:cNvCxnSpPr/>
          <p:nvPr/>
        </p:nvCxnSpPr>
        <p:spPr>
          <a:xfrm>
            <a:off x="2483768" y="4731515"/>
            <a:ext cx="0" cy="1649813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1" name="Gerader Verbinder 10"/>
          <p:cNvCxnSpPr/>
          <p:nvPr/>
        </p:nvCxnSpPr>
        <p:spPr>
          <a:xfrm>
            <a:off x="3275856" y="4731515"/>
            <a:ext cx="0" cy="1649813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4283968" y="4728827"/>
            <a:ext cx="0" cy="1652501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4186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kt 34" hidden="1">
            <a:extLst>
              <a:ext uri="{FF2B5EF4-FFF2-40B4-BE49-F238E27FC236}">
                <a16:creationId xmlns:a16="http://schemas.microsoft.com/office/drawing/2014/main" id="{473F1C4C-ED77-422C-9C6B-5BFECD56E0E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34" y="1134"/>
          <a:ext cx="1134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35" name="Objekt 34" hidden="1">
                        <a:extLst>
                          <a:ext uri="{FF2B5EF4-FFF2-40B4-BE49-F238E27FC236}">
                            <a16:creationId xmlns:a16="http://schemas.microsoft.com/office/drawing/2014/main" id="{473F1C4C-ED77-422C-9C6B-5BFECD56E0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34" y="1134"/>
                        <a:ext cx="1134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hteck 39" hidden="1">
            <a:extLst>
              <a:ext uri="{FF2B5EF4-FFF2-40B4-BE49-F238E27FC236}">
                <a16:creationId xmlns:a16="http://schemas.microsoft.com/office/drawing/2014/main" id="{FB85BBA7-30B8-4E99-AF4A-ABB7A67ECBCC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13393" cy="113393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1000" b="1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3E67DB-3F5A-400D-8115-4A6680BE68C1}" type="slidenum">
              <a:rPr lang="de-DE" smtClean="0"/>
              <a:pPr>
                <a:defRPr/>
              </a:pPr>
              <a:t>19</a:t>
            </a:fld>
            <a:endParaRPr lang="de-DE"/>
          </a:p>
        </p:txBody>
      </p:sp>
      <p:sp>
        <p:nvSpPr>
          <p:cNvPr id="164" name="Titel 1">
            <a:extLst>
              <a:ext uri="{FF2B5EF4-FFF2-40B4-BE49-F238E27FC236}">
                <a16:creationId xmlns:a16="http://schemas.microsoft.com/office/drawing/2014/main" id="{757B9329-1BE7-4EF5-9FDA-877B16368E6F}"/>
              </a:ext>
            </a:extLst>
          </p:cNvPr>
          <p:cNvSpPr txBox="1">
            <a:spLocks/>
          </p:cNvSpPr>
          <p:nvPr/>
        </p:nvSpPr>
        <p:spPr bwMode="auto">
          <a:xfrm>
            <a:off x="328730" y="104838"/>
            <a:ext cx="8605837" cy="490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5pPr>
            <a:lvl6pPr marL="640093" algn="l" rtl="0" eaLnBrk="1" fontAlgn="base" hangingPunct="1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6pPr>
            <a:lvl7pPr marL="1280185" algn="l" rtl="0" eaLnBrk="1" fontAlgn="base" hangingPunct="1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7pPr>
            <a:lvl8pPr marL="1920278" algn="l" rtl="0" eaLnBrk="1" fontAlgn="base" hangingPunct="1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8pPr>
            <a:lvl9pPr marL="2560372" algn="l" rtl="0" eaLnBrk="1" fontAlgn="base" hangingPunct="1">
              <a:spcBef>
                <a:spcPct val="0"/>
              </a:spcBef>
              <a:spcAft>
                <a:spcPct val="0"/>
              </a:spcAft>
              <a:defRPr sz="3920">
                <a:solidFill>
                  <a:srgbClr val="00599D"/>
                </a:solidFill>
                <a:latin typeface="Arial" charset="0"/>
              </a:defRPr>
            </a:lvl9pPr>
          </a:lstStyle>
          <a:p>
            <a:r>
              <a:rPr lang="de-DE" sz="2800" kern="0" dirty="0"/>
              <a:t>Site Management </a:t>
            </a:r>
            <a:br>
              <a:rPr lang="de-DE" sz="2800" kern="0" dirty="0"/>
            </a:br>
            <a:r>
              <a:rPr lang="de-DE" sz="2000" kern="0" dirty="0" err="1"/>
              <a:t>Pre-Assembly</a:t>
            </a:r>
            <a:r>
              <a:rPr lang="en-US" sz="1357" dirty="0" smtClean="0"/>
              <a:t/>
            </a:r>
            <a:br>
              <a:rPr lang="en-US" sz="1357" dirty="0" smtClean="0"/>
            </a:br>
            <a:endParaRPr lang="de-DE" sz="1357" kern="0" dirty="0">
              <a:solidFill>
                <a:srgbClr val="00B050"/>
              </a:solidFill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B110CD4E-F460-404E-9E04-5089F171DEF1}"/>
              </a:ext>
            </a:extLst>
          </p:cNvPr>
          <p:cNvSpPr txBox="1"/>
          <p:nvPr/>
        </p:nvSpPr>
        <p:spPr>
          <a:xfrm>
            <a:off x="200086" y="1390315"/>
            <a:ext cx="4391296" cy="267765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altLang="ko-KR" sz="1200" b="1" dirty="0" smtClean="0">
                <a:latin typeface="+mn-lt"/>
                <a:ea typeface="Gulim" pitchFamily="34" charset="-127"/>
              </a:rPr>
              <a:t>Workshop </a:t>
            </a:r>
            <a:r>
              <a:rPr lang="de-DE" altLang="ko-KR" sz="1200" b="1" dirty="0" err="1" smtClean="0">
                <a:latin typeface="+mn-lt"/>
                <a:ea typeface="Gulim" pitchFamily="34" charset="-127"/>
              </a:rPr>
              <a:t>Observations</a:t>
            </a:r>
            <a:endParaRPr lang="de-DE" altLang="ko-KR" sz="1200" b="1" dirty="0" smtClean="0">
              <a:latin typeface="+mn-lt"/>
              <a:ea typeface="Gulim" pitchFamily="34" charset="-127"/>
            </a:endParaRPr>
          </a:p>
          <a:p>
            <a:pPr marL="122467" indent="-122467">
              <a:buFont typeface="Arial" panose="020B0604020202020204" pitchFamily="34" charset="0"/>
              <a:buChar char="•"/>
            </a:pPr>
            <a:r>
              <a:rPr lang="de-DE" altLang="ko-KR" sz="1200" dirty="0" err="1" smtClean="0">
                <a:latin typeface="+mn-lt"/>
                <a:ea typeface="Gulim" pitchFamily="34" charset="-127"/>
              </a:rPr>
              <a:t>Impediments</a:t>
            </a:r>
            <a:r>
              <a:rPr lang="de-DE" altLang="ko-KR" sz="1200" dirty="0" smtClean="0">
                <a:latin typeface="+mn-lt"/>
                <a:ea typeface="Gulim" pitchFamily="34" charset="-127"/>
              </a:rPr>
              <a:t> </a:t>
            </a:r>
            <a:r>
              <a:rPr lang="de-DE" altLang="ko-KR" sz="1200" dirty="0" err="1" smtClean="0">
                <a:latin typeface="+mn-lt"/>
                <a:ea typeface="Gulim" pitchFamily="34" charset="-127"/>
              </a:rPr>
              <a:t>during</a:t>
            </a:r>
            <a:r>
              <a:rPr lang="de-DE" altLang="ko-KR" sz="1200" dirty="0" smtClean="0">
                <a:latin typeface="+mn-lt"/>
                <a:ea typeface="Gulim" pitchFamily="34" charset="-127"/>
              </a:rPr>
              <a:t> </a:t>
            </a:r>
            <a:r>
              <a:rPr lang="de-DE" altLang="ko-KR" sz="1200" dirty="0" err="1" smtClean="0">
                <a:latin typeface="+mn-lt"/>
                <a:ea typeface="Gulim" pitchFamily="34" charset="-127"/>
              </a:rPr>
              <a:t>preparation</a:t>
            </a:r>
            <a:r>
              <a:rPr lang="de-DE" altLang="ko-KR" sz="1200" dirty="0" smtClean="0">
                <a:latin typeface="+mn-lt"/>
                <a:ea typeface="Gulim" pitchFamily="34" charset="-127"/>
              </a:rPr>
              <a:t>: </a:t>
            </a:r>
          </a:p>
          <a:p>
            <a:pPr marL="579667" lvl="1" indent="-122467">
              <a:buFont typeface="Arial" panose="020B0604020202020204" pitchFamily="34" charset="0"/>
              <a:buChar char="•"/>
            </a:pPr>
            <a:r>
              <a:rPr lang="de-DE" altLang="ko-KR" sz="1200" dirty="0" err="1" smtClean="0">
                <a:latin typeface="+mn-lt"/>
                <a:ea typeface="Gulim" pitchFamily="34" charset="-127"/>
              </a:rPr>
              <a:t>No</a:t>
            </a:r>
            <a:r>
              <a:rPr lang="de-DE" altLang="ko-KR" sz="1200" dirty="0" smtClean="0">
                <a:latin typeface="+mn-lt"/>
                <a:ea typeface="Gulim" pitchFamily="34" charset="-127"/>
              </a:rPr>
              <a:t> </a:t>
            </a:r>
            <a:r>
              <a:rPr lang="de-DE" altLang="ko-KR" sz="1200" dirty="0" err="1" smtClean="0">
                <a:latin typeface="+mn-lt"/>
                <a:ea typeface="Gulim" pitchFamily="34" charset="-127"/>
              </a:rPr>
              <a:t>Responsible</a:t>
            </a:r>
            <a:r>
              <a:rPr lang="de-DE" altLang="ko-KR" sz="1200" dirty="0" smtClean="0">
                <a:latin typeface="+mn-lt"/>
                <a:ea typeface="Gulim" pitchFamily="34" charset="-127"/>
              </a:rPr>
              <a:t> </a:t>
            </a:r>
            <a:r>
              <a:rPr lang="de-DE" altLang="ko-KR" sz="1200" dirty="0" err="1" smtClean="0">
                <a:latin typeface="+mn-lt"/>
                <a:ea typeface="Gulim" pitchFamily="34" charset="-127"/>
              </a:rPr>
              <a:t>Personwas</a:t>
            </a:r>
            <a:r>
              <a:rPr lang="de-DE" altLang="ko-KR" sz="1200" dirty="0" smtClean="0">
                <a:latin typeface="+mn-lt"/>
                <a:ea typeface="Gulim" pitchFamily="34" charset="-127"/>
              </a:rPr>
              <a:t> </a:t>
            </a:r>
            <a:r>
              <a:rPr lang="de-DE" altLang="ko-KR" sz="1200" dirty="0" err="1" smtClean="0">
                <a:latin typeface="+mn-lt"/>
                <a:ea typeface="Gulim" pitchFamily="34" charset="-127"/>
              </a:rPr>
              <a:t>assigned</a:t>
            </a:r>
            <a:r>
              <a:rPr lang="de-DE" altLang="ko-KR" sz="1200" dirty="0" smtClean="0">
                <a:latin typeface="+mn-lt"/>
                <a:ea typeface="Gulim" pitchFamily="34" charset="-127"/>
              </a:rPr>
              <a:t>.</a:t>
            </a:r>
            <a:endParaRPr lang="de-DE" altLang="ko-KR" sz="1200" dirty="0">
              <a:latin typeface="+mn-lt"/>
              <a:ea typeface="Gulim" pitchFamily="34" charset="-127"/>
            </a:endParaRPr>
          </a:p>
          <a:p>
            <a:pPr marL="579667" lvl="1" indent="-122467">
              <a:buFont typeface="Arial" panose="020B0604020202020204" pitchFamily="34" charset="0"/>
              <a:buChar char="•"/>
            </a:pPr>
            <a:r>
              <a:rPr lang="de-DE" altLang="ko-KR" sz="1200" dirty="0" err="1" smtClean="0">
                <a:latin typeface="+mn-lt"/>
                <a:ea typeface="Gulim" pitchFamily="34" charset="-127"/>
              </a:rPr>
              <a:t>Assembly</a:t>
            </a:r>
            <a:r>
              <a:rPr lang="de-DE" altLang="ko-KR" sz="1200" dirty="0" smtClean="0">
                <a:latin typeface="+mn-lt"/>
                <a:ea typeface="Gulim" pitchFamily="34" charset="-127"/>
              </a:rPr>
              <a:t> </a:t>
            </a:r>
            <a:r>
              <a:rPr lang="de-DE" altLang="ko-KR" sz="1200" dirty="0" err="1" smtClean="0">
                <a:latin typeface="+mn-lt"/>
                <a:ea typeface="Gulim" pitchFamily="34" charset="-127"/>
              </a:rPr>
              <a:t>drawings</a:t>
            </a:r>
            <a:r>
              <a:rPr lang="de-DE" altLang="ko-KR" sz="1200" dirty="0" smtClean="0">
                <a:latin typeface="+mn-lt"/>
                <a:ea typeface="Gulim" pitchFamily="34" charset="-127"/>
              </a:rPr>
              <a:t> not </a:t>
            </a:r>
            <a:r>
              <a:rPr lang="de-DE" altLang="ko-KR" sz="1200" dirty="0" err="1" smtClean="0">
                <a:latin typeface="+mn-lt"/>
                <a:ea typeface="Gulim" pitchFamily="34" charset="-127"/>
              </a:rPr>
              <a:t>clear</a:t>
            </a:r>
            <a:r>
              <a:rPr lang="de-DE" altLang="ko-KR" sz="1200" dirty="0" smtClean="0">
                <a:latin typeface="+mn-lt"/>
                <a:ea typeface="Gulim" pitchFamily="34" charset="-127"/>
              </a:rPr>
              <a:t>.</a:t>
            </a:r>
            <a:endParaRPr lang="de-DE" altLang="ko-KR" sz="1200" dirty="0">
              <a:latin typeface="+mn-lt"/>
              <a:ea typeface="Gulim" pitchFamily="34" charset="-127"/>
            </a:endParaRPr>
          </a:p>
          <a:p>
            <a:pPr marL="579667" lvl="1" indent="-122467">
              <a:buFont typeface="Arial" panose="020B0604020202020204" pitchFamily="34" charset="0"/>
              <a:buChar char="•"/>
            </a:pPr>
            <a:r>
              <a:rPr lang="de-DE" sz="1200" dirty="0" err="1" smtClean="0">
                <a:latin typeface="+mn-lt"/>
                <a:ea typeface="Gulim" pitchFamily="34" charset="-127"/>
              </a:rPr>
              <a:t>Preparation</a:t>
            </a:r>
            <a:r>
              <a:rPr lang="de-DE" sz="1200" dirty="0" smtClean="0">
                <a:latin typeface="+mn-lt"/>
                <a:ea typeface="Gulim" pitchFamily="34" charset="-127"/>
              </a:rPr>
              <a:t> </a:t>
            </a:r>
            <a:r>
              <a:rPr lang="de-DE" sz="1200" dirty="0" err="1" smtClean="0">
                <a:latin typeface="+mn-lt"/>
                <a:ea typeface="Gulim" pitchFamily="34" charset="-127"/>
              </a:rPr>
              <a:t>delayed</a:t>
            </a:r>
            <a:r>
              <a:rPr lang="de-DE" sz="1200" dirty="0" smtClean="0">
                <a:latin typeface="+mn-lt"/>
                <a:ea typeface="Gulim" pitchFamily="34" charset="-127"/>
              </a:rPr>
              <a:t>, i.e. </a:t>
            </a:r>
            <a:r>
              <a:rPr lang="de-DE" sz="1200" dirty="0" err="1" smtClean="0">
                <a:latin typeface="+mn-lt"/>
                <a:ea typeface="Gulim" pitchFamily="34" charset="-127"/>
              </a:rPr>
              <a:t>cleaning</a:t>
            </a:r>
            <a:r>
              <a:rPr lang="de-DE" sz="1200" dirty="0" smtClean="0">
                <a:latin typeface="+mn-lt"/>
                <a:ea typeface="Gulim" pitchFamily="34" charset="-127"/>
              </a:rPr>
              <a:t> </a:t>
            </a:r>
            <a:r>
              <a:rPr lang="de-DE" sz="1200" dirty="0" err="1" smtClean="0">
                <a:latin typeface="+mn-lt"/>
                <a:ea typeface="Gulim" pitchFamily="34" charset="-127"/>
              </a:rPr>
              <a:t>of</a:t>
            </a:r>
            <a:r>
              <a:rPr lang="de-DE" sz="1200" dirty="0" smtClean="0">
                <a:latin typeface="+mn-lt"/>
                <a:ea typeface="Gulim" pitchFamily="34" charset="-127"/>
              </a:rPr>
              <a:t> </a:t>
            </a:r>
            <a:r>
              <a:rPr lang="de-DE" sz="1200" dirty="0" err="1" smtClean="0">
                <a:latin typeface="+mn-lt"/>
                <a:ea typeface="Gulim" pitchFamily="34" charset="-127"/>
              </a:rPr>
              <a:t>vac</a:t>
            </a:r>
            <a:r>
              <a:rPr lang="de-DE" sz="1200" dirty="0" smtClean="0">
                <a:latin typeface="+mn-lt"/>
                <a:ea typeface="Gulim" pitchFamily="34" charset="-127"/>
              </a:rPr>
              <a:t> </a:t>
            </a:r>
            <a:r>
              <a:rPr lang="de-DE" sz="1200" dirty="0" err="1" smtClean="0">
                <a:latin typeface="+mn-lt"/>
                <a:ea typeface="Gulim" pitchFamily="34" charset="-127"/>
              </a:rPr>
              <a:t>chamber</a:t>
            </a:r>
            <a:r>
              <a:rPr lang="de-DE" sz="1200" dirty="0" smtClean="0">
                <a:latin typeface="+mn-lt"/>
                <a:ea typeface="Gulim" pitchFamily="34" charset="-127"/>
              </a:rPr>
              <a:t>.</a:t>
            </a:r>
            <a:endParaRPr lang="de-DE" sz="1200" dirty="0">
              <a:latin typeface="+mn-lt"/>
              <a:ea typeface="Gulim" pitchFamily="34" charset="-127"/>
            </a:endParaRPr>
          </a:p>
          <a:p>
            <a:pPr marL="579667" lvl="1" indent="-122467">
              <a:buFont typeface="Arial" panose="020B0604020202020204" pitchFamily="34" charset="0"/>
              <a:buChar char="•"/>
            </a:pPr>
            <a:r>
              <a:rPr lang="de-DE" sz="1200" dirty="0" err="1" smtClean="0">
                <a:latin typeface="+mn-lt"/>
                <a:ea typeface="Gulim" pitchFamily="34" charset="-127"/>
              </a:rPr>
              <a:t>magnet</a:t>
            </a:r>
            <a:r>
              <a:rPr lang="de-DE" sz="1200" dirty="0" smtClean="0">
                <a:latin typeface="+mn-lt"/>
                <a:ea typeface="Gulim" pitchFamily="34" charset="-127"/>
              </a:rPr>
              <a:t> </a:t>
            </a:r>
            <a:r>
              <a:rPr lang="de-DE" sz="1200" dirty="0" err="1" smtClean="0">
                <a:latin typeface="+mn-lt"/>
                <a:ea typeface="Gulim" pitchFamily="34" charset="-127"/>
              </a:rPr>
              <a:t>alignment</a:t>
            </a:r>
            <a:r>
              <a:rPr lang="de-DE" sz="1200" dirty="0" smtClean="0">
                <a:latin typeface="+mn-lt"/>
                <a:ea typeface="Gulim" pitchFamily="34" charset="-127"/>
              </a:rPr>
              <a:t> </a:t>
            </a:r>
            <a:r>
              <a:rPr lang="de-DE" sz="1200" dirty="0" err="1" smtClean="0">
                <a:latin typeface="+mn-lt"/>
                <a:ea typeface="Gulim" pitchFamily="34" charset="-127"/>
              </a:rPr>
              <a:t>units</a:t>
            </a:r>
            <a:r>
              <a:rPr lang="de-DE" sz="1200" dirty="0" smtClean="0">
                <a:latin typeface="+mn-lt"/>
                <a:ea typeface="Gulim" pitchFamily="34" charset="-127"/>
              </a:rPr>
              <a:t> not in stock</a:t>
            </a:r>
          </a:p>
          <a:p>
            <a:pPr marL="579667" lvl="1" indent="-122467">
              <a:buFont typeface="Arial" panose="020B0604020202020204" pitchFamily="34" charset="0"/>
              <a:buChar char="•"/>
            </a:pPr>
            <a:endParaRPr lang="de-DE" sz="1200" dirty="0">
              <a:latin typeface="+mn-lt"/>
              <a:ea typeface="Gulim" pitchFamily="34" charset="-127"/>
            </a:endParaRPr>
          </a:p>
          <a:p>
            <a:pPr marL="122467" indent="-122467">
              <a:buFont typeface="Arial" panose="020B0604020202020204" pitchFamily="34" charset="0"/>
              <a:buChar char="•"/>
            </a:pPr>
            <a:r>
              <a:rPr lang="de-DE" sz="1200" dirty="0" err="1" smtClean="0">
                <a:latin typeface="+mn-lt"/>
                <a:ea typeface="Gulim" pitchFamily="34" charset="-127"/>
              </a:rPr>
              <a:t>Impediments</a:t>
            </a:r>
            <a:r>
              <a:rPr lang="de-DE" sz="1200" dirty="0" smtClean="0">
                <a:latin typeface="+mn-lt"/>
                <a:ea typeface="Gulim" pitchFamily="34" charset="-127"/>
              </a:rPr>
              <a:t> </a:t>
            </a:r>
            <a:r>
              <a:rPr lang="de-DE" sz="1200" dirty="0" err="1" smtClean="0">
                <a:latin typeface="+mn-lt"/>
                <a:ea typeface="Gulim" pitchFamily="34" charset="-127"/>
              </a:rPr>
              <a:t>during</a:t>
            </a:r>
            <a:r>
              <a:rPr lang="de-DE" sz="1200" dirty="0" smtClean="0">
                <a:latin typeface="+mn-lt"/>
                <a:ea typeface="Gulim" pitchFamily="34" charset="-127"/>
              </a:rPr>
              <a:t> </a:t>
            </a:r>
            <a:r>
              <a:rPr lang="de-DE" sz="1200" dirty="0" err="1" smtClean="0">
                <a:latin typeface="+mn-lt"/>
                <a:ea typeface="Gulim" pitchFamily="34" charset="-127"/>
              </a:rPr>
              <a:t>pre-assembly</a:t>
            </a:r>
            <a:r>
              <a:rPr lang="de-DE" sz="1200" dirty="0" smtClean="0">
                <a:latin typeface="+mn-lt"/>
                <a:ea typeface="Gulim" pitchFamily="34" charset="-127"/>
              </a:rPr>
              <a:t>:</a:t>
            </a:r>
          </a:p>
          <a:p>
            <a:pPr marL="579621" lvl="1" indent="-122467">
              <a:buFont typeface="Courier New" panose="02070309020205020404" pitchFamily="49" charset="0"/>
              <a:buChar char="o"/>
            </a:pPr>
            <a:r>
              <a:rPr lang="de-DE" sz="1200" dirty="0" err="1" smtClean="0">
                <a:latin typeface="+mn-lt"/>
                <a:ea typeface="Gulim" pitchFamily="34" charset="-127"/>
              </a:rPr>
              <a:t>wrong</a:t>
            </a:r>
            <a:r>
              <a:rPr lang="de-DE" sz="1200" dirty="0" smtClean="0">
                <a:latin typeface="+mn-lt"/>
                <a:ea typeface="Gulim" pitchFamily="34" charset="-127"/>
              </a:rPr>
              <a:t> </a:t>
            </a:r>
            <a:r>
              <a:rPr lang="de-DE" sz="1200" dirty="0" err="1" smtClean="0">
                <a:latin typeface="+mn-lt"/>
                <a:ea typeface="Gulim" pitchFamily="34" charset="-127"/>
              </a:rPr>
              <a:t>sling</a:t>
            </a:r>
            <a:r>
              <a:rPr lang="de-DE" sz="1200" dirty="0" smtClean="0">
                <a:latin typeface="+mn-lt"/>
                <a:ea typeface="Gulim" pitchFamily="34" charset="-127"/>
              </a:rPr>
              <a:t> </a:t>
            </a:r>
            <a:r>
              <a:rPr lang="de-DE" sz="1200" dirty="0" err="1" smtClean="0">
                <a:latin typeface="+mn-lt"/>
                <a:ea typeface="Gulim" pitchFamily="34" charset="-127"/>
              </a:rPr>
              <a:t>gear</a:t>
            </a:r>
            <a:endParaRPr lang="de-DE" sz="1200" dirty="0">
              <a:latin typeface="+mn-lt"/>
              <a:ea typeface="Gulim" pitchFamily="34" charset="-127"/>
            </a:endParaRPr>
          </a:p>
          <a:p>
            <a:pPr marL="579621" lvl="1" indent="-122467">
              <a:buFont typeface="Courier New" panose="02070309020205020404" pitchFamily="49" charset="0"/>
              <a:buChar char="o"/>
            </a:pPr>
            <a:r>
              <a:rPr lang="de-DE" sz="1200" dirty="0" err="1" smtClean="0">
                <a:latin typeface="+mn-lt"/>
                <a:ea typeface="Gulim" pitchFamily="34" charset="-127"/>
              </a:rPr>
              <a:t>missing</a:t>
            </a:r>
            <a:r>
              <a:rPr lang="de-DE" sz="1200" dirty="0" smtClean="0">
                <a:latin typeface="+mn-lt"/>
                <a:ea typeface="Gulim" pitchFamily="34" charset="-127"/>
              </a:rPr>
              <a:t> </a:t>
            </a:r>
            <a:r>
              <a:rPr lang="de-DE" sz="1200" dirty="0" err="1" smtClean="0">
                <a:latin typeface="+mn-lt"/>
                <a:ea typeface="Gulim" pitchFamily="34" charset="-127"/>
              </a:rPr>
              <a:t>extension</a:t>
            </a:r>
            <a:r>
              <a:rPr lang="de-DE" sz="1200" dirty="0" smtClean="0">
                <a:latin typeface="+mn-lt"/>
                <a:ea typeface="Gulim" pitchFamily="34" charset="-127"/>
              </a:rPr>
              <a:t> </a:t>
            </a:r>
            <a:r>
              <a:rPr lang="de-DE" sz="1200" dirty="0" err="1" smtClean="0">
                <a:latin typeface="+mn-lt"/>
                <a:ea typeface="Gulim" pitchFamily="34" charset="-127"/>
              </a:rPr>
              <a:t>for</a:t>
            </a:r>
            <a:r>
              <a:rPr lang="de-DE" sz="1200" dirty="0" smtClean="0">
                <a:latin typeface="+mn-lt"/>
                <a:ea typeface="Gulim" pitchFamily="34" charset="-127"/>
              </a:rPr>
              <a:t> </a:t>
            </a:r>
            <a:r>
              <a:rPr lang="de-DE" sz="1200" dirty="0" err="1" smtClean="0">
                <a:latin typeface="+mn-lt"/>
                <a:ea typeface="Gulim" pitchFamily="34" charset="-127"/>
              </a:rPr>
              <a:t>torque</a:t>
            </a:r>
            <a:r>
              <a:rPr lang="de-DE" sz="1200" dirty="0" smtClean="0">
                <a:latin typeface="+mn-lt"/>
                <a:ea typeface="Gulim" pitchFamily="34" charset="-127"/>
              </a:rPr>
              <a:t> </a:t>
            </a:r>
            <a:r>
              <a:rPr lang="de-DE" sz="1200" dirty="0" err="1" smtClean="0">
                <a:latin typeface="+mn-lt"/>
                <a:ea typeface="Gulim" pitchFamily="34" charset="-127"/>
              </a:rPr>
              <a:t>wrench</a:t>
            </a:r>
            <a:endParaRPr lang="de-DE" sz="1200" dirty="0">
              <a:latin typeface="+mn-lt"/>
              <a:ea typeface="Gulim" pitchFamily="34" charset="-127"/>
            </a:endParaRPr>
          </a:p>
          <a:p>
            <a:pPr marL="579621" lvl="1" indent="-122467">
              <a:buFont typeface="Courier New" panose="02070309020205020404" pitchFamily="49" charset="0"/>
              <a:buChar char="o"/>
            </a:pPr>
            <a:r>
              <a:rPr lang="de-DE" sz="1200" dirty="0" err="1" smtClean="0">
                <a:latin typeface="+mn-lt"/>
                <a:ea typeface="Gulim" pitchFamily="34" charset="-127"/>
              </a:rPr>
              <a:t>suppliers</a:t>
            </a:r>
            <a:r>
              <a:rPr lang="de-DE" sz="1200" dirty="0" smtClean="0">
                <a:latin typeface="+mn-lt"/>
                <a:ea typeface="Gulim" pitchFamily="34" charset="-127"/>
              </a:rPr>
              <a:t> </a:t>
            </a:r>
            <a:r>
              <a:rPr lang="de-DE" sz="1200" dirty="0" err="1" smtClean="0">
                <a:latin typeface="+mn-lt"/>
                <a:ea typeface="Gulim" pitchFamily="34" charset="-127"/>
              </a:rPr>
              <a:t>accessories</a:t>
            </a:r>
            <a:r>
              <a:rPr lang="de-DE" sz="1200" dirty="0" smtClean="0">
                <a:latin typeface="+mn-lt"/>
                <a:ea typeface="Gulim" pitchFamily="34" charset="-127"/>
              </a:rPr>
              <a:t> </a:t>
            </a:r>
            <a:r>
              <a:rPr lang="de-DE" sz="1200" dirty="0" err="1" smtClean="0">
                <a:latin typeface="+mn-lt"/>
                <a:ea typeface="Gulim" pitchFamily="34" charset="-127"/>
              </a:rPr>
              <a:t>kit</a:t>
            </a:r>
            <a:r>
              <a:rPr lang="de-DE" sz="1200" dirty="0" smtClean="0">
                <a:latin typeface="+mn-lt"/>
                <a:ea typeface="Gulim" pitchFamily="34" charset="-127"/>
              </a:rPr>
              <a:t> </a:t>
            </a:r>
            <a:r>
              <a:rPr lang="de-DE" sz="1200" dirty="0" err="1" smtClean="0">
                <a:latin typeface="+mn-lt"/>
                <a:ea typeface="Gulim" pitchFamily="34" charset="-127"/>
              </a:rPr>
              <a:t>with</a:t>
            </a:r>
            <a:r>
              <a:rPr lang="de-DE" sz="1200" dirty="0" smtClean="0">
                <a:latin typeface="+mn-lt"/>
                <a:ea typeface="Gulim" pitchFamily="34" charset="-127"/>
              </a:rPr>
              <a:t> </a:t>
            </a:r>
            <a:r>
              <a:rPr lang="de-DE" sz="1200" dirty="0" err="1" smtClean="0">
                <a:latin typeface="+mn-lt"/>
                <a:ea typeface="Gulim" pitchFamily="34" charset="-127"/>
              </a:rPr>
              <a:t>incorrect</a:t>
            </a:r>
            <a:r>
              <a:rPr lang="de-DE" sz="1200" dirty="0" smtClean="0">
                <a:latin typeface="+mn-lt"/>
                <a:ea typeface="Gulim" pitchFamily="34" charset="-127"/>
              </a:rPr>
              <a:t> </a:t>
            </a:r>
            <a:r>
              <a:rPr lang="de-DE" sz="1200" dirty="0" err="1" smtClean="0">
                <a:latin typeface="+mn-lt"/>
                <a:ea typeface="Gulim" pitchFamily="34" charset="-127"/>
              </a:rPr>
              <a:t>bolts</a:t>
            </a:r>
            <a:endParaRPr lang="de-DE" sz="1200" dirty="0">
              <a:latin typeface="+mn-lt"/>
              <a:ea typeface="Gulim" pitchFamily="34" charset="-127"/>
            </a:endParaRPr>
          </a:p>
          <a:p>
            <a:pPr marL="579621" lvl="1" indent="-122467">
              <a:buFont typeface="Courier New" panose="02070309020205020404" pitchFamily="49" charset="0"/>
              <a:buChar char="o"/>
            </a:pPr>
            <a:r>
              <a:rPr lang="de-DE" sz="1200" dirty="0" err="1" smtClean="0">
                <a:latin typeface="+mn-lt"/>
                <a:ea typeface="Gulim" pitchFamily="34" charset="-127"/>
              </a:rPr>
              <a:t>wrong</a:t>
            </a:r>
            <a:r>
              <a:rPr lang="de-DE" sz="1200" dirty="0" smtClean="0">
                <a:latin typeface="+mn-lt"/>
                <a:ea typeface="Gulim" pitchFamily="34" charset="-127"/>
              </a:rPr>
              <a:t> </a:t>
            </a:r>
            <a:r>
              <a:rPr lang="de-DE" sz="1200" dirty="0" err="1" smtClean="0">
                <a:latin typeface="+mn-lt"/>
                <a:ea typeface="Gulim" pitchFamily="34" charset="-127"/>
              </a:rPr>
              <a:t>or</a:t>
            </a:r>
            <a:r>
              <a:rPr lang="de-DE" sz="1200" dirty="0" smtClean="0">
                <a:latin typeface="+mn-lt"/>
                <a:ea typeface="Gulim" pitchFamily="34" charset="-127"/>
              </a:rPr>
              <a:t> </a:t>
            </a:r>
            <a:r>
              <a:rPr lang="de-DE" sz="1200" dirty="0" err="1" smtClean="0">
                <a:latin typeface="+mn-lt"/>
                <a:ea typeface="Gulim" pitchFamily="34" charset="-127"/>
              </a:rPr>
              <a:t>inefficient</a:t>
            </a:r>
            <a:r>
              <a:rPr lang="de-DE" sz="1200" dirty="0" smtClean="0">
                <a:latin typeface="+mn-lt"/>
                <a:ea typeface="Gulim" pitchFamily="34" charset="-127"/>
              </a:rPr>
              <a:t> </a:t>
            </a:r>
            <a:r>
              <a:rPr lang="de-DE" sz="1200" dirty="0" err="1" smtClean="0">
                <a:latin typeface="+mn-lt"/>
                <a:ea typeface="Gulim" pitchFamily="34" charset="-127"/>
              </a:rPr>
              <a:t>adjustment</a:t>
            </a:r>
            <a:r>
              <a:rPr lang="de-DE" sz="1200" dirty="0" smtClean="0">
                <a:latin typeface="+mn-lt"/>
                <a:ea typeface="Gulim" pitchFamily="34" charset="-127"/>
              </a:rPr>
              <a:t> </a:t>
            </a:r>
            <a:r>
              <a:rPr lang="de-DE" sz="1200" dirty="0" err="1" smtClean="0">
                <a:latin typeface="+mn-lt"/>
                <a:ea typeface="Gulim" pitchFamily="34" charset="-127"/>
              </a:rPr>
              <a:t>gear</a:t>
            </a:r>
            <a:endParaRPr lang="de-DE" sz="1200" dirty="0" smtClean="0">
              <a:latin typeface="+mn-lt"/>
              <a:ea typeface="Gulim" pitchFamily="34" charset="-127"/>
            </a:endParaRPr>
          </a:p>
          <a:p>
            <a:pPr marL="579621" lvl="1" indent="-122467">
              <a:buFont typeface="Courier New" panose="02070309020205020404" pitchFamily="49" charset="0"/>
              <a:buChar char="o"/>
            </a:pPr>
            <a:r>
              <a:rPr lang="de-DE" sz="1200" dirty="0" err="1" smtClean="0">
                <a:latin typeface="+mn-lt"/>
                <a:ea typeface="Gulim" pitchFamily="34" charset="-127"/>
              </a:rPr>
              <a:t>correct</a:t>
            </a:r>
            <a:r>
              <a:rPr lang="de-DE" sz="1200" dirty="0" smtClean="0">
                <a:latin typeface="+mn-lt"/>
                <a:ea typeface="Gulim" pitchFamily="34" charset="-127"/>
              </a:rPr>
              <a:t> </a:t>
            </a:r>
            <a:r>
              <a:rPr lang="de-DE" sz="1200" dirty="0" err="1" smtClean="0">
                <a:latin typeface="+mn-lt"/>
                <a:ea typeface="Gulim" pitchFamily="34" charset="-127"/>
              </a:rPr>
              <a:t>fixing</a:t>
            </a:r>
            <a:r>
              <a:rPr lang="de-DE" sz="1200" dirty="0" smtClean="0">
                <a:latin typeface="+mn-lt"/>
                <a:ea typeface="Gulim" pitchFamily="34" charset="-127"/>
              </a:rPr>
              <a:t> </a:t>
            </a:r>
            <a:r>
              <a:rPr lang="de-DE" sz="1200" dirty="0" err="1" smtClean="0">
                <a:latin typeface="+mn-lt"/>
                <a:ea typeface="Gulim" pitchFamily="34" charset="-127"/>
              </a:rPr>
              <a:t>accessory</a:t>
            </a:r>
            <a:r>
              <a:rPr lang="de-DE" sz="1200" dirty="0" smtClean="0">
                <a:latin typeface="+mn-lt"/>
                <a:ea typeface="Gulim" pitchFamily="34" charset="-127"/>
              </a:rPr>
              <a:t> (</a:t>
            </a:r>
            <a:r>
              <a:rPr lang="de-DE" sz="1200" dirty="0" err="1" smtClean="0">
                <a:latin typeface="+mn-lt"/>
                <a:ea typeface="Gulim" pitchFamily="34" charset="-127"/>
              </a:rPr>
              <a:t>rubber</a:t>
            </a:r>
            <a:r>
              <a:rPr lang="de-DE" sz="1200" dirty="0" smtClean="0">
                <a:latin typeface="+mn-lt"/>
                <a:ea typeface="Gulim" pitchFamily="34" charset="-127"/>
              </a:rPr>
              <a:t> </a:t>
            </a:r>
            <a:r>
              <a:rPr lang="de-DE" sz="1200" dirty="0" err="1" smtClean="0">
                <a:latin typeface="+mn-lt"/>
                <a:ea typeface="Gulim" pitchFamily="34" charset="-127"/>
              </a:rPr>
              <a:t>sheets</a:t>
            </a:r>
            <a:r>
              <a:rPr lang="de-DE" sz="1200" dirty="0" smtClean="0">
                <a:latin typeface="+mn-lt"/>
                <a:ea typeface="Gulim" pitchFamily="34" charset="-127"/>
              </a:rPr>
              <a:t>) not in </a:t>
            </a:r>
            <a:r>
              <a:rPr lang="de-DE" sz="1200" dirty="0" err="1" smtClean="0">
                <a:latin typeface="+mn-lt"/>
                <a:ea typeface="Gulim" pitchFamily="34" charset="-127"/>
              </a:rPr>
              <a:t>stock.g</a:t>
            </a:r>
            <a:r>
              <a:rPr lang="de-DE" sz="1200" dirty="0" smtClean="0">
                <a:latin typeface="+mn-lt"/>
                <a:ea typeface="Gulim" pitchFamily="34" charset="-127"/>
              </a:rPr>
              <a:t> </a:t>
            </a:r>
            <a:r>
              <a:rPr lang="de-DE" sz="1200" dirty="0" err="1" smtClean="0">
                <a:latin typeface="+mn-lt"/>
                <a:ea typeface="Gulim" pitchFamily="34" charset="-127"/>
              </a:rPr>
              <a:t>dimension</a:t>
            </a:r>
            <a:r>
              <a:rPr lang="de-DE" sz="1200" dirty="0" smtClean="0">
                <a:latin typeface="+mn-lt"/>
                <a:ea typeface="Gulim" pitchFamily="34" charset="-127"/>
              </a:rPr>
              <a:t>, </a:t>
            </a:r>
            <a:endParaRPr lang="de-DE" sz="1200" dirty="0">
              <a:latin typeface="+mn-lt"/>
              <a:ea typeface="Gulim" pitchFamily="34" charset="-127"/>
            </a:endParaRPr>
          </a:p>
        </p:txBody>
      </p:sp>
      <p:pic>
        <p:nvPicPr>
          <p:cNvPr id="42" name="Bild 5" descr="Computergenerierter Alternativtext:&#10;&#10;">
            <a:extLst>
              <a:ext uri="{FF2B5EF4-FFF2-40B4-BE49-F238E27FC236}">
                <a16:creationId xmlns:a16="http://schemas.microsoft.com/office/drawing/2014/main" id="{472184C2-8078-4E11-BB51-DE452F95D70B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23" b="9297"/>
          <a:stretch/>
        </p:blipFill>
        <p:spPr bwMode="auto">
          <a:xfrm>
            <a:off x="267463" y="4136222"/>
            <a:ext cx="1301786" cy="1874102"/>
          </a:xfrm>
          <a:prstGeom prst="rect">
            <a:avLst/>
          </a:prstGeom>
          <a:noFill/>
          <a:ln>
            <a:noFill/>
          </a:ln>
        </p:spPr>
      </p:pic>
      <p:pic>
        <p:nvPicPr>
          <p:cNvPr id="43" name="Bild 11" descr="Computergenerierter Alternativtext:&#10;&#10;">
            <a:extLst>
              <a:ext uri="{FF2B5EF4-FFF2-40B4-BE49-F238E27FC236}">
                <a16:creationId xmlns:a16="http://schemas.microsoft.com/office/drawing/2014/main" id="{8FD158EF-329F-4E6F-8203-ECEFB67784AB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669" b="9350"/>
          <a:stretch/>
        </p:blipFill>
        <p:spPr bwMode="auto">
          <a:xfrm>
            <a:off x="1612906" y="4136222"/>
            <a:ext cx="1301786" cy="1874102"/>
          </a:xfrm>
          <a:prstGeom prst="rect">
            <a:avLst/>
          </a:prstGeom>
          <a:noFill/>
          <a:ln>
            <a:noFill/>
          </a:ln>
        </p:spPr>
      </p:pic>
      <p:pic>
        <p:nvPicPr>
          <p:cNvPr id="44" name="Bild 12" descr="liltltlili\i &#10;$lilt/i\i\i &#10;Eltllli/t/i &#10;.tilililili\ &#10;Ulilt/tlil &#10;/١1 &#10;liltltltlt &#10;8! &#10;NIII}IV &#10;NihWE &#10;idi'ihil%ll &#10;i&quot;111112 &#10;diplf_ _0100712017: &#10;diplf_ 10100812017 &#10;أى ه ">
            <a:extLst>
              <a:ext uri="{FF2B5EF4-FFF2-40B4-BE49-F238E27FC236}">
                <a16:creationId xmlns:a16="http://schemas.microsoft.com/office/drawing/2014/main" id="{65C00DFA-A6A3-4C1B-A628-913DF3041FF2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23" b="9297"/>
          <a:stretch/>
        </p:blipFill>
        <p:spPr bwMode="auto">
          <a:xfrm>
            <a:off x="2959005" y="4136222"/>
            <a:ext cx="1301786" cy="1874102"/>
          </a:xfrm>
          <a:prstGeom prst="rect">
            <a:avLst/>
          </a:prstGeom>
          <a:noFill/>
          <a:ln>
            <a:noFill/>
          </a:ln>
        </p:spPr>
      </p:pic>
      <p:pic>
        <p:nvPicPr>
          <p:cNvPr id="45" name="Bild 34" descr="١ ">
            <a:extLst>
              <a:ext uri="{FF2B5EF4-FFF2-40B4-BE49-F238E27FC236}">
                <a16:creationId xmlns:a16="http://schemas.microsoft.com/office/drawing/2014/main" id="{F3A21459-D4E1-46AA-872F-6AB50765760B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23" b="9297"/>
          <a:stretch/>
        </p:blipFill>
        <p:spPr bwMode="auto">
          <a:xfrm>
            <a:off x="4304448" y="4136222"/>
            <a:ext cx="1301786" cy="1874102"/>
          </a:xfrm>
          <a:prstGeom prst="rect">
            <a:avLst/>
          </a:prstGeom>
          <a:noFill/>
          <a:ln>
            <a:noFill/>
          </a:ln>
        </p:spPr>
      </p:pic>
      <p:pic>
        <p:nvPicPr>
          <p:cNvPr id="46" name="Bild 50" descr="iüiiäi &#10;iiii.' — : i &#10;aii•i• &#10;diplfeOlOOU017 ">
            <a:extLst>
              <a:ext uri="{FF2B5EF4-FFF2-40B4-BE49-F238E27FC236}">
                <a16:creationId xmlns:a16="http://schemas.microsoft.com/office/drawing/2014/main" id="{C9ACC887-14C8-4690-A4ED-5A707460C9AB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774" b="23644"/>
          <a:stretch/>
        </p:blipFill>
        <p:spPr bwMode="auto">
          <a:xfrm>
            <a:off x="5649891" y="4136222"/>
            <a:ext cx="1863106" cy="1874102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47" name="Bild 58" descr="C:\4A48CA25\E2E730DB-9506-40E6-B38E-3AA3AE7CC010-Dateien\image058.jpg">
            <a:extLst>
              <a:ext uri="{FF2B5EF4-FFF2-40B4-BE49-F238E27FC236}">
                <a16:creationId xmlns:a16="http://schemas.microsoft.com/office/drawing/2014/main" id="{0A8D9B65-766D-4258-82B9-7146D23D666F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723" b="9297"/>
          <a:stretch/>
        </p:blipFill>
        <p:spPr bwMode="auto">
          <a:xfrm>
            <a:off x="7556655" y="4136222"/>
            <a:ext cx="1301671" cy="1874102"/>
          </a:xfrm>
          <a:prstGeom prst="rect">
            <a:avLst/>
          </a:prstGeom>
          <a:noFill/>
          <a:ln>
            <a:noFill/>
          </a:ln>
        </p:spPr>
      </p:pic>
      <p:sp>
        <p:nvSpPr>
          <p:cNvPr id="48" name="Textfeld 47">
            <a:extLst>
              <a:ext uri="{FF2B5EF4-FFF2-40B4-BE49-F238E27FC236}">
                <a16:creationId xmlns:a16="http://schemas.microsoft.com/office/drawing/2014/main" id="{FCE7E459-282A-4439-89B6-77639FB1007C}"/>
              </a:ext>
            </a:extLst>
          </p:cNvPr>
          <p:cNvSpPr txBox="1"/>
          <p:nvPr/>
        </p:nvSpPr>
        <p:spPr>
          <a:xfrm>
            <a:off x="200086" y="5985574"/>
            <a:ext cx="1215397" cy="2022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714" dirty="0" err="1" smtClean="0">
                <a:latin typeface="+mn-lt"/>
              </a:rPr>
              <a:t>Consignment</a:t>
            </a:r>
            <a:r>
              <a:rPr lang="de-DE" sz="714" dirty="0" smtClean="0">
                <a:latin typeface="+mn-lt"/>
              </a:rPr>
              <a:t> </a:t>
            </a:r>
            <a:r>
              <a:rPr lang="de-DE" sz="714" dirty="0" err="1" smtClean="0">
                <a:latin typeface="+mn-lt"/>
              </a:rPr>
              <a:t>base</a:t>
            </a:r>
            <a:r>
              <a:rPr lang="de-DE" sz="714" dirty="0" smtClean="0">
                <a:latin typeface="+mn-lt"/>
              </a:rPr>
              <a:t> </a:t>
            </a:r>
            <a:r>
              <a:rPr lang="de-DE" sz="714" dirty="0" err="1" smtClean="0">
                <a:latin typeface="+mn-lt"/>
              </a:rPr>
              <a:t>frame</a:t>
            </a:r>
            <a:endParaRPr lang="de-DE" sz="714" dirty="0">
              <a:latin typeface="+mn-lt"/>
            </a:endParaRP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255898A0-9380-4394-8363-D40AE1CC2D19}"/>
              </a:ext>
            </a:extLst>
          </p:cNvPr>
          <p:cNvSpPr txBox="1"/>
          <p:nvPr/>
        </p:nvSpPr>
        <p:spPr>
          <a:xfrm>
            <a:off x="1568594" y="5985574"/>
            <a:ext cx="1061509" cy="2022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714" dirty="0" err="1" smtClean="0">
                <a:latin typeface="+mn-lt"/>
              </a:rPr>
              <a:t>Consignment</a:t>
            </a:r>
            <a:r>
              <a:rPr lang="de-DE" sz="714" dirty="0" smtClean="0">
                <a:latin typeface="+mn-lt"/>
              </a:rPr>
              <a:t> </a:t>
            </a:r>
            <a:r>
              <a:rPr lang="de-DE" sz="714" dirty="0" err="1" smtClean="0">
                <a:latin typeface="+mn-lt"/>
              </a:rPr>
              <a:t>magnet</a:t>
            </a:r>
            <a:endParaRPr lang="de-DE" sz="714" dirty="0">
              <a:latin typeface="+mn-lt"/>
            </a:endParaRP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DB905AA6-8595-444A-BC9A-00717B363D97}"/>
              </a:ext>
            </a:extLst>
          </p:cNvPr>
          <p:cNvSpPr txBox="1"/>
          <p:nvPr/>
        </p:nvSpPr>
        <p:spPr>
          <a:xfrm>
            <a:off x="2894937" y="5985575"/>
            <a:ext cx="1471878" cy="2022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714" dirty="0">
                <a:latin typeface="+mn-lt"/>
              </a:rPr>
              <a:t> </a:t>
            </a:r>
            <a:r>
              <a:rPr lang="de-DE" sz="714" dirty="0" err="1" smtClean="0">
                <a:latin typeface="+mn-lt"/>
              </a:rPr>
              <a:t>Pre-assembly</a:t>
            </a:r>
            <a:r>
              <a:rPr lang="de-DE" sz="714" dirty="0" smtClean="0">
                <a:latin typeface="+mn-lt"/>
              </a:rPr>
              <a:t> </a:t>
            </a:r>
            <a:r>
              <a:rPr lang="de-DE" sz="714" dirty="0" err="1" smtClean="0">
                <a:latin typeface="+mn-lt"/>
              </a:rPr>
              <a:t>magnet</a:t>
            </a:r>
            <a:r>
              <a:rPr lang="de-DE" sz="714" dirty="0" smtClean="0">
                <a:latin typeface="+mn-lt"/>
              </a:rPr>
              <a:t> </a:t>
            </a:r>
            <a:r>
              <a:rPr lang="de-DE" sz="714" dirty="0" err="1" smtClean="0">
                <a:latin typeface="+mn-lt"/>
              </a:rPr>
              <a:t>to</a:t>
            </a:r>
            <a:r>
              <a:rPr lang="de-DE" sz="714" dirty="0" smtClean="0">
                <a:latin typeface="+mn-lt"/>
              </a:rPr>
              <a:t> </a:t>
            </a:r>
            <a:r>
              <a:rPr lang="de-DE" sz="714" dirty="0" err="1" smtClean="0">
                <a:latin typeface="+mn-lt"/>
              </a:rPr>
              <a:t>frame</a:t>
            </a:r>
            <a:endParaRPr lang="de-DE" sz="714" dirty="0">
              <a:latin typeface="+mn-lt"/>
            </a:endParaRP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BE1A1C13-701D-49A3-B5B1-4D1A210956BB}"/>
              </a:ext>
            </a:extLst>
          </p:cNvPr>
          <p:cNvSpPr txBox="1"/>
          <p:nvPr/>
        </p:nvSpPr>
        <p:spPr>
          <a:xfrm>
            <a:off x="4631649" y="5985573"/>
            <a:ext cx="558166" cy="2022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714" dirty="0" err="1" smtClean="0">
                <a:latin typeface="+mn-lt"/>
              </a:rPr>
              <a:t>Opening</a:t>
            </a:r>
            <a:r>
              <a:rPr lang="de-DE" sz="714" dirty="0" smtClean="0">
                <a:latin typeface="+mn-lt"/>
              </a:rPr>
              <a:t> </a:t>
            </a:r>
            <a:endParaRPr lang="de-DE" sz="714" dirty="0">
              <a:latin typeface="+mn-lt"/>
            </a:endParaRP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4485D92D-67FB-468D-AFC0-36E110050702}"/>
              </a:ext>
            </a:extLst>
          </p:cNvPr>
          <p:cNvSpPr txBox="1"/>
          <p:nvPr/>
        </p:nvSpPr>
        <p:spPr>
          <a:xfrm>
            <a:off x="5575104" y="5985574"/>
            <a:ext cx="1354858" cy="2022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714" dirty="0" smtClean="0">
                <a:latin typeface="+mn-lt"/>
              </a:rPr>
              <a:t>Integration </a:t>
            </a:r>
            <a:r>
              <a:rPr lang="de-DE" sz="714" dirty="0" err="1" smtClean="0">
                <a:latin typeface="+mn-lt"/>
              </a:rPr>
              <a:t>vacuum</a:t>
            </a:r>
            <a:r>
              <a:rPr lang="de-DE" sz="714" dirty="0" smtClean="0">
                <a:latin typeface="+mn-lt"/>
              </a:rPr>
              <a:t> </a:t>
            </a:r>
            <a:r>
              <a:rPr lang="de-DE" sz="714" dirty="0" err="1" smtClean="0">
                <a:latin typeface="+mn-lt"/>
              </a:rPr>
              <a:t>chamber</a:t>
            </a:r>
            <a:endParaRPr lang="de-DE" sz="714" dirty="0">
              <a:latin typeface="+mn-lt"/>
            </a:endParaRP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48459579-ABDB-4543-96A0-27D480E5793E}"/>
              </a:ext>
            </a:extLst>
          </p:cNvPr>
          <p:cNvSpPr txBox="1"/>
          <p:nvPr/>
        </p:nvSpPr>
        <p:spPr>
          <a:xfrm>
            <a:off x="7556655" y="5985574"/>
            <a:ext cx="1402948" cy="3121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14" dirty="0" err="1" smtClean="0">
                <a:latin typeface="+mn-lt"/>
              </a:rPr>
              <a:t>Adjustment</a:t>
            </a:r>
            <a:r>
              <a:rPr lang="de-DE" sz="714" dirty="0" smtClean="0">
                <a:latin typeface="+mn-lt"/>
              </a:rPr>
              <a:t> </a:t>
            </a:r>
            <a:r>
              <a:rPr lang="de-DE" sz="714" dirty="0" err="1" smtClean="0">
                <a:latin typeface="+mn-lt"/>
              </a:rPr>
              <a:t>vacuum</a:t>
            </a:r>
            <a:r>
              <a:rPr lang="de-DE" sz="714" dirty="0" smtClean="0">
                <a:latin typeface="+mn-lt"/>
              </a:rPr>
              <a:t> </a:t>
            </a:r>
            <a:r>
              <a:rPr lang="de-DE" sz="714" dirty="0" err="1" smtClean="0">
                <a:latin typeface="+mn-lt"/>
              </a:rPr>
              <a:t>chamber</a:t>
            </a:r>
            <a:r>
              <a:rPr lang="de-DE" sz="714" dirty="0" smtClean="0">
                <a:latin typeface="+mn-lt"/>
              </a:rPr>
              <a:t> </a:t>
            </a:r>
            <a:r>
              <a:rPr lang="de-DE" sz="714" dirty="0" err="1" smtClean="0">
                <a:latin typeface="+mn-lt"/>
              </a:rPr>
              <a:t>inside</a:t>
            </a:r>
            <a:r>
              <a:rPr lang="de-DE" sz="714" dirty="0" smtClean="0">
                <a:latin typeface="+mn-lt"/>
              </a:rPr>
              <a:t> </a:t>
            </a:r>
            <a:r>
              <a:rPr lang="de-DE" sz="714" dirty="0" err="1" smtClean="0">
                <a:latin typeface="+mn-lt"/>
              </a:rPr>
              <a:t>magnet</a:t>
            </a:r>
            <a:endParaRPr lang="de-DE" sz="714" dirty="0">
              <a:latin typeface="+mn-lt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C688F688-61A6-41D7-968C-729B7265E2A7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4662010" y="1390315"/>
            <a:ext cx="4365486" cy="267765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/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300"/>
              </a:spcAft>
              <a:buClr>
                <a:srgbClr val="52328F"/>
              </a:buClr>
              <a:buFont typeface="Wingdings" panose="05000000000000000000" pitchFamily="2" charset="2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Font typeface="Wingdings" panose="05000000000000000000" pitchFamily="2" charset="2"/>
              <a:buChar char="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52328F"/>
              </a:buClr>
              <a:buSzPct val="100000"/>
              <a:buFont typeface="Symbol" panose="05050102010706020507" pitchFamily="18" charset="2"/>
              <a:buChar char="-"/>
              <a:defRPr lang="en-US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lang="en-US" sz="14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0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00000" indent="-180000" algn="l" defTabSz="914400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28BECD"/>
              </a:buClr>
              <a:buSzPct val="100000"/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buClr>
                <a:srgbClr val="0070C0"/>
              </a:buClr>
              <a:buNone/>
            </a:pPr>
            <a:r>
              <a:rPr lang="de-DE" sz="1200" b="1" dirty="0" smtClean="0"/>
              <a:t>Workshop </a:t>
            </a:r>
            <a:r>
              <a:rPr lang="de-DE" sz="1200" b="1" dirty="0" err="1" smtClean="0"/>
              <a:t>Conclusion</a:t>
            </a:r>
            <a:endParaRPr lang="de-DE" sz="1200" b="1" dirty="0" smtClean="0"/>
          </a:p>
          <a:p>
            <a:pPr marL="0" lvl="1" indent="0">
              <a:buClr>
                <a:srgbClr val="0070C0"/>
              </a:buClr>
              <a:buNone/>
            </a:pPr>
            <a:r>
              <a:rPr lang="de-DE" sz="1200" dirty="0" err="1" smtClean="0"/>
              <a:t>Preassembly</a:t>
            </a:r>
            <a:r>
              <a:rPr lang="de-DE" sz="1200" dirty="0" smtClean="0"/>
              <a:t> </a:t>
            </a:r>
            <a:r>
              <a:rPr lang="de-DE" sz="1200" dirty="0" err="1" smtClean="0"/>
              <a:t>of</a:t>
            </a:r>
            <a:r>
              <a:rPr lang="de-DE" sz="1200" dirty="0" smtClean="0"/>
              <a:t> all </a:t>
            </a:r>
            <a:r>
              <a:rPr lang="de-DE" sz="1200" dirty="0" err="1" smtClean="0"/>
              <a:t>components</a:t>
            </a:r>
            <a:r>
              <a:rPr lang="de-DE" sz="1200" dirty="0" smtClean="0"/>
              <a:t> at GSI </a:t>
            </a:r>
            <a:r>
              <a:rPr lang="de-DE" sz="1200" dirty="0" err="1" smtClean="0"/>
              <a:t>have</a:t>
            </a:r>
            <a:r>
              <a:rPr lang="de-DE" sz="1200" dirty="0" smtClean="0"/>
              <a:t> </a:t>
            </a:r>
            <a:r>
              <a:rPr lang="de-DE" sz="1200" dirty="0" err="1" smtClean="0"/>
              <a:t>to</a:t>
            </a:r>
            <a:r>
              <a:rPr lang="de-DE" sz="1200" dirty="0" smtClean="0"/>
              <a:t> </a:t>
            </a:r>
            <a:r>
              <a:rPr lang="de-DE" sz="1200" dirty="0" err="1" smtClean="0"/>
              <a:t>be</a:t>
            </a:r>
            <a:r>
              <a:rPr lang="de-DE" sz="1200" dirty="0" smtClean="0"/>
              <a:t> </a:t>
            </a:r>
            <a:r>
              <a:rPr lang="de-DE" sz="1200" dirty="0" err="1" smtClean="0"/>
              <a:t>coordinated</a:t>
            </a:r>
            <a:r>
              <a:rPr lang="de-DE" sz="1200" dirty="0" smtClean="0"/>
              <a:t> </a:t>
            </a:r>
            <a:r>
              <a:rPr lang="de-DE" sz="1200" dirty="0" err="1" smtClean="0"/>
              <a:t>and</a:t>
            </a:r>
            <a:r>
              <a:rPr lang="de-DE" sz="1200" dirty="0" smtClean="0"/>
              <a:t> </a:t>
            </a:r>
            <a:r>
              <a:rPr lang="de-DE" sz="1200" dirty="0" err="1" smtClean="0"/>
              <a:t>centrally</a:t>
            </a:r>
            <a:r>
              <a:rPr lang="de-DE" sz="1200" dirty="0" smtClean="0"/>
              <a:t> </a:t>
            </a:r>
            <a:r>
              <a:rPr lang="de-DE" sz="1200" dirty="0" err="1" smtClean="0"/>
              <a:t>managed</a:t>
            </a:r>
            <a:r>
              <a:rPr lang="de-DE" sz="1200" dirty="0" smtClean="0"/>
              <a:t> in </a:t>
            </a:r>
            <a:r>
              <a:rPr lang="de-DE" sz="1200" dirty="0" err="1" smtClean="0"/>
              <a:t>order</a:t>
            </a:r>
            <a:endParaRPr lang="de-DE" sz="1200" dirty="0" smtClean="0"/>
          </a:p>
          <a:p>
            <a:pPr lvl="1"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de-DE" sz="1200" dirty="0" err="1" smtClean="0"/>
              <a:t>to</a:t>
            </a:r>
            <a:r>
              <a:rPr lang="de-DE" sz="1200" dirty="0" smtClean="0"/>
              <a:t> </a:t>
            </a:r>
            <a:r>
              <a:rPr lang="de-DE" sz="1200" dirty="0" err="1" smtClean="0"/>
              <a:t>optimise</a:t>
            </a:r>
            <a:r>
              <a:rPr lang="de-DE" sz="1200" dirty="0" smtClean="0"/>
              <a:t> </a:t>
            </a:r>
            <a:r>
              <a:rPr lang="de-DE" sz="1200" dirty="0" err="1" smtClean="0"/>
              <a:t>processes</a:t>
            </a:r>
            <a:endParaRPr lang="de-DE" sz="1200" dirty="0" smtClean="0"/>
          </a:p>
          <a:p>
            <a:pPr lvl="1"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de-DE" sz="1200" dirty="0" err="1" smtClean="0"/>
              <a:t>to</a:t>
            </a:r>
            <a:r>
              <a:rPr lang="de-DE" sz="1200" dirty="0" smtClean="0"/>
              <a:t> </a:t>
            </a:r>
            <a:r>
              <a:rPr lang="de-DE" sz="1200" dirty="0" err="1" smtClean="0"/>
              <a:t>make</a:t>
            </a:r>
            <a:r>
              <a:rPr lang="de-DE" sz="1200" dirty="0" smtClean="0"/>
              <a:t> optimal </a:t>
            </a:r>
            <a:r>
              <a:rPr lang="de-DE" sz="1200" dirty="0" err="1" smtClean="0"/>
              <a:t>use</a:t>
            </a:r>
            <a:r>
              <a:rPr lang="de-DE" sz="1200" dirty="0" smtClean="0"/>
              <a:t> </a:t>
            </a:r>
            <a:r>
              <a:rPr lang="de-DE" sz="1200" dirty="0" err="1" smtClean="0"/>
              <a:t>of</a:t>
            </a:r>
            <a:r>
              <a:rPr lang="de-DE" sz="1200" dirty="0" smtClean="0"/>
              <a:t> </a:t>
            </a:r>
            <a:r>
              <a:rPr lang="de-DE" sz="1200" dirty="0" err="1" smtClean="0"/>
              <a:t>available</a:t>
            </a:r>
            <a:r>
              <a:rPr lang="de-DE" sz="1200" dirty="0" smtClean="0"/>
              <a:t> </a:t>
            </a:r>
            <a:r>
              <a:rPr lang="de-DE" sz="1200" dirty="0" err="1" smtClean="0"/>
              <a:t>space</a:t>
            </a:r>
            <a:r>
              <a:rPr lang="de-DE" sz="1200" dirty="0" smtClean="0"/>
              <a:t>, </a:t>
            </a:r>
            <a:r>
              <a:rPr lang="de-DE" sz="1200" dirty="0" err="1" smtClean="0"/>
              <a:t>capacities</a:t>
            </a:r>
            <a:r>
              <a:rPr lang="de-DE" sz="1200" dirty="0" smtClean="0"/>
              <a:t> </a:t>
            </a:r>
            <a:r>
              <a:rPr lang="de-DE" sz="1200" dirty="0" err="1" smtClean="0"/>
              <a:t>and</a:t>
            </a:r>
            <a:r>
              <a:rPr lang="de-DE" sz="1200" dirty="0" smtClean="0"/>
              <a:t> </a:t>
            </a:r>
            <a:r>
              <a:rPr lang="de-DE" sz="1200" dirty="0" err="1" smtClean="0"/>
              <a:t>resources</a:t>
            </a:r>
            <a:r>
              <a:rPr lang="de-DE" sz="1200" dirty="0" smtClean="0"/>
              <a:t>.</a:t>
            </a:r>
          </a:p>
          <a:p>
            <a:pPr lvl="1">
              <a:buClr>
                <a:srgbClr val="0070C0"/>
              </a:buClr>
              <a:buFont typeface="Arial" panose="020B0604020202020204" pitchFamily="34" charset="0"/>
              <a:buChar char="•"/>
            </a:pPr>
            <a:r>
              <a:rPr lang="de-DE" sz="1200" dirty="0" err="1" smtClean="0"/>
              <a:t>to</a:t>
            </a:r>
            <a:r>
              <a:rPr lang="de-DE" sz="1200" dirty="0" smtClean="0"/>
              <a:t> </a:t>
            </a:r>
            <a:r>
              <a:rPr lang="de-DE" sz="1200" dirty="0" err="1" smtClean="0"/>
              <a:t>ensure</a:t>
            </a:r>
            <a:r>
              <a:rPr lang="de-DE" sz="1200" dirty="0" smtClean="0"/>
              <a:t> </a:t>
            </a:r>
            <a:r>
              <a:rPr lang="de-DE" sz="1200" dirty="0" err="1" smtClean="0"/>
              <a:t>timeous</a:t>
            </a:r>
            <a:r>
              <a:rPr lang="de-DE" sz="1200" dirty="0" smtClean="0"/>
              <a:t> </a:t>
            </a:r>
            <a:r>
              <a:rPr lang="de-DE" sz="1200" dirty="0" err="1" smtClean="0"/>
              <a:t>availability</a:t>
            </a:r>
            <a:r>
              <a:rPr lang="de-DE" sz="1200" dirty="0" smtClean="0"/>
              <a:t> </a:t>
            </a:r>
            <a:r>
              <a:rPr lang="de-DE" sz="1200" dirty="0" err="1" smtClean="0"/>
              <a:t>for</a:t>
            </a:r>
            <a:r>
              <a:rPr lang="de-DE" sz="1200" dirty="0" smtClean="0"/>
              <a:t> </a:t>
            </a:r>
            <a:r>
              <a:rPr lang="de-DE" sz="1200" dirty="0" err="1" smtClean="0"/>
              <a:t>installation</a:t>
            </a:r>
            <a:r>
              <a:rPr lang="de-DE" sz="1200" dirty="0" smtClean="0"/>
              <a:t> at FAIR</a:t>
            </a:r>
            <a:r>
              <a:rPr lang="de-DE" dirty="0" smtClean="0"/>
              <a:t>.</a:t>
            </a:r>
            <a:endParaRPr lang="de-DE" dirty="0"/>
          </a:p>
        </p:txBody>
      </p:sp>
      <p:sp>
        <p:nvSpPr>
          <p:cNvPr id="21" name="Textfeld 20"/>
          <p:cNvSpPr txBox="1"/>
          <p:nvPr/>
        </p:nvSpPr>
        <p:spPr>
          <a:xfrm>
            <a:off x="200086" y="954012"/>
            <a:ext cx="8827410" cy="400110"/>
          </a:xfrm>
          <a:prstGeom prst="rect">
            <a:avLst/>
          </a:prstGeom>
          <a:solidFill>
            <a:schemeClr val="accent1"/>
          </a:solidFill>
          <a:ln w="15875"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pPr lvl="0" algn="ctr" eaLnBrk="0" hangingPunct="0">
              <a:spcBef>
                <a:spcPct val="20000"/>
              </a:spcBef>
              <a:buClr>
                <a:srgbClr val="0066CC"/>
              </a:buClr>
            </a:pPr>
            <a:r>
              <a:rPr lang="de-DE" sz="2000" dirty="0" smtClean="0">
                <a:solidFill>
                  <a:srgbClr val="0070C0"/>
                </a:solidFill>
              </a:rPr>
              <a:t>HEBT Mini-workshop 01.08.2018 – Trial </a:t>
            </a:r>
            <a:r>
              <a:rPr lang="de-DE" sz="2000" dirty="0" err="1" smtClean="0">
                <a:solidFill>
                  <a:srgbClr val="0070C0"/>
                </a:solidFill>
              </a:rPr>
              <a:t>Assembly</a:t>
            </a:r>
            <a:r>
              <a:rPr lang="de-DE" sz="2000" dirty="0" smtClean="0">
                <a:solidFill>
                  <a:srgbClr val="0070C0"/>
                </a:solidFill>
              </a:rPr>
              <a:t> </a:t>
            </a:r>
            <a:r>
              <a:rPr lang="de-DE" sz="2000" dirty="0" err="1" smtClean="0">
                <a:solidFill>
                  <a:srgbClr val="0070C0"/>
                </a:solidFill>
              </a:rPr>
              <a:t>of</a:t>
            </a:r>
            <a:r>
              <a:rPr lang="de-DE" sz="2000" dirty="0" smtClean="0">
                <a:solidFill>
                  <a:srgbClr val="0070C0"/>
                </a:solidFill>
              </a:rPr>
              <a:t> a Dipole </a:t>
            </a:r>
            <a:endParaRPr lang="en-US" sz="2000" kern="0" dirty="0">
              <a:solidFill>
                <a:srgbClr val="0070C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727787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/>
          <p:cNvSpPr txBox="1">
            <a:spLocks/>
          </p:cNvSpPr>
          <p:nvPr/>
        </p:nvSpPr>
        <p:spPr>
          <a:xfrm>
            <a:off x="255545" y="29227"/>
            <a:ext cx="8605837" cy="792066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9pPr>
          </a:lstStyle>
          <a:p>
            <a:r>
              <a:rPr lang="en-US" kern="0" dirty="0" smtClean="0">
                <a:latin typeface="Calibri" panose="020F0502020204030204" pitchFamily="34" charset="0"/>
              </a:rPr>
              <a:t>FAIR Project Progress </a:t>
            </a:r>
            <a:endParaRPr lang="en-US" kern="0" dirty="0">
              <a:latin typeface="Calibri" panose="020F0502020204030204" pitchFamily="34" charset="0"/>
            </a:endParaRPr>
          </a:p>
          <a:p>
            <a:r>
              <a:rPr lang="en-US" sz="2000" kern="0" dirty="0" smtClean="0">
                <a:latin typeface="Calibri" panose="020F0502020204030204" pitchFamily="34" charset="0"/>
              </a:rPr>
              <a:t>Contracting Strategy - Civil Construction Packages</a:t>
            </a:r>
            <a:endParaRPr lang="en-US" sz="2000" kern="0" dirty="0">
              <a:latin typeface="Calibri" panose="020F0502020204030204" pitchFamily="34" charset="0"/>
            </a:endParaRP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67D205AF-C5FA-4BBB-B4C9-22B1D862066D}"/>
              </a:ext>
            </a:extLst>
          </p:cNvPr>
          <p:cNvGrpSpPr/>
          <p:nvPr/>
        </p:nvGrpSpPr>
        <p:grpSpPr>
          <a:xfrm>
            <a:off x="232285" y="1843574"/>
            <a:ext cx="5871279" cy="3673657"/>
            <a:chOff x="352801" y="1507341"/>
            <a:chExt cx="11907085" cy="7303741"/>
          </a:xfrm>
        </p:grpSpPr>
        <p:sp>
          <p:nvSpPr>
            <p:cNvPr id="8" name="Hintergrundbild">
              <a:extLst>
                <a:ext uri="{FF2B5EF4-FFF2-40B4-BE49-F238E27FC236}">
                  <a16:creationId xmlns:a16="http://schemas.microsoft.com/office/drawing/2014/main" id="{5714382C-B39B-4805-B069-AFFB058D4B6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52801" y="1507341"/>
              <a:ext cx="11907085" cy="7303741"/>
            </a:xfrm>
            <a:prstGeom prst="rect">
              <a:avLst/>
            </a:prstGeom>
            <a:blipFill dpi="0" rotWithShape="1">
              <a:blip r:embed="rId2" cstate="email">
                <a:alphaModFix amt="90000"/>
                <a:extLst>
                  <a:ext uri="{BEBA8EAE-BF5A-486C-A8C5-ECC9F3942E4B}">
                    <a14:imgProps xmlns:a14="http://schemas.microsoft.com/office/drawing/2010/main">
                      <a14:imgLayer r:embed="rId3">
                        <a14:imgEffect>
                          <a14:brightnessContrast bright="15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9525">
              <a:solidFill>
                <a:schemeClr val="tx1"/>
              </a:solidFill>
            </a:ln>
            <a:effectLst>
              <a:glow rad="127000"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de-DE" dirty="0"/>
            </a:p>
          </p:txBody>
        </p:sp>
        <p:sp>
          <p:nvSpPr>
            <p:cNvPr id="9" name="G004A">
              <a:extLst>
                <a:ext uri="{FF2B5EF4-FFF2-40B4-BE49-F238E27FC236}">
                  <a16:creationId xmlns:a16="http://schemas.microsoft.com/office/drawing/2014/main" id="{B50284C0-DF0A-4BDD-B4A7-FB4E0854B99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786847" y="4810059"/>
              <a:ext cx="924106" cy="412696"/>
            </a:xfrm>
            <a:custGeom>
              <a:avLst/>
              <a:gdLst>
                <a:gd name="connsiteX0" fmla="*/ 53340 w 1386840"/>
                <a:gd name="connsiteY0" fmla="*/ 556260 h 556260"/>
                <a:gd name="connsiteX1" fmla="*/ 914400 w 1386840"/>
                <a:gd name="connsiteY1" fmla="*/ 358140 h 556260"/>
                <a:gd name="connsiteX2" fmla="*/ 883920 w 1386840"/>
                <a:gd name="connsiteY2" fmla="*/ 274320 h 556260"/>
                <a:gd name="connsiteX3" fmla="*/ 1386840 w 1386840"/>
                <a:gd name="connsiteY3" fmla="*/ 167640 h 556260"/>
                <a:gd name="connsiteX4" fmla="*/ 1333500 w 1386840"/>
                <a:gd name="connsiteY4" fmla="*/ 0 h 556260"/>
                <a:gd name="connsiteX5" fmla="*/ 0 w 1386840"/>
                <a:gd name="connsiteY5" fmla="*/ 304800 h 556260"/>
                <a:gd name="connsiteX6" fmla="*/ 53340 w 1386840"/>
                <a:gd name="connsiteY6" fmla="*/ 556260 h 556260"/>
                <a:gd name="connsiteX0" fmla="*/ 53340 w 1386840"/>
                <a:gd name="connsiteY0" fmla="*/ 556260 h 585245"/>
                <a:gd name="connsiteX1" fmla="*/ 943678 w 1386840"/>
                <a:gd name="connsiteY1" fmla="*/ 585245 h 585245"/>
                <a:gd name="connsiteX2" fmla="*/ 883920 w 1386840"/>
                <a:gd name="connsiteY2" fmla="*/ 274320 h 585245"/>
                <a:gd name="connsiteX3" fmla="*/ 1386840 w 1386840"/>
                <a:gd name="connsiteY3" fmla="*/ 167640 h 585245"/>
                <a:gd name="connsiteX4" fmla="*/ 1333500 w 1386840"/>
                <a:gd name="connsiteY4" fmla="*/ 0 h 585245"/>
                <a:gd name="connsiteX5" fmla="*/ 0 w 1386840"/>
                <a:gd name="connsiteY5" fmla="*/ 304800 h 585245"/>
                <a:gd name="connsiteX6" fmla="*/ 53340 w 1386840"/>
                <a:gd name="connsiteY6" fmla="*/ 556260 h 585245"/>
                <a:gd name="connsiteX0" fmla="*/ 53340 w 1386840"/>
                <a:gd name="connsiteY0" fmla="*/ 556260 h 585245"/>
                <a:gd name="connsiteX1" fmla="*/ 943678 w 1386840"/>
                <a:gd name="connsiteY1" fmla="*/ 585245 h 585245"/>
                <a:gd name="connsiteX2" fmla="*/ 909015 w 1386840"/>
                <a:gd name="connsiteY2" fmla="*/ 260961 h 585245"/>
                <a:gd name="connsiteX3" fmla="*/ 1386840 w 1386840"/>
                <a:gd name="connsiteY3" fmla="*/ 167640 h 585245"/>
                <a:gd name="connsiteX4" fmla="*/ 1333500 w 1386840"/>
                <a:gd name="connsiteY4" fmla="*/ 0 h 585245"/>
                <a:gd name="connsiteX5" fmla="*/ 0 w 1386840"/>
                <a:gd name="connsiteY5" fmla="*/ 304800 h 585245"/>
                <a:gd name="connsiteX6" fmla="*/ 53340 w 1386840"/>
                <a:gd name="connsiteY6" fmla="*/ 556260 h 585245"/>
                <a:gd name="connsiteX0" fmla="*/ 53340 w 1386840"/>
                <a:gd name="connsiteY0" fmla="*/ 569936 h 598921"/>
                <a:gd name="connsiteX1" fmla="*/ 943678 w 1386840"/>
                <a:gd name="connsiteY1" fmla="*/ 598921 h 598921"/>
                <a:gd name="connsiteX2" fmla="*/ 909015 w 1386840"/>
                <a:gd name="connsiteY2" fmla="*/ 274637 h 598921"/>
                <a:gd name="connsiteX3" fmla="*/ 1386840 w 1386840"/>
                <a:gd name="connsiteY3" fmla="*/ 181316 h 598921"/>
                <a:gd name="connsiteX4" fmla="*/ 1333500 w 1386840"/>
                <a:gd name="connsiteY4" fmla="*/ 0 h 598921"/>
                <a:gd name="connsiteX5" fmla="*/ 0 w 1386840"/>
                <a:gd name="connsiteY5" fmla="*/ 318476 h 598921"/>
                <a:gd name="connsiteX6" fmla="*/ 53340 w 1386840"/>
                <a:gd name="connsiteY6" fmla="*/ 569936 h 598921"/>
                <a:gd name="connsiteX0" fmla="*/ 53340 w 1377239"/>
                <a:gd name="connsiteY0" fmla="*/ 569936 h 598921"/>
                <a:gd name="connsiteX1" fmla="*/ 943678 w 1377239"/>
                <a:gd name="connsiteY1" fmla="*/ 598921 h 598921"/>
                <a:gd name="connsiteX2" fmla="*/ 909015 w 1377239"/>
                <a:gd name="connsiteY2" fmla="*/ 274637 h 598921"/>
                <a:gd name="connsiteX3" fmla="*/ 1377239 w 1377239"/>
                <a:gd name="connsiteY3" fmla="*/ 177897 h 598921"/>
                <a:gd name="connsiteX4" fmla="*/ 1333500 w 1377239"/>
                <a:gd name="connsiteY4" fmla="*/ 0 h 598921"/>
                <a:gd name="connsiteX5" fmla="*/ 0 w 1377239"/>
                <a:gd name="connsiteY5" fmla="*/ 318476 h 598921"/>
                <a:gd name="connsiteX6" fmla="*/ 53340 w 1377239"/>
                <a:gd name="connsiteY6" fmla="*/ 569936 h 598921"/>
                <a:gd name="connsiteX0" fmla="*/ 0 w 1323899"/>
                <a:gd name="connsiteY0" fmla="*/ 569936 h 598921"/>
                <a:gd name="connsiteX1" fmla="*/ 890338 w 1323899"/>
                <a:gd name="connsiteY1" fmla="*/ 598921 h 598921"/>
                <a:gd name="connsiteX2" fmla="*/ 855675 w 1323899"/>
                <a:gd name="connsiteY2" fmla="*/ 274637 h 598921"/>
                <a:gd name="connsiteX3" fmla="*/ 1323899 w 1323899"/>
                <a:gd name="connsiteY3" fmla="*/ 177897 h 598921"/>
                <a:gd name="connsiteX4" fmla="*/ 1280160 w 1323899"/>
                <a:gd name="connsiteY4" fmla="*/ 0 h 598921"/>
                <a:gd name="connsiteX5" fmla="*/ 554717 w 1323899"/>
                <a:gd name="connsiteY5" fmla="*/ 157783 h 598921"/>
                <a:gd name="connsiteX6" fmla="*/ 0 w 1323899"/>
                <a:gd name="connsiteY6" fmla="*/ 569936 h 598921"/>
                <a:gd name="connsiteX0" fmla="*/ 0 w 1323899"/>
                <a:gd name="connsiteY0" fmla="*/ 569936 h 598921"/>
                <a:gd name="connsiteX1" fmla="*/ 890338 w 1323899"/>
                <a:gd name="connsiteY1" fmla="*/ 598921 h 598921"/>
                <a:gd name="connsiteX2" fmla="*/ 855675 w 1323899"/>
                <a:gd name="connsiteY2" fmla="*/ 274637 h 598921"/>
                <a:gd name="connsiteX3" fmla="*/ 1323899 w 1323899"/>
                <a:gd name="connsiteY3" fmla="*/ 177897 h 598921"/>
                <a:gd name="connsiteX4" fmla="*/ 1280160 w 1323899"/>
                <a:gd name="connsiteY4" fmla="*/ 0 h 598921"/>
                <a:gd name="connsiteX5" fmla="*/ 543373 w 1323899"/>
                <a:gd name="connsiteY5" fmla="*/ 166898 h 598921"/>
                <a:gd name="connsiteX6" fmla="*/ 0 w 1323899"/>
                <a:gd name="connsiteY6" fmla="*/ 569936 h 598921"/>
                <a:gd name="connsiteX0" fmla="*/ 0 w 1323899"/>
                <a:gd name="connsiteY0" fmla="*/ 569936 h 598921"/>
                <a:gd name="connsiteX1" fmla="*/ 890338 w 1323899"/>
                <a:gd name="connsiteY1" fmla="*/ 598921 h 598921"/>
                <a:gd name="connsiteX2" fmla="*/ 855675 w 1323899"/>
                <a:gd name="connsiteY2" fmla="*/ 274637 h 598921"/>
                <a:gd name="connsiteX3" fmla="*/ 1323899 w 1323899"/>
                <a:gd name="connsiteY3" fmla="*/ 177897 h 598921"/>
                <a:gd name="connsiteX4" fmla="*/ 1280160 w 1323899"/>
                <a:gd name="connsiteY4" fmla="*/ 0 h 598921"/>
                <a:gd name="connsiteX5" fmla="*/ 549045 w 1323899"/>
                <a:gd name="connsiteY5" fmla="*/ 169937 h 598921"/>
                <a:gd name="connsiteX6" fmla="*/ 0 w 1323899"/>
                <a:gd name="connsiteY6" fmla="*/ 569936 h 598921"/>
                <a:gd name="connsiteX0" fmla="*/ 0 w 1323899"/>
                <a:gd name="connsiteY0" fmla="*/ 569936 h 598921"/>
                <a:gd name="connsiteX1" fmla="*/ 890338 w 1323899"/>
                <a:gd name="connsiteY1" fmla="*/ 598921 h 598921"/>
                <a:gd name="connsiteX2" fmla="*/ 855675 w 1323899"/>
                <a:gd name="connsiteY2" fmla="*/ 274637 h 598921"/>
                <a:gd name="connsiteX3" fmla="*/ 1323899 w 1323899"/>
                <a:gd name="connsiteY3" fmla="*/ 177897 h 598921"/>
                <a:gd name="connsiteX4" fmla="*/ 1280160 w 1323899"/>
                <a:gd name="connsiteY4" fmla="*/ 0 h 598921"/>
                <a:gd name="connsiteX5" fmla="*/ 549045 w 1323899"/>
                <a:gd name="connsiteY5" fmla="*/ 169937 h 598921"/>
                <a:gd name="connsiteX6" fmla="*/ 274115 w 1323899"/>
                <a:gd name="connsiteY6" fmla="*/ 362498 h 598921"/>
                <a:gd name="connsiteX7" fmla="*/ 0 w 1323899"/>
                <a:gd name="connsiteY7" fmla="*/ 569936 h 598921"/>
                <a:gd name="connsiteX0" fmla="*/ 0 w 1323899"/>
                <a:gd name="connsiteY0" fmla="*/ 569936 h 598921"/>
                <a:gd name="connsiteX1" fmla="*/ 890338 w 1323899"/>
                <a:gd name="connsiteY1" fmla="*/ 598921 h 598921"/>
                <a:gd name="connsiteX2" fmla="*/ 855675 w 1323899"/>
                <a:gd name="connsiteY2" fmla="*/ 274637 h 598921"/>
                <a:gd name="connsiteX3" fmla="*/ 1323899 w 1323899"/>
                <a:gd name="connsiteY3" fmla="*/ 177897 h 598921"/>
                <a:gd name="connsiteX4" fmla="*/ 1280160 w 1323899"/>
                <a:gd name="connsiteY4" fmla="*/ 0 h 598921"/>
                <a:gd name="connsiteX5" fmla="*/ 549045 w 1323899"/>
                <a:gd name="connsiteY5" fmla="*/ 169937 h 598921"/>
                <a:gd name="connsiteX6" fmla="*/ 560539 w 1323899"/>
                <a:gd name="connsiteY6" fmla="*/ 274375 h 598921"/>
                <a:gd name="connsiteX7" fmla="*/ 0 w 1323899"/>
                <a:gd name="connsiteY7" fmla="*/ 569936 h 598921"/>
                <a:gd name="connsiteX0" fmla="*/ 0 w 1323899"/>
                <a:gd name="connsiteY0" fmla="*/ 569936 h 598921"/>
                <a:gd name="connsiteX1" fmla="*/ 890338 w 1323899"/>
                <a:gd name="connsiteY1" fmla="*/ 598921 h 598921"/>
                <a:gd name="connsiteX2" fmla="*/ 855675 w 1323899"/>
                <a:gd name="connsiteY2" fmla="*/ 274637 h 598921"/>
                <a:gd name="connsiteX3" fmla="*/ 1323899 w 1323899"/>
                <a:gd name="connsiteY3" fmla="*/ 177897 h 598921"/>
                <a:gd name="connsiteX4" fmla="*/ 1280160 w 1323899"/>
                <a:gd name="connsiteY4" fmla="*/ 0 h 598921"/>
                <a:gd name="connsiteX5" fmla="*/ 549045 w 1323899"/>
                <a:gd name="connsiteY5" fmla="*/ 169937 h 598921"/>
                <a:gd name="connsiteX6" fmla="*/ 560539 w 1323899"/>
                <a:gd name="connsiteY6" fmla="*/ 274375 h 598921"/>
                <a:gd name="connsiteX7" fmla="*/ 220233 w 1323899"/>
                <a:gd name="connsiteY7" fmla="*/ 447582 h 598921"/>
                <a:gd name="connsiteX8" fmla="*/ 0 w 1323899"/>
                <a:gd name="connsiteY8" fmla="*/ 569936 h 598921"/>
                <a:gd name="connsiteX0" fmla="*/ 0 w 1323899"/>
                <a:gd name="connsiteY0" fmla="*/ 569936 h 598921"/>
                <a:gd name="connsiteX1" fmla="*/ 890338 w 1323899"/>
                <a:gd name="connsiteY1" fmla="*/ 598921 h 598921"/>
                <a:gd name="connsiteX2" fmla="*/ 855675 w 1323899"/>
                <a:gd name="connsiteY2" fmla="*/ 274637 h 598921"/>
                <a:gd name="connsiteX3" fmla="*/ 1323899 w 1323899"/>
                <a:gd name="connsiteY3" fmla="*/ 177897 h 598921"/>
                <a:gd name="connsiteX4" fmla="*/ 1280160 w 1323899"/>
                <a:gd name="connsiteY4" fmla="*/ 0 h 598921"/>
                <a:gd name="connsiteX5" fmla="*/ 549045 w 1323899"/>
                <a:gd name="connsiteY5" fmla="*/ 169937 h 598921"/>
                <a:gd name="connsiteX6" fmla="*/ 560539 w 1323899"/>
                <a:gd name="connsiteY6" fmla="*/ 274375 h 598921"/>
                <a:gd name="connsiteX7" fmla="*/ 38737 w 1323899"/>
                <a:gd name="connsiteY7" fmla="*/ 389846 h 598921"/>
                <a:gd name="connsiteX8" fmla="*/ 0 w 1323899"/>
                <a:gd name="connsiteY8" fmla="*/ 569936 h 598921"/>
                <a:gd name="connsiteX0" fmla="*/ 0 w 1323899"/>
                <a:gd name="connsiteY0" fmla="*/ 569936 h 598921"/>
                <a:gd name="connsiteX1" fmla="*/ 330833 w 1323899"/>
                <a:gd name="connsiteY1" fmla="*/ 584324 h 598921"/>
                <a:gd name="connsiteX2" fmla="*/ 890338 w 1323899"/>
                <a:gd name="connsiteY2" fmla="*/ 598921 h 598921"/>
                <a:gd name="connsiteX3" fmla="*/ 855675 w 1323899"/>
                <a:gd name="connsiteY3" fmla="*/ 274637 h 598921"/>
                <a:gd name="connsiteX4" fmla="*/ 1323899 w 1323899"/>
                <a:gd name="connsiteY4" fmla="*/ 177897 h 598921"/>
                <a:gd name="connsiteX5" fmla="*/ 1280160 w 1323899"/>
                <a:gd name="connsiteY5" fmla="*/ 0 h 598921"/>
                <a:gd name="connsiteX6" fmla="*/ 549045 w 1323899"/>
                <a:gd name="connsiteY6" fmla="*/ 169937 h 598921"/>
                <a:gd name="connsiteX7" fmla="*/ 560539 w 1323899"/>
                <a:gd name="connsiteY7" fmla="*/ 274375 h 598921"/>
                <a:gd name="connsiteX8" fmla="*/ 38737 w 1323899"/>
                <a:gd name="connsiteY8" fmla="*/ 389846 h 598921"/>
                <a:gd name="connsiteX9" fmla="*/ 0 w 1323899"/>
                <a:gd name="connsiteY9" fmla="*/ 569936 h 598921"/>
                <a:gd name="connsiteX0" fmla="*/ 23652 w 1347551"/>
                <a:gd name="connsiteY0" fmla="*/ 569936 h 821344"/>
                <a:gd name="connsiteX1" fmla="*/ 0 w 1347551"/>
                <a:gd name="connsiteY1" fmla="*/ 821344 h 821344"/>
                <a:gd name="connsiteX2" fmla="*/ 913990 w 1347551"/>
                <a:gd name="connsiteY2" fmla="*/ 598921 h 821344"/>
                <a:gd name="connsiteX3" fmla="*/ 879327 w 1347551"/>
                <a:gd name="connsiteY3" fmla="*/ 274637 h 821344"/>
                <a:gd name="connsiteX4" fmla="*/ 1347551 w 1347551"/>
                <a:gd name="connsiteY4" fmla="*/ 177897 h 821344"/>
                <a:gd name="connsiteX5" fmla="*/ 1303812 w 1347551"/>
                <a:gd name="connsiteY5" fmla="*/ 0 h 821344"/>
                <a:gd name="connsiteX6" fmla="*/ 572697 w 1347551"/>
                <a:gd name="connsiteY6" fmla="*/ 169937 h 821344"/>
                <a:gd name="connsiteX7" fmla="*/ 584191 w 1347551"/>
                <a:gd name="connsiteY7" fmla="*/ 274375 h 821344"/>
                <a:gd name="connsiteX8" fmla="*/ 62389 w 1347551"/>
                <a:gd name="connsiteY8" fmla="*/ 389846 h 821344"/>
                <a:gd name="connsiteX9" fmla="*/ 23652 w 1347551"/>
                <a:gd name="connsiteY9" fmla="*/ 569936 h 821344"/>
                <a:gd name="connsiteX0" fmla="*/ 23652 w 1347551"/>
                <a:gd name="connsiteY0" fmla="*/ 569936 h 821344"/>
                <a:gd name="connsiteX1" fmla="*/ 0 w 1347551"/>
                <a:gd name="connsiteY1" fmla="*/ 821344 h 821344"/>
                <a:gd name="connsiteX2" fmla="*/ 913990 w 1347551"/>
                <a:gd name="connsiteY2" fmla="*/ 598921 h 821344"/>
                <a:gd name="connsiteX3" fmla="*/ 890467 w 1347551"/>
                <a:gd name="connsiteY3" fmla="*/ 417196 h 821344"/>
                <a:gd name="connsiteX4" fmla="*/ 879327 w 1347551"/>
                <a:gd name="connsiteY4" fmla="*/ 274637 h 821344"/>
                <a:gd name="connsiteX5" fmla="*/ 1347551 w 1347551"/>
                <a:gd name="connsiteY5" fmla="*/ 177897 h 821344"/>
                <a:gd name="connsiteX6" fmla="*/ 1303812 w 1347551"/>
                <a:gd name="connsiteY6" fmla="*/ 0 h 821344"/>
                <a:gd name="connsiteX7" fmla="*/ 572697 w 1347551"/>
                <a:gd name="connsiteY7" fmla="*/ 169937 h 821344"/>
                <a:gd name="connsiteX8" fmla="*/ 584191 w 1347551"/>
                <a:gd name="connsiteY8" fmla="*/ 274375 h 821344"/>
                <a:gd name="connsiteX9" fmla="*/ 62389 w 1347551"/>
                <a:gd name="connsiteY9" fmla="*/ 389846 h 821344"/>
                <a:gd name="connsiteX10" fmla="*/ 23652 w 1347551"/>
                <a:gd name="connsiteY10" fmla="*/ 569936 h 821344"/>
                <a:gd name="connsiteX0" fmla="*/ 23652 w 1347551"/>
                <a:gd name="connsiteY0" fmla="*/ 569936 h 821344"/>
                <a:gd name="connsiteX1" fmla="*/ 0 w 1347551"/>
                <a:gd name="connsiteY1" fmla="*/ 821344 h 821344"/>
                <a:gd name="connsiteX2" fmla="*/ 913990 w 1347551"/>
                <a:gd name="connsiteY2" fmla="*/ 598921 h 821344"/>
                <a:gd name="connsiteX3" fmla="*/ 918827 w 1347551"/>
                <a:gd name="connsiteY3" fmla="*/ 477970 h 821344"/>
                <a:gd name="connsiteX4" fmla="*/ 879327 w 1347551"/>
                <a:gd name="connsiteY4" fmla="*/ 274637 h 821344"/>
                <a:gd name="connsiteX5" fmla="*/ 1347551 w 1347551"/>
                <a:gd name="connsiteY5" fmla="*/ 177897 h 821344"/>
                <a:gd name="connsiteX6" fmla="*/ 1303812 w 1347551"/>
                <a:gd name="connsiteY6" fmla="*/ 0 h 821344"/>
                <a:gd name="connsiteX7" fmla="*/ 572697 w 1347551"/>
                <a:gd name="connsiteY7" fmla="*/ 169937 h 821344"/>
                <a:gd name="connsiteX8" fmla="*/ 584191 w 1347551"/>
                <a:gd name="connsiteY8" fmla="*/ 274375 h 821344"/>
                <a:gd name="connsiteX9" fmla="*/ 62389 w 1347551"/>
                <a:gd name="connsiteY9" fmla="*/ 389846 h 821344"/>
                <a:gd name="connsiteX10" fmla="*/ 23652 w 1347551"/>
                <a:gd name="connsiteY10" fmla="*/ 569936 h 821344"/>
                <a:gd name="connsiteX0" fmla="*/ 23652 w 1347551"/>
                <a:gd name="connsiteY0" fmla="*/ 569936 h 821344"/>
                <a:gd name="connsiteX1" fmla="*/ 0 w 1347551"/>
                <a:gd name="connsiteY1" fmla="*/ 821344 h 821344"/>
                <a:gd name="connsiteX2" fmla="*/ 913990 w 1347551"/>
                <a:gd name="connsiteY2" fmla="*/ 598921 h 821344"/>
                <a:gd name="connsiteX3" fmla="*/ 913154 w 1347551"/>
                <a:gd name="connsiteY3" fmla="*/ 556976 h 821344"/>
                <a:gd name="connsiteX4" fmla="*/ 918827 w 1347551"/>
                <a:gd name="connsiteY4" fmla="*/ 477970 h 821344"/>
                <a:gd name="connsiteX5" fmla="*/ 879327 w 1347551"/>
                <a:gd name="connsiteY5" fmla="*/ 274637 h 821344"/>
                <a:gd name="connsiteX6" fmla="*/ 1347551 w 1347551"/>
                <a:gd name="connsiteY6" fmla="*/ 177897 h 821344"/>
                <a:gd name="connsiteX7" fmla="*/ 1303812 w 1347551"/>
                <a:gd name="connsiteY7" fmla="*/ 0 h 821344"/>
                <a:gd name="connsiteX8" fmla="*/ 572697 w 1347551"/>
                <a:gd name="connsiteY8" fmla="*/ 169937 h 821344"/>
                <a:gd name="connsiteX9" fmla="*/ 584191 w 1347551"/>
                <a:gd name="connsiteY9" fmla="*/ 274375 h 821344"/>
                <a:gd name="connsiteX10" fmla="*/ 62389 w 1347551"/>
                <a:gd name="connsiteY10" fmla="*/ 389846 h 821344"/>
                <a:gd name="connsiteX11" fmla="*/ 23652 w 1347551"/>
                <a:gd name="connsiteY11" fmla="*/ 569936 h 821344"/>
                <a:gd name="connsiteX0" fmla="*/ 23652 w 1347551"/>
                <a:gd name="connsiteY0" fmla="*/ 569936 h 821344"/>
                <a:gd name="connsiteX1" fmla="*/ 0 w 1347551"/>
                <a:gd name="connsiteY1" fmla="*/ 821344 h 821344"/>
                <a:gd name="connsiteX2" fmla="*/ 913990 w 1347551"/>
                <a:gd name="connsiteY2" fmla="*/ 598921 h 821344"/>
                <a:gd name="connsiteX3" fmla="*/ 887632 w 1347551"/>
                <a:gd name="connsiteY3" fmla="*/ 471892 h 821344"/>
                <a:gd name="connsiteX4" fmla="*/ 918827 w 1347551"/>
                <a:gd name="connsiteY4" fmla="*/ 477970 h 821344"/>
                <a:gd name="connsiteX5" fmla="*/ 879327 w 1347551"/>
                <a:gd name="connsiteY5" fmla="*/ 274637 h 821344"/>
                <a:gd name="connsiteX6" fmla="*/ 1347551 w 1347551"/>
                <a:gd name="connsiteY6" fmla="*/ 177897 h 821344"/>
                <a:gd name="connsiteX7" fmla="*/ 1303812 w 1347551"/>
                <a:gd name="connsiteY7" fmla="*/ 0 h 821344"/>
                <a:gd name="connsiteX8" fmla="*/ 572697 w 1347551"/>
                <a:gd name="connsiteY8" fmla="*/ 169937 h 821344"/>
                <a:gd name="connsiteX9" fmla="*/ 584191 w 1347551"/>
                <a:gd name="connsiteY9" fmla="*/ 274375 h 821344"/>
                <a:gd name="connsiteX10" fmla="*/ 62389 w 1347551"/>
                <a:gd name="connsiteY10" fmla="*/ 389846 h 821344"/>
                <a:gd name="connsiteX11" fmla="*/ 23652 w 1347551"/>
                <a:gd name="connsiteY11" fmla="*/ 569936 h 821344"/>
                <a:gd name="connsiteX0" fmla="*/ 23652 w 1347551"/>
                <a:gd name="connsiteY0" fmla="*/ 569936 h 821344"/>
                <a:gd name="connsiteX1" fmla="*/ 0 w 1347551"/>
                <a:gd name="connsiteY1" fmla="*/ 821344 h 821344"/>
                <a:gd name="connsiteX2" fmla="*/ 913990 w 1347551"/>
                <a:gd name="connsiteY2" fmla="*/ 598921 h 821344"/>
                <a:gd name="connsiteX3" fmla="*/ 887632 w 1347551"/>
                <a:gd name="connsiteY3" fmla="*/ 471892 h 821344"/>
                <a:gd name="connsiteX4" fmla="*/ 918827 w 1347551"/>
                <a:gd name="connsiteY4" fmla="*/ 477970 h 821344"/>
                <a:gd name="connsiteX5" fmla="*/ 879327 w 1347551"/>
                <a:gd name="connsiteY5" fmla="*/ 274637 h 821344"/>
                <a:gd name="connsiteX6" fmla="*/ 1347551 w 1347551"/>
                <a:gd name="connsiteY6" fmla="*/ 177897 h 821344"/>
                <a:gd name="connsiteX7" fmla="*/ 1303812 w 1347551"/>
                <a:gd name="connsiteY7" fmla="*/ 0 h 821344"/>
                <a:gd name="connsiteX8" fmla="*/ 1162712 w 1347551"/>
                <a:gd name="connsiteY8" fmla="*/ 34317 h 821344"/>
                <a:gd name="connsiteX9" fmla="*/ 572697 w 1347551"/>
                <a:gd name="connsiteY9" fmla="*/ 169937 h 821344"/>
                <a:gd name="connsiteX10" fmla="*/ 584191 w 1347551"/>
                <a:gd name="connsiteY10" fmla="*/ 274375 h 821344"/>
                <a:gd name="connsiteX11" fmla="*/ 62389 w 1347551"/>
                <a:gd name="connsiteY11" fmla="*/ 389846 h 821344"/>
                <a:gd name="connsiteX12" fmla="*/ 23652 w 1347551"/>
                <a:gd name="connsiteY12" fmla="*/ 569936 h 821344"/>
                <a:gd name="connsiteX0" fmla="*/ 23652 w 1347551"/>
                <a:gd name="connsiteY0" fmla="*/ 569936 h 821344"/>
                <a:gd name="connsiteX1" fmla="*/ 0 w 1347551"/>
                <a:gd name="connsiteY1" fmla="*/ 821344 h 821344"/>
                <a:gd name="connsiteX2" fmla="*/ 913990 w 1347551"/>
                <a:gd name="connsiteY2" fmla="*/ 598921 h 821344"/>
                <a:gd name="connsiteX3" fmla="*/ 887632 w 1347551"/>
                <a:gd name="connsiteY3" fmla="*/ 471892 h 821344"/>
                <a:gd name="connsiteX4" fmla="*/ 918827 w 1347551"/>
                <a:gd name="connsiteY4" fmla="*/ 477970 h 821344"/>
                <a:gd name="connsiteX5" fmla="*/ 879327 w 1347551"/>
                <a:gd name="connsiteY5" fmla="*/ 274637 h 821344"/>
                <a:gd name="connsiteX6" fmla="*/ 1347551 w 1347551"/>
                <a:gd name="connsiteY6" fmla="*/ 177897 h 821344"/>
                <a:gd name="connsiteX7" fmla="*/ 1303812 w 1347551"/>
                <a:gd name="connsiteY7" fmla="*/ 0 h 821344"/>
                <a:gd name="connsiteX8" fmla="*/ 1162712 w 1347551"/>
                <a:gd name="connsiteY8" fmla="*/ 34317 h 821344"/>
                <a:gd name="connsiteX9" fmla="*/ 1009574 w 1347551"/>
                <a:gd name="connsiteY9" fmla="*/ 73820 h 821344"/>
                <a:gd name="connsiteX10" fmla="*/ 572697 w 1347551"/>
                <a:gd name="connsiteY10" fmla="*/ 169937 h 821344"/>
                <a:gd name="connsiteX11" fmla="*/ 584191 w 1347551"/>
                <a:gd name="connsiteY11" fmla="*/ 274375 h 821344"/>
                <a:gd name="connsiteX12" fmla="*/ 62389 w 1347551"/>
                <a:gd name="connsiteY12" fmla="*/ 389846 h 821344"/>
                <a:gd name="connsiteX13" fmla="*/ 23652 w 1347551"/>
                <a:gd name="connsiteY13" fmla="*/ 569936 h 821344"/>
                <a:gd name="connsiteX0" fmla="*/ 23652 w 1347551"/>
                <a:gd name="connsiteY0" fmla="*/ 569936 h 821344"/>
                <a:gd name="connsiteX1" fmla="*/ 0 w 1347551"/>
                <a:gd name="connsiteY1" fmla="*/ 821344 h 821344"/>
                <a:gd name="connsiteX2" fmla="*/ 913990 w 1347551"/>
                <a:gd name="connsiteY2" fmla="*/ 598921 h 821344"/>
                <a:gd name="connsiteX3" fmla="*/ 887632 w 1347551"/>
                <a:gd name="connsiteY3" fmla="*/ 471892 h 821344"/>
                <a:gd name="connsiteX4" fmla="*/ 918827 w 1347551"/>
                <a:gd name="connsiteY4" fmla="*/ 477970 h 821344"/>
                <a:gd name="connsiteX5" fmla="*/ 879327 w 1347551"/>
                <a:gd name="connsiteY5" fmla="*/ 274637 h 821344"/>
                <a:gd name="connsiteX6" fmla="*/ 1347551 w 1347551"/>
                <a:gd name="connsiteY6" fmla="*/ 177897 h 821344"/>
                <a:gd name="connsiteX7" fmla="*/ 1303812 w 1347551"/>
                <a:gd name="connsiteY7" fmla="*/ 0 h 821344"/>
                <a:gd name="connsiteX8" fmla="*/ 1162712 w 1347551"/>
                <a:gd name="connsiteY8" fmla="*/ 34317 h 821344"/>
                <a:gd name="connsiteX9" fmla="*/ 995395 w 1347551"/>
                <a:gd name="connsiteY9" fmla="*/ 67744 h 821344"/>
                <a:gd name="connsiteX10" fmla="*/ 572697 w 1347551"/>
                <a:gd name="connsiteY10" fmla="*/ 169937 h 821344"/>
                <a:gd name="connsiteX11" fmla="*/ 584191 w 1347551"/>
                <a:gd name="connsiteY11" fmla="*/ 274375 h 821344"/>
                <a:gd name="connsiteX12" fmla="*/ 62389 w 1347551"/>
                <a:gd name="connsiteY12" fmla="*/ 389846 h 821344"/>
                <a:gd name="connsiteX13" fmla="*/ 23652 w 1347551"/>
                <a:gd name="connsiteY13" fmla="*/ 569936 h 821344"/>
                <a:gd name="connsiteX0" fmla="*/ 23652 w 1347551"/>
                <a:gd name="connsiteY0" fmla="*/ 569936 h 821344"/>
                <a:gd name="connsiteX1" fmla="*/ 0 w 1347551"/>
                <a:gd name="connsiteY1" fmla="*/ 821344 h 821344"/>
                <a:gd name="connsiteX2" fmla="*/ 913990 w 1347551"/>
                <a:gd name="connsiteY2" fmla="*/ 598921 h 821344"/>
                <a:gd name="connsiteX3" fmla="*/ 887632 w 1347551"/>
                <a:gd name="connsiteY3" fmla="*/ 471892 h 821344"/>
                <a:gd name="connsiteX4" fmla="*/ 918827 w 1347551"/>
                <a:gd name="connsiteY4" fmla="*/ 477970 h 821344"/>
                <a:gd name="connsiteX5" fmla="*/ 879327 w 1347551"/>
                <a:gd name="connsiteY5" fmla="*/ 274637 h 821344"/>
                <a:gd name="connsiteX6" fmla="*/ 1347551 w 1347551"/>
                <a:gd name="connsiteY6" fmla="*/ 177897 h 821344"/>
                <a:gd name="connsiteX7" fmla="*/ 1303812 w 1347551"/>
                <a:gd name="connsiteY7" fmla="*/ 0 h 821344"/>
                <a:gd name="connsiteX8" fmla="*/ 1162712 w 1347551"/>
                <a:gd name="connsiteY8" fmla="*/ 34317 h 821344"/>
                <a:gd name="connsiteX9" fmla="*/ 1100323 w 1347551"/>
                <a:gd name="connsiteY9" fmla="*/ 52550 h 821344"/>
                <a:gd name="connsiteX10" fmla="*/ 995395 w 1347551"/>
                <a:gd name="connsiteY10" fmla="*/ 67744 h 821344"/>
                <a:gd name="connsiteX11" fmla="*/ 572697 w 1347551"/>
                <a:gd name="connsiteY11" fmla="*/ 169937 h 821344"/>
                <a:gd name="connsiteX12" fmla="*/ 584191 w 1347551"/>
                <a:gd name="connsiteY12" fmla="*/ 274375 h 821344"/>
                <a:gd name="connsiteX13" fmla="*/ 62389 w 1347551"/>
                <a:gd name="connsiteY13" fmla="*/ 389846 h 821344"/>
                <a:gd name="connsiteX14" fmla="*/ 23652 w 1347551"/>
                <a:gd name="connsiteY14" fmla="*/ 569936 h 821344"/>
                <a:gd name="connsiteX0" fmla="*/ 23652 w 1347551"/>
                <a:gd name="connsiteY0" fmla="*/ 569936 h 821344"/>
                <a:gd name="connsiteX1" fmla="*/ 0 w 1347551"/>
                <a:gd name="connsiteY1" fmla="*/ 821344 h 821344"/>
                <a:gd name="connsiteX2" fmla="*/ 913990 w 1347551"/>
                <a:gd name="connsiteY2" fmla="*/ 598921 h 821344"/>
                <a:gd name="connsiteX3" fmla="*/ 887632 w 1347551"/>
                <a:gd name="connsiteY3" fmla="*/ 471892 h 821344"/>
                <a:gd name="connsiteX4" fmla="*/ 918827 w 1347551"/>
                <a:gd name="connsiteY4" fmla="*/ 477970 h 821344"/>
                <a:gd name="connsiteX5" fmla="*/ 879327 w 1347551"/>
                <a:gd name="connsiteY5" fmla="*/ 274637 h 821344"/>
                <a:gd name="connsiteX6" fmla="*/ 1347551 w 1347551"/>
                <a:gd name="connsiteY6" fmla="*/ 177897 h 821344"/>
                <a:gd name="connsiteX7" fmla="*/ 1303812 w 1347551"/>
                <a:gd name="connsiteY7" fmla="*/ 0 h 821344"/>
                <a:gd name="connsiteX8" fmla="*/ 1162712 w 1347551"/>
                <a:gd name="connsiteY8" fmla="*/ 34317 h 821344"/>
                <a:gd name="connsiteX9" fmla="*/ 1151368 w 1347551"/>
                <a:gd name="connsiteY9" fmla="*/ 10009 h 821344"/>
                <a:gd name="connsiteX10" fmla="*/ 995395 w 1347551"/>
                <a:gd name="connsiteY10" fmla="*/ 67744 h 821344"/>
                <a:gd name="connsiteX11" fmla="*/ 572697 w 1347551"/>
                <a:gd name="connsiteY11" fmla="*/ 169937 h 821344"/>
                <a:gd name="connsiteX12" fmla="*/ 584191 w 1347551"/>
                <a:gd name="connsiteY12" fmla="*/ 274375 h 821344"/>
                <a:gd name="connsiteX13" fmla="*/ 62389 w 1347551"/>
                <a:gd name="connsiteY13" fmla="*/ 389846 h 821344"/>
                <a:gd name="connsiteX14" fmla="*/ 23652 w 1347551"/>
                <a:gd name="connsiteY14" fmla="*/ 569936 h 821344"/>
                <a:gd name="connsiteX0" fmla="*/ 23652 w 1347551"/>
                <a:gd name="connsiteY0" fmla="*/ 569936 h 821344"/>
                <a:gd name="connsiteX1" fmla="*/ 0 w 1347551"/>
                <a:gd name="connsiteY1" fmla="*/ 821344 h 821344"/>
                <a:gd name="connsiteX2" fmla="*/ 913990 w 1347551"/>
                <a:gd name="connsiteY2" fmla="*/ 598921 h 821344"/>
                <a:gd name="connsiteX3" fmla="*/ 887632 w 1347551"/>
                <a:gd name="connsiteY3" fmla="*/ 471892 h 821344"/>
                <a:gd name="connsiteX4" fmla="*/ 918827 w 1347551"/>
                <a:gd name="connsiteY4" fmla="*/ 477970 h 821344"/>
                <a:gd name="connsiteX5" fmla="*/ 879327 w 1347551"/>
                <a:gd name="connsiteY5" fmla="*/ 274637 h 821344"/>
                <a:gd name="connsiteX6" fmla="*/ 1347551 w 1347551"/>
                <a:gd name="connsiteY6" fmla="*/ 177897 h 821344"/>
                <a:gd name="connsiteX7" fmla="*/ 1303812 w 1347551"/>
                <a:gd name="connsiteY7" fmla="*/ 0 h 821344"/>
                <a:gd name="connsiteX8" fmla="*/ 1162712 w 1347551"/>
                <a:gd name="connsiteY8" fmla="*/ 34317 h 821344"/>
                <a:gd name="connsiteX9" fmla="*/ 1151368 w 1347551"/>
                <a:gd name="connsiteY9" fmla="*/ 10009 h 821344"/>
                <a:gd name="connsiteX10" fmla="*/ 1069128 w 1347551"/>
                <a:gd name="connsiteY10" fmla="*/ 34317 h 821344"/>
                <a:gd name="connsiteX11" fmla="*/ 995395 w 1347551"/>
                <a:gd name="connsiteY11" fmla="*/ 67744 h 821344"/>
                <a:gd name="connsiteX12" fmla="*/ 572697 w 1347551"/>
                <a:gd name="connsiteY12" fmla="*/ 169937 h 821344"/>
                <a:gd name="connsiteX13" fmla="*/ 584191 w 1347551"/>
                <a:gd name="connsiteY13" fmla="*/ 274375 h 821344"/>
                <a:gd name="connsiteX14" fmla="*/ 62389 w 1347551"/>
                <a:gd name="connsiteY14" fmla="*/ 389846 h 821344"/>
                <a:gd name="connsiteX15" fmla="*/ 23652 w 1347551"/>
                <a:gd name="connsiteY15" fmla="*/ 569936 h 821344"/>
                <a:gd name="connsiteX0" fmla="*/ 23652 w 1347551"/>
                <a:gd name="connsiteY0" fmla="*/ 569936 h 821344"/>
                <a:gd name="connsiteX1" fmla="*/ 0 w 1347551"/>
                <a:gd name="connsiteY1" fmla="*/ 821344 h 821344"/>
                <a:gd name="connsiteX2" fmla="*/ 913990 w 1347551"/>
                <a:gd name="connsiteY2" fmla="*/ 598921 h 821344"/>
                <a:gd name="connsiteX3" fmla="*/ 887632 w 1347551"/>
                <a:gd name="connsiteY3" fmla="*/ 471892 h 821344"/>
                <a:gd name="connsiteX4" fmla="*/ 918827 w 1347551"/>
                <a:gd name="connsiteY4" fmla="*/ 477970 h 821344"/>
                <a:gd name="connsiteX5" fmla="*/ 879327 w 1347551"/>
                <a:gd name="connsiteY5" fmla="*/ 274637 h 821344"/>
                <a:gd name="connsiteX6" fmla="*/ 1347551 w 1347551"/>
                <a:gd name="connsiteY6" fmla="*/ 177897 h 821344"/>
                <a:gd name="connsiteX7" fmla="*/ 1303812 w 1347551"/>
                <a:gd name="connsiteY7" fmla="*/ 0 h 821344"/>
                <a:gd name="connsiteX8" fmla="*/ 1162712 w 1347551"/>
                <a:gd name="connsiteY8" fmla="*/ 34317 h 821344"/>
                <a:gd name="connsiteX9" fmla="*/ 1151368 w 1347551"/>
                <a:gd name="connsiteY9" fmla="*/ 10009 h 821344"/>
                <a:gd name="connsiteX10" fmla="*/ 1001067 w 1347551"/>
                <a:gd name="connsiteY10" fmla="*/ 34317 h 821344"/>
                <a:gd name="connsiteX11" fmla="*/ 995395 w 1347551"/>
                <a:gd name="connsiteY11" fmla="*/ 67744 h 821344"/>
                <a:gd name="connsiteX12" fmla="*/ 572697 w 1347551"/>
                <a:gd name="connsiteY12" fmla="*/ 169937 h 821344"/>
                <a:gd name="connsiteX13" fmla="*/ 584191 w 1347551"/>
                <a:gd name="connsiteY13" fmla="*/ 274375 h 821344"/>
                <a:gd name="connsiteX14" fmla="*/ 62389 w 1347551"/>
                <a:gd name="connsiteY14" fmla="*/ 389846 h 821344"/>
                <a:gd name="connsiteX15" fmla="*/ 23652 w 1347551"/>
                <a:gd name="connsiteY15" fmla="*/ 569936 h 821344"/>
                <a:gd name="connsiteX0" fmla="*/ 17980 w 1347551"/>
                <a:gd name="connsiteY0" fmla="*/ 399769 h 821344"/>
                <a:gd name="connsiteX1" fmla="*/ 0 w 1347551"/>
                <a:gd name="connsiteY1" fmla="*/ 821344 h 821344"/>
                <a:gd name="connsiteX2" fmla="*/ 913990 w 1347551"/>
                <a:gd name="connsiteY2" fmla="*/ 598921 h 821344"/>
                <a:gd name="connsiteX3" fmla="*/ 887632 w 1347551"/>
                <a:gd name="connsiteY3" fmla="*/ 471892 h 821344"/>
                <a:gd name="connsiteX4" fmla="*/ 918827 w 1347551"/>
                <a:gd name="connsiteY4" fmla="*/ 477970 h 821344"/>
                <a:gd name="connsiteX5" fmla="*/ 879327 w 1347551"/>
                <a:gd name="connsiteY5" fmla="*/ 274637 h 821344"/>
                <a:gd name="connsiteX6" fmla="*/ 1347551 w 1347551"/>
                <a:gd name="connsiteY6" fmla="*/ 177897 h 821344"/>
                <a:gd name="connsiteX7" fmla="*/ 1303812 w 1347551"/>
                <a:gd name="connsiteY7" fmla="*/ 0 h 821344"/>
                <a:gd name="connsiteX8" fmla="*/ 1162712 w 1347551"/>
                <a:gd name="connsiteY8" fmla="*/ 34317 h 821344"/>
                <a:gd name="connsiteX9" fmla="*/ 1151368 w 1347551"/>
                <a:gd name="connsiteY9" fmla="*/ 10009 h 821344"/>
                <a:gd name="connsiteX10" fmla="*/ 1001067 w 1347551"/>
                <a:gd name="connsiteY10" fmla="*/ 34317 h 821344"/>
                <a:gd name="connsiteX11" fmla="*/ 995395 w 1347551"/>
                <a:gd name="connsiteY11" fmla="*/ 67744 h 821344"/>
                <a:gd name="connsiteX12" fmla="*/ 572697 w 1347551"/>
                <a:gd name="connsiteY12" fmla="*/ 169937 h 821344"/>
                <a:gd name="connsiteX13" fmla="*/ 584191 w 1347551"/>
                <a:gd name="connsiteY13" fmla="*/ 274375 h 821344"/>
                <a:gd name="connsiteX14" fmla="*/ 62389 w 1347551"/>
                <a:gd name="connsiteY14" fmla="*/ 389846 h 821344"/>
                <a:gd name="connsiteX15" fmla="*/ 17980 w 1347551"/>
                <a:gd name="connsiteY15" fmla="*/ 399769 h 821344"/>
                <a:gd name="connsiteX0" fmla="*/ 17980 w 1347551"/>
                <a:gd name="connsiteY0" fmla="*/ 399769 h 821344"/>
                <a:gd name="connsiteX1" fmla="*/ 5671 w 1347551"/>
                <a:gd name="connsiteY1" fmla="*/ 511395 h 821344"/>
                <a:gd name="connsiteX2" fmla="*/ 0 w 1347551"/>
                <a:gd name="connsiteY2" fmla="*/ 821344 h 821344"/>
                <a:gd name="connsiteX3" fmla="*/ 913990 w 1347551"/>
                <a:gd name="connsiteY3" fmla="*/ 598921 h 821344"/>
                <a:gd name="connsiteX4" fmla="*/ 887632 w 1347551"/>
                <a:gd name="connsiteY4" fmla="*/ 471892 h 821344"/>
                <a:gd name="connsiteX5" fmla="*/ 918827 w 1347551"/>
                <a:gd name="connsiteY5" fmla="*/ 477970 h 821344"/>
                <a:gd name="connsiteX6" fmla="*/ 879327 w 1347551"/>
                <a:gd name="connsiteY6" fmla="*/ 274637 h 821344"/>
                <a:gd name="connsiteX7" fmla="*/ 1347551 w 1347551"/>
                <a:gd name="connsiteY7" fmla="*/ 177897 h 821344"/>
                <a:gd name="connsiteX8" fmla="*/ 1303812 w 1347551"/>
                <a:gd name="connsiteY8" fmla="*/ 0 h 821344"/>
                <a:gd name="connsiteX9" fmla="*/ 1162712 w 1347551"/>
                <a:gd name="connsiteY9" fmla="*/ 34317 h 821344"/>
                <a:gd name="connsiteX10" fmla="*/ 1151368 w 1347551"/>
                <a:gd name="connsiteY10" fmla="*/ 10009 h 821344"/>
                <a:gd name="connsiteX11" fmla="*/ 1001067 w 1347551"/>
                <a:gd name="connsiteY11" fmla="*/ 34317 h 821344"/>
                <a:gd name="connsiteX12" fmla="*/ 995395 w 1347551"/>
                <a:gd name="connsiteY12" fmla="*/ 67744 h 821344"/>
                <a:gd name="connsiteX13" fmla="*/ 572697 w 1347551"/>
                <a:gd name="connsiteY13" fmla="*/ 169937 h 821344"/>
                <a:gd name="connsiteX14" fmla="*/ 584191 w 1347551"/>
                <a:gd name="connsiteY14" fmla="*/ 274375 h 821344"/>
                <a:gd name="connsiteX15" fmla="*/ 62389 w 1347551"/>
                <a:gd name="connsiteY15" fmla="*/ 389846 h 821344"/>
                <a:gd name="connsiteX16" fmla="*/ 17980 w 1347551"/>
                <a:gd name="connsiteY16" fmla="*/ 399769 h 821344"/>
                <a:gd name="connsiteX0" fmla="*/ 97385 w 1426956"/>
                <a:gd name="connsiteY0" fmla="*/ 399769 h 821344"/>
                <a:gd name="connsiteX1" fmla="*/ 0 w 1426956"/>
                <a:gd name="connsiteY1" fmla="*/ 429349 h 821344"/>
                <a:gd name="connsiteX2" fmla="*/ 79405 w 1426956"/>
                <a:gd name="connsiteY2" fmla="*/ 821344 h 821344"/>
                <a:gd name="connsiteX3" fmla="*/ 993395 w 1426956"/>
                <a:gd name="connsiteY3" fmla="*/ 598921 h 821344"/>
                <a:gd name="connsiteX4" fmla="*/ 967037 w 1426956"/>
                <a:gd name="connsiteY4" fmla="*/ 471892 h 821344"/>
                <a:gd name="connsiteX5" fmla="*/ 998232 w 1426956"/>
                <a:gd name="connsiteY5" fmla="*/ 477970 h 821344"/>
                <a:gd name="connsiteX6" fmla="*/ 958732 w 1426956"/>
                <a:gd name="connsiteY6" fmla="*/ 274637 h 821344"/>
                <a:gd name="connsiteX7" fmla="*/ 1426956 w 1426956"/>
                <a:gd name="connsiteY7" fmla="*/ 177897 h 821344"/>
                <a:gd name="connsiteX8" fmla="*/ 1383217 w 1426956"/>
                <a:gd name="connsiteY8" fmla="*/ 0 h 821344"/>
                <a:gd name="connsiteX9" fmla="*/ 1242117 w 1426956"/>
                <a:gd name="connsiteY9" fmla="*/ 34317 h 821344"/>
                <a:gd name="connsiteX10" fmla="*/ 1230773 w 1426956"/>
                <a:gd name="connsiteY10" fmla="*/ 10009 h 821344"/>
                <a:gd name="connsiteX11" fmla="*/ 1080472 w 1426956"/>
                <a:gd name="connsiteY11" fmla="*/ 34317 h 821344"/>
                <a:gd name="connsiteX12" fmla="*/ 1074800 w 1426956"/>
                <a:gd name="connsiteY12" fmla="*/ 67744 h 821344"/>
                <a:gd name="connsiteX13" fmla="*/ 652102 w 1426956"/>
                <a:gd name="connsiteY13" fmla="*/ 169937 h 821344"/>
                <a:gd name="connsiteX14" fmla="*/ 663596 w 1426956"/>
                <a:gd name="connsiteY14" fmla="*/ 274375 h 821344"/>
                <a:gd name="connsiteX15" fmla="*/ 141794 w 1426956"/>
                <a:gd name="connsiteY15" fmla="*/ 389846 h 821344"/>
                <a:gd name="connsiteX16" fmla="*/ 97385 w 1426956"/>
                <a:gd name="connsiteY16" fmla="*/ 399769 h 821344"/>
                <a:gd name="connsiteX0" fmla="*/ 97385 w 1426956"/>
                <a:gd name="connsiteY0" fmla="*/ 399769 h 821344"/>
                <a:gd name="connsiteX1" fmla="*/ 0 w 1426956"/>
                <a:gd name="connsiteY1" fmla="*/ 429349 h 821344"/>
                <a:gd name="connsiteX2" fmla="*/ 48211 w 1426956"/>
                <a:gd name="connsiteY2" fmla="*/ 672447 h 821344"/>
                <a:gd name="connsiteX3" fmla="*/ 79405 w 1426956"/>
                <a:gd name="connsiteY3" fmla="*/ 821344 h 821344"/>
                <a:gd name="connsiteX4" fmla="*/ 993395 w 1426956"/>
                <a:gd name="connsiteY4" fmla="*/ 598921 h 821344"/>
                <a:gd name="connsiteX5" fmla="*/ 967037 w 1426956"/>
                <a:gd name="connsiteY5" fmla="*/ 471892 h 821344"/>
                <a:gd name="connsiteX6" fmla="*/ 998232 w 1426956"/>
                <a:gd name="connsiteY6" fmla="*/ 477970 h 821344"/>
                <a:gd name="connsiteX7" fmla="*/ 958732 w 1426956"/>
                <a:gd name="connsiteY7" fmla="*/ 274637 h 821344"/>
                <a:gd name="connsiteX8" fmla="*/ 1426956 w 1426956"/>
                <a:gd name="connsiteY8" fmla="*/ 177897 h 821344"/>
                <a:gd name="connsiteX9" fmla="*/ 1383217 w 1426956"/>
                <a:gd name="connsiteY9" fmla="*/ 0 h 821344"/>
                <a:gd name="connsiteX10" fmla="*/ 1242117 w 1426956"/>
                <a:gd name="connsiteY10" fmla="*/ 34317 h 821344"/>
                <a:gd name="connsiteX11" fmla="*/ 1230773 w 1426956"/>
                <a:gd name="connsiteY11" fmla="*/ 10009 h 821344"/>
                <a:gd name="connsiteX12" fmla="*/ 1080472 w 1426956"/>
                <a:gd name="connsiteY12" fmla="*/ 34317 h 821344"/>
                <a:gd name="connsiteX13" fmla="*/ 1074800 w 1426956"/>
                <a:gd name="connsiteY13" fmla="*/ 67744 h 821344"/>
                <a:gd name="connsiteX14" fmla="*/ 652102 w 1426956"/>
                <a:gd name="connsiteY14" fmla="*/ 169937 h 821344"/>
                <a:gd name="connsiteX15" fmla="*/ 663596 w 1426956"/>
                <a:gd name="connsiteY15" fmla="*/ 274375 h 821344"/>
                <a:gd name="connsiteX16" fmla="*/ 141794 w 1426956"/>
                <a:gd name="connsiteY16" fmla="*/ 389846 h 821344"/>
                <a:gd name="connsiteX17" fmla="*/ 97385 w 1426956"/>
                <a:gd name="connsiteY17" fmla="*/ 399769 h 821344"/>
                <a:gd name="connsiteX0" fmla="*/ 304403 w 1633974"/>
                <a:gd name="connsiteY0" fmla="*/ 399769 h 821344"/>
                <a:gd name="connsiteX1" fmla="*/ 207018 w 1633974"/>
                <a:gd name="connsiteY1" fmla="*/ 429349 h 821344"/>
                <a:gd name="connsiteX2" fmla="*/ 0 w 1633974"/>
                <a:gd name="connsiteY2" fmla="*/ 714990 h 821344"/>
                <a:gd name="connsiteX3" fmla="*/ 286423 w 1633974"/>
                <a:gd name="connsiteY3" fmla="*/ 821344 h 821344"/>
                <a:gd name="connsiteX4" fmla="*/ 1200413 w 1633974"/>
                <a:gd name="connsiteY4" fmla="*/ 598921 h 821344"/>
                <a:gd name="connsiteX5" fmla="*/ 1174055 w 1633974"/>
                <a:gd name="connsiteY5" fmla="*/ 471892 h 821344"/>
                <a:gd name="connsiteX6" fmla="*/ 1205250 w 1633974"/>
                <a:gd name="connsiteY6" fmla="*/ 477970 h 821344"/>
                <a:gd name="connsiteX7" fmla="*/ 1165750 w 1633974"/>
                <a:gd name="connsiteY7" fmla="*/ 274637 h 821344"/>
                <a:gd name="connsiteX8" fmla="*/ 1633974 w 1633974"/>
                <a:gd name="connsiteY8" fmla="*/ 177897 h 821344"/>
                <a:gd name="connsiteX9" fmla="*/ 1590235 w 1633974"/>
                <a:gd name="connsiteY9" fmla="*/ 0 h 821344"/>
                <a:gd name="connsiteX10" fmla="*/ 1449135 w 1633974"/>
                <a:gd name="connsiteY10" fmla="*/ 34317 h 821344"/>
                <a:gd name="connsiteX11" fmla="*/ 1437791 w 1633974"/>
                <a:gd name="connsiteY11" fmla="*/ 10009 h 821344"/>
                <a:gd name="connsiteX12" fmla="*/ 1287490 w 1633974"/>
                <a:gd name="connsiteY12" fmla="*/ 34317 h 821344"/>
                <a:gd name="connsiteX13" fmla="*/ 1281818 w 1633974"/>
                <a:gd name="connsiteY13" fmla="*/ 67744 h 821344"/>
                <a:gd name="connsiteX14" fmla="*/ 859120 w 1633974"/>
                <a:gd name="connsiteY14" fmla="*/ 169937 h 821344"/>
                <a:gd name="connsiteX15" fmla="*/ 870614 w 1633974"/>
                <a:gd name="connsiteY15" fmla="*/ 274375 h 821344"/>
                <a:gd name="connsiteX16" fmla="*/ 348812 w 1633974"/>
                <a:gd name="connsiteY16" fmla="*/ 389846 h 821344"/>
                <a:gd name="connsiteX17" fmla="*/ 304403 w 1633974"/>
                <a:gd name="connsiteY17" fmla="*/ 399769 h 821344"/>
                <a:gd name="connsiteX0" fmla="*/ 304403 w 1633974"/>
                <a:gd name="connsiteY0" fmla="*/ 399769 h 821344"/>
                <a:gd name="connsiteX1" fmla="*/ 207018 w 1633974"/>
                <a:gd name="connsiteY1" fmla="*/ 429349 h 821344"/>
                <a:gd name="connsiteX2" fmla="*/ 0 w 1633974"/>
                <a:gd name="connsiteY2" fmla="*/ 714990 h 821344"/>
                <a:gd name="connsiteX3" fmla="*/ 144630 w 1633974"/>
                <a:gd name="connsiteY3" fmla="*/ 763608 h 821344"/>
                <a:gd name="connsiteX4" fmla="*/ 286423 w 1633974"/>
                <a:gd name="connsiteY4" fmla="*/ 821344 h 821344"/>
                <a:gd name="connsiteX5" fmla="*/ 1200413 w 1633974"/>
                <a:gd name="connsiteY5" fmla="*/ 598921 h 821344"/>
                <a:gd name="connsiteX6" fmla="*/ 1174055 w 1633974"/>
                <a:gd name="connsiteY6" fmla="*/ 471892 h 821344"/>
                <a:gd name="connsiteX7" fmla="*/ 1205250 w 1633974"/>
                <a:gd name="connsiteY7" fmla="*/ 477970 h 821344"/>
                <a:gd name="connsiteX8" fmla="*/ 1165750 w 1633974"/>
                <a:gd name="connsiteY8" fmla="*/ 274637 h 821344"/>
                <a:gd name="connsiteX9" fmla="*/ 1633974 w 1633974"/>
                <a:gd name="connsiteY9" fmla="*/ 177897 h 821344"/>
                <a:gd name="connsiteX10" fmla="*/ 1590235 w 1633974"/>
                <a:gd name="connsiteY10" fmla="*/ 0 h 821344"/>
                <a:gd name="connsiteX11" fmla="*/ 1449135 w 1633974"/>
                <a:gd name="connsiteY11" fmla="*/ 34317 h 821344"/>
                <a:gd name="connsiteX12" fmla="*/ 1437791 w 1633974"/>
                <a:gd name="connsiteY12" fmla="*/ 10009 h 821344"/>
                <a:gd name="connsiteX13" fmla="*/ 1287490 w 1633974"/>
                <a:gd name="connsiteY13" fmla="*/ 34317 h 821344"/>
                <a:gd name="connsiteX14" fmla="*/ 1281818 w 1633974"/>
                <a:gd name="connsiteY14" fmla="*/ 67744 h 821344"/>
                <a:gd name="connsiteX15" fmla="*/ 859120 w 1633974"/>
                <a:gd name="connsiteY15" fmla="*/ 169937 h 821344"/>
                <a:gd name="connsiteX16" fmla="*/ 870614 w 1633974"/>
                <a:gd name="connsiteY16" fmla="*/ 274375 h 821344"/>
                <a:gd name="connsiteX17" fmla="*/ 348812 w 1633974"/>
                <a:gd name="connsiteY17" fmla="*/ 389846 h 821344"/>
                <a:gd name="connsiteX18" fmla="*/ 304403 w 1633974"/>
                <a:gd name="connsiteY18" fmla="*/ 399769 h 821344"/>
                <a:gd name="connsiteX0" fmla="*/ 304403 w 1633974"/>
                <a:gd name="connsiteY0" fmla="*/ 399769 h 821344"/>
                <a:gd name="connsiteX1" fmla="*/ 207018 w 1633974"/>
                <a:gd name="connsiteY1" fmla="*/ 429349 h 821344"/>
                <a:gd name="connsiteX2" fmla="*/ 0 w 1633974"/>
                <a:gd name="connsiteY2" fmla="*/ 714990 h 821344"/>
                <a:gd name="connsiteX3" fmla="*/ 76568 w 1633974"/>
                <a:gd name="connsiteY3" fmla="*/ 775763 h 821344"/>
                <a:gd name="connsiteX4" fmla="*/ 286423 w 1633974"/>
                <a:gd name="connsiteY4" fmla="*/ 821344 h 821344"/>
                <a:gd name="connsiteX5" fmla="*/ 1200413 w 1633974"/>
                <a:gd name="connsiteY5" fmla="*/ 598921 h 821344"/>
                <a:gd name="connsiteX6" fmla="*/ 1174055 w 1633974"/>
                <a:gd name="connsiteY6" fmla="*/ 471892 h 821344"/>
                <a:gd name="connsiteX7" fmla="*/ 1205250 w 1633974"/>
                <a:gd name="connsiteY7" fmla="*/ 477970 h 821344"/>
                <a:gd name="connsiteX8" fmla="*/ 1165750 w 1633974"/>
                <a:gd name="connsiteY8" fmla="*/ 274637 h 821344"/>
                <a:gd name="connsiteX9" fmla="*/ 1633974 w 1633974"/>
                <a:gd name="connsiteY9" fmla="*/ 177897 h 821344"/>
                <a:gd name="connsiteX10" fmla="*/ 1590235 w 1633974"/>
                <a:gd name="connsiteY10" fmla="*/ 0 h 821344"/>
                <a:gd name="connsiteX11" fmla="*/ 1449135 w 1633974"/>
                <a:gd name="connsiteY11" fmla="*/ 34317 h 821344"/>
                <a:gd name="connsiteX12" fmla="*/ 1437791 w 1633974"/>
                <a:gd name="connsiteY12" fmla="*/ 10009 h 821344"/>
                <a:gd name="connsiteX13" fmla="*/ 1287490 w 1633974"/>
                <a:gd name="connsiteY13" fmla="*/ 34317 h 821344"/>
                <a:gd name="connsiteX14" fmla="*/ 1281818 w 1633974"/>
                <a:gd name="connsiteY14" fmla="*/ 67744 h 821344"/>
                <a:gd name="connsiteX15" fmla="*/ 859120 w 1633974"/>
                <a:gd name="connsiteY15" fmla="*/ 169937 h 821344"/>
                <a:gd name="connsiteX16" fmla="*/ 870614 w 1633974"/>
                <a:gd name="connsiteY16" fmla="*/ 274375 h 821344"/>
                <a:gd name="connsiteX17" fmla="*/ 348812 w 1633974"/>
                <a:gd name="connsiteY17" fmla="*/ 389846 h 821344"/>
                <a:gd name="connsiteX18" fmla="*/ 304403 w 1633974"/>
                <a:gd name="connsiteY18" fmla="*/ 399769 h 821344"/>
                <a:gd name="connsiteX0" fmla="*/ 304403 w 1633974"/>
                <a:gd name="connsiteY0" fmla="*/ 399769 h 821344"/>
                <a:gd name="connsiteX1" fmla="*/ 207018 w 1633974"/>
                <a:gd name="connsiteY1" fmla="*/ 429349 h 821344"/>
                <a:gd name="connsiteX2" fmla="*/ 0 w 1633974"/>
                <a:gd name="connsiteY2" fmla="*/ 714990 h 821344"/>
                <a:gd name="connsiteX3" fmla="*/ 76568 w 1633974"/>
                <a:gd name="connsiteY3" fmla="*/ 775763 h 821344"/>
                <a:gd name="connsiteX4" fmla="*/ 184332 w 1633974"/>
                <a:gd name="connsiteY4" fmla="*/ 800073 h 821344"/>
                <a:gd name="connsiteX5" fmla="*/ 286423 w 1633974"/>
                <a:gd name="connsiteY5" fmla="*/ 821344 h 821344"/>
                <a:gd name="connsiteX6" fmla="*/ 1200413 w 1633974"/>
                <a:gd name="connsiteY6" fmla="*/ 598921 h 821344"/>
                <a:gd name="connsiteX7" fmla="*/ 1174055 w 1633974"/>
                <a:gd name="connsiteY7" fmla="*/ 471892 h 821344"/>
                <a:gd name="connsiteX8" fmla="*/ 1205250 w 1633974"/>
                <a:gd name="connsiteY8" fmla="*/ 477970 h 821344"/>
                <a:gd name="connsiteX9" fmla="*/ 1165750 w 1633974"/>
                <a:gd name="connsiteY9" fmla="*/ 274637 h 821344"/>
                <a:gd name="connsiteX10" fmla="*/ 1633974 w 1633974"/>
                <a:gd name="connsiteY10" fmla="*/ 177897 h 821344"/>
                <a:gd name="connsiteX11" fmla="*/ 1590235 w 1633974"/>
                <a:gd name="connsiteY11" fmla="*/ 0 h 821344"/>
                <a:gd name="connsiteX12" fmla="*/ 1449135 w 1633974"/>
                <a:gd name="connsiteY12" fmla="*/ 34317 h 821344"/>
                <a:gd name="connsiteX13" fmla="*/ 1437791 w 1633974"/>
                <a:gd name="connsiteY13" fmla="*/ 10009 h 821344"/>
                <a:gd name="connsiteX14" fmla="*/ 1287490 w 1633974"/>
                <a:gd name="connsiteY14" fmla="*/ 34317 h 821344"/>
                <a:gd name="connsiteX15" fmla="*/ 1281818 w 1633974"/>
                <a:gd name="connsiteY15" fmla="*/ 67744 h 821344"/>
                <a:gd name="connsiteX16" fmla="*/ 859120 w 1633974"/>
                <a:gd name="connsiteY16" fmla="*/ 169937 h 821344"/>
                <a:gd name="connsiteX17" fmla="*/ 870614 w 1633974"/>
                <a:gd name="connsiteY17" fmla="*/ 274375 h 821344"/>
                <a:gd name="connsiteX18" fmla="*/ 348812 w 1633974"/>
                <a:gd name="connsiteY18" fmla="*/ 389846 h 821344"/>
                <a:gd name="connsiteX19" fmla="*/ 304403 w 1633974"/>
                <a:gd name="connsiteY19" fmla="*/ 399769 h 821344"/>
                <a:gd name="connsiteX0" fmla="*/ 304403 w 1633974"/>
                <a:gd name="connsiteY0" fmla="*/ 399769 h 821344"/>
                <a:gd name="connsiteX1" fmla="*/ 207018 w 1633974"/>
                <a:gd name="connsiteY1" fmla="*/ 429349 h 821344"/>
                <a:gd name="connsiteX2" fmla="*/ 0 w 1633974"/>
                <a:gd name="connsiteY2" fmla="*/ 714990 h 821344"/>
                <a:gd name="connsiteX3" fmla="*/ 76568 w 1633974"/>
                <a:gd name="connsiteY3" fmla="*/ 775763 h 821344"/>
                <a:gd name="connsiteX4" fmla="*/ 212691 w 1633974"/>
                <a:gd name="connsiteY4" fmla="*/ 584324 h 821344"/>
                <a:gd name="connsiteX5" fmla="*/ 286423 w 1633974"/>
                <a:gd name="connsiteY5" fmla="*/ 821344 h 821344"/>
                <a:gd name="connsiteX6" fmla="*/ 1200413 w 1633974"/>
                <a:gd name="connsiteY6" fmla="*/ 598921 h 821344"/>
                <a:gd name="connsiteX7" fmla="*/ 1174055 w 1633974"/>
                <a:gd name="connsiteY7" fmla="*/ 471892 h 821344"/>
                <a:gd name="connsiteX8" fmla="*/ 1205250 w 1633974"/>
                <a:gd name="connsiteY8" fmla="*/ 477970 h 821344"/>
                <a:gd name="connsiteX9" fmla="*/ 1165750 w 1633974"/>
                <a:gd name="connsiteY9" fmla="*/ 274637 h 821344"/>
                <a:gd name="connsiteX10" fmla="*/ 1633974 w 1633974"/>
                <a:gd name="connsiteY10" fmla="*/ 177897 h 821344"/>
                <a:gd name="connsiteX11" fmla="*/ 1590235 w 1633974"/>
                <a:gd name="connsiteY11" fmla="*/ 0 h 821344"/>
                <a:gd name="connsiteX12" fmla="*/ 1449135 w 1633974"/>
                <a:gd name="connsiteY12" fmla="*/ 34317 h 821344"/>
                <a:gd name="connsiteX13" fmla="*/ 1437791 w 1633974"/>
                <a:gd name="connsiteY13" fmla="*/ 10009 h 821344"/>
                <a:gd name="connsiteX14" fmla="*/ 1287490 w 1633974"/>
                <a:gd name="connsiteY14" fmla="*/ 34317 h 821344"/>
                <a:gd name="connsiteX15" fmla="*/ 1281818 w 1633974"/>
                <a:gd name="connsiteY15" fmla="*/ 67744 h 821344"/>
                <a:gd name="connsiteX16" fmla="*/ 859120 w 1633974"/>
                <a:gd name="connsiteY16" fmla="*/ 169937 h 821344"/>
                <a:gd name="connsiteX17" fmla="*/ 870614 w 1633974"/>
                <a:gd name="connsiteY17" fmla="*/ 274375 h 821344"/>
                <a:gd name="connsiteX18" fmla="*/ 348812 w 1633974"/>
                <a:gd name="connsiteY18" fmla="*/ 389846 h 821344"/>
                <a:gd name="connsiteX19" fmla="*/ 304403 w 1633974"/>
                <a:gd name="connsiteY19" fmla="*/ 399769 h 821344"/>
                <a:gd name="connsiteX0" fmla="*/ 304403 w 1633974"/>
                <a:gd name="connsiteY0" fmla="*/ 399769 h 821344"/>
                <a:gd name="connsiteX1" fmla="*/ 207018 w 1633974"/>
                <a:gd name="connsiteY1" fmla="*/ 429349 h 821344"/>
                <a:gd name="connsiteX2" fmla="*/ 0 w 1633974"/>
                <a:gd name="connsiteY2" fmla="*/ 714990 h 821344"/>
                <a:gd name="connsiteX3" fmla="*/ 90749 w 1633974"/>
                <a:gd name="connsiteY3" fmla="*/ 778801 h 821344"/>
                <a:gd name="connsiteX4" fmla="*/ 212691 w 1633974"/>
                <a:gd name="connsiteY4" fmla="*/ 584324 h 821344"/>
                <a:gd name="connsiteX5" fmla="*/ 286423 w 1633974"/>
                <a:gd name="connsiteY5" fmla="*/ 821344 h 821344"/>
                <a:gd name="connsiteX6" fmla="*/ 1200413 w 1633974"/>
                <a:gd name="connsiteY6" fmla="*/ 598921 h 821344"/>
                <a:gd name="connsiteX7" fmla="*/ 1174055 w 1633974"/>
                <a:gd name="connsiteY7" fmla="*/ 471892 h 821344"/>
                <a:gd name="connsiteX8" fmla="*/ 1205250 w 1633974"/>
                <a:gd name="connsiteY8" fmla="*/ 477970 h 821344"/>
                <a:gd name="connsiteX9" fmla="*/ 1165750 w 1633974"/>
                <a:gd name="connsiteY9" fmla="*/ 274637 h 821344"/>
                <a:gd name="connsiteX10" fmla="*/ 1633974 w 1633974"/>
                <a:gd name="connsiteY10" fmla="*/ 177897 h 821344"/>
                <a:gd name="connsiteX11" fmla="*/ 1590235 w 1633974"/>
                <a:gd name="connsiteY11" fmla="*/ 0 h 821344"/>
                <a:gd name="connsiteX12" fmla="*/ 1449135 w 1633974"/>
                <a:gd name="connsiteY12" fmla="*/ 34317 h 821344"/>
                <a:gd name="connsiteX13" fmla="*/ 1437791 w 1633974"/>
                <a:gd name="connsiteY13" fmla="*/ 10009 h 821344"/>
                <a:gd name="connsiteX14" fmla="*/ 1287490 w 1633974"/>
                <a:gd name="connsiteY14" fmla="*/ 34317 h 821344"/>
                <a:gd name="connsiteX15" fmla="*/ 1281818 w 1633974"/>
                <a:gd name="connsiteY15" fmla="*/ 67744 h 821344"/>
                <a:gd name="connsiteX16" fmla="*/ 859120 w 1633974"/>
                <a:gd name="connsiteY16" fmla="*/ 169937 h 821344"/>
                <a:gd name="connsiteX17" fmla="*/ 870614 w 1633974"/>
                <a:gd name="connsiteY17" fmla="*/ 274375 h 821344"/>
                <a:gd name="connsiteX18" fmla="*/ 348812 w 1633974"/>
                <a:gd name="connsiteY18" fmla="*/ 389846 h 821344"/>
                <a:gd name="connsiteX19" fmla="*/ 304403 w 1633974"/>
                <a:gd name="connsiteY19" fmla="*/ 399769 h 821344"/>
                <a:gd name="connsiteX0" fmla="*/ 304403 w 1633974"/>
                <a:gd name="connsiteY0" fmla="*/ 399769 h 821344"/>
                <a:gd name="connsiteX1" fmla="*/ 207018 w 1633974"/>
                <a:gd name="connsiteY1" fmla="*/ 429349 h 821344"/>
                <a:gd name="connsiteX2" fmla="*/ 0 w 1633974"/>
                <a:gd name="connsiteY2" fmla="*/ 714990 h 821344"/>
                <a:gd name="connsiteX3" fmla="*/ 90749 w 1633974"/>
                <a:gd name="connsiteY3" fmla="*/ 778801 h 821344"/>
                <a:gd name="connsiteX4" fmla="*/ 212691 w 1633974"/>
                <a:gd name="connsiteY4" fmla="*/ 584324 h 821344"/>
                <a:gd name="connsiteX5" fmla="*/ 232542 w 1633974"/>
                <a:gd name="connsiteY5" fmla="*/ 663331 h 821344"/>
                <a:gd name="connsiteX6" fmla="*/ 286423 w 1633974"/>
                <a:gd name="connsiteY6" fmla="*/ 821344 h 821344"/>
                <a:gd name="connsiteX7" fmla="*/ 1200413 w 1633974"/>
                <a:gd name="connsiteY7" fmla="*/ 598921 h 821344"/>
                <a:gd name="connsiteX8" fmla="*/ 1174055 w 1633974"/>
                <a:gd name="connsiteY8" fmla="*/ 471892 h 821344"/>
                <a:gd name="connsiteX9" fmla="*/ 1205250 w 1633974"/>
                <a:gd name="connsiteY9" fmla="*/ 477970 h 821344"/>
                <a:gd name="connsiteX10" fmla="*/ 1165750 w 1633974"/>
                <a:gd name="connsiteY10" fmla="*/ 274637 h 821344"/>
                <a:gd name="connsiteX11" fmla="*/ 1633974 w 1633974"/>
                <a:gd name="connsiteY11" fmla="*/ 177897 h 821344"/>
                <a:gd name="connsiteX12" fmla="*/ 1590235 w 1633974"/>
                <a:gd name="connsiteY12" fmla="*/ 0 h 821344"/>
                <a:gd name="connsiteX13" fmla="*/ 1449135 w 1633974"/>
                <a:gd name="connsiteY13" fmla="*/ 34317 h 821344"/>
                <a:gd name="connsiteX14" fmla="*/ 1437791 w 1633974"/>
                <a:gd name="connsiteY14" fmla="*/ 10009 h 821344"/>
                <a:gd name="connsiteX15" fmla="*/ 1287490 w 1633974"/>
                <a:gd name="connsiteY15" fmla="*/ 34317 h 821344"/>
                <a:gd name="connsiteX16" fmla="*/ 1281818 w 1633974"/>
                <a:gd name="connsiteY16" fmla="*/ 67744 h 821344"/>
                <a:gd name="connsiteX17" fmla="*/ 859120 w 1633974"/>
                <a:gd name="connsiteY17" fmla="*/ 169937 h 821344"/>
                <a:gd name="connsiteX18" fmla="*/ 870614 w 1633974"/>
                <a:gd name="connsiteY18" fmla="*/ 274375 h 821344"/>
                <a:gd name="connsiteX19" fmla="*/ 348812 w 1633974"/>
                <a:gd name="connsiteY19" fmla="*/ 389846 h 821344"/>
                <a:gd name="connsiteX20" fmla="*/ 304403 w 1633974"/>
                <a:gd name="connsiteY20" fmla="*/ 399769 h 821344"/>
                <a:gd name="connsiteX0" fmla="*/ 304403 w 1633974"/>
                <a:gd name="connsiteY0" fmla="*/ 399769 h 821344"/>
                <a:gd name="connsiteX1" fmla="*/ 207018 w 1633974"/>
                <a:gd name="connsiteY1" fmla="*/ 429349 h 821344"/>
                <a:gd name="connsiteX2" fmla="*/ 0 w 1633974"/>
                <a:gd name="connsiteY2" fmla="*/ 714990 h 821344"/>
                <a:gd name="connsiteX3" fmla="*/ 90749 w 1633974"/>
                <a:gd name="connsiteY3" fmla="*/ 778801 h 821344"/>
                <a:gd name="connsiteX4" fmla="*/ 212691 w 1633974"/>
                <a:gd name="connsiteY4" fmla="*/ 584324 h 821344"/>
                <a:gd name="connsiteX5" fmla="*/ 258065 w 1633974"/>
                <a:gd name="connsiteY5" fmla="*/ 569130 h 821344"/>
                <a:gd name="connsiteX6" fmla="*/ 286423 w 1633974"/>
                <a:gd name="connsiteY6" fmla="*/ 821344 h 821344"/>
                <a:gd name="connsiteX7" fmla="*/ 1200413 w 1633974"/>
                <a:gd name="connsiteY7" fmla="*/ 598921 h 821344"/>
                <a:gd name="connsiteX8" fmla="*/ 1174055 w 1633974"/>
                <a:gd name="connsiteY8" fmla="*/ 471892 h 821344"/>
                <a:gd name="connsiteX9" fmla="*/ 1205250 w 1633974"/>
                <a:gd name="connsiteY9" fmla="*/ 477970 h 821344"/>
                <a:gd name="connsiteX10" fmla="*/ 1165750 w 1633974"/>
                <a:gd name="connsiteY10" fmla="*/ 274637 h 821344"/>
                <a:gd name="connsiteX11" fmla="*/ 1633974 w 1633974"/>
                <a:gd name="connsiteY11" fmla="*/ 177897 h 821344"/>
                <a:gd name="connsiteX12" fmla="*/ 1590235 w 1633974"/>
                <a:gd name="connsiteY12" fmla="*/ 0 h 821344"/>
                <a:gd name="connsiteX13" fmla="*/ 1449135 w 1633974"/>
                <a:gd name="connsiteY13" fmla="*/ 34317 h 821344"/>
                <a:gd name="connsiteX14" fmla="*/ 1437791 w 1633974"/>
                <a:gd name="connsiteY14" fmla="*/ 10009 h 821344"/>
                <a:gd name="connsiteX15" fmla="*/ 1287490 w 1633974"/>
                <a:gd name="connsiteY15" fmla="*/ 34317 h 821344"/>
                <a:gd name="connsiteX16" fmla="*/ 1281818 w 1633974"/>
                <a:gd name="connsiteY16" fmla="*/ 67744 h 821344"/>
                <a:gd name="connsiteX17" fmla="*/ 859120 w 1633974"/>
                <a:gd name="connsiteY17" fmla="*/ 169937 h 821344"/>
                <a:gd name="connsiteX18" fmla="*/ 870614 w 1633974"/>
                <a:gd name="connsiteY18" fmla="*/ 274375 h 821344"/>
                <a:gd name="connsiteX19" fmla="*/ 348812 w 1633974"/>
                <a:gd name="connsiteY19" fmla="*/ 389846 h 821344"/>
                <a:gd name="connsiteX20" fmla="*/ 304403 w 1633974"/>
                <a:gd name="connsiteY20" fmla="*/ 399769 h 821344"/>
                <a:gd name="connsiteX0" fmla="*/ 304403 w 1633974"/>
                <a:gd name="connsiteY0" fmla="*/ 399769 h 821344"/>
                <a:gd name="connsiteX1" fmla="*/ 207018 w 1633974"/>
                <a:gd name="connsiteY1" fmla="*/ 429349 h 821344"/>
                <a:gd name="connsiteX2" fmla="*/ 0 w 1633974"/>
                <a:gd name="connsiteY2" fmla="*/ 714990 h 821344"/>
                <a:gd name="connsiteX3" fmla="*/ 90749 w 1633974"/>
                <a:gd name="connsiteY3" fmla="*/ 778801 h 821344"/>
                <a:gd name="connsiteX4" fmla="*/ 212691 w 1633974"/>
                <a:gd name="connsiteY4" fmla="*/ 584324 h 821344"/>
                <a:gd name="connsiteX5" fmla="*/ 258065 w 1633974"/>
                <a:gd name="connsiteY5" fmla="*/ 569130 h 821344"/>
                <a:gd name="connsiteX6" fmla="*/ 277916 w 1633974"/>
                <a:gd name="connsiteY6" fmla="*/ 733221 h 821344"/>
                <a:gd name="connsiteX7" fmla="*/ 286423 w 1633974"/>
                <a:gd name="connsiteY7" fmla="*/ 821344 h 821344"/>
                <a:gd name="connsiteX8" fmla="*/ 1200413 w 1633974"/>
                <a:gd name="connsiteY8" fmla="*/ 598921 h 821344"/>
                <a:gd name="connsiteX9" fmla="*/ 1174055 w 1633974"/>
                <a:gd name="connsiteY9" fmla="*/ 471892 h 821344"/>
                <a:gd name="connsiteX10" fmla="*/ 1205250 w 1633974"/>
                <a:gd name="connsiteY10" fmla="*/ 477970 h 821344"/>
                <a:gd name="connsiteX11" fmla="*/ 1165750 w 1633974"/>
                <a:gd name="connsiteY11" fmla="*/ 274637 h 821344"/>
                <a:gd name="connsiteX12" fmla="*/ 1633974 w 1633974"/>
                <a:gd name="connsiteY12" fmla="*/ 177897 h 821344"/>
                <a:gd name="connsiteX13" fmla="*/ 1590235 w 1633974"/>
                <a:gd name="connsiteY13" fmla="*/ 0 h 821344"/>
                <a:gd name="connsiteX14" fmla="*/ 1449135 w 1633974"/>
                <a:gd name="connsiteY14" fmla="*/ 34317 h 821344"/>
                <a:gd name="connsiteX15" fmla="*/ 1437791 w 1633974"/>
                <a:gd name="connsiteY15" fmla="*/ 10009 h 821344"/>
                <a:gd name="connsiteX16" fmla="*/ 1287490 w 1633974"/>
                <a:gd name="connsiteY16" fmla="*/ 34317 h 821344"/>
                <a:gd name="connsiteX17" fmla="*/ 1281818 w 1633974"/>
                <a:gd name="connsiteY17" fmla="*/ 67744 h 821344"/>
                <a:gd name="connsiteX18" fmla="*/ 859120 w 1633974"/>
                <a:gd name="connsiteY18" fmla="*/ 169937 h 821344"/>
                <a:gd name="connsiteX19" fmla="*/ 870614 w 1633974"/>
                <a:gd name="connsiteY19" fmla="*/ 274375 h 821344"/>
                <a:gd name="connsiteX20" fmla="*/ 348812 w 1633974"/>
                <a:gd name="connsiteY20" fmla="*/ 389846 h 821344"/>
                <a:gd name="connsiteX21" fmla="*/ 304403 w 1633974"/>
                <a:gd name="connsiteY21" fmla="*/ 399769 h 821344"/>
                <a:gd name="connsiteX0" fmla="*/ 304403 w 1633974"/>
                <a:gd name="connsiteY0" fmla="*/ 399769 h 821344"/>
                <a:gd name="connsiteX1" fmla="*/ 207018 w 1633974"/>
                <a:gd name="connsiteY1" fmla="*/ 429349 h 821344"/>
                <a:gd name="connsiteX2" fmla="*/ 0 w 1633974"/>
                <a:gd name="connsiteY2" fmla="*/ 714990 h 821344"/>
                <a:gd name="connsiteX3" fmla="*/ 90749 w 1633974"/>
                <a:gd name="connsiteY3" fmla="*/ 778801 h 821344"/>
                <a:gd name="connsiteX4" fmla="*/ 212691 w 1633974"/>
                <a:gd name="connsiteY4" fmla="*/ 584324 h 821344"/>
                <a:gd name="connsiteX5" fmla="*/ 258065 w 1633974"/>
                <a:gd name="connsiteY5" fmla="*/ 569130 h 821344"/>
                <a:gd name="connsiteX6" fmla="*/ 272245 w 1633974"/>
                <a:gd name="connsiteY6" fmla="*/ 639022 h 821344"/>
                <a:gd name="connsiteX7" fmla="*/ 286423 w 1633974"/>
                <a:gd name="connsiteY7" fmla="*/ 821344 h 821344"/>
                <a:gd name="connsiteX8" fmla="*/ 1200413 w 1633974"/>
                <a:gd name="connsiteY8" fmla="*/ 598921 h 821344"/>
                <a:gd name="connsiteX9" fmla="*/ 1174055 w 1633974"/>
                <a:gd name="connsiteY9" fmla="*/ 471892 h 821344"/>
                <a:gd name="connsiteX10" fmla="*/ 1205250 w 1633974"/>
                <a:gd name="connsiteY10" fmla="*/ 477970 h 821344"/>
                <a:gd name="connsiteX11" fmla="*/ 1165750 w 1633974"/>
                <a:gd name="connsiteY11" fmla="*/ 274637 h 821344"/>
                <a:gd name="connsiteX12" fmla="*/ 1633974 w 1633974"/>
                <a:gd name="connsiteY12" fmla="*/ 177897 h 821344"/>
                <a:gd name="connsiteX13" fmla="*/ 1590235 w 1633974"/>
                <a:gd name="connsiteY13" fmla="*/ 0 h 821344"/>
                <a:gd name="connsiteX14" fmla="*/ 1449135 w 1633974"/>
                <a:gd name="connsiteY14" fmla="*/ 34317 h 821344"/>
                <a:gd name="connsiteX15" fmla="*/ 1437791 w 1633974"/>
                <a:gd name="connsiteY15" fmla="*/ 10009 h 821344"/>
                <a:gd name="connsiteX16" fmla="*/ 1287490 w 1633974"/>
                <a:gd name="connsiteY16" fmla="*/ 34317 h 821344"/>
                <a:gd name="connsiteX17" fmla="*/ 1281818 w 1633974"/>
                <a:gd name="connsiteY17" fmla="*/ 67744 h 821344"/>
                <a:gd name="connsiteX18" fmla="*/ 859120 w 1633974"/>
                <a:gd name="connsiteY18" fmla="*/ 169937 h 821344"/>
                <a:gd name="connsiteX19" fmla="*/ 870614 w 1633974"/>
                <a:gd name="connsiteY19" fmla="*/ 274375 h 821344"/>
                <a:gd name="connsiteX20" fmla="*/ 348812 w 1633974"/>
                <a:gd name="connsiteY20" fmla="*/ 389846 h 821344"/>
                <a:gd name="connsiteX21" fmla="*/ 304403 w 1633974"/>
                <a:gd name="connsiteY21" fmla="*/ 399769 h 821344"/>
                <a:gd name="connsiteX0" fmla="*/ 304403 w 1633974"/>
                <a:gd name="connsiteY0" fmla="*/ 399769 h 821344"/>
                <a:gd name="connsiteX1" fmla="*/ 207018 w 1633974"/>
                <a:gd name="connsiteY1" fmla="*/ 429349 h 821344"/>
                <a:gd name="connsiteX2" fmla="*/ 0 w 1633974"/>
                <a:gd name="connsiteY2" fmla="*/ 714990 h 821344"/>
                <a:gd name="connsiteX3" fmla="*/ 90749 w 1633974"/>
                <a:gd name="connsiteY3" fmla="*/ 778801 h 821344"/>
                <a:gd name="connsiteX4" fmla="*/ 212691 w 1633974"/>
                <a:gd name="connsiteY4" fmla="*/ 584324 h 821344"/>
                <a:gd name="connsiteX5" fmla="*/ 258065 w 1633974"/>
                <a:gd name="connsiteY5" fmla="*/ 569130 h 821344"/>
                <a:gd name="connsiteX6" fmla="*/ 272245 w 1633974"/>
                <a:gd name="connsiteY6" fmla="*/ 639022 h 821344"/>
                <a:gd name="connsiteX7" fmla="*/ 282017 w 1633974"/>
                <a:gd name="connsiteY7" fmla="*/ 752841 h 821344"/>
                <a:gd name="connsiteX8" fmla="*/ 286423 w 1633974"/>
                <a:gd name="connsiteY8" fmla="*/ 821344 h 821344"/>
                <a:gd name="connsiteX9" fmla="*/ 1200413 w 1633974"/>
                <a:gd name="connsiteY9" fmla="*/ 598921 h 821344"/>
                <a:gd name="connsiteX10" fmla="*/ 1174055 w 1633974"/>
                <a:gd name="connsiteY10" fmla="*/ 471892 h 821344"/>
                <a:gd name="connsiteX11" fmla="*/ 1205250 w 1633974"/>
                <a:gd name="connsiteY11" fmla="*/ 477970 h 821344"/>
                <a:gd name="connsiteX12" fmla="*/ 1165750 w 1633974"/>
                <a:gd name="connsiteY12" fmla="*/ 274637 h 821344"/>
                <a:gd name="connsiteX13" fmla="*/ 1633974 w 1633974"/>
                <a:gd name="connsiteY13" fmla="*/ 177897 h 821344"/>
                <a:gd name="connsiteX14" fmla="*/ 1590235 w 1633974"/>
                <a:gd name="connsiteY14" fmla="*/ 0 h 821344"/>
                <a:gd name="connsiteX15" fmla="*/ 1449135 w 1633974"/>
                <a:gd name="connsiteY15" fmla="*/ 34317 h 821344"/>
                <a:gd name="connsiteX16" fmla="*/ 1437791 w 1633974"/>
                <a:gd name="connsiteY16" fmla="*/ 10009 h 821344"/>
                <a:gd name="connsiteX17" fmla="*/ 1287490 w 1633974"/>
                <a:gd name="connsiteY17" fmla="*/ 34317 h 821344"/>
                <a:gd name="connsiteX18" fmla="*/ 1281818 w 1633974"/>
                <a:gd name="connsiteY18" fmla="*/ 67744 h 821344"/>
                <a:gd name="connsiteX19" fmla="*/ 859120 w 1633974"/>
                <a:gd name="connsiteY19" fmla="*/ 169937 h 821344"/>
                <a:gd name="connsiteX20" fmla="*/ 870614 w 1633974"/>
                <a:gd name="connsiteY20" fmla="*/ 274375 h 821344"/>
                <a:gd name="connsiteX21" fmla="*/ 348812 w 1633974"/>
                <a:gd name="connsiteY21" fmla="*/ 389846 h 821344"/>
                <a:gd name="connsiteX22" fmla="*/ 304403 w 1633974"/>
                <a:gd name="connsiteY22" fmla="*/ 399769 h 821344"/>
                <a:gd name="connsiteX0" fmla="*/ 304403 w 1633974"/>
                <a:gd name="connsiteY0" fmla="*/ 399769 h 821344"/>
                <a:gd name="connsiteX1" fmla="*/ 207018 w 1633974"/>
                <a:gd name="connsiteY1" fmla="*/ 429349 h 821344"/>
                <a:gd name="connsiteX2" fmla="*/ 0 w 1633974"/>
                <a:gd name="connsiteY2" fmla="*/ 714990 h 821344"/>
                <a:gd name="connsiteX3" fmla="*/ 90749 w 1633974"/>
                <a:gd name="connsiteY3" fmla="*/ 778801 h 821344"/>
                <a:gd name="connsiteX4" fmla="*/ 212691 w 1633974"/>
                <a:gd name="connsiteY4" fmla="*/ 584324 h 821344"/>
                <a:gd name="connsiteX5" fmla="*/ 258065 w 1633974"/>
                <a:gd name="connsiteY5" fmla="*/ 569130 h 821344"/>
                <a:gd name="connsiteX6" fmla="*/ 272245 w 1633974"/>
                <a:gd name="connsiteY6" fmla="*/ 639022 h 821344"/>
                <a:gd name="connsiteX7" fmla="*/ 270830 w 1633974"/>
                <a:gd name="connsiteY7" fmla="*/ 721725 h 821344"/>
                <a:gd name="connsiteX8" fmla="*/ 286423 w 1633974"/>
                <a:gd name="connsiteY8" fmla="*/ 821344 h 821344"/>
                <a:gd name="connsiteX9" fmla="*/ 1200413 w 1633974"/>
                <a:gd name="connsiteY9" fmla="*/ 598921 h 821344"/>
                <a:gd name="connsiteX10" fmla="*/ 1174055 w 1633974"/>
                <a:gd name="connsiteY10" fmla="*/ 471892 h 821344"/>
                <a:gd name="connsiteX11" fmla="*/ 1205250 w 1633974"/>
                <a:gd name="connsiteY11" fmla="*/ 477970 h 821344"/>
                <a:gd name="connsiteX12" fmla="*/ 1165750 w 1633974"/>
                <a:gd name="connsiteY12" fmla="*/ 274637 h 821344"/>
                <a:gd name="connsiteX13" fmla="*/ 1633974 w 1633974"/>
                <a:gd name="connsiteY13" fmla="*/ 177897 h 821344"/>
                <a:gd name="connsiteX14" fmla="*/ 1590235 w 1633974"/>
                <a:gd name="connsiteY14" fmla="*/ 0 h 821344"/>
                <a:gd name="connsiteX15" fmla="*/ 1449135 w 1633974"/>
                <a:gd name="connsiteY15" fmla="*/ 34317 h 821344"/>
                <a:gd name="connsiteX16" fmla="*/ 1437791 w 1633974"/>
                <a:gd name="connsiteY16" fmla="*/ 10009 h 821344"/>
                <a:gd name="connsiteX17" fmla="*/ 1287490 w 1633974"/>
                <a:gd name="connsiteY17" fmla="*/ 34317 h 821344"/>
                <a:gd name="connsiteX18" fmla="*/ 1281818 w 1633974"/>
                <a:gd name="connsiteY18" fmla="*/ 67744 h 821344"/>
                <a:gd name="connsiteX19" fmla="*/ 859120 w 1633974"/>
                <a:gd name="connsiteY19" fmla="*/ 169937 h 821344"/>
                <a:gd name="connsiteX20" fmla="*/ 870614 w 1633974"/>
                <a:gd name="connsiteY20" fmla="*/ 274375 h 821344"/>
                <a:gd name="connsiteX21" fmla="*/ 348812 w 1633974"/>
                <a:gd name="connsiteY21" fmla="*/ 389846 h 821344"/>
                <a:gd name="connsiteX22" fmla="*/ 304403 w 1633974"/>
                <a:gd name="connsiteY22" fmla="*/ 399769 h 821344"/>
                <a:gd name="connsiteX0" fmla="*/ 304403 w 1633974"/>
                <a:gd name="connsiteY0" fmla="*/ 399769 h 821344"/>
                <a:gd name="connsiteX1" fmla="*/ 207018 w 1633974"/>
                <a:gd name="connsiteY1" fmla="*/ 429349 h 821344"/>
                <a:gd name="connsiteX2" fmla="*/ 143288 w 1633974"/>
                <a:gd name="connsiteY2" fmla="*/ 518279 h 821344"/>
                <a:gd name="connsiteX3" fmla="*/ 0 w 1633974"/>
                <a:gd name="connsiteY3" fmla="*/ 714990 h 821344"/>
                <a:gd name="connsiteX4" fmla="*/ 90749 w 1633974"/>
                <a:gd name="connsiteY4" fmla="*/ 778801 h 821344"/>
                <a:gd name="connsiteX5" fmla="*/ 212691 w 1633974"/>
                <a:gd name="connsiteY5" fmla="*/ 584324 h 821344"/>
                <a:gd name="connsiteX6" fmla="*/ 258065 w 1633974"/>
                <a:gd name="connsiteY6" fmla="*/ 569130 h 821344"/>
                <a:gd name="connsiteX7" fmla="*/ 272245 w 1633974"/>
                <a:gd name="connsiteY7" fmla="*/ 639022 h 821344"/>
                <a:gd name="connsiteX8" fmla="*/ 270830 w 1633974"/>
                <a:gd name="connsiteY8" fmla="*/ 721725 h 821344"/>
                <a:gd name="connsiteX9" fmla="*/ 286423 w 1633974"/>
                <a:gd name="connsiteY9" fmla="*/ 821344 h 821344"/>
                <a:gd name="connsiteX10" fmla="*/ 1200413 w 1633974"/>
                <a:gd name="connsiteY10" fmla="*/ 598921 h 821344"/>
                <a:gd name="connsiteX11" fmla="*/ 1174055 w 1633974"/>
                <a:gd name="connsiteY11" fmla="*/ 471892 h 821344"/>
                <a:gd name="connsiteX12" fmla="*/ 1205250 w 1633974"/>
                <a:gd name="connsiteY12" fmla="*/ 477970 h 821344"/>
                <a:gd name="connsiteX13" fmla="*/ 1165750 w 1633974"/>
                <a:gd name="connsiteY13" fmla="*/ 274637 h 821344"/>
                <a:gd name="connsiteX14" fmla="*/ 1633974 w 1633974"/>
                <a:gd name="connsiteY14" fmla="*/ 177897 h 821344"/>
                <a:gd name="connsiteX15" fmla="*/ 1590235 w 1633974"/>
                <a:gd name="connsiteY15" fmla="*/ 0 h 821344"/>
                <a:gd name="connsiteX16" fmla="*/ 1449135 w 1633974"/>
                <a:gd name="connsiteY16" fmla="*/ 34317 h 821344"/>
                <a:gd name="connsiteX17" fmla="*/ 1437791 w 1633974"/>
                <a:gd name="connsiteY17" fmla="*/ 10009 h 821344"/>
                <a:gd name="connsiteX18" fmla="*/ 1287490 w 1633974"/>
                <a:gd name="connsiteY18" fmla="*/ 34317 h 821344"/>
                <a:gd name="connsiteX19" fmla="*/ 1281818 w 1633974"/>
                <a:gd name="connsiteY19" fmla="*/ 67744 h 821344"/>
                <a:gd name="connsiteX20" fmla="*/ 859120 w 1633974"/>
                <a:gd name="connsiteY20" fmla="*/ 169937 h 821344"/>
                <a:gd name="connsiteX21" fmla="*/ 870614 w 1633974"/>
                <a:gd name="connsiteY21" fmla="*/ 274375 h 821344"/>
                <a:gd name="connsiteX22" fmla="*/ 348812 w 1633974"/>
                <a:gd name="connsiteY22" fmla="*/ 389846 h 821344"/>
                <a:gd name="connsiteX23" fmla="*/ 304403 w 1633974"/>
                <a:gd name="connsiteY23" fmla="*/ 399769 h 821344"/>
                <a:gd name="connsiteX0" fmla="*/ 304403 w 1633974"/>
                <a:gd name="connsiteY0" fmla="*/ 399769 h 821344"/>
                <a:gd name="connsiteX1" fmla="*/ 207018 w 1633974"/>
                <a:gd name="connsiteY1" fmla="*/ 429349 h 821344"/>
                <a:gd name="connsiteX2" fmla="*/ 154475 w 1633974"/>
                <a:gd name="connsiteY2" fmla="*/ 465621 h 821344"/>
                <a:gd name="connsiteX3" fmla="*/ 0 w 1633974"/>
                <a:gd name="connsiteY3" fmla="*/ 714990 h 821344"/>
                <a:gd name="connsiteX4" fmla="*/ 90749 w 1633974"/>
                <a:gd name="connsiteY4" fmla="*/ 778801 h 821344"/>
                <a:gd name="connsiteX5" fmla="*/ 212691 w 1633974"/>
                <a:gd name="connsiteY5" fmla="*/ 584324 h 821344"/>
                <a:gd name="connsiteX6" fmla="*/ 258065 w 1633974"/>
                <a:gd name="connsiteY6" fmla="*/ 569130 h 821344"/>
                <a:gd name="connsiteX7" fmla="*/ 272245 w 1633974"/>
                <a:gd name="connsiteY7" fmla="*/ 639022 h 821344"/>
                <a:gd name="connsiteX8" fmla="*/ 270830 w 1633974"/>
                <a:gd name="connsiteY8" fmla="*/ 721725 h 821344"/>
                <a:gd name="connsiteX9" fmla="*/ 286423 w 1633974"/>
                <a:gd name="connsiteY9" fmla="*/ 821344 h 821344"/>
                <a:gd name="connsiteX10" fmla="*/ 1200413 w 1633974"/>
                <a:gd name="connsiteY10" fmla="*/ 598921 h 821344"/>
                <a:gd name="connsiteX11" fmla="*/ 1174055 w 1633974"/>
                <a:gd name="connsiteY11" fmla="*/ 471892 h 821344"/>
                <a:gd name="connsiteX12" fmla="*/ 1205250 w 1633974"/>
                <a:gd name="connsiteY12" fmla="*/ 477970 h 821344"/>
                <a:gd name="connsiteX13" fmla="*/ 1165750 w 1633974"/>
                <a:gd name="connsiteY13" fmla="*/ 274637 h 821344"/>
                <a:gd name="connsiteX14" fmla="*/ 1633974 w 1633974"/>
                <a:gd name="connsiteY14" fmla="*/ 177897 h 821344"/>
                <a:gd name="connsiteX15" fmla="*/ 1590235 w 1633974"/>
                <a:gd name="connsiteY15" fmla="*/ 0 h 821344"/>
                <a:gd name="connsiteX16" fmla="*/ 1449135 w 1633974"/>
                <a:gd name="connsiteY16" fmla="*/ 34317 h 821344"/>
                <a:gd name="connsiteX17" fmla="*/ 1437791 w 1633974"/>
                <a:gd name="connsiteY17" fmla="*/ 10009 h 821344"/>
                <a:gd name="connsiteX18" fmla="*/ 1287490 w 1633974"/>
                <a:gd name="connsiteY18" fmla="*/ 34317 h 821344"/>
                <a:gd name="connsiteX19" fmla="*/ 1281818 w 1633974"/>
                <a:gd name="connsiteY19" fmla="*/ 67744 h 821344"/>
                <a:gd name="connsiteX20" fmla="*/ 859120 w 1633974"/>
                <a:gd name="connsiteY20" fmla="*/ 169937 h 821344"/>
                <a:gd name="connsiteX21" fmla="*/ 870614 w 1633974"/>
                <a:gd name="connsiteY21" fmla="*/ 274375 h 821344"/>
                <a:gd name="connsiteX22" fmla="*/ 348812 w 1633974"/>
                <a:gd name="connsiteY22" fmla="*/ 389846 h 821344"/>
                <a:gd name="connsiteX23" fmla="*/ 304403 w 1633974"/>
                <a:gd name="connsiteY23" fmla="*/ 399769 h 821344"/>
                <a:gd name="connsiteX0" fmla="*/ 304403 w 1633974"/>
                <a:gd name="connsiteY0" fmla="*/ 399769 h 821344"/>
                <a:gd name="connsiteX1" fmla="*/ 207018 w 1633974"/>
                <a:gd name="connsiteY1" fmla="*/ 429349 h 821344"/>
                <a:gd name="connsiteX2" fmla="*/ 154475 w 1633974"/>
                <a:gd name="connsiteY2" fmla="*/ 465621 h 821344"/>
                <a:gd name="connsiteX3" fmla="*/ 0 w 1633974"/>
                <a:gd name="connsiteY3" fmla="*/ 714990 h 821344"/>
                <a:gd name="connsiteX4" fmla="*/ 90749 w 1633974"/>
                <a:gd name="connsiteY4" fmla="*/ 778801 h 821344"/>
                <a:gd name="connsiteX5" fmla="*/ 212691 w 1633974"/>
                <a:gd name="connsiteY5" fmla="*/ 584324 h 821344"/>
                <a:gd name="connsiteX6" fmla="*/ 258065 w 1633974"/>
                <a:gd name="connsiteY6" fmla="*/ 569130 h 821344"/>
                <a:gd name="connsiteX7" fmla="*/ 272245 w 1633974"/>
                <a:gd name="connsiteY7" fmla="*/ 639022 h 821344"/>
                <a:gd name="connsiteX8" fmla="*/ 270830 w 1633974"/>
                <a:gd name="connsiteY8" fmla="*/ 721725 h 821344"/>
                <a:gd name="connsiteX9" fmla="*/ 277472 w 1633974"/>
                <a:gd name="connsiteY9" fmla="*/ 821344 h 821344"/>
                <a:gd name="connsiteX10" fmla="*/ 1200413 w 1633974"/>
                <a:gd name="connsiteY10" fmla="*/ 598921 h 821344"/>
                <a:gd name="connsiteX11" fmla="*/ 1174055 w 1633974"/>
                <a:gd name="connsiteY11" fmla="*/ 471892 h 821344"/>
                <a:gd name="connsiteX12" fmla="*/ 1205250 w 1633974"/>
                <a:gd name="connsiteY12" fmla="*/ 477970 h 821344"/>
                <a:gd name="connsiteX13" fmla="*/ 1165750 w 1633974"/>
                <a:gd name="connsiteY13" fmla="*/ 274637 h 821344"/>
                <a:gd name="connsiteX14" fmla="*/ 1633974 w 1633974"/>
                <a:gd name="connsiteY14" fmla="*/ 177897 h 821344"/>
                <a:gd name="connsiteX15" fmla="*/ 1590235 w 1633974"/>
                <a:gd name="connsiteY15" fmla="*/ 0 h 821344"/>
                <a:gd name="connsiteX16" fmla="*/ 1449135 w 1633974"/>
                <a:gd name="connsiteY16" fmla="*/ 34317 h 821344"/>
                <a:gd name="connsiteX17" fmla="*/ 1437791 w 1633974"/>
                <a:gd name="connsiteY17" fmla="*/ 10009 h 821344"/>
                <a:gd name="connsiteX18" fmla="*/ 1287490 w 1633974"/>
                <a:gd name="connsiteY18" fmla="*/ 34317 h 821344"/>
                <a:gd name="connsiteX19" fmla="*/ 1281818 w 1633974"/>
                <a:gd name="connsiteY19" fmla="*/ 67744 h 821344"/>
                <a:gd name="connsiteX20" fmla="*/ 859120 w 1633974"/>
                <a:gd name="connsiteY20" fmla="*/ 169937 h 821344"/>
                <a:gd name="connsiteX21" fmla="*/ 870614 w 1633974"/>
                <a:gd name="connsiteY21" fmla="*/ 274375 h 821344"/>
                <a:gd name="connsiteX22" fmla="*/ 348812 w 1633974"/>
                <a:gd name="connsiteY22" fmla="*/ 389846 h 821344"/>
                <a:gd name="connsiteX23" fmla="*/ 304403 w 1633974"/>
                <a:gd name="connsiteY23" fmla="*/ 399769 h 821344"/>
                <a:gd name="connsiteX0" fmla="*/ 304403 w 1633974"/>
                <a:gd name="connsiteY0" fmla="*/ 399769 h 821344"/>
                <a:gd name="connsiteX1" fmla="*/ 207018 w 1633974"/>
                <a:gd name="connsiteY1" fmla="*/ 429349 h 821344"/>
                <a:gd name="connsiteX2" fmla="*/ 154475 w 1633974"/>
                <a:gd name="connsiteY2" fmla="*/ 465621 h 821344"/>
                <a:gd name="connsiteX3" fmla="*/ 0 w 1633974"/>
                <a:gd name="connsiteY3" fmla="*/ 714990 h 821344"/>
                <a:gd name="connsiteX4" fmla="*/ 90749 w 1633974"/>
                <a:gd name="connsiteY4" fmla="*/ 778801 h 821344"/>
                <a:gd name="connsiteX5" fmla="*/ 212691 w 1633974"/>
                <a:gd name="connsiteY5" fmla="*/ 584324 h 821344"/>
                <a:gd name="connsiteX6" fmla="*/ 258065 w 1633974"/>
                <a:gd name="connsiteY6" fmla="*/ 569130 h 821344"/>
                <a:gd name="connsiteX7" fmla="*/ 272245 w 1633974"/>
                <a:gd name="connsiteY7" fmla="*/ 639022 h 821344"/>
                <a:gd name="connsiteX8" fmla="*/ 270830 w 1633974"/>
                <a:gd name="connsiteY8" fmla="*/ 721725 h 821344"/>
                <a:gd name="connsiteX9" fmla="*/ 277472 w 1633974"/>
                <a:gd name="connsiteY9" fmla="*/ 821344 h 821344"/>
                <a:gd name="connsiteX10" fmla="*/ 1202650 w 1633974"/>
                <a:gd name="connsiteY10" fmla="*/ 610888 h 821344"/>
                <a:gd name="connsiteX11" fmla="*/ 1174055 w 1633974"/>
                <a:gd name="connsiteY11" fmla="*/ 471892 h 821344"/>
                <a:gd name="connsiteX12" fmla="*/ 1205250 w 1633974"/>
                <a:gd name="connsiteY12" fmla="*/ 477970 h 821344"/>
                <a:gd name="connsiteX13" fmla="*/ 1165750 w 1633974"/>
                <a:gd name="connsiteY13" fmla="*/ 274637 h 821344"/>
                <a:gd name="connsiteX14" fmla="*/ 1633974 w 1633974"/>
                <a:gd name="connsiteY14" fmla="*/ 177897 h 821344"/>
                <a:gd name="connsiteX15" fmla="*/ 1590235 w 1633974"/>
                <a:gd name="connsiteY15" fmla="*/ 0 h 821344"/>
                <a:gd name="connsiteX16" fmla="*/ 1449135 w 1633974"/>
                <a:gd name="connsiteY16" fmla="*/ 34317 h 821344"/>
                <a:gd name="connsiteX17" fmla="*/ 1437791 w 1633974"/>
                <a:gd name="connsiteY17" fmla="*/ 10009 h 821344"/>
                <a:gd name="connsiteX18" fmla="*/ 1287490 w 1633974"/>
                <a:gd name="connsiteY18" fmla="*/ 34317 h 821344"/>
                <a:gd name="connsiteX19" fmla="*/ 1281818 w 1633974"/>
                <a:gd name="connsiteY19" fmla="*/ 67744 h 821344"/>
                <a:gd name="connsiteX20" fmla="*/ 859120 w 1633974"/>
                <a:gd name="connsiteY20" fmla="*/ 169937 h 821344"/>
                <a:gd name="connsiteX21" fmla="*/ 870614 w 1633974"/>
                <a:gd name="connsiteY21" fmla="*/ 274375 h 821344"/>
                <a:gd name="connsiteX22" fmla="*/ 348812 w 1633974"/>
                <a:gd name="connsiteY22" fmla="*/ 389846 h 821344"/>
                <a:gd name="connsiteX23" fmla="*/ 304403 w 1633974"/>
                <a:gd name="connsiteY23" fmla="*/ 399769 h 821344"/>
                <a:gd name="connsiteX0" fmla="*/ 304403 w 1633974"/>
                <a:gd name="connsiteY0" fmla="*/ 399769 h 821344"/>
                <a:gd name="connsiteX1" fmla="*/ 207018 w 1633974"/>
                <a:gd name="connsiteY1" fmla="*/ 429349 h 821344"/>
                <a:gd name="connsiteX2" fmla="*/ 154475 w 1633974"/>
                <a:gd name="connsiteY2" fmla="*/ 465621 h 821344"/>
                <a:gd name="connsiteX3" fmla="*/ 0 w 1633974"/>
                <a:gd name="connsiteY3" fmla="*/ 714990 h 821344"/>
                <a:gd name="connsiteX4" fmla="*/ 90749 w 1633974"/>
                <a:gd name="connsiteY4" fmla="*/ 778801 h 821344"/>
                <a:gd name="connsiteX5" fmla="*/ 212691 w 1633974"/>
                <a:gd name="connsiteY5" fmla="*/ 584324 h 821344"/>
                <a:gd name="connsiteX6" fmla="*/ 258065 w 1633974"/>
                <a:gd name="connsiteY6" fmla="*/ 569130 h 821344"/>
                <a:gd name="connsiteX7" fmla="*/ 272245 w 1633974"/>
                <a:gd name="connsiteY7" fmla="*/ 639022 h 821344"/>
                <a:gd name="connsiteX8" fmla="*/ 270830 w 1633974"/>
                <a:gd name="connsiteY8" fmla="*/ 721725 h 821344"/>
                <a:gd name="connsiteX9" fmla="*/ 277472 w 1633974"/>
                <a:gd name="connsiteY9" fmla="*/ 821344 h 821344"/>
                <a:gd name="connsiteX10" fmla="*/ 1202650 w 1633974"/>
                <a:gd name="connsiteY10" fmla="*/ 610888 h 821344"/>
                <a:gd name="connsiteX11" fmla="*/ 1178530 w 1633974"/>
                <a:gd name="connsiteY11" fmla="*/ 474285 h 821344"/>
                <a:gd name="connsiteX12" fmla="*/ 1205250 w 1633974"/>
                <a:gd name="connsiteY12" fmla="*/ 477970 h 821344"/>
                <a:gd name="connsiteX13" fmla="*/ 1165750 w 1633974"/>
                <a:gd name="connsiteY13" fmla="*/ 274637 h 821344"/>
                <a:gd name="connsiteX14" fmla="*/ 1633974 w 1633974"/>
                <a:gd name="connsiteY14" fmla="*/ 177897 h 821344"/>
                <a:gd name="connsiteX15" fmla="*/ 1590235 w 1633974"/>
                <a:gd name="connsiteY15" fmla="*/ 0 h 821344"/>
                <a:gd name="connsiteX16" fmla="*/ 1449135 w 1633974"/>
                <a:gd name="connsiteY16" fmla="*/ 34317 h 821344"/>
                <a:gd name="connsiteX17" fmla="*/ 1437791 w 1633974"/>
                <a:gd name="connsiteY17" fmla="*/ 10009 h 821344"/>
                <a:gd name="connsiteX18" fmla="*/ 1287490 w 1633974"/>
                <a:gd name="connsiteY18" fmla="*/ 34317 h 821344"/>
                <a:gd name="connsiteX19" fmla="*/ 1281818 w 1633974"/>
                <a:gd name="connsiteY19" fmla="*/ 67744 h 821344"/>
                <a:gd name="connsiteX20" fmla="*/ 859120 w 1633974"/>
                <a:gd name="connsiteY20" fmla="*/ 169937 h 821344"/>
                <a:gd name="connsiteX21" fmla="*/ 870614 w 1633974"/>
                <a:gd name="connsiteY21" fmla="*/ 274375 h 821344"/>
                <a:gd name="connsiteX22" fmla="*/ 348812 w 1633974"/>
                <a:gd name="connsiteY22" fmla="*/ 389846 h 821344"/>
                <a:gd name="connsiteX23" fmla="*/ 304403 w 1633974"/>
                <a:gd name="connsiteY23" fmla="*/ 399769 h 821344"/>
                <a:gd name="connsiteX0" fmla="*/ 304403 w 1633974"/>
                <a:gd name="connsiteY0" fmla="*/ 399769 h 821344"/>
                <a:gd name="connsiteX1" fmla="*/ 207018 w 1633974"/>
                <a:gd name="connsiteY1" fmla="*/ 429349 h 821344"/>
                <a:gd name="connsiteX2" fmla="*/ 154475 w 1633974"/>
                <a:gd name="connsiteY2" fmla="*/ 465621 h 821344"/>
                <a:gd name="connsiteX3" fmla="*/ 0 w 1633974"/>
                <a:gd name="connsiteY3" fmla="*/ 714990 h 821344"/>
                <a:gd name="connsiteX4" fmla="*/ 90749 w 1633974"/>
                <a:gd name="connsiteY4" fmla="*/ 778801 h 821344"/>
                <a:gd name="connsiteX5" fmla="*/ 212691 w 1633974"/>
                <a:gd name="connsiteY5" fmla="*/ 584324 h 821344"/>
                <a:gd name="connsiteX6" fmla="*/ 258065 w 1633974"/>
                <a:gd name="connsiteY6" fmla="*/ 569130 h 821344"/>
                <a:gd name="connsiteX7" fmla="*/ 272245 w 1633974"/>
                <a:gd name="connsiteY7" fmla="*/ 639022 h 821344"/>
                <a:gd name="connsiteX8" fmla="*/ 270830 w 1633974"/>
                <a:gd name="connsiteY8" fmla="*/ 721725 h 821344"/>
                <a:gd name="connsiteX9" fmla="*/ 277472 w 1633974"/>
                <a:gd name="connsiteY9" fmla="*/ 821344 h 821344"/>
                <a:gd name="connsiteX10" fmla="*/ 1202650 w 1633974"/>
                <a:gd name="connsiteY10" fmla="*/ 610888 h 821344"/>
                <a:gd name="connsiteX11" fmla="*/ 1178530 w 1633974"/>
                <a:gd name="connsiteY11" fmla="*/ 474285 h 821344"/>
                <a:gd name="connsiteX12" fmla="*/ 1205250 w 1633974"/>
                <a:gd name="connsiteY12" fmla="*/ 470790 h 821344"/>
                <a:gd name="connsiteX13" fmla="*/ 1165750 w 1633974"/>
                <a:gd name="connsiteY13" fmla="*/ 274637 h 821344"/>
                <a:gd name="connsiteX14" fmla="*/ 1633974 w 1633974"/>
                <a:gd name="connsiteY14" fmla="*/ 177897 h 821344"/>
                <a:gd name="connsiteX15" fmla="*/ 1590235 w 1633974"/>
                <a:gd name="connsiteY15" fmla="*/ 0 h 821344"/>
                <a:gd name="connsiteX16" fmla="*/ 1449135 w 1633974"/>
                <a:gd name="connsiteY16" fmla="*/ 34317 h 821344"/>
                <a:gd name="connsiteX17" fmla="*/ 1437791 w 1633974"/>
                <a:gd name="connsiteY17" fmla="*/ 10009 h 821344"/>
                <a:gd name="connsiteX18" fmla="*/ 1287490 w 1633974"/>
                <a:gd name="connsiteY18" fmla="*/ 34317 h 821344"/>
                <a:gd name="connsiteX19" fmla="*/ 1281818 w 1633974"/>
                <a:gd name="connsiteY19" fmla="*/ 67744 h 821344"/>
                <a:gd name="connsiteX20" fmla="*/ 859120 w 1633974"/>
                <a:gd name="connsiteY20" fmla="*/ 169937 h 821344"/>
                <a:gd name="connsiteX21" fmla="*/ 870614 w 1633974"/>
                <a:gd name="connsiteY21" fmla="*/ 274375 h 821344"/>
                <a:gd name="connsiteX22" fmla="*/ 348812 w 1633974"/>
                <a:gd name="connsiteY22" fmla="*/ 389846 h 821344"/>
                <a:gd name="connsiteX23" fmla="*/ 304403 w 1633974"/>
                <a:gd name="connsiteY23" fmla="*/ 399769 h 821344"/>
                <a:gd name="connsiteX0" fmla="*/ 304403 w 1633974"/>
                <a:gd name="connsiteY0" fmla="*/ 399769 h 821344"/>
                <a:gd name="connsiteX1" fmla="*/ 207018 w 1633974"/>
                <a:gd name="connsiteY1" fmla="*/ 429349 h 821344"/>
                <a:gd name="connsiteX2" fmla="*/ 154475 w 1633974"/>
                <a:gd name="connsiteY2" fmla="*/ 465621 h 821344"/>
                <a:gd name="connsiteX3" fmla="*/ 0 w 1633974"/>
                <a:gd name="connsiteY3" fmla="*/ 714990 h 821344"/>
                <a:gd name="connsiteX4" fmla="*/ 90749 w 1633974"/>
                <a:gd name="connsiteY4" fmla="*/ 778801 h 821344"/>
                <a:gd name="connsiteX5" fmla="*/ 212691 w 1633974"/>
                <a:gd name="connsiteY5" fmla="*/ 584324 h 821344"/>
                <a:gd name="connsiteX6" fmla="*/ 258065 w 1633974"/>
                <a:gd name="connsiteY6" fmla="*/ 569130 h 821344"/>
                <a:gd name="connsiteX7" fmla="*/ 272245 w 1633974"/>
                <a:gd name="connsiteY7" fmla="*/ 639022 h 821344"/>
                <a:gd name="connsiteX8" fmla="*/ 270829 w 1633974"/>
                <a:gd name="connsiteY8" fmla="*/ 673855 h 821344"/>
                <a:gd name="connsiteX9" fmla="*/ 270830 w 1633974"/>
                <a:gd name="connsiteY9" fmla="*/ 721725 h 821344"/>
                <a:gd name="connsiteX10" fmla="*/ 277472 w 1633974"/>
                <a:gd name="connsiteY10" fmla="*/ 821344 h 821344"/>
                <a:gd name="connsiteX11" fmla="*/ 1202650 w 1633974"/>
                <a:gd name="connsiteY11" fmla="*/ 610888 h 821344"/>
                <a:gd name="connsiteX12" fmla="*/ 1178530 w 1633974"/>
                <a:gd name="connsiteY12" fmla="*/ 474285 h 821344"/>
                <a:gd name="connsiteX13" fmla="*/ 1205250 w 1633974"/>
                <a:gd name="connsiteY13" fmla="*/ 470790 h 821344"/>
                <a:gd name="connsiteX14" fmla="*/ 1165750 w 1633974"/>
                <a:gd name="connsiteY14" fmla="*/ 274637 h 821344"/>
                <a:gd name="connsiteX15" fmla="*/ 1633974 w 1633974"/>
                <a:gd name="connsiteY15" fmla="*/ 177897 h 821344"/>
                <a:gd name="connsiteX16" fmla="*/ 1590235 w 1633974"/>
                <a:gd name="connsiteY16" fmla="*/ 0 h 821344"/>
                <a:gd name="connsiteX17" fmla="*/ 1449135 w 1633974"/>
                <a:gd name="connsiteY17" fmla="*/ 34317 h 821344"/>
                <a:gd name="connsiteX18" fmla="*/ 1437791 w 1633974"/>
                <a:gd name="connsiteY18" fmla="*/ 10009 h 821344"/>
                <a:gd name="connsiteX19" fmla="*/ 1287490 w 1633974"/>
                <a:gd name="connsiteY19" fmla="*/ 34317 h 821344"/>
                <a:gd name="connsiteX20" fmla="*/ 1281818 w 1633974"/>
                <a:gd name="connsiteY20" fmla="*/ 67744 h 821344"/>
                <a:gd name="connsiteX21" fmla="*/ 859120 w 1633974"/>
                <a:gd name="connsiteY21" fmla="*/ 169937 h 821344"/>
                <a:gd name="connsiteX22" fmla="*/ 870614 w 1633974"/>
                <a:gd name="connsiteY22" fmla="*/ 274375 h 821344"/>
                <a:gd name="connsiteX23" fmla="*/ 348812 w 1633974"/>
                <a:gd name="connsiteY23" fmla="*/ 389846 h 821344"/>
                <a:gd name="connsiteX24" fmla="*/ 304403 w 1633974"/>
                <a:gd name="connsiteY24" fmla="*/ 399769 h 821344"/>
                <a:gd name="connsiteX0" fmla="*/ 304403 w 1633974"/>
                <a:gd name="connsiteY0" fmla="*/ 399769 h 821344"/>
                <a:gd name="connsiteX1" fmla="*/ 207018 w 1633974"/>
                <a:gd name="connsiteY1" fmla="*/ 429349 h 821344"/>
                <a:gd name="connsiteX2" fmla="*/ 154475 w 1633974"/>
                <a:gd name="connsiteY2" fmla="*/ 465621 h 821344"/>
                <a:gd name="connsiteX3" fmla="*/ 0 w 1633974"/>
                <a:gd name="connsiteY3" fmla="*/ 714990 h 821344"/>
                <a:gd name="connsiteX4" fmla="*/ 90749 w 1633974"/>
                <a:gd name="connsiteY4" fmla="*/ 778801 h 821344"/>
                <a:gd name="connsiteX5" fmla="*/ 212691 w 1633974"/>
                <a:gd name="connsiteY5" fmla="*/ 584324 h 821344"/>
                <a:gd name="connsiteX6" fmla="*/ 258065 w 1633974"/>
                <a:gd name="connsiteY6" fmla="*/ 569130 h 821344"/>
                <a:gd name="connsiteX7" fmla="*/ 272245 w 1633974"/>
                <a:gd name="connsiteY7" fmla="*/ 639022 h 821344"/>
                <a:gd name="connsiteX8" fmla="*/ 255166 w 1633974"/>
                <a:gd name="connsiteY8" fmla="*/ 642740 h 821344"/>
                <a:gd name="connsiteX9" fmla="*/ 270830 w 1633974"/>
                <a:gd name="connsiteY9" fmla="*/ 721725 h 821344"/>
                <a:gd name="connsiteX10" fmla="*/ 277472 w 1633974"/>
                <a:gd name="connsiteY10" fmla="*/ 821344 h 821344"/>
                <a:gd name="connsiteX11" fmla="*/ 1202650 w 1633974"/>
                <a:gd name="connsiteY11" fmla="*/ 610888 h 821344"/>
                <a:gd name="connsiteX12" fmla="*/ 1178530 w 1633974"/>
                <a:gd name="connsiteY12" fmla="*/ 474285 h 821344"/>
                <a:gd name="connsiteX13" fmla="*/ 1205250 w 1633974"/>
                <a:gd name="connsiteY13" fmla="*/ 470790 h 821344"/>
                <a:gd name="connsiteX14" fmla="*/ 1165750 w 1633974"/>
                <a:gd name="connsiteY14" fmla="*/ 274637 h 821344"/>
                <a:gd name="connsiteX15" fmla="*/ 1633974 w 1633974"/>
                <a:gd name="connsiteY15" fmla="*/ 177897 h 821344"/>
                <a:gd name="connsiteX16" fmla="*/ 1590235 w 1633974"/>
                <a:gd name="connsiteY16" fmla="*/ 0 h 821344"/>
                <a:gd name="connsiteX17" fmla="*/ 1449135 w 1633974"/>
                <a:gd name="connsiteY17" fmla="*/ 34317 h 821344"/>
                <a:gd name="connsiteX18" fmla="*/ 1437791 w 1633974"/>
                <a:gd name="connsiteY18" fmla="*/ 10009 h 821344"/>
                <a:gd name="connsiteX19" fmla="*/ 1287490 w 1633974"/>
                <a:gd name="connsiteY19" fmla="*/ 34317 h 821344"/>
                <a:gd name="connsiteX20" fmla="*/ 1281818 w 1633974"/>
                <a:gd name="connsiteY20" fmla="*/ 67744 h 821344"/>
                <a:gd name="connsiteX21" fmla="*/ 859120 w 1633974"/>
                <a:gd name="connsiteY21" fmla="*/ 169937 h 821344"/>
                <a:gd name="connsiteX22" fmla="*/ 870614 w 1633974"/>
                <a:gd name="connsiteY22" fmla="*/ 274375 h 821344"/>
                <a:gd name="connsiteX23" fmla="*/ 348812 w 1633974"/>
                <a:gd name="connsiteY23" fmla="*/ 389846 h 821344"/>
                <a:gd name="connsiteX24" fmla="*/ 304403 w 1633974"/>
                <a:gd name="connsiteY24" fmla="*/ 399769 h 821344"/>
                <a:gd name="connsiteX0" fmla="*/ 304403 w 1633974"/>
                <a:gd name="connsiteY0" fmla="*/ 399769 h 821344"/>
                <a:gd name="connsiteX1" fmla="*/ 207018 w 1633974"/>
                <a:gd name="connsiteY1" fmla="*/ 429349 h 821344"/>
                <a:gd name="connsiteX2" fmla="*/ 154475 w 1633974"/>
                <a:gd name="connsiteY2" fmla="*/ 465621 h 821344"/>
                <a:gd name="connsiteX3" fmla="*/ 0 w 1633974"/>
                <a:gd name="connsiteY3" fmla="*/ 714990 h 821344"/>
                <a:gd name="connsiteX4" fmla="*/ 90749 w 1633974"/>
                <a:gd name="connsiteY4" fmla="*/ 778801 h 821344"/>
                <a:gd name="connsiteX5" fmla="*/ 212691 w 1633974"/>
                <a:gd name="connsiteY5" fmla="*/ 584324 h 821344"/>
                <a:gd name="connsiteX6" fmla="*/ 258065 w 1633974"/>
                <a:gd name="connsiteY6" fmla="*/ 569130 h 821344"/>
                <a:gd name="connsiteX7" fmla="*/ 272245 w 1633974"/>
                <a:gd name="connsiteY7" fmla="*/ 639022 h 821344"/>
                <a:gd name="connsiteX8" fmla="*/ 255166 w 1633974"/>
                <a:gd name="connsiteY8" fmla="*/ 642740 h 821344"/>
                <a:gd name="connsiteX9" fmla="*/ 270830 w 1633974"/>
                <a:gd name="connsiteY9" fmla="*/ 721725 h 821344"/>
                <a:gd name="connsiteX10" fmla="*/ 275304 w 1633974"/>
                <a:gd name="connsiteY10" fmla="*/ 767202 h 821344"/>
                <a:gd name="connsiteX11" fmla="*/ 277472 w 1633974"/>
                <a:gd name="connsiteY11" fmla="*/ 821344 h 821344"/>
                <a:gd name="connsiteX12" fmla="*/ 1202650 w 1633974"/>
                <a:gd name="connsiteY12" fmla="*/ 610888 h 821344"/>
                <a:gd name="connsiteX13" fmla="*/ 1178530 w 1633974"/>
                <a:gd name="connsiteY13" fmla="*/ 474285 h 821344"/>
                <a:gd name="connsiteX14" fmla="*/ 1205250 w 1633974"/>
                <a:gd name="connsiteY14" fmla="*/ 470790 h 821344"/>
                <a:gd name="connsiteX15" fmla="*/ 1165750 w 1633974"/>
                <a:gd name="connsiteY15" fmla="*/ 274637 h 821344"/>
                <a:gd name="connsiteX16" fmla="*/ 1633974 w 1633974"/>
                <a:gd name="connsiteY16" fmla="*/ 177897 h 821344"/>
                <a:gd name="connsiteX17" fmla="*/ 1590235 w 1633974"/>
                <a:gd name="connsiteY17" fmla="*/ 0 h 821344"/>
                <a:gd name="connsiteX18" fmla="*/ 1449135 w 1633974"/>
                <a:gd name="connsiteY18" fmla="*/ 34317 h 821344"/>
                <a:gd name="connsiteX19" fmla="*/ 1437791 w 1633974"/>
                <a:gd name="connsiteY19" fmla="*/ 10009 h 821344"/>
                <a:gd name="connsiteX20" fmla="*/ 1287490 w 1633974"/>
                <a:gd name="connsiteY20" fmla="*/ 34317 h 821344"/>
                <a:gd name="connsiteX21" fmla="*/ 1281818 w 1633974"/>
                <a:gd name="connsiteY21" fmla="*/ 67744 h 821344"/>
                <a:gd name="connsiteX22" fmla="*/ 859120 w 1633974"/>
                <a:gd name="connsiteY22" fmla="*/ 169937 h 821344"/>
                <a:gd name="connsiteX23" fmla="*/ 870614 w 1633974"/>
                <a:gd name="connsiteY23" fmla="*/ 274375 h 821344"/>
                <a:gd name="connsiteX24" fmla="*/ 348812 w 1633974"/>
                <a:gd name="connsiteY24" fmla="*/ 389846 h 821344"/>
                <a:gd name="connsiteX25" fmla="*/ 304403 w 1633974"/>
                <a:gd name="connsiteY25" fmla="*/ 399769 h 821344"/>
                <a:gd name="connsiteX0" fmla="*/ 304403 w 1633974"/>
                <a:gd name="connsiteY0" fmla="*/ 399769 h 821344"/>
                <a:gd name="connsiteX1" fmla="*/ 207018 w 1633974"/>
                <a:gd name="connsiteY1" fmla="*/ 429349 h 821344"/>
                <a:gd name="connsiteX2" fmla="*/ 154475 w 1633974"/>
                <a:gd name="connsiteY2" fmla="*/ 465621 h 821344"/>
                <a:gd name="connsiteX3" fmla="*/ 0 w 1633974"/>
                <a:gd name="connsiteY3" fmla="*/ 714990 h 821344"/>
                <a:gd name="connsiteX4" fmla="*/ 90749 w 1633974"/>
                <a:gd name="connsiteY4" fmla="*/ 778801 h 821344"/>
                <a:gd name="connsiteX5" fmla="*/ 212691 w 1633974"/>
                <a:gd name="connsiteY5" fmla="*/ 584324 h 821344"/>
                <a:gd name="connsiteX6" fmla="*/ 258065 w 1633974"/>
                <a:gd name="connsiteY6" fmla="*/ 569130 h 821344"/>
                <a:gd name="connsiteX7" fmla="*/ 272245 w 1633974"/>
                <a:gd name="connsiteY7" fmla="*/ 639022 h 821344"/>
                <a:gd name="connsiteX8" fmla="*/ 255166 w 1633974"/>
                <a:gd name="connsiteY8" fmla="*/ 642740 h 821344"/>
                <a:gd name="connsiteX9" fmla="*/ 270830 w 1633974"/>
                <a:gd name="connsiteY9" fmla="*/ 721725 h 821344"/>
                <a:gd name="connsiteX10" fmla="*/ 257403 w 1633974"/>
                <a:gd name="connsiteY10" fmla="*/ 748054 h 821344"/>
                <a:gd name="connsiteX11" fmla="*/ 277472 w 1633974"/>
                <a:gd name="connsiteY11" fmla="*/ 821344 h 821344"/>
                <a:gd name="connsiteX12" fmla="*/ 1202650 w 1633974"/>
                <a:gd name="connsiteY12" fmla="*/ 610888 h 821344"/>
                <a:gd name="connsiteX13" fmla="*/ 1178530 w 1633974"/>
                <a:gd name="connsiteY13" fmla="*/ 474285 h 821344"/>
                <a:gd name="connsiteX14" fmla="*/ 1205250 w 1633974"/>
                <a:gd name="connsiteY14" fmla="*/ 470790 h 821344"/>
                <a:gd name="connsiteX15" fmla="*/ 1165750 w 1633974"/>
                <a:gd name="connsiteY15" fmla="*/ 274637 h 821344"/>
                <a:gd name="connsiteX16" fmla="*/ 1633974 w 1633974"/>
                <a:gd name="connsiteY16" fmla="*/ 177897 h 821344"/>
                <a:gd name="connsiteX17" fmla="*/ 1590235 w 1633974"/>
                <a:gd name="connsiteY17" fmla="*/ 0 h 821344"/>
                <a:gd name="connsiteX18" fmla="*/ 1449135 w 1633974"/>
                <a:gd name="connsiteY18" fmla="*/ 34317 h 821344"/>
                <a:gd name="connsiteX19" fmla="*/ 1437791 w 1633974"/>
                <a:gd name="connsiteY19" fmla="*/ 10009 h 821344"/>
                <a:gd name="connsiteX20" fmla="*/ 1287490 w 1633974"/>
                <a:gd name="connsiteY20" fmla="*/ 34317 h 821344"/>
                <a:gd name="connsiteX21" fmla="*/ 1281818 w 1633974"/>
                <a:gd name="connsiteY21" fmla="*/ 67744 h 821344"/>
                <a:gd name="connsiteX22" fmla="*/ 859120 w 1633974"/>
                <a:gd name="connsiteY22" fmla="*/ 169937 h 821344"/>
                <a:gd name="connsiteX23" fmla="*/ 870614 w 1633974"/>
                <a:gd name="connsiteY23" fmla="*/ 274375 h 821344"/>
                <a:gd name="connsiteX24" fmla="*/ 348812 w 1633974"/>
                <a:gd name="connsiteY24" fmla="*/ 389846 h 821344"/>
                <a:gd name="connsiteX25" fmla="*/ 304403 w 1633974"/>
                <a:gd name="connsiteY25" fmla="*/ 399769 h 821344"/>
                <a:gd name="connsiteX0" fmla="*/ 304403 w 1633974"/>
                <a:gd name="connsiteY0" fmla="*/ 399769 h 826130"/>
                <a:gd name="connsiteX1" fmla="*/ 207018 w 1633974"/>
                <a:gd name="connsiteY1" fmla="*/ 429349 h 826130"/>
                <a:gd name="connsiteX2" fmla="*/ 154475 w 1633974"/>
                <a:gd name="connsiteY2" fmla="*/ 465621 h 826130"/>
                <a:gd name="connsiteX3" fmla="*/ 0 w 1633974"/>
                <a:gd name="connsiteY3" fmla="*/ 714990 h 826130"/>
                <a:gd name="connsiteX4" fmla="*/ 90749 w 1633974"/>
                <a:gd name="connsiteY4" fmla="*/ 778801 h 826130"/>
                <a:gd name="connsiteX5" fmla="*/ 212691 w 1633974"/>
                <a:gd name="connsiteY5" fmla="*/ 584324 h 826130"/>
                <a:gd name="connsiteX6" fmla="*/ 258065 w 1633974"/>
                <a:gd name="connsiteY6" fmla="*/ 569130 h 826130"/>
                <a:gd name="connsiteX7" fmla="*/ 272245 w 1633974"/>
                <a:gd name="connsiteY7" fmla="*/ 639022 h 826130"/>
                <a:gd name="connsiteX8" fmla="*/ 255166 w 1633974"/>
                <a:gd name="connsiteY8" fmla="*/ 642740 h 826130"/>
                <a:gd name="connsiteX9" fmla="*/ 270830 w 1633974"/>
                <a:gd name="connsiteY9" fmla="*/ 721725 h 826130"/>
                <a:gd name="connsiteX10" fmla="*/ 257403 w 1633974"/>
                <a:gd name="connsiteY10" fmla="*/ 748054 h 826130"/>
                <a:gd name="connsiteX11" fmla="*/ 266285 w 1633974"/>
                <a:gd name="connsiteY11" fmla="*/ 826130 h 826130"/>
                <a:gd name="connsiteX12" fmla="*/ 1202650 w 1633974"/>
                <a:gd name="connsiteY12" fmla="*/ 610888 h 826130"/>
                <a:gd name="connsiteX13" fmla="*/ 1178530 w 1633974"/>
                <a:gd name="connsiteY13" fmla="*/ 474285 h 826130"/>
                <a:gd name="connsiteX14" fmla="*/ 1205250 w 1633974"/>
                <a:gd name="connsiteY14" fmla="*/ 470790 h 826130"/>
                <a:gd name="connsiteX15" fmla="*/ 1165750 w 1633974"/>
                <a:gd name="connsiteY15" fmla="*/ 274637 h 826130"/>
                <a:gd name="connsiteX16" fmla="*/ 1633974 w 1633974"/>
                <a:gd name="connsiteY16" fmla="*/ 177897 h 826130"/>
                <a:gd name="connsiteX17" fmla="*/ 1590235 w 1633974"/>
                <a:gd name="connsiteY17" fmla="*/ 0 h 826130"/>
                <a:gd name="connsiteX18" fmla="*/ 1449135 w 1633974"/>
                <a:gd name="connsiteY18" fmla="*/ 34317 h 826130"/>
                <a:gd name="connsiteX19" fmla="*/ 1437791 w 1633974"/>
                <a:gd name="connsiteY19" fmla="*/ 10009 h 826130"/>
                <a:gd name="connsiteX20" fmla="*/ 1287490 w 1633974"/>
                <a:gd name="connsiteY20" fmla="*/ 34317 h 826130"/>
                <a:gd name="connsiteX21" fmla="*/ 1281818 w 1633974"/>
                <a:gd name="connsiteY21" fmla="*/ 67744 h 826130"/>
                <a:gd name="connsiteX22" fmla="*/ 859120 w 1633974"/>
                <a:gd name="connsiteY22" fmla="*/ 169937 h 826130"/>
                <a:gd name="connsiteX23" fmla="*/ 870614 w 1633974"/>
                <a:gd name="connsiteY23" fmla="*/ 274375 h 826130"/>
                <a:gd name="connsiteX24" fmla="*/ 348812 w 1633974"/>
                <a:gd name="connsiteY24" fmla="*/ 389846 h 826130"/>
                <a:gd name="connsiteX25" fmla="*/ 304403 w 1633974"/>
                <a:gd name="connsiteY25" fmla="*/ 399769 h 826130"/>
                <a:gd name="connsiteX0" fmla="*/ 304403 w 1633974"/>
                <a:gd name="connsiteY0" fmla="*/ 399769 h 826130"/>
                <a:gd name="connsiteX1" fmla="*/ 207018 w 1633974"/>
                <a:gd name="connsiteY1" fmla="*/ 429349 h 826130"/>
                <a:gd name="connsiteX2" fmla="*/ 154475 w 1633974"/>
                <a:gd name="connsiteY2" fmla="*/ 465621 h 826130"/>
                <a:gd name="connsiteX3" fmla="*/ 0 w 1633974"/>
                <a:gd name="connsiteY3" fmla="*/ 714990 h 826130"/>
                <a:gd name="connsiteX4" fmla="*/ 90749 w 1633974"/>
                <a:gd name="connsiteY4" fmla="*/ 778801 h 826130"/>
                <a:gd name="connsiteX5" fmla="*/ 212691 w 1633974"/>
                <a:gd name="connsiteY5" fmla="*/ 584324 h 826130"/>
                <a:gd name="connsiteX6" fmla="*/ 258065 w 1633974"/>
                <a:gd name="connsiteY6" fmla="*/ 569130 h 826130"/>
                <a:gd name="connsiteX7" fmla="*/ 272245 w 1633974"/>
                <a:gd name="connsiteY7" fmla="*/ 639022 h 826130"/>
                <a:gd name="connsiteX8" fmla="*/ 255166 w 1633974"/>
                <a:gd name="connsiteY8" fmla="*/ 642740 h 826130"/>
                <a:gd name="connsiteX9" fmla="*/ 270830 w 1633974"/>
                <a:gd name="connsiteY9" fmla="*/ 721725 h 826130"/>
                <a:gd name="connsiteX10" fmla="*/ 257403 w 1633974"/>
                <a:gd name="connsiteY10" fmla="*/ 748054 h 826130"/>
                <a:gd name="connsiteX11" fmla="*/ 266285 w 1633974"/>
                <a:gd name="connsiteY11" fmla="*/ 826130 h 826130"/>
                <a:gd name="connsiteX12" fmla="*/ 1202650 w 1633974"/>
                <a:gd name="connsiteY12" fmla="*/ 610888 h 826130"/>
                <a:gd name="connsiteX13" fmla="*/ 1178530 w 1633974"/>
                <a:gd name="connsiteY13" fmla="*/ 474285 h 826130"/>
                <a:gd name="connsiteX14" fmla="*/ 1205250 w 1633974"/>
                <a:gd name="connsiteY14" fmla="*/ 470790 h 826130"/>
                <a:gd name="connsiteX15" fmla="*/ 1165750 w 1633974"/>
                <a:gd name="connsiteY15" fmla="*/ 274637 h 826130"/>
                <a:gd name="connsiteX16" fmla="*/ 1633974 w 1633974"/>
                <a:gd name="connsiteY16" fmla="*/ 177897 h 826130"/>
                <a:gd name="connsiteX17" fmla="*/ 1590235 w 1633974"/>
                <a:gd name="connsiteY17" fmla="*/ 0 h 826130"/>
                <a:gd name="connsiteX18" fmla="*/ 1449135 w 1633974"/>
                <a:gd name="connsiteY18" fmla="*/ 34317 h 826130"/>
                <a:gd name="connsiteX19" fmla="*/ 1437791 w 1633974"/>
                <a:gd name="connsiteY19" fmla="*/ 10009 h 826130"/>
                <a:gd name="connsiteX20" fmla="*/ 1287490 w 1633974"/>
                <a:gd name="connsiteY20" fmla="*/ 34317 h 826130"/>
                <a:gd name="connsiteX21" fmla="*/ 1288530 w 1633974"/>
                <a:gd name="connsiteY21" fmla="*/ 70137 h 826130"/>
                <a:gd name="connsiteX22" fmla="*/ 859120 w 1633974"/>
                <a:gd name="connsiteY22" fmla="*/ 169937 h 826130"/>
                <a:gd name="connsiteX23" fmla="*/ 870614 w 1633974"/>
                <a:gd name="connsiteY23" fmla="*/ 274375 h 826130"/>
                <a:gd name="connsiteX24" fmla="*/ 348812 w 1633974"/>
                <a:gd name="connsiteY24" fmla="*/ 389846 h 826130"/>
                <a:gd name="connsiteX25" fmla="*/ 304403 w 1633974"/>
                <a:gd name="connsiteY25" fmla="*/ 399769 h 826130"/>
                <a:gd name="connsiteX0" fmla="*/ 304403 w 1633974"/>
                <a:gd name="connsiteY0" fmla="*/ 399769 h 826130"/>
                <a:gd name="connsiteX1" fmla="*/ 207018 w 1633974"/>
                <a:gd name="connsiteY1" fmla="*/ 429349 h 826130"/>
                <a:gd name="connsiteX2" fmla="*/ 154475 w 1633974"/>
                <a:gd name="connsiteY2" fmla="*/ 465621 h 826130"/>
                <a:gd name="connsiteX3" fmla="*/ 0 w 1633974"/>
                <a:gd name="connsiteY3" fmla="*/ 714990 h 826130"/>
                <a:gd name="connsiteX4" fmla="*/ 90749 w 1633974"/>
                <a:gd name="connsiteY4" fmla="*/ 778801 h 826130"/>
                <a:gd name="connsiteX5" fmla="*/ 212691 w 1633974"/>
                <a:gd name="connsiteY5" fmla="*/ 584324 h 826130"/>
                <a:gd name="connsiteX6" fmla="*/ 258065 w 1633974"/>
                <a:gd name="connsiteY6" fmla="*/ 569130 h 826130"/>
                <a:gd name="connsiteX7" fmla="*/ 272245 w 1633974"/>
                <a:gd name="connsiteY7" fmla="*/ 639022 h 826130"/>
                <a:gd name="connsiteX8" fmla="*/ 255166 w 1633974"/>
                <a:gd name="connsiteY8" fmla="*/ 642740 h 826130"/>
                <a:gd name="connsiteX9" fmla="*/ 270830 w 1633974"/>
                <a:gd name="connsiteY9" fmla="*/ 721725 h 826130"/>
                <a:gd name="connsiteX10" fmla="*/ 257403 w 1633974"/>
                <a:gd name="connsiteY10" fmla="*/ 748054 h 826130"/>
                <a:gd name="connsiteX11" fmla="*/ 266285 w 1633974"/>
                <a:gd name="connsiteY11" fmla="*/ 826130 h 826130"/>
                <a:gd name="connsiteX12" fmla="*/ 1202650 w 1633974"/>
                <a:gd name="connsiteY12" fmla="*/ 610888 h 826130"/>
                <a:gd name="connsiteX13" fmla="*/ 1178530 w 1633974"/>
                <a:gd name="connsiteY13" fmla="*/ 474285 h 826130"/>
                <a:gd name="connsiteX14" fmla="*/ 1205250 w 1633974"/>
                <a:gd name="connsiteY14" fmla="*/ 470790 h 826130"/>
                <a:gd name="connsiteX15" fmla="*/ 1165750 w 1633974"/>
                <a:gd name="connsiteY15" fmla="*/ 274637 h 826130"/>
                <a:gd name="connsiteX16" fmla="*/ 1633974 w 1633974"/>
                <a:gd name="connsiteY16" fmla="*/ 177897 h 826130"/>
                <a:gd name="connsiteX17" fmla="*/ 1590235 w 1633974"/>
                <a:gd name="connsiteY17" fmla="*/ 0 h 826130"/>
                <a:gd name="connsiteX18" fmla="*/ 1449135 w 1633974"/>
                <a:gd name="connsiteY18" fmla="*/ 34317 h 826130"/>
                <a:gd name="connsiteX19" fmla="*/ 1437791 w 1633974"/>
                <a:gd name="connsiteY19" fmla="*/ 10009 h 826130"/>
                <a:gd name="connsiteX20" fmla="*/ 1278539 w 1633974"/>
                <a:gd name="connsiteY20" fmla="*/ 43891 h 826130"/>
                <a:gd name="connsiteX21" fmla="*/ 1288530 w 1633974"/>
                <a:gd name="connsiteY21" fmla="*/ 70137 h 826130"/>
                <a:gd name="connsiteX22" fmla="*/ 859120 w 1633974"/>
                <a:gd name="connsiteY22" fmla="*/ 169937 h 826130"/>
                <a:gd name="connsiteX23" fmla="*/ 870614 w 1633974"/>
                <a:gd name="connsiteY23" fmla="*/ 274375 h 826130"/>
                <a:gd name="connsiteX24" fmla="*/ 348812 w 1633974"/>
                <a:gd name="connsiteY24" fmla="*/ 389846 h 826130"/>
                <a:gd name="connsiteX25" fmla="*/ 304403 w 1633974"/>
                <a:gd name="connsiteY25" fmla="*/ 399769 h 826130"/>
                <a:gd name="connsiteX0" fmla="*/ 304403 w 1633974"/>
                <a:gd name="connsiteY0" fmla="*/ 399769 h 826130"/>
                <a:gd name="connsiteX1" fmla="*/ 207018 w 1633974"/>
                <a:gd name="connsiteY1" fmla="*/ 429349 h 826130"/>
                <a:gd name="connsiteX2" fmla="*/ 154475 w 1633974"/>
                <a:gd name="connsiteY2" fmla="*/ 465621 h 826130"/>
                <a:gd name="connsiteX3" fmla="*/ 0 w 1633974"/>
                <a:gd name="connsiteY3" fmla="*/ 714990 h 826130"/>
                <a:gd name="connsiteX4" fmla="*/ 90749 w 1633974"/>
                <a:gd name="connsiteY4" fmla="*/ 778801 h 826130"/>
                <a:gd name="connsiteX5" fmla="*/ 212691 w 1633974"/>
                <a:gd name="connsiteY5" fmla="*/ 584324 h 826130"/>
                <a:gd name="connsiteX6" fmla="*/ 258065 w 1633974"/>
                <a:gd name="connsiteY6" fmla="*/ 569130 h 826130"/>
                <a:gd name="connsiteX7" fmla="*/ 272245 w 1633974"/>
                <a:gd name="connsiteY7" fmla="*/ 639022 h 826130"/>
                <a:gd name="connsiteX8" fmla="*/ 255166 w 1633974"/>
                <a:gd name="connsiteY8" fmla="*/ 642740 h 826130"/>
                <a:gd name="connsiteX9" fmla="*/ 270830 w 1633974"/>
                <a:gd name="connsiteY9" fmla="*/ 721725 h 826130"/>
                <a:gd name="connsiteX10" fmla="*/ 257403 w 1633974"/>
                <a:gd name="connsiteY10" fmla="*/ 748054 h 826130"/>
                <a:gd name="connsiteX11" fmla="*/ 266285 w 1633974"/>
                <a:gd name="connsiteY11" fmla="*/ 826130 h 826130"/>
                <a:gd name="connsiteX12" fmla="*/ 1202650 w 1633974"/>
                <a:gd name="connsiteY12" fmla="*/ 610888 h 826130"/>
                <a:gd name="connsiteX13" fmla="*/ 1178530 w 1633974"/>
                <a:gd name="connsiteY13" fmla="*/ 474285 h 826130"/>
                <a:gd name="connsiteX14" fmla="*/ 1205250 w 1633974"/>
                <a:gd name="connsiteY14" fmla="*/ 470790 h 826130"/>
                <a:gd name="connsiteX15" fmla="*/ 1165750 w 1633974"/>
                <a:gd name="connsiteY15" fmla="*/ 274637 h 826130"/>
                <a:gd name="connsiteX16" fmla="*/ 1633974 w 1633974"/>
                <a:gd name="connsiteY16" fmla="*/ 177897 h 826130"/>
                <a:gd name="connsiteX17" fmla="*/ 1590235 w 1633974"/>
                <a:gd name="connsiteY17" fmla="*/ 0 h 826130"/>
                <a:gd name="connsiteX18" fmla="*/ 1449135 w 1633974"/>
                <a:gd name="connsiteY18" fmla="*/ 34317 h 826130"/>
                <a:gd name="connsiteX19" fmla="*/ 1442266 w 1633974"/>
                <a:gd name="connsiteY19" fmla="*/ 5222 h 826130"/>
                <a:gd name="connsiteX20" fmla="*/ 1278539 w 1633974"/>
                <a:gd name="connsiteY20" fmla="*/ 43891 h 826130"/>
                <a:gd name="connsiteX21" fmla="*/ 1288530 w 1633974"/>
                <a:gd name="connsiteY21" fmla="*/ 70137 h 826130"/>
                <a:gd name="connsiteX22" fmla="*/ 859120 w 1633974"/>
                <a:gd name="connsiteY22" fmla="*/ 169937 h 826130"/>
                <a:gd name="connsiteX23" fmla="*/ 870614 w 1633974"/>
                <a:gd name="connsiteY23" fmla="*/ 274375 h 826130"/>
                <a:gd name="connsiteX24" fmla="*/ 348812 w 1633974"/>
                <a:gd name="connsiteY24" fmla="*/ 389846 h 826130"/>
                <a:gd name="connsiteX25" fmla="*/ 304403 w 1633974"/>
                <a:gd name="connsiteY25" fmla="*/ 399769 h 826130"/>
                <a:gd name="connsiteX0" fmla="*/ 304403 w 1633974"/>
                <a:gd name="connsiteY0" fmla="*/ 399769 h 826130"/>
                <a:gd name="connsiteX1" fmla="*/ 207018 w 1633974"/>
                <a:gd name="connsiteY1" fmla="*/ 429349 h 826130"/>
                <a:gd name="connsiteX2" fmla="*/ 154475 w 1633974"/>
                <a:gd name="connsiteY2" fmla="*/ 465621 h 826130"/>
                <a:gd name="connsiteX3" fmla="*/ 0 w 1633974"/>
                <a:gd name="connsiteY3" fmla="*/ 714990 h 826130"/>
                <a:gd name="connsiteX4" fmla="*/ 90749 w 1633974"/>
                <a:gd name="connsiteY4" fmla="*/ 778801 h 826130"/>
                <a:gd name="connsiteX5" fmla="*/ 212691 w 1633974"/>
                <a:gd name="connsiteY5" fmla="*/ 584324 h 826130"/>
                <a:gd name="connsiteX6" fmla="*/ 258065 w 1633974"/>
                <a:gd name="connsiteY6" fmla="*/ 569130 h 826130"/>
                <a:gd name="connsiteX7" fmla="*/ 272245 w 1633974"/>
                <a:gd name="connsiteY7" fmla="*/ 639022 h 826130"/>
                <a:gd name="connsiteX8" fmla="*/ 255166 w 1633974"/>
                <a:gd name="connsiteY8" fmla="*/ 642740 h 826130"/>
                <a:gd name="connsiteX9" fmla="*/ 270830 w 1633974"/>
                <a:gd name="connsiteY9" fmla="*/ 721725 h 826130"/>
                <a:gd name="connsiteX10" fmla="*/ 257403 w 1633974"/>
                <a:gd name="connsiteY10" fmla="*/ 748054 h 826130"/>
                <a:gd name="connsiteX11" fmla="*/ 266285 w 1633974"/>
                <a:gd name="connsiteY11" fmla="*/ 826130 h 826130"/>
                <a:gd name="connsiteX12" fmla="*/ 1202650 w 1633974"/>
                <a:gd name="connsiteY12" fmla="*/ 610888 h 826130"/>
                <a:gd name="connsiteX13" fmla="*/ 1178530 w 1633974"/>
                <a:gd name="connsiteY13" fmla="*/ 474285 h 826130"/>
                <a:gd name="connsiteX14" fmla="*/ 1205250 w 1633974"/>
                <a:gd name="connsiteY14" fmla="*/ 470790 h 826130"/>
                <a:gd name="connsiteX15" fmla="*/ 1165750 w 1633974"/>
                <a:gd name="connsiteY15" fmla="*/ 274637 h 826130"/>
                <a:gd name="connsiteX16" fmla="*/ 1633974 w 1633974"/>
                <a:gd name="connsiteY16" fmla="*/ 177897 h 826130"/>
                <a:gd name="connsiteX17" fmla="*/ 1590235 w 1633974"/>
                <a:gd name="connsiteY17" fmla="*/ 0 h 826130"/>
                <a:gd name="connsiteX18" fmla="*/ 1437947 w 1633974"/>
                <a:gd name="connsiteY18" fmla="*/ 31923 h 826130"/>
                <a:gd name="connsiteX19" fmla="*/ 1442266 w 1633974"/>
                <a:gd name="connsiteY19" fmla="*/ 5222 h 826130"/>
                <a:gd name="connsiteX20" fmla="*/ 1278539 w 1633974"/>
                <a:gd name="connsiteY20" fmla="*/ 43891 h 826130"/>
                <a:gd name="connsiteX21" fmla="*/ 1288530 w 1633974"/>
                <a:gd name="connsiteY21" fmla="*/ 70137 h 826130"/>
                <a:gd name="connsiteX22" fmla="*/ 859120 w 1633974"/>
                <a:gd name="connsiteY22" fmla="*/ 169937 h 826130"/>
                <a:gd name="connsiteX23" fmla="*/ 870614 w 1633974"/>
                <a:gd name="connsiteY23" fmla="*/ 274375 h 826130"/>
                <a:gd name="connsiteX24" fmla="*/ 348812 w 1633974"/>
                <a:gd name="connsiteY24" fmla="*/ 389846 h 826130"/>
                <a:gd name="connsiteX25" fmla="*/ 304403 w 1633974"/>
                <a:gd name="connsiteY25" fmla="*/ 399769 h 826130"/>
                <a:gd name="connsiteX0" fmla="*/ 304403 w 1633974"/>
                <a:gd name="connsiteY0" fmla="*/ 399769 h 826130"/>
                <a:gd name="connsiteX1" fmla="*/ 207018 w 1633974"/>
                <a:gd name="connsiteY1" fmla="*/ 429349 h 826130"/>
                <a:gd name="connsiteX2" fmla="*/ 154475 w 1633974"/>
                <a:gd name="connsiteY2" fmla="*/ 465621 h 826130"/>
                <a:gd name="connsiteX3" fmla="*/ 0 w 1633974"/>
                <a:gd name="connsiteY3" fmla="*/ 714990 h 826130"/>
                <a:gd name="connsiteX4" fmla="*/ 90749 w 1633974"/>
                <a:gd name="connsiteY4" fmla="*/ 778801 h 826130"/>
                <a:gd name="connsiteX5" fmla="*/ 212691 w 1633974"/>
                <a:gd name="connsiteY5" fmla="*/ 584324 h 826130"/>
                <a:gd name="connsiteX6" fmla="*/ 258065 w 1633974"/>
                <a:gd name="connsiteY6" fmla="*/ 569130 h 826130"/>
                <a:gd name="connsiteX7" fmla="*/ 272245 w 1633974"/>
                <a:gd name="connsiteY7" fmla="*/ 639022 h 826130"/>
                <a:gd name="connsiteX8" fmla="*/ 255166 w 1633974"/>
                <a:gd name="connsiteY8" fmla="*/ 642740 h 826130"/>
                <a:gd name="connsiteX9" fmla="*/ 270830 w 1633974"/>
                <a:gd name="connsiteY9" fmla="*/ 721725 h 826130"/>
                <a:gd name="connsiteX10" fmla="*/ 257403 w 1633974"/>
                <a:gd name="connsiteY10" fmla="*/ 748054 h 826130"/>
                <a:gd name="connsiteX11" fmla="*/ 266285 w 1633974"/>
                <a:gd name="connsiteY11" fmla="*/ 826130 h 826130"/>
                <a:gd name="connsiteX12" fmla="*/ 1202650 w 1633974"/>
                <a:gd name="connsiteY12" fmla="*/ 610888 h 826130"/>
                <a:gd name="connsiteX13" fmla="*/ 1178530 w 1633974"/>
                <a:gd name="connsiteY13" fmla="*/ 474285 h 826130"/>
                <a:gd name="connsiteX14" fmla="*/ 1205250 w 1633974"/>
                <a:gd name="connsiteY14" fmla="*/ 470790 h 826130"/>
                <a:gd name="connsiteX15" fmla="*/ 1165750 w 1633974"/>
                <a:gd name="connsiteY15" fmla="*/ 274637 h 826130"/>
                <a:gd name="connsiteX16" fmla="*/ 1633974 w 1633974"/>
                <a:gd name="connsiteY16" fmla="*/ 177897 h 826130"/>
                <a:gd name="connsiteX17" fmla="*/ 1599185 w 1633974"/>
                <a:gd name="connsiteY17" fmla="*/ 0 h 826130"/>
                <a:gd name="connsiteX18" fmla="*/ 1437947 w 1633974"/>
                <a:gd name="connsiteY18" fmla="*/ 31923 h 826130"/>
                <a:gd name="connsiteX19" fmla="*/ 1442266 w 1633974"/>
                <a:gd name="connsiteY19" fmla="*/ 5222 h 826130"/>
                <a:gd name="connsiteX20" fmla="*/ 1278539 w 1633974"/>
                <a:gd name="connsiteY20" fmla="*/ 43891 h 826130"/>
                <a:gd name="connsiteX21" fmla="*/ 1288530 w 1633974"/>
                <a:gd name="connsiteY21" fmla="*/ 70137 h 826130"/>
                <a:gd name="connsiteX22" fmla="*/ 859120 w 1633974"/>
                <a:gd name="connsiteY22" fmla="*/ 169937 h 826130"/>
                <a:gd name="connsiteX23" fmla="*/ 870614 w 1633974"/>
                <a:gd name="connsiteY23" fmla="*/ 274375 h 826130"/>
                <a:gd name="connsiteX24" fmla="*/ 348812 w 1633974"/>
                <a:gd name="connsiteY24" fmla="*/ 389846 h 826130"/>
                <a:gd name="connsiteX25" fmla="*/ 304403 w 1633974"/>
                <a:gd name="connsiteY25" fmla="*/ 399769 h 826130"/>
                <a:gd name="connsiteX0" fmla="*/ 304403 w 1633974"/>
                <a:gd name="connsiteY0" fmla="*/ 399769 h 826130"/>
                <a:gd name="connsiteX1" fmla="*/ 207018 w 1633974"/>
                <a:gd name="connsiteY1" fmla="*/ 429349 h 826130"/>
                <a:gd name="connsiteX2" fmla="*/ 154475 w 1633974"/>
                <a:gd name="connsiteY2" fmla="*/ 465621 h 826130"/>
                <a:gd name="connsiteX3" fmla="*/ 0 w 1633974"/>
                <a:gd name="connsiteY3" fmla="*/ 714990 h 826130"/>
                <a:gd name="connsiteX4" fmla="*/ 90749 w 1633974"/>
                <a:gd name="connsiteY4" fmla="*/ 778801 h 826130"/>
                <a:gd name="connsiteX5" fmla="*/ 212691 w 1633974"/>
                <a:gd name="connsiteY5" fmla="*/ 584324 h 826130"/>
                <a:gd name="connsiteX6" fmla="*/ 258065 w 1633974"/>
                <a:gd name="connsiteY6" fmla="*/ 569130 h 826130"/>
                <a:gd name="connsiteX7" fmla="*/ 272245 w 1633974"/>
                <a:gd name="connsiteY7" fmla="*/ 639022 h 826130"/>
                <a:gd name="connsiteX8" fmla="*/ 255166 w 1633974"/>
                <a:gd name="connsiteY8" fmla="*/ 642740 h 826130"/>
                <a:gd name="connsiteX9" fmla="*/ 270830 w 1633974"/>
                <a:gd name="connsiteY9" fmla="*/ 721725 h 826130"/>
                <a:gd name="connsiteX10" fmla="*/ 257403 w 1633974"/>
                <a:gd name="connsiteY10" fmla="*/ 748054 h 826130"/>
                <a:gd name="connsiteX11" fmla="*/ 266285 w 1633974"/>
                <a:gd name="connsiteY11" fmla="*/ 826130 h 826130"/>
                <a:gd name="connsiteX12" fmla="*/ 1202650 w 1633974"/>
                <a:gd name="connsiteY12" fmla="*/ 610888 h 826130"/>
                <a:gd name="connsiteX13" fmla="*/ 1178530 w 1633974"/>
                <a:gd name="connsiteY13" fmla="*/ 474285 h 826130"/>
                <a:gd name="connsiteX14" fmla="*/ 1205250 w 1633974"/>
                <a:gd name="connsiteY14" fmla="*/ 470790 h 826130"/>
                <a:gd name="connsiteX15" fmla="*/ 1165750 w 1633974"/>
                <a:gd name="connsiteY15" fmla="*/ 274637 h 826130"/>
                <a:gd name="connsiteX16" fmla="*/ 1633974 w 1633974"/>
                <a:gd name="connsiteY16" fmla="*/ 177897 h 826130"/>
                <a:gd name="connsiteX17" fmla="*/ 1599185 w 1633974"/>
                <a:gd name="connsiteY17" fmla="*/ 0 h 826130"/>
                <a:gd name="connsiteX18" fmla="*/ 1437947 w 1633974"/>
                <a:gd name="connsiteY18" fmla="*/ 31923 h 826130"/>
                <a:gd name="connsiteX19" fmla="*/ 1442266 w 1633974"/>
                <a:gd name="connsiteY19" fmla="*/ 5222 h 826130"/>
                <a:gd name="connsiteX20" fmla="*/ 1278539 w 1633974"/>
                <a:gd name="connsiteY20" fmla="*/ 43891 h 826130"/>
                <a:gd name="connsiteX21" fmla="*/ 1288530 w 1633974"/>
                <a:gd name="connsiteY21" fmla="*/ 70137 h 826130"/>
                <a:gd name="connsiteX22" fmla="*/ 854645 w 1633974"/>
                <a:gd name="connsiteY22" fmla="*/ 162757 h 826130"/>
                <a:gd name="connsiteX23" fmla="*/ 870614 w 1633974"/>
                <a:gd name="connsiteY23" fmla="*/ 274375 h 826130"/>
                <a:gd name="connsiteX24" fmla="*/ 348812 w 1633974"/>
                <a:gd name="connsiteY24" fmla="*/ 389846 h 826130"/>
                <a:gd name="connsiteX25" fmla="*/ 304403 w 1633974"/>
                <a:gd name="connsiteY25" fmla="*/ 399769 h 826130"/>
                <a:gd name="connsiteX0" fmla="*/ 304403 w 1633974"/>
                <a:gd name="connsiteY0" fmla="*/ 399769 h 826130"/>
                <a:gd name="connsiteX1" fmla="*/ 207018 w 1633974"/>
                <a:gd name="connsiteY1" fmla="*/ 429349 h 826130"/>
                <a:gd name="connsiteX2" fmla="*/ 154475 w 1633974"/>
                <a:gd name="connsiteY2" fmla="*/ 465621 h 826130"/>
                <a:gd name="connsiteX3" fmla="*/ 0 w 1633974"/>
                <a:gd name="connsiteY3" fmla="*/ 714990 h 826130"/>
                <a:gd name="connsiteX4" fmla="*/ 90749 w 1633974"/>
                <a:gd name="connsiteY4" fmla="*/ 778801 h 826130"/>
                <a:gd name="connsiteX5" fmla="*/ 212691 w 1633974"/>
                <a:gd name="connsiteY5" fmla="*/ 584324 h 826130"/>
                <a:gd name="connsiteX6" fmla="*/ 258065 w 1633974"/>
                <a:gd name="connsiteY6" fmla="*/ 569130 h 826130"/>
                <a:gd name="connsiteX7" fmla="*/ 272245 w 1633974"/>
                <a:gd name="connsiteY7" fmla="*/ 639022 h 826130"/>
                <a:gd name="connsiteX8" fmla="*/ 255166 w 1633974"/>
                <a:gd name="connsiteY8" fmla="*/ 642740 h 826130"/>
                <a:gd name="connsiteX9" fmla="*/ 270830 w 1633974"/>
                <a:gd name="connsiteY9" fmla="*/ 721725 h 826130"/>
                <a:gd name="connsiteX10" fmla="*/ 257403 w 1633974"/>
                <a:gd name="connsiteY10" fmla="*/ 748054 h 826130"/>
                <a:gd name="connsiteX11" fmla="*/ 266285 w 1633974"/>
                <a:gd name="connsiteY11" fmla="*/ 826130 h 826130"/>
                <a:gd name="connsiteX12" fmla="*/ 1202650 w 1633974"/>
                <a:gd name="connsiteY12" fmla="*/ 610888 h 826130"/>
                <a:gd name="connsiteX13" fmla="*/ 1178530 w 1633974"/>
                <a:gd name="connsiteY13" fmla="*/ 474285 h 826130"/>
                <a:gd name="connsiteX14" fmla="*/ 1205250 w 1633974"/>
                <a:gd name="connsiteY14" fmla="*/ 470790 h 826130"/>
                <a:gd name="connsiteX15" fmla="*/ 1165750 w 1633974"/>
                <a:gd name="connsiteY15" fmla="*/ 274637 h 826130"/>
                <a:gd name="connsiteX16" fmla="*/ 1633974 w 1633974"/>
                <a:gd name="connsiteY16" fmla="*/ 177897 h 826130"/>
                <a:gd name="connsiteX17" fmla="*/ 1599185 w 1633974"/>
                <a:gd name="connsiteY17" fmla="*/ 0 h 826130"/>
                <a:gd name="connsiteX18" fmla="*/ 1437947 w 1633974"/>
                <a:gd name="connsiteY18" fmla="*/ 31923 h 826130"/>
                <a:gd name="connsiteX19" fmla="*/ 1442266 w 1633974"/>
                <a:gd name="connsiteY19" fmla="*/ 5222 h 826130"/>
                <a:gd name="connsiteX20" fmla="*/ 1278539 w 1633974"/>
                <a:gd name="connsiteY20" fmla="*/ 43891 h 826130"/>
                <a:gd name="connsiteX21" fmla="*/ 1288530 w 1633974"/>
                <a:gd name="connsiteY21" fmla="*/ 70137 h 826130"/>
                <a:gd name="connsiteX22" fmla="*/ 854645 w 1633974"/>
                <a:gd name="connsiteY22" fmla="*/ 162757 h 826130"/>
                <a:gd name="connsiteX23" fmla="*/ 877327 w 1633974"/>
                <a:gd name="connsiteY23" fmla="*/ 269587 h 826130"/>
                <a:gd name="connsiteX24" fmla="*/ 348812 w 1633974"/>
                <a:gd name="connsiteY24" fmla="*/ 389846 h 826130"/>
                <a:gd name="connsiteX25" fmla="*/ 304403 w 1633974"/>
                <a:gd name="connsiteY25" fmla="*/ 399769 h 826130"/>
                <a:gd name="connsiteX0" fmla="*/ 304403 w 1633974"/>
                <a:gd name="connsiteY0" fmla="*/ 399769 h 826130"/>
                <a:gd name="connsiteX1" fmla="*/ 207018 w 1633974"/>
                <a:gd name="connsiteY1" fmla="*/ 429349 h 826130"/>
                <a:gd name="connsiteX2" fmla="*/ 154475 w 1633974"/>
                <a:gd name="connsiteY2" fmla="*/ 465621 h 826130"/>
                <a:gd name="connsiteX3" fmla="*/ 0 w 1633974"/>
                <a:gd name="connsiteY3" fmla="*/ 714990 h 826130"/>
                <a:gd name="connsiteX4" fmla="*/ 90749 w 1633974"/>
                <a:gd name="connsiteY4" fmla="*/ 778801 h 826130"/>
                <a:gd name="connsiteX5" fmla="*/ 212691 w 1633974"/>
                <a:gd name="connsiteY5" fmla="*/ 584324 h 826130"/>
                <a:gd name="connsiteX6" fmla="*/ 258065 w 1633974"/>
                <a:gd name="connsiteY6" fmla="*/ 569130 h 826130"/>
                <a:gd name="connsiteX7" fmla="*/ 272245 w 1633974"/>
                <a:gd name="connsiteY7" fmla="*/ 639022 h 826130"/>
                <a:gd name="connsiteX8" fmla="*/ 255166 w 1633974"/>
                <a:gd name="connsiteY8" fmla="*/ 642740 h 826130"/>
                <a:gd name="connsiteX9" fmla="*/ 270830 w 1633974"/>
                <a:gd name="connsiteY9" fmla="*/ 721725 h 826130"/>
                <a:gd name="connsiteX10" fmla="*/ 257403 w 1633974"/>
                <a:gd name="connsiteY10" fmla="*/ 748054 h 826130"/>
                <a:gd name="connsiteX11" fmla="*/ 266285 w 1633974"/>
                <a:gd name="connsiteY11" fmla="*/ 826130 h 826130"/>
                <a:gd name="connsiteX12" fmla="*/ 1202650 w 1633974"/>
                <a:gd name="connsiteY12" fmla="*/ 610888 h 826130"/>
                <a:gd name="connsiteX13" fmla="*/ 1178530 w 1633974"/>
                <a:gd name="connsiteY13" fmla="*/ 474285 h 826130"/>
                <a:gd name="connsiteX14" fmla="*/ 1205250 w 1633974"/>
                <a:gd name="connsiteY14" fmla="*/ 470790 h 826130"/>
                <a:gd name="connsiteX15" fmla="*/ 1165750 w 1633974"/>
                <a:gd name="connsiteY15" fmla="*/ 274637 h 826130"/>
                <a:gd name="connsiteX16" fmla="*/ 1633974 w 1633974"/>
                <a:gd name="connsiteY16" fmla="*/ 177897 h 826130"/>
                <a:gd name="connsiteX17" fmla="*/ 1599185 w 1633974"/>
                <a:gd name="connsiteY17" fmla="*/ 0 h 826130"/>
                <a:gd name="connsiteX18" fmla="*/ 1437947 w 1633974"/>
                <a:gd name="connsiteY18" fmla="*/ 31923 h 826130"/>
                <a:gd name="connsiteX19" fmla="*/ 1442266 w 1633974"/>
                <a:gd name="connsiteY19" fmla="*/ 5222 h 826130"/>
                <a:gd name="connsiteX20" fmla="*/ 1278539 w 1633974"/>
                <a:gd name="connsiteY20" fmla="*/ 43891 h 826130"/>
                <a:gd name="connsiteX21" fmla="*/ 1288530 w 1633974"/>
                <a:gd name="connsiteY21" fmla="*/ 70137 h 826130"/>
                <a:gd name="connsiteX22" fmla="*/ 854645 w 1633974"/>
                <a:gd name="connsiteY22" fmla="*/ 162757 h 826130"/>
                <a:gd name="connsiteX23" fmla="*/ 877327 w 1633974"/>
                <a:gd name="connsiteY23" fmla="*/ 269587 h 826130"/>
                <a:gd name="connsiteX24" fmla="*/ 348812 w 1633974"/>
                <a:gd name="connsiteY24" fmla="*/ 389846 h 826130"/>
                <a:gd name="connsiteX25" fmla="*/ 327419 w 1633974"/>
                <a:gd name="connsiteY25" fmla="*/ 397665 h 826130"/>
                <a:gd name="connsiteX26" fmla="*/ 304403 w 1633974"/>
                <a:gd name="connsiteY26" fmla="*/ 399769 h 826130"/>
                <a:gd name="connsiteX0" fmla="*/ 304403 w 1633974"/>
                <a:gd name="connsiteY0" fmla="*/ 399769 h 826130"/>
                <a:gd name="connsiteX1" fmla="*/ 207018 w 1633974"/>
                <a:gd name="connsiteY1" fmla="*/ 429349 h 826130"/>
                <a:gd name="connsiteX2" fmla="*/ 154475 w 1633974"/>
                <a:gd name="connsiteY2" fmla="*/ 465621 h 826130"/>
                <a:gd name="connsiteX3" fmla="*/ 0 w 1633974"/>
                <a:gd name="connsiteY3" fmla="*/ 714990 h 826130"/>
                <a:gd name="connsiteX4" fmla="*/ 90749 w 1633974"/>
                <a:gd name="connsiteY4" fmla="*/ 778801 h 826130"/>
                <a:gd name="connsiteX5" fmla="*/ 212691 w 1633974"/>
                <a:gd name="connsiteY5" fmla="*/ 584324 h 826130"/>
                <a:gd name="connsiteX6" fmla="*/ 258065 w 1633974"/>
                <a:gd name="connsiteY6" fmla="*/ 569130 h 826130"/>
                <a:gd name="connsiteX7" fmla="*/ 272245 w 1633974"/>
                <a:gd name="connsiteY7" fmla="*/ 639022 h 826130"/>
                <a:gd name="connsiteX8" fmla="*/ 255166 w 1633974"/>
                <a:gd name="connsiteY8" fmla="*/ 642740 h 826130"/>
                <a:gd name="connsiteX9" fmla="*/ 270830 w 1633974"/>
                <a:gd name="connsiteY9" fmla="*/ 721725 h 826130"/>
                <a:gd name="connsiteX10" fmla="*/ 257403 w 1633974"/>
                <a:gd name="connsiteY10" fmla="*/ 748054 h 826130"/>
                <a:gd name="connsiteX11" fmla="*/ 266285 w 1633974"/>
                <a:gd name="connsiteY11" fmla="*/ 826130 h 826130"/>
                <a:gd name="connsiteX12" fmla="*/ 1202650 w 1633974"/>
                <a:gd name="connsiteY12" fmla="*/ 610888 h 826130"/>
                <a:gd name="connsiteX13" fmla="*/ 1178530 w 1633974"/>
                <a:gd name="connsiteY13" fmla="*/ 474285 h 826130"/>
                <a:gd name="connsiteX14" fmla="*/ 1205250 w 1633974"/>
                <a:gd name="connsiteY14" fmla="*/ 470790 h 826130"/>
                <a:gd name="connsiteX15" fmla="*/ 1165750 w 1633974"/>
                <a:gd name="connsiteY15" fmla="*/ 274637 h 826130"/>
                <a:gd name="connsiteX16" fmla="*/ 1633974 w 1633974"/>
                <a:gd name="connsiteY16" fmla="*/ 177897 h 826130"/>
                <a:gd name="connsiteX17" fmla="*/ 1599185 w 1633974"/>
                <a:gd name="connsiteY17" fmla="*/ 0 h 826130"/>
                <a:gd name="connsiteX18" fmla="*/ 1437947 w 1633974"/>
                <a:gd name="connsiteY18" fmla="*/ 31923 h 826130"/>
                <a:gd name="connsiteX19" fmla="*/ 1442266 w 1633974"/>
                <a:gd name="connsiteY19" fmla="*/ 5222 h 826130"/>
                <a:gd name="connsiteX20" fmla="*/ 1278539 w 1633974"/>
                <a:gd name="connsiteY20" fmla="*/ 43891 h 826130"/>
                <a:gd name="connsiteX21" fmla="*/ 1288530 w 1633974"/>
                <a:gd name="connsiteY21" fmla="*/ 70137 h 826130"/>
                <a:gd name="connsiteX22" fmla="*/ 854645 w 1633974"/>
                <a:gd name="connsiteY22" fmla="*/ 162757 h 826130"/>
                <a:gd name="connsiteX23" fmla="*/ 877327 w 1633974"/>
                <a:gd name="connsiteY23" fmla="*/ 269587 h 826130"/>
                <a:gd name="connsiteX24" fmla="*/ 348812 w 1633974"/>
                <a:gd name="connsiteY24" fmla="*/ 389846 h 826130"/>
                <a:gd name="connsiteX25" fmla="*/ 299700 w 1633974"/>
                <a:gd name="connsiteY25" fmla="*/ 373108 h 826130"/>
                <a:gd name="connsiteX26" fmla="*/ 304403 w 1633974"/>
                <a:gd name="connsiteY26" fmla="*/ 399769 h 826130"/>
                <a:gd name="connsiteX0" fmla="*/ 304403 w 1633974"/>
                <a:gd name="connsiteY0" fmla="*/ 399769 h 826130"/>
                <a:gd name="connsiteX1" fmla="*/ 207018 w 1633974"/>
                <a:gd name="connsiteY1" fmla="*/ 429349 h 826130"/>
                <a:gd name="connsiteX2" fmla="*/ 154475 w 1633974"/>
                <a:gd name="connsiteY2" fmla="*/ 465621 h 826130"/>
                <a:gd name="connsiteX3" fmla="*/ 0 w 1633974"/>
                <a:gd name="connsiteY3" fmla="*/ 714990 h 826130"/>
                <a:gd name="connsiteX4" fmla="*/ 90749 w 1633974"/>
                <a:gd name="connsiteY4" fmla="*/ 778801 h 826130"/>
                <a:gd name="connsiteX5" fmla="*/ 212691 w 1633974"/>
                <a:gd name="connsiteY5" fmla="*/ 584324 h 826130"/>
                <a:gd name="connsiteX6" fmla="*/ 258065 w 1633974"/>
                <a:gd name="connsiteY6" fmla="*/ 569130 h 826130"/>
                <a:gd name="connsiteX7" fmla="*/ 272245 w 1633974"/>
                <a:gd name="connsiteY7" fmla="*/ 639022 h 826130"/>
                <a:gd name="connsiteX8" fmla="*/ 255166 w 1633974"/>
                <a:gd name="connsiteY8" fmla="*/ 642740 h 826130"/>
                <a:gd name="connsiteX9" fmla="*/ 270830 w 1633974"/>
                <a:gd name="connsiteY9" fmla="*/ 721725 h 826130"/>
                <a:gd name="connsiteX10" fmla="*/ 257403 w 1633974"/>
                <a:gd name="connsiteY10" fmla="*/ 748054 h 826130"/>
                <a:gd name="connsiteX11" fmla="*/ 266285 w 1633974"/>
                <a:gd name="connsiteY11" fmla="*/ 826130 h 826130"/>
                <a:gd name="connsiteX12" fmla="*/ 1202650 w 1633974"/>
                <a:gd name="connsiteY12" fmla="*/ 610888 h 826130"/>
                <a:gd name="connsiteX13" fmla="*/ 1178530 w 1633974"/>
                <a:gd name="connsiteY13" fmla="*/ 474285 h 826130"/>
                <a:gd name="connsiteX14" fmla="*/ 1205250 w 1633974"/>
                <a:gd name="connsiteY14" fmla="*/ 470790 h 826130"/>
                <a:gd name="connsiteX15" fmla="*/ 1165750 w 1633974"/>
                <a:gd name="connsiteY15" fmla="*/ 274637 h 826130"/>
                <a:gd name="connsiteX16" fmla="*/ 1633974 w 1633974"/>
                <a:gd name="connsiteY16" fmla="*/ 177897 h 826130"/>
                <a:gd name="connsiteX17" fmla="*/ 1599185 w 1633974"/>
                <a:gd name="connsiteY17" fmla="*/ 0 h 826130"/>
                <a:gd name="connsiteX18" fmla="*/ 1437947 w 1633974"/>
                <a:gd name="connsiteY18" fmla="*/ 31923 h 826130"/>
                <a:gd name="connsiteX19" fmla="*/ 1442266 w 1633974"/>
                <a:gd name="connsiteY19" fmla="*/ 5222 h 826130"/>
                <a:gd name="connsiteX20" fmla="*/ 1278539 w 1633974"/>
                <a:gd name="connsiteY20" fmla="*/ 43891 h 826130"/>
                <a:gd name="connsiteX21" fmla="*/ 1288530 w 1633974"/>
                <a:gd name="connsiteY21" fmla="*/ 70137 h 826130"/>
                <a:gd name="connsiteX22" fmla="*/ 854645 w 1633974"/>
                <a:gd name="connsiteY22" fmla="*/ 162757 h 826130"/>
                <a:gd name="connsiteX23" fmla="*/ 877327 w 1633974"/>
                <a:gd name="connsiteY23" fmla="*/ 269587 h 826130"/>
                <a:gd name="connsiteX24" fmla="*/ 348812 w 1633974"/>
                <a:gd name="connsiteY24" fmla="*/ 389846 h 826130"/>
                <a:gd name="connsiteX25" fmla="*/ 329729 w 1633974"/>
                <a:gd name="connsiteY25" fmla="*/ 380475 h 826130"/>
                <a:gd name="connsiteX26" fmla="*/ 299700 w 1633974"/>
                <a:gd name="connsiteY26" fmla="*/ 373108 h 826130"/>
                <a:gd name="connsiteX27" fmla="*/ 304403 w 1633974"/>
                <a:gd name="connsiteY27" fmla="*/ 399769 h 826130"/>
                <a:gd name="connsiteX0" fmla="*/ 304403 w 1633974"/>
                <a:gd name="connsiteY0" fmla="*/ 399769 h 826130"/>
                <a:gd name="connsiteX1" fmla="*/ 207018 w 1633974"/>
                <a:gd name="connsiteY1" fmla="*/ 429349 h 826130"/>
                <a:gd name="connsiteX2" fmla="*/ 154475 w 1633974"/>
                <a:gd name="connsiteY2" fmla="*/ 465621 h 826130"/>
                <a:gd name="connsiteX3" fmla="*/ 0 w 1633974"/>
                <a:gd name="connsiteY3" fmla="*/ 714990 h 826130"/>
                <a:gd name="connsiteX4" fmla="*/ 90749 w 1633974"/>
                <a:gd name="connsiteY4" fmla="*/ 778801 h 826130"/>
                <a:gd name="connsiteX5" fmla="*/ 212691 w 1633974"/>
                <a:gd name="connsiteY5" fmla="*/ 584324 h 826130"/>
                <a:gd name="connsiteX6" fmla="*/ 258065 w 1633974"/>
                <a:gd name="connsiteY6" fmla="*/ 569130 h 826130"/>
                <a:gd name="connsiteX7" fmla="*/ 272245 w 1633974"/>
                <a:gd name="connsiteY7" fmla="*/ 639022 h 826130"/>
                <a:gd name="connsiteX8" fmla="*/ 255166 w 1633974"/>
                <a:gd name="connsiteY8" fmla="*/ 642740 h 826130"/>
                <a:gd name="connsiteX9" fmla="*/ 270830 w 1633974"/>
                <a:gd name="connsiteY9" fmla="*/ 721725 h 826130"/>
                <a:gd name="connsiteX10" fmla="*/ 257403 w 1633974"/>
                <a:gd name="connsiteY10" fmla="*/ 748054 h 826130"/>
                <a:gd name="connsiteX11" fmla="*/ 266285 w 1633974"/>
                <a:gd name="connsiteY11" fmla="*/ 826130 h 826130"/>
                <a:gd name="connsiteX12" fmla="*/ 1202650 w 1633974"/>
                <a:gd name="connsiteY12" fmla="*/ 610888 h 826130"/>
                <a:gd name="connsiteX13" fmla="*/ 1178530 w 1633974"/>
                <a:gd name="connsiteY13" fmla="*/ 474285 h 826130"/>
                <a:gd name="connsiteX14" fmla="*/ 1205250 w 1633974"/>
                <a:gd name="connsiteY14" fmla="*/ 470790 h 826130"/>
                <a:gd name="connsiteX15" fmla="*/ 1165750 w 1633974"/>
                <a:gd name="connsiteY15" fmla="*/ 274637 h 826130"/>
                <a:gd name="connsiteX16" fmla="*/ 1633974 w 1633974"/>
                <a:gd name="connsiteY16" fmla="*/ 177897 h 826130"/>
                <a:gd name="connsiteX17" fmla="*/ 1599185 w 1633974"/>
                <a:gd name="connsiteY17" fmla="*/ 0 h 826130"/>
                <a:gd name="connsiteX18" fmla="*/ 1437947 w 1633974"/>
                <a:gd name="connsiteY18" fmla="*/ 31923 h 826130"/>
                <a:gd name="connsiteX19" fmla="*/ 1442266 w 1633974"/>
                <a:gd name="connsiteY19" fmla="*/ 5222 h 826130"/>
                <a:gd name="connsiteX20" fmla="*/ 1278539 w 1633974"/>
                <a:gd name="connsiteY20" fmla="*/ 43891 h 826130"/>
                <a:gd name="connsiteX21" fmla="*/ 1288530 w 1633974"/>
                <a:gd name="connsiteY21" fmla="*/ 70137 h 826130"/>
                <a:gd name="connsiteX22" fmla="*/ 854645 w 1633974"/>
                <a:gd name="connsiteY22" fmla="*/ 162757 h 826130"/>
                <a:gd name="connsiteX23" fmla="*/ 877327 w 1633974"/>
                <a:gd name="connsiteY23" fmla="*/ 269587 h 826130"/>
                <a:gd name="connsiteX24" fmla="*/ 348812 w 1633974"/>
                <a:gd name="connsiteY24" fmla="*/ 389846 h 826130"/>
                <a:gd name="connsiteX25" fmla="*/ 352828 w 1633974"/>
                <a:gd name="connsiteY25" fmla="*/ 363285 h 826130"/>
                <a:gd name="connsiteX26" fmla="*/ 299700 w 1633974"/>
                <a:gd name="connsiteY26" fmla="*/ 373108 h 826130"/>
                <a:gd name="connsiteX27" fmla="*/ 304403 w 1633974"/>
                <a:gd name="connsiteY27" fmla="*/ 399769 h 826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633974" h="826130">
                  <a:moveTo>
                    <a:pt x="304403" y="399769"/>
                  </a:moveTo>
                  <a:lnTo>
                    <a:pt x="207018" y="429349"/>
                  </a:lnTo>
                  <a:lnTo>
                    <a:pt x="154475" y="465621"/>
                  </a:lnTo>
                  <a:lnTo>
                    <a:pt x="0" y="714990"/>
                  </a:lnTo>
                  <a:lnTo>
                    <a:pt x="90749" y="778801"/>
                  </a:lnTo>
                  <a:lnTo>
                    <a:pt x="212691" y="584324"/>
                  </a:lnTo>
                  <a:lnTo>
                    <a:pt x="258065" y="569130"/>
                  </a:lnTo>
                  <a:lnTo>
                    <a:pt x="272245" y="639022"/>
                  </a:lnTo>
                  <a:cubicBezTo>
                    <a:pt x="274372" y="656476"/>
                    <a:pt x="255402" y="628956"/>
                    <a:pt x="255166" y="642740"/>
                  </a:cubicBezTo>
                  <a:cubicBezTo>
                    <a:pt x="254930" y="656524"/>
                    <a:pt x="267474" y="700981"/>
                    <a:pt x="270830" y="721725"/>
                  </a:cubicBezTo>
                  <a:lnTo>
                    <a:pt x="257403" y="748054"/>
                  </a:lnTo>
                  <a:cubicBezTo>
                    <a:pt x="258126" y="766101"/>
                    <a:pt x="265562" y="808083"/>
                    <a:pt x="266285" y="826130"/>
                  </a:cubicBezTo>
                  <a:lnTo>
                    <a:pt x="1202650" y="610888"/>
                  </a:lnTo>
                  <a:cubicBezTo>
                    <a:pt x="1202371" y="596906"/>
                    <a:pt x="1178809" y="488267"/>
                    <a:pt x="1178530" y="474285"/>
                  </a:cubicBezTo>
                  <a:lnTo>
                    <a:pt x="1205250" y="470790"/>
                  </a:lnTo>
                  <a:lnTo>
                    <a:pt x="1165750" y="274637"/>
                  </a:lnTo>
                  <a:lnTo>
                    <a:pt x="1633974" y="177897"/>
                  </a:lnTo>
                  <a:lnTo>
                    <a:pt x="1599185" y="0"/>
                  </a:lnTo>
                  <a:lnTo>
                    <a:pt x="1437947" y="31923"/>
                  </a:lnTo>
                  <a:lnTo>
                    <a:pt x="1442266" y="5222"/>
                  </a:lnTo>
                  <a:lnTo>
                    <a:pt x="1278539" y="43891"/>
                  </a:lnTo>
                  <a:cubicBezTo>
                    <a:pt x="1278886" y="55831"/>
                    <a:pt x="1288183" y="58197"/>
                    <a:pt x="1288530" y="70137"/>
                  </a:cubicBezTo>
                  <a:lnTo>
                    <a:pt x="854645" y="162757"/>
                  </a:lnTo>
                  <a:lnTo>
                    <a:pt x="877327" y="269587"/>
                  </a:lnTo>
                  <a:lnTo>
                    <a:pt x="348812" y="389846"/>
                  </a:lnTo>
                  <a:lnTo>
                    <a:pt x="352828" y="363285"/>
                  </a:lnTo>
                  <a:lnTo>
                    <a:pt x="299700" y="373108"/>
                  </a:lnTo>
                  <a:lnTo>
                    <a:pt x="304403" y="399769"/>
                  </a:lnTo>
                  <a:close/>
                </a:path>
              </a:pathLst>
            </a:custGeom>
            <a:solidFill>
              <a:srgbClr val="008000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DE" sz="6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T101">
              <a:extLst>
                <a:ext uri="{FF2B5EF4-FFF2-40B4-BE49-F238E27FC236}">
                  <a16:creationId xmlns:a16="http://schemas.microsoft.com/office/drawing/2014/main" id="{EBA78082-C0AB-481B-9EDD-6B66EB1278C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497250" y="5044113"/>
              <a:ext cx="982071" cy="283920"/>
            </a:xfrm>
            <a:custGeom>
              <a:avLst/>
              <a:gdLst>
                <a:gd name="connsiteX0" fmla="*/ 1714500 w 1767840"/>
                <a:gd name="connsiteY0" fmla="*/ 83820 h 464820"/>
                <a:gd name="connsiteX1" fmla="*/ 1767840 w 1767840"/>
                <a:gd name="connsiteY1" fmla="*/ 205740 h 464820"/>
                <a:gd name="connsiteX2" fmla="*/ 1691640 w 1767840"/>
                <a:gd name="connsiteY2" fmla="*/ 365760 h 464820"/>
                <a:gd name="connsiteX3" fmla="*/ 1371600 w 1767840"/>
                <a:gd name="connsiteY3" fmla="*/ 281940 h 464820"/>
                <a:gd name="connsiteX4" fmla="*/ 609600 w 1767840"/>
                <a:gd name="connsiteY4" fmla="*/ 464820 h 464820"/>
                <a:gd name="connsiteX5" fmla="*/ 281940 w 1767840"/>
                <a:gd name="connsiteY5" fmla="*/ 449580 h 464820"/>
                <a:gd name="connsiteX6" fmla="*/ 45720 w 1767840"/>
                <a:gd name="connsiteY6" fmla="*/ 327660 h 464820"/>
                <a:gd name="connsiteX7" fmla="*/ 7620 w 1767840"/>
                <a:gd name="connsiteY7" fmla="*/ 289560 h 464820"/>
                <a:gd name="connsiteX8" fmla="*/ 0 w 1767840"/>
                <a:gd name="connsiteY8" fmla="*/ 0 h 464820"/>
                <a:gd name="connsiteX9" fmla="*/ 83820 w 1767840"/>
                <a:gd name="connsiteY9" fmla="*/ 144780 h 464820"/>
                <a:gd name="connsiteX10" fmla="*/ 220980 w 1767840"/>
                <a:gd name="connsiteY10" fmla="*/ 251460 h 464820"/>
                <a:gd name="connsiteX11" fmla="*/ 388620 w 1767840"/>
                <a:gd name="connsiteY11" fmla="*/ 312420 h 464820"/>
                <a:gd name="connsiteX12" fmla="*/ 594360 w 1767840"/>
                <a:gd name="connsiteY12" fmla="*/ 327660 h 464820"/>
                <a:gd name="connsiteX13" fmla="*/ 1714500 w 1767840"/>
                <a:gd name="connsiteY13" fmla="*/ 83820 h 464820"/>
                <a:gd name="connsiteX0" fmla="*/ 1714500 w 1767840"/>
                <a:gd name="connsiteY0" fmla="*/ 83820 h 464820"/>
                <a:gd name="connsiteX1" fmla="*/ 1767840 w 1767840"/>
                <a:gd name="connsiteY1" fmla="*/ 205740 h 464820"/>
                <a:gd name="connsiteX2" fmla="*/ 1691640 w 1767840"/>
                <a:gd name="connsiteY2" fmla="*/ 365760 h 464820"/>
                <a:gd name="connsiteX3" fmla="*/ 1371600 w 1767840"/>
                <a:gd name="connsiteY3" fmla="*/ 281940 h 464820"/>
                <a:gd name="connsiteX4" fmla="*/ 693420 w 1767840"/>
                <a:gd name="connsiteY4" fmla="*/ 457200 h 464820"/>
                <a:gd name="connsiteX5" fmla="*/ 609600 w 1767840"/>
                <a:gd name="connsiteY5" fmla="*/ 464820 h 464820"/>
                <a:gd name="connsiteX6" fmla="*/ 281940 w 1767840"/>
                <a:gd name="connsiteY6" fmla="*/ 449580 h 464820"/>
                <a:gd name="connsiteX7" fmla="*/ 45720 w 1767840"/>
                <a:gd name="connsiteY7" fmla="*/ 327660 h 464820"/>
                <a:gd name="connsiteX8" fmla="*/ 7620 w 1767840"/>
                <a:gd name="connsiteY8" fmla="*/ 289560 h 464820"/>
                <a:gd name="connsiteX9" fmla="*/ 0 w 1767840"/>
                <a:gd name="connsiteY9" fmla="*/ 0 h 464820"/>
                <a:gd name="connsiteX10" fmla="*/ 83820 w 1767840"/>
                <a:gd name="connsiteY10" fmla="*/ 144780 h 464820"/>
                <a:gd name="connsiteX11" fmla="*/ 220980 w 1767840"/>
                <a:gd name="connsiteY11" fmla="*/ 251460 h 464820"/>
                <a:gd name="connsiteX12" fmla="*/ 388620 w 1767840"/>
                <a:gd name="connsiteY12" fmla="*/ 312420 h 464820"/>
                <a:gd name="connsiteX13" fmla="*/ 594360 w 1767840"/>
                <a:gd name="connsiteY13" fmla="*/ 327660 h 464820"/>
                <a:gd name="connsiteX14" fmla="*/ 1714500 w 1767840"/>
                <a:gd name="connsiteY14" fmla="*/ 83820 h 464820"/>
                <a:gd name="connsiteX0" fmla="*/ 1714500 w 1767840"/>
                <a:gd name="connsiteY0" fmla="*/ 83820 h 464820"/>
                <a:gd name="connsiteX1" fmla="*/ 1767840 w 1767840"/>
                <a:gd name="connsiteY1" fmla="*/ 205740 h 464820"/>
                <a:gd name="connsiteX2" fmla="*/ 1691640 w 1767840"/>
                <a:gd name="connsiteY2" fmla="*/ 365760 h 464820"/>
                <a:gd name="connsiteX3" fmla="*/ 1371600 w 1767840"/>
                <a:gd name="connsiteY3" fmla="*/ 281940 h 464820"/>
                <a:gd name="connsiteX4" fmla="*/ 693420 w 1767840"/>
                <a:gd name="connsiteY4" fmla="*/ 457200 h 464820"/>
                <a:gd name="connsiteX5" fmla="*/ 609600 w 1767840"/>
                <a:gd name="connsiteY5" fmla="*/ 464820 h 464820"/>
                <a:gd name="connsiteX6" fmla="*/ 487680 w 1767840"/>
                <a:gd name="connsiteY6" fmla="*/ 457200 h 464820"/>
                <a:gd name="connsiteX7" fmla="*/ 281940 w 1767840"/>
                <a:gd name="connsiteY7" fmla="*/ 449580 h 464820"/>
                <a:gd name="connsiteX8" fmla="*/ 45720 w 1767840"/>
                <a:gd name="connsiteY8" fmla="*/ 327660 h 464820"/>
                <a:gd name="connsiteX9" fmla="*/ 7620 w 1767840"/>
                <a:gd name="connsiteY9" fmla="*/ 289560 h 464820"/>
                <a:gd name="connsiteX10" fmla="*/ 0 w 1767840"/>
                <a:gd name="connsiteY10" fmla="*/ 0 h 464820"/>
                <a:gd name="connsiteX11" fmla="*/ 83820 w 1767840"/>
                <a:gd name="connsiteY11" fmla="*/ 144780 h 464820"/>
                <a:gd name="connsiteX12" fmla="*/ 220980 w 1767840"/>
                <a:gd name="connsiteY12" fmla="*/ 251460 h 464820"/>
                <a:gd name="connsiteX13" fmla="*/ 388620 w 1767840"/>
                <a:gd name="connsiteY13" fmla="*/ 312420 h 464820"/>
                <a:gd name="connsiteX14" fmla="*/ 594360 w 1767840"/>
                <a:gd name="connsiteY14" fmla="*/ 327660 h 464820"/>
                <a:gd name="connsiteX15" fmla="*/ 1714500 w 1767840"/>
                <a:gd name="connsiteY15" fmla="*/ 83820 h 464820"/>
                <a:gd name="connsiteX0" fmla="*/ 1714500 w 1767840"/>
                <a:gd name="connsiteY0" fmla="*/ 83820 h 464820"/>
                <a:gd name="connsiteX1" fmla="*/ 1767840 w 1767840"/>
                <a:gd name="connsiteY1" fmla="*/ 205740 h 464820"/>
                <a:gd name="connsiteX2" fmla="*/ 1691640 w 1767840"/>
                <a:gd name="connsiteY2" fmla="*/ 365760 h 464820"/>
                <a:gd name="connsiteX3" fmla="*/ 1371600 w 1767840"/>
                <a:gd name="connsiteY3" fmla="*/ 281940 h 464820"/>
                <a:gd name="connsiteX4" fmla="*/ 693420 w 1767840"/>
                <a:gd name="connsiteY4" fmla="*/ 457200 h 464820"/>
                <a:gd name="connsiteX5" fmla="*/ 609600 w 1767840"/>
                <a:gd name="connsiteY5" fmla="*/ 464820 h 464820"/>
                <a:gd name="connsiteX6" fmla="*/ 449580 w 1767840"/>
                <a:gd name="connsiteY6" fmla="*/ 464820 h 464820"/>
                <a:gd name="connsiteX7" fmla="*/ 281940 w 1767840"/>
                <a:gd name="connsiteY7" fmla="*/ 449580 h 464820"/>
                <a:gd name="connsiteX8" fmla="*/ 45720 w 1767840"/>
                <a:gd name="connsiteY8" fmla="*/ 327660 h 464820"/>
                <a:gd name="connsiteX9" fmla="*/ 7620 w 1767840"/>
                <a:gd name="connsiteY9" fmla="*/ 289560 h 464820"/>
                <a:gd name="connsiteX10" fmla="*/ 0 w 1767840"/>
                <a:gd name="connsiteY10" fmla="*/ 0 h 464820"/>
                <a:gd name="connsiteX11" fmla="*/ 83820 w 1767840"/>
                <a:gd name="connsiteY11" fmla="*/ 144780 h 464820"/>
                <a:gd name="connsiteX12" fmla="*/ 220980 w 1767840"/>
                <a:gd name="connsiteY12" fmla="*/ 251460 h 464820"/>
                <a:gd name="connsiteX13" fmla="*/ 388620 w 1767840"/>
                <a:gd name="connsiteY13" fmla="*/ 312420 h 464820"/>
                <a:gd name="connsiteX14" fmla="*/ 594360 w 1767840"/>
                <a:gd name="connsiteY14" fmla="*/ 327660 h 464820"/>
                <a:gd name="connsiteX15" fmla="*/ 1714500 w 1767840"/>
                <a:gd name="connsiteY15" fmla="*/ 83820 h 464820"/>
                <a:gd name="connsiteX0" fmla="*/ 1714500 w 1767840"/>
                <a:gd name="connsiteY0" fmla="*/ 83820 h 464820"/>
                <a:gd name="connsiteX1" fmla="*/ 1767840 w 1767840"/>
                <a:gd name="connsiteY1" fmla="*/ 205740 h 464820"/>
                <a:gd name="connsiteX2" fmla="*/ 1691640 w 1767840"/>
                <a:gd name="connsiteY2" fmla="*/ 365760 h 464820"/>
                <a:gd name="connsiteX3" fmla="*/ 1371600 w 1767840"/>
                <a:gd name="connsiteY3" fmla="*/ 281940 h 464820"/>
                <a:gd name="connsiteX4" fmla="*/ 723900 w 1767840"/>
                <a:gd name="connsiteY4" fmla="*/ 449580 h 464820"/>
                <a:gd name="connsiteX5" fmla="*/ 609600 w 1767840"/>
                <a:gd name="connsiteY5" fmla="*/ 464820 h 464820"/>
                <a:gd name="connsiteX6" fmla="*/ 449580 w 1767840"/>
                <a:gd name="connsiteY6" fmla="*/ 464820 h 464820"/>
                <a:gd name="connsiteX7" fmla="*/ 281940 w 1767840"/>
                <a:gd name="connsiteY7" fmla="*/ 449580 h 464820"/>
                <a:gd name="connsiteX8" fmla="*/ 45720 w 1767840"/>
                <a:gd name="connsiteY8" fmla="*/ 327660 h 464820"/>
                <a:gd name="connsiteX9" fmla="*/ 7620 w 1767840"/>
                <a:gd name="connsiteY9" fmla="*/ 289560 h 464820"/>
                <a:gd name="connsiteX10" fmla="*/ 0 w 1767840"/>
                <a:gd name="connsiteY10" fmla="*/ 0 h 464820"/>
                <a:gd name="connsiteX11" fmla="*/ 83820 w 1767840"/>
                <a:gd name="connsiteY11" fmla="*/ 144780 h 464820"/>
                <a:gd name="connsiteX12" fmla="*/ 220980 w 1767840"/>
                <a:gd name="connsiteY12" fmla="*/ 251460 h 464820"/>
                <a:gd name="connsiteX13" fmla="*/ 388620 w 1767840"/>
                <a:gd name="connsiteY13" fmla="*/ 312420 h 464820"/>
                <a:gd name="connsiteX14" fmla="*/ 594360 w 1767840"/>
                <a:gd name="connsiteY14" fmla="*/ 327660 h 464820"/>
                <a:gd name="connsiteX15" fmla="*/ 1714500 w 1767840"/>
                <a:gd name="connsiteY15" fmla="*/ 83820 h 464820"/>
                <a:gd name="connsiteX0" fmla="*/ 1714500 w 1767840"/>
                <a:gd name="connsiteY0" fmla="*/ 83820 h 464820"/>
                <a:gd name="connsiteX1" fmla="*/ 1767840 w 1767840"/>
                <a:gd name="connsiteY1" fmla="*/ 205740 h 464820"/>
                <a:gd name="connsiteX2" fmla="*/ 1691640 w 1767840"/>
                <a:gd name="connsiteY2" fmla="*/ 365760 h 464820"/>
                <a:gd name="connsiteX3" fmla="*/ 1371600 w 1767840"/>
                <a:gd name="connsiteY3" fmla="*/ 281940 h 464820"/>
                <a:gd name="connsiteX4" fmla="*/ 723900 w 1767840"/>
                <a:gd name="connsiteY4" fmla="*/ 449580 h 464820"/>
                <a:gd name="connsiteX5" fmla="*/ 609600 w 1767840"/>
                <a:gd name="connsiteY5" fmla="*/ 464820 h 464820"/>
                <a:gd name="connsiteX6" fmla="*/ 449580 w 1767840"/>
                <a:gd name="connsiteY6" fmla="*/ 464820 h 464820"/>
                <a:gd name="connsiteX7" fmla="*/ 281940 w 1767840"/>
                <a:gd name="connsiteY7" fmla="*/ 449580 h 464820"/>
                <a:gd name="connsiteX8" fmla="*/ 175260 w 1767840"/>
                <a:gd name="connsiteY8" fmla="*/ 396240 h 464820"/>
                <a:gd name="connsiteX9" fmla="*/ 45720 w 1767840"/>
                <a:gd name="connsiteY9" fmla="*/ 327660 h 464820"/>
                <a:gd name="connsiteX10" fmla="*/ 7620 w 1767840"/>
                <a:gd name="connsiteY10" fmla="*/ 289560 h 464820"/>
                <a:gd name="connsiteX11" fmla="*/ 0 w 1767840"/>
                <a:gd name="connsiteY11" fmla="*/ 0 h 464820"/>
                <a:gd name="connsiteX12" fmla="*/ 83820 w 1767840"/>
                <a:gd name="connsiteY12" fmla="*/ 144780 h 464820"/>
                <a:gd name="connsiteX13" fmla="*/ 220980 w 1767840"/>
                <a:gd name="connsiteY13" fmla="*/ 251460 h 464820"/>
                <a:gd name="connsiteX14" fmla="*/ 388620 w 1767840"/>
                <a:gd name="connsiteY14" fmla="*/ 312420 h 464820"/>
                <a:gd name="connsiteX15" fmla="*/ 594360 w 1767840"/>
                <a:gd name="connsiteY15" fmla="*/ 327660 h 464820"/>
                <a:gd name="connsiteX16" fmla="*/ 1714500 w 1767840"/>
                <a:gd name="connsiteY16" fmla="*/ 83820 h 464820"/>
                <a:gd name="connsiteX0" fmla="*/ 1714500 w 1767840"/>
                <a:gd name="connsiteY0" fmla="*/ 83820 h 464820"/>
                <a:gd name="connsiteX1" fmla="*/ 1767840 w 1767840"/>
                <a:gd name="connsiteY1" fmla="*/ 205740 h 464820"/>
                <a:gd name="connsiteX2" fmla="*/ 1691640 w 1767840"/>
                <a:gd name="connsiteY2" fmla="*/ 365760 h 464820"/>
                <a:gd name="connsiteX3" fmla="*/ 1371600 w 1767840"/>
                <a:gd name="connsiteY3" fmla="*/ 281940 h 464820"/>
                <a:gd name="connsiteX4" fmla="*/ 723900 w 1767840"/>
                <a:gd name="connsiteY4" fmla="*/ 449580 h 464820"/>
                <a:gd name="connsiteX5" fmla="*/ 609600 w 1767840"/>
                <a:gd name="connsiteY5" fmla="*/ 464820 h 464820"/>
                <a:gd name="connsiteX6" fmla="*/ 449580 w 1767840"/>
                <a:gd name="connsiteY6" fmla="*/ 464820 h 464820"/>
                <a:gd name="connsiteX7" fmla="*/ 312420 w 1767840"/>
                <a:gd name="connsiteY7" fmla="*/ 449580 h 464820"/>
                <a:gd name="connsiteX8" fmla="*/ 175260 w 1767840"/>
                <a:gd name="connsiteY8" fmla="*/ 396240 h 464820"/>
                <a:gd name="connsiteX9" fmla="*/ 45720 w 1767840"/>
                <a:gd name="connsiteY9" fmla="*/ 327660 h 464820"/>
                <a:gd name="connsiteX10" fmla="*/ 7620 w 1767840"/>
                <a:gd name="connsiteY10" fmla="*/ 289560 h 464820"/>
                <a:gd name="connsiteX11" fmla="*/ 0 w 1767840"/>
                <a:gd name="connsiteY11" fmla="*/ 0 h 464820"/>
                <a:gd name="connsiteX12" fmla="*/ 83820 w 1767840"/>
                <a:gd name="connsiteY12" fmla="*/ 144780 h 464820"/>
                <a:gd name="connsiteX13" fmla="*/ 220980 w 1767840"/>
                <a:gd name="connsiteY13" fmla="*/ 251460 h 464820"/>
                <a:gd name="connsiteX14" fmla="*/ 388620 w 1767840"/>
                <a:gd name="connsiteY14" fmla="*/ 312420 h 464820"/>
                <a:gd name="connsiteX15" fmla="*/ 594360 w 1767840"/>
                <a:gd name="connsiteY15" fmla="*/ 327660 h 464820"/>
                <a:gd name="connsiteX16" fmla="*/ 1714500 w 1767840"/>
                <a:gd name="connsiteY16" fmla="*/ 83820 h 464820"/>
                <a:gd name="connsiteX0" fmla="*/ 1714500 w 1767840"/>
                <a:gd name="connsiteY0" fmla="*/ 83820 h 464820"/>
                <a:gd name="connsiteX1" fmla="*/ 1767840 w 1767840"/>
                <a:gd name="connsiteY1" fmla="*/ 205740 h 464820"/>
                <a:gd name="connsiteX2" fmla="*/ 1691640 w 1767840"/>
                <a:gd name="connsiteY2" fmla="*/ 365760 h 464820"/>
                <a:gd name="connsiteX3" fmla="*/ 1371600 w 1767840"/>
                <a:gd name="connsiteY3" fmla="*/ 281940 h 464820"/>
                <a:gd name="connsiteX4" fmla="*/ 723900 w 1767840"/>
                <a:gd name="connsiteY4" fmla="*/ 449580 h 464820"/>
                <a:gd name="connsiteX5" fmla="*/ 609600 w 1767840"/>
                <a:gd name="connsiteY5" fmla="*/ 464820 h 464820"/>
                <a:gd name="connsiteX6" fmla="*/ 449580 w 1767840"/>
                <a:gd name="connsiteY6" fmla="*/ 464820 h 464820"/>
                <a:gd name="connsiteX7" fmla="*/ 312420 w 1767840"/>
                <a:gd name="connsiteY7" fmla="*/ 449580 h 464820"/>
                <a:gd name="connsiteX8" fmla="*/ 152400 w 1767840"/>
                <a:gd name="connsiteY8" fmla="*/ 373380 h 464820"/>
                <a:gd name="connsiteX9" fmla="*/ 45720 w 1767840"/>
                <a:gd name="connsiteY9" fmla="*/ 327660 h 464820"/>
                <a:gd name="connsiteX10" fmla="*/ 7620 w 1767840"/>
                <a:gd name="connsiteY10" fmla="*/ 289560 h 464820"/>
                <a:gd name="connsiteX11" fmla="*/ 0 w 1767840"/>
                <a:gd name="connsiteY11" fmla="*/ 0 h 464820"/>
                <a:gd name="connsiteX12" fmla="*/ 83820 w 1767840"/>
                <a:gd name="connsiteY12" fmla="*/ 144780 h 464820"/>
                <a:gd name="connsiteX13" fmla="*/ 220980 w 1767840"/>
                <a:gd name="connsiteY13" fmla="*/ 251460 h 464820"/>
                <a:gd name="connsiteX14" fmla="*/ 388620 w 1767840"/>
                <a:gd name="connsiteY14" fmla="*/ 312420 h 464820"/>
                <a:gd name="connsiteX15" fmla="*/ 594360 w 1767840"/>
                <a:gd name="connsiteY15" fmla="*/ 327660 h 464820"/>
                <a:gd name="connsiteX16" fmla="*/ 1714500 w 1767840"/>
                <a:gd name="connsiteY16" fmla="*/ 83820 h 464820"/>
                <a:gd name="connsiteX0" fmla="*/ 1714500 w 1767840"/>
                <a:gd name="connsiteY0" fmla="*/ 83820 h 464820"/>
                <a:gd name="connsiteX1" fmla="*/ 1767840 w 1767840"/>
                <a:gd name="connsiteY1" fmla="*/ 205740 h 464820"/>
                <a:gd name="connsiteX2" fmla="*/ 1691640 w 1767840"/>
                <a:gd name="connsiteY2" fmla="*/ 365760 h 464820"/>
                <a:gd name="connsiteX3" fmla="*/ 1371600 w 1767840"/>
                <a:gd name="connsiteY3" fmla="*/ 281940 h 464820"/>
                <a:gd name="connsiteX4" fmla="*/ 723900 w 1767840"/>
                <a:gd name="connsiteY4" fmla="*/ 449580 h 464820"/>
                <a:gd name="connsiteX5" fmla="*/ 609600 w 1767840"/>
                <a:gd name="connsiteY5" fmla="*/ 464820 h 464820"/>
                <a:gd name="connsiteX6" fmla="*/ 449580 w 1767840"/>
                <a:gd name="connsiteY6" fmla="*/ 464820 h 464820"/>
                <a:gd name="connsiteX7" fmla="*/ 281940 w 1767840"/>
                <a:gd name="connsiteY7" fmla="*/ 426720 h 464820"/>
                <a:gd name="connsiteX8" fmla="*/ 152400 w 1767840"/>
                <a:gd name="connsiteY8" fmla="*/ 373380 h 464820"/>
                <a:gd name="connsiteX9" fmla="*/ 45720 w 1767840"/>
                <a:gd name="connsiteY9" fmla="*/ 327660 h 464820"/>
                <a:gd name="connsiteX10" fmla="*/ 7620 w 1767840"/>
                <a:gd name="connsiteY10" fmla="*/ 289560 h 464820"/>
                <a:gd name="connsiteX11" fmla="*/ 0 w 1767840"/>
                <a:gd name="connsiteY11" fmla="*/ 0 h 464820"/>
                <a:gd name="connsiteX12" fmla="*/ 83820 w 1767840"/>
                <a:gd name="connsiteY12" fmla="*/ 144780 h 464820"/>
                <a:gd name="connsiteX13" fmla="*/ 220980 w 1767840"/>
                <a:gd name="connsiteY13" fmla="*/ 251460 h 464820"/>
                <a:gd name="connsiteX14" fmla="*/ 388620 w 1767840"/>
                <a:gd name="connsiteY14" fmla="*/ 312420 h 464820"/>
                <a:gd name="connsiteX15" fmla="*/ 594360 w 1767840"/>
                <a:gd name="connsiteY15" fmla="*/ 327660 h 464820"/>
                <a:gd name="connsiteX16" fmla="*/ 1714500 w 1767840"/>
                <a:gd name="connsiteY16" fmla="*/ 83820 h 464820"/>
                <a:gd name="connsiteX0" fmla="*/ 1714500 w 1767840"/>
                <a:gd name="connsiteY0" fmla="*/ 83820 h 464820"/>
                <a:gd name="connsiteX1" fmla="*/ 1767840 w 1767840"/>
                <a:gd name="connsiteY1" fmla="*/ 205740 h 464820"/>
                <a:gd name="connsiteX2" fmla="*/ 1691640 w 1767840"/>
                <a:gd name="connsiteY2" fmla="*/ 365760 h 464820"/>
                <a:gd name="connsiteX3" fmla="*/ 1371600 w 1767840"/>
                <a:gd name="connsiteY3" fmla="*/ 281940 h 464820"/>
                <a:gd name="connsiteX4" fmla="*/ 723900 w 1767840"/>
                <a:gd name="connsiteY4" fmla="*/ 449580 h 464820"/>
                <a:gd name="connsiteX5" fmla="*/ 609600 w 1767840"/>
                <a:gd name="connsiteY5" fmla="*/ 464820 h 464820"/>
                <a:gd name="connsiteX6" fmla="*/ 449580 w 1767840"/>
                <a:gd name="connsiteY6" fmla="*/ 464820 h 464820"/>
                <a:gd name="connsiteX7" fmla="*/ 281940 w 1767840"/>
                <a:gd name="connsiteY7" fmla="*/ 426720 h 464820"/>
                <a:gd name="connsiteX8" fmla="*/ 152400 w 1767840"/>
                <a:gd name="connsiteY8" fmla="*/ 373380 h 464820"/>
                <a:gd name="connsiteX9" fmla="*/ 76200 w 1767840"/>
                <a:gd name="connsiteY9" fmla="*/ 327660 h 464820"/>
                <a:gd name="connsiteX10" fmla="*/ 7620 w 1767840"/>
                <a:gd name="connsiteY10" fmla="*/ 289560 h 464820"/>
                <a:gd name="connsiteX11" fmla="*/ 0 w 1767840"/>
                <a:gd name="connsiteY11" fmla="*/ 0 h 464820"/>
                <a:gd name="connsiteX12" fmla="*/ 83820 w 1767840"/>
                <a:gd name="connsiteY12" fmla="*/ 144780 h 464820"/>
                <a:gd name="connsiteX13" fmla="*/ 220980 w 1767840"/>
                <a:gd name="connsiteY13" fmla="*/ 251460 h 464820"/>
                <a:gd name="connsiteX14" fmla="*/ 388620 w 1767840"/>
                <a:gd name="connsiteY14" fmla="*/ 312420 h 464820"/>
                <a:gd name="connsiteX15" fmla="*/ 594360 w 1767840"/>
                <a:gd name="connsiteY15" fmla="*/ 327660 h 464820"/>
                <a:gd name="connsiteX16" fmla="*/ 1714500 w 1767840"/>
                <a:gd name="connsiteY16" fmla="*/ 83820 h 464820"/>
                <a:gd name="connsiteX0" fmla="*/ 1714500 w 1767840"/>
                <a:gd name="connsiteY0" fmla="*/ 83820 h 464820"/>
                <a:gd name="connsiteX1" fmla="*/ 1767840 w 1767840"/>
                <a:gd name="connsiteY1" fmla="*/ 205740 h 464820"/>
                <a:gd name="connsiteX2" fmla="*/ 1691640 w 1767840"/>
                <a:gd name="connsiteY2" fmla="*/ 365760 h 464820"/>
                <a:gd name="connsiteX3" fmla="*/ 1371600 w 1767840"/>
                <a:gd name="connsiteY3" fmla="*/ 281940 h 464820"/>
                <a:gd name="connsiteX4" fmla="*/ 723900 w 1767840"/>
                <a:gd name="connsiteY4" fmla="*/ 449580 h 464820"/>
                <a:gd name="connsiteX5" fmla="*/ 609600 w 1767840"/>
                <a:gd name="connsiteY5" fmla="*/ 464820 h 464820"/>
                <a:gd name="connsiteX6" fmla="*/ 449580 w 1767840"/>
                <a:gd name="connsiteY6" fmla="*/ 464820 h 464820"/>
                <a:gd name="connsiteX7" fmla="*/ 281940 w 1767840"/>
                <a:gd name="connsiteY7" fmla="*/ 426720 h 464820"/>
                <a:gd name="connsiteX8" fmla="*/ 152400 w 1767840"/>
                <a:gd name="connsiteY8" fmla="*/ 373380 h 464820"/>
                <a:gd name="connsiteX9" fmla="*/ 76200 w 1767840"/>
                <a:gd name="connsiteY9" fmla="*/ 327660 h 464820"/>
                <a:gd name="connsiteX10" fmla="*/ 7620 w 1767840"/>
                <a:gd name="connsiteY10" fmla="*/ 289560 h 464820"/>
                <a:gd name="connsiteX11" fmla="*/ 0 w 1767840"/>
                <a:gd name="connsiteY11" fmla="*/ 0 h 464820"/>
                <a:gd name="connsiteX12" fmla="*/ 83820 w 1767840"/>
                <a:gd name="connsiteY12" fmla="*/ 144780 h 464820"/>
                <a:gd name="connsiteX13" fmla="*/ 152400 w 1767840"/>
                <a:gd name="connsiteY13" fmla="*/ 190500 h 464820"/>
                <a:gd name="connsiteX14" fmla="*/ 220980 w 1767840"/>
                <a:gd name="connsiteY14" fmla="*/ 251460 h 464820"/>
                <a:gd name="connsiteX15" fmla="*/ 388620 w 1767840"/>
                <a:gd name="connsiteY15" fmla="*/ 312420 h 464820"/>
                <a:gd name="connsiteX16" fmla="*/ 594360 w 1767840"/>
                <a:gd name="connsiteY16" fmla="*/ 327660 h 464820"/>
                <a:gd name="connsiteX17" fmla="*/ 1714500 w 1767840"/>
                <a:gd name="connsiteY17" fmla="*/ 83820 h 464820"/>
                <a:gd name="connsiteX0" fmla="*/ 1714500 w 1767840"/>
                <a:gd name="connsiteY0" fmla="*/ 83820 h 464820"/>
                <a:gd name="connsiteX1" fmla="*/ 1767840 w 1767840"/>
                <a:gd name="connsiteY1" fmla="*/ 205740 h 464820"/>
                <a:gd name="connsiteX2" fmla="*/ 1691640 w 1767840"/>
                <a:gd name="connsiteY2" fmla="*/ 365760 h 464820"/>
                <a:gd name="connsiteX3" fmla="*/ 1371600 w 1767840"/>
                <a:gd name="connsiteY3" fmla="*/ 281940 h 464820"/>
                <a:gd name="connsiteX4" fmla="*/ 723900 w 1767840"/>
                <a:gd name="connsiteY4" fmla="*/ 449580 h 464820"/>
                <a:gd name="connsiteX5" fmla="*/ 609600 w 1767840"/>
                <a:gd name="connsiteY5" fmla="*/ 464820 h 464820"/>
                <a:gd name="connsiteX6" fmla="*/ 449580 w 1767840"/>
                <a:gd name="connsiteY6" fmla="*/ 464820 h 464820"/>
                <a:gd name="connsiteX7" fmla="*/ 281940 w 1767840"/>
                <a:gd name="connsiteY7" fmla="*/ 426720 h 464820"/>
                <a:gd name="connsiteX8" fmla="*/ 152400 w 1767840"/>
                <a:gd name="connsiteY8" fmla="*/ 373380 h 464820"/>
                <a:gd name="connsiteX9" fmla="*/ 76200 w 1767840"/>
                <a:gd name="connsiteY9" fmla="*/ 327660 h 464820"/>
                <a:gd name="connsiteX10" fmla="*/ 7620 w 1767840"/>
                <a:gd name="connsiteY10" fmla="*/ 289560 h 464820"/>
                <a:gd name="connsiteX11" fmla="*/ 0 w 1767840"/>
                <a:gd name="connsiteY11" fmla="*/ 0 h 464820"/>
                <a:gd name="connsiteX12" fmla="*/ 83820 w 1767840"/>
                <a:gd name="connsiteY12" fmla="*/ 144780 h 464820"/>
                <a:gd name="connsiteX13" fmla="*/ 152400 w 1767840"/>
                <a:gd name="connsiteY13" fmla="*/ 190500 h 464820"/>
                <a:gd name="connsiteX14" fmla="*/ 220980 w 1767840"/>
                <a:gd name="connsiteY14" fmla="*/ 251460 h 464820"/>
                <a:gd name="connsiteX15" fmla="*/ 388620 w 1767840"/>
                <a:gd name="connsiteY15" fmla="*/ 312420 h 464820"/>
                <a:gd name="connsiteX16" fmla="*/ 594360 w 1767840"/>
                <a:gd name="connsiteY16" fmla="*/ 327660 h 464820"/>
                <a:gd name="connsiteX17" fmla="*/ 708660 w 1767840"/>
                <a:gd name="connsiteY17" fmla="*/ 297180 h 464820"/>
                <a:gd name="connsiteX18" fmla="*/ 1714500 w 1767840"/>
                <a:gd name="connsiteY18" fmla="*/ 83820 h 464820"/>
                <a:gd name="connsiteX0" fmla="*/ 1714500 w 1767840"/>
                <a:gd name="connsiteY0" fmla="*/ 83820 h 464820"/>
                <a:gd name="connsiteX1" fmla="*/ 1767840 w 1767840"/>
                <a:gd name="connsiteY1" fmla="*/ 205740 h 464820"/>
                <a:gd name="connsiteX2" fmla="*/ 1691640 w 1767840"/>
                <a:gd name="connsiteY2" fmla="*/ 365760 h 464820"/>
                <a:gd name="connsiteX3" fmla="*/ 1371600 w 1767840"/>
                <a:gd name="connsiteY3" fmla="*/ 281940 h 464820"/>
                <a:gd name="connsiteX4" fmla="*/ 723900 w 1767840"/>
                <a:gd name="connsiteY4" fmla="*/ 449580 h 464820"/>
                <a:gd name="connsiteX5" fmla="*/ 609600 w 1767840"/>
                <a:gd name="connsiteY5" fmla="*/ 464820 h 464820"/>
                <a:gd name="connsiteX6" fmla="*/ 449580 w 1767840"/>
                <a:gd name="connsiteY6" fmla="*/ 464820 h 464820"/>
                <a:gd name="connsiteX7" fmla="*/ 281940 w 1767840"/>
                <a:gd name="connsiteY7" fmla="*/ 426720 h 464820"/>
                <a:gd name="connsiteX8" fmla="*/ 152400 w 1767840"/>
                <a:gd name="connsiteY8" fmla="*/ 373380 h 464820"/>
                <a:gd name="connsiteX9" fmla="*/ 76200 w 1767840"/>
                <a:gd name="connsiteY9" fmla="*/ 327660 h 464820"/>
                <a:gd name="connsiteX10" fmla="*/ 7620 w 1767840"/>
                <a:gd name="connsiteY10" fmla="*/ 289560 h 464820"/>
                <a:gd name="connsiteX11" fmla="*/ 0 w 1767840"/>
                <a:gd name="connsiteY11" fmla="*/ 0 h 464820"/>
                <a:gd name="connsiteX12" fmla="*/ 83820 w 1767840"/>
                <a:gd name="connsiteY12" fmla="*/ 144780 h 464820"/>
                <a:gd name="connsiteX13" fmla="*/ 152400 w 1767840"/>
                <a:gd name="connsiteY13" fmla="*/ 190500 h 464820"/>
                <a:gd name="connsiteX14" fmla="*/ 220980 w 1767840"/>
                <a:gd name="connsiteY14" fmla="*/ 251460 h 464820"/>
                <a:gd name="connsiteX15" fmla="*/ 388620 w 1767840"/>
                <a:gd name="connsiteY15" fmla="*/ 312420 h 464820"/>
                <a:gd name="connsiteX16" fmla="*/ 563880 w 1767840"/>
                <a:gd name="connsiteY16" fmla="*/ 327660 h 464820"/>
                <a:gd name="connsiteX17" fmla="*/ 708660 w 1767840"/>
                <a:gd name="connsiteY17" fmla="*/ 297180 h 464820"/>
                <a:gd name="connsiteX18" fmla="*/ 1714500 w 1767840"/>
                <a:gd name="connsiteY18" fmla="*/ 83820 h 464820"/>
                <a:gd name="connsiteX0" fmla="*/ 1714500 w 1767840"/>
                <a:gd name="connsiteY0" fmla="*/ 83820 h 464820"/>
                <a:gd name="connsiteX1" fmla="*/ 1767840 w 1767840"/>
                <a:gd name="connsiteY1" fmla="*/ 205740 h 464820"/>
                <a:gd name="connsiteX2" fmla="*/ 1691640 w 1767840"/>
                <a:gd name="connsiteY2" fmla="*/ 365760 h 464820"/>
                <a:gd name="connsiteX3" fmla="*/ 1371600 w 1767840"/>
                <a:gd name="connsiteY3" fmla="*/ 281940 h 464820"/>
                <a:gd name="connsiteX4" fmla="*/ 723900 w 1767840"/>
                <a:gd name="connsiteY4" fmla="*/ 449580 h 464820"/>
                <a:gd name="connsiteX5" fmla="*/ 609600 w 1767840"/>
                <a:gd name="connsiteY5" fmla="*/ 464820 h 464820"/>
                <a:gd name="connsiteX6" fmla="*/ 449580 w 1767840"/>
                <a:gd name="connsiteY6" fmla="*/ 464820 h 464820"/>
                <a:gd name="connsiteX7" fmla="*/ 281940 w 1767840"/>
                <a:gd name="connsiteY7" fmla="*/ 426720 h 464820"/>
                <a:gd name="connsiteX8" fmla="*/ 152400 w 1767840"/>
                <a:gd name="connsiteY8" fmla="*/ 373380 h 464820"/>
                <a:gd name="connsiteX9" fmla="*/ 76200 w 1767840"/>
                <a:gd name="connsiteY9" fmla="*/ 327660 h 464820"/>
                <a:gd name="connsiteX10" fmla="*/ 7620 w 1767840"/>
                <a:gd name="connsiteY10" fmla="*/ 289560 h 464820"/>
                <a:gd name="connsiteX11" fmla="*/ 0 w 1767840"/>
                <a:gd name="connsiteY11" fmla="*/ 0 h 464820"/>
                <a:gd name="connsiteX12" fmla="*/ 83820 w 1767840"/>
                <a:gd name="connsiteY12" fmla="*/ 144780 h 464820"/>
                <a:gd name="connsiteX13" fmla="*/ 152400 w 1767840"/>
                <a:gd name="connsiteY13" fmla="*/ 190500 h 464820"/>
                <a:gd name="connsiteX14" fmla="*/ 251460 w 1767840"/>
                <a:gd name="connsiteY14" fmla="*/ 274320 h 464820"/>
                <a:gd name="connsiteX15" fmla="*/ 388620 w 1767840"/>
                <a:gd name="connsiteY15" fmla="*/ 312420 h 464820"/>
                <a:gd name="connsiteX16" fmla="*/ 563880 w 1767840"/>
                <a:gd name="connsiteY16" fmla="*/ 327660 h 464820"/>
                <a:gd name="connsiteX17" fmla="*/ 708660 w 1767840"/>
                <a:gd name="connsiteY17" fmla="*/ 297180 h 464820"/>
                <a:gd name="connsiteX18" fmla="*/ 1714500 w 1767840"/>
                <a:gd name="connsiteY18" fmla="*/ 83820 h 464820"/>
                <a:gd name="connsiteX0" fmla="*/ 1714500 w 1767840"/>
                <a:gd name="connsiteY0" fmla="*/ 83820 h 464820"/>
                <a:gd name="connsiteX1" fmla="*/ 1767840 w 1767840"/>
                <a:gd name="connsiteY1" fmla="*/ 205740 h 464820"/>
                <a:gd name="connsiteX2" fmla="*/ 1691640 w 1767840"/>
                <a:gd name="connsiteY2" fmla="*/ 365760 h 464820"/>
                <a:gd name="connsiteX3" fmla="*/ 1371600 w 1767840"/>
                <a:gd name="connsiteY3" fmla="*/ 281940 h 464820"/>
                <a:gd name="connsiteX4" fmla="*/ 723900 w 1767840"/>
                <a:gd name="connsiteY4" fmla="*/ 449580 h 464820"/>
                <a:gd name="connsiteX5" fmla="*/ 609600 w 1767840"/>
                <a:gd name="connsiteY5" fmla="*/ 464820 h 464820"/>
                <a:gd name="connsiteX6" fmla="*/ 449580 w 1767840"/>
                <a:gd name="connsiteY6" fmla="*/ 464820 h 464820"/>
                <a:gd name="connsiteX7" fmla="*/ 281940 w 1767840"/>
                <a:gd name="connsiteY7" fmla="*/ 426720 h 464820"/>
                <a:gd name="connsiteX8" fmla="*/ 152400 w 1767840"/>
                <a:gd name="connsiteY8" fmla="*/ 373380 h 464820"/>
                <a:gd name="connsiteX9" fmla="*/ 76200 w 1767840"/>
                <a:gd name="connsiteY9" fmla="*/ 327660 h 464820"/>
                <a:gd name="connsiteX10" fmla="*/ 7620 w 1767840"/>
                <a:gd name="connsiteY10" fmla="*/ 289560 h 464820"/>
                <a:gd name="connsiteX11" fmla="*/ 0 w 1767840"/>
                <a:gd name="connsiteY11" fmla="*/ 0 h 464820"/>
                <a:gd name="connsiteX12" fmla="*/ 60960 w 1767840"/>
                <a:gd name="connsiteY12" fmla="*/ 99060 h 464820"/>
                <a:gd name="connsiteX13" fmla="*/ 152400 w 1767840"/>
                <a:gd name="connsiteY13" fmla="*/ 190500 h 464820"/>
                <a:gd name="connsiteX14" fmla="*/ 251460 w 1767840"/>
                <a:gd name="connsiteY14" fmla="*/ 274320 h 464820"/>
                <a:gd name="connsiteX15" fmla="*/ 388620 w 1767840"/>
                <a:gd name="connsiteY15" fmla="*/ 312420 h 464820"/>
                <a:gd name="connsiteX16" fmla="*/ 563880 w 1767840"/>
                <a:gd name="connsiteY16" fmla="*/ 327660 h 464820"/>
                <a:gd name="connsiteX17" fmla="*/ 708660 w 1767840"/>
                <a:gd name="connsiteY17" fmla="*/ 297180 h 464820"/>
                <a:gd name="connsiteX18" fmla="*/ 1714500 w 1767840"/>
                <a:gd name="connsiteY18" fmla="*/ 83820 h 464820"/>
                <a:gd name="connsiteX0" fmla="*/ 1714500 w 1767840"/>
                <a:gd name="connsiteY0" fmla="*/ 83820 h 464820"/>
                <a:gd name="connsiteX1" fmla="*/ 1767840 w 1767840"/>
                <a:gd name="connsiteY1" fmla="*/ 205740 h 464820"/>
                <a:gd name="connsiteX2" fmla="*/ 1691640 w 1767840"/>
                <a:gd name="connsiteY2" fmla="*/ 365760 h 464820"/>
                <a:gd name="connsiteX3" fmla="*/ 1371600 w 1767840"/>
                <a:gd name="connsiteY3" fmla="*/ 281940 h 464820"/>
                <a:gd name="connsiteX4" fmla="*/ 723900 w 1767840"/>
                <a:gd name="connsiteY4" fmla="*/ 449580 h 464820"/>
                <a:gd name="connsiteX5" fmla="*/ 609600 w 1767840"/>
                <a:gd name="connsiteY5" fmla="*/ 464820 h 464820"/>
                <a:gd name="connsiteX6" fmla="*/ 449580 w 1767840"/>
                <a:gd name="connsiteY6" fmla="*/ 464820 h 464820"/>
                <a:gd name="connsiteX7" fmla="*/ 281940 w 1767840"/>
                <a:gd name="connsiteY7" fmla="*/ 426720 h 464820"/>
                <a:gd name="connsiteX8" fmla="*/ 152400 w 1767840"/>
                <a:gd name="connsiteY8" fmla="*/ 373380 h 464820"/>
                <a:gd name="connsiteX9" fmla="*/ 76200 w 1767840"/>
                <a:gd name="connsiteY9" fmla="*/ 327660 h 464820"/>
                <a:gd name="connsiteX10" fmla="*/ 7620 w 1767840"/>
                <a:gd name="connsiteY10" fmla="*/ 289560 h 464820"/>
                <a:gd name="connsiteX11" fmla="*/ 0 w 1767840"/>
                <a:gd name="connsiteY11" fmla="*/ 0 h 464820"/>
                <a:gd name="connsiteX12" fmla="*/ 60960 w 1767840"/>
                <a:gd name="connsiteY12" fmla="*/ 99060 h 464820"/>
                <a:gd name="connsiteX13" fmla="*/ 152400 w 1767840"/>
                <a:gd name="connsiteY13" fmla="*/ 190500 h 464820"/>
                <a:gd name="connsiteX14" fmla="*/ 251460 w 1767840"/>
                <a:gd name="connsiteY14" fmla="*/ 274320 h 464820"/>
                <a:gd name="connsiteX15" fmla="*/ 388620 w 1767840"/>
                <a:gd name="connsiteY15" fmla="*/ 312420 h 464820"/>
                <a:gd name="connsiteX16" fmla="*/ 518160 w 1767840"/>
                <a:gd name="connsiteY16" fmla="*/ 335280 h 464820"/>
                <a:gd name="connsiteX17" fmla="*/ 708660 w 1767840"/>
                <a:gd name="connsiteY17" fmla="*/ 297180 h 464820"/>
                <a:gd name="connsiteX18" fmla="*/ 1714500 w 1767840"/>
                <a:gd name="connsiteY18" fmla="*/ 83820 h 464820"/>
                <a:gd name="connsiteX0" fmla="*/ 1714500 w 1767840"/>
                <a:gd name="connsiteY0" fmla="*/ 83820 h 464820"/>
                <a:gd name="connsiteX1" fmla="*/ 1767840 w 1767840"/>
                <a:gd name="connsiteY1" fmla="*/ 205740 h 464820"/>
                <a:gd name="connsiteX2" fmla="*/ 1691640 w 1767840"/>
                <a:gd name="connsiteY2" fmla="*/ 365760 h 464820"/>
                <a:gd name="connsiteX3" fmla="*/ 1371600 w 1767840"/>
                <a:gd name="connsiteY3" fmla="*/ 281940 h 464820"/>
                <a:gd name="connsiteX4" fmla="*/ 723900 w 1767840"/>
                <a:gd name="connsiteY4" fmla="*/ 449580 h 464820"/>
                <a:gd name="connsiteX5" fmla="*/ 609600 w 1767840"/>
                <a:gd name="connsiteY5" fmla="*/ 464820 h 464820"/>
                <a:gd name="connsiteX6" fmla="*/ 449580 w 1767840"/>
                <a:gd name="connsiteY6" fmla="*/ 464820 h 464820"/>
                <a:gd name="connsiteX7" fmla="*/ 281940 w 1767840"/>
                <a:gd name="connsiteY7" fmla="*/ 426720 h 464820"/>
                <a:gd name="connsiteX8" fmla="*/ 152400 w 1767840"/>
                <a:gd name="connsiteY8" fmla="*/ 373380 h 464820"/>
                <a:gd name="connsiteX9" fmla="*/ 76200 w 1767840"/>
                <a:gd name="connsiteY9" fmla="*/ 327660 h 464820"/>
                <a:gd name="connsiteX10" fmla="*/ 7620 w 1767840"/>
                <a:gd name="connsiteY10" fmla="*/ 289560 h 464820"/>
                <a:gd name="connsiteX11" fmla="*/ 0 w 1767840"/>
                <a:gd name="connsiteY11" fmla="*/ 0 h 464820"/>
                <a:gd name="connsiteX12" fmla="*/ 60960 w 1767840"/>
                <a:gd name="connsiteY12" fmla="*/ 99060 h 464820"/>
                <a:gd name="connsiteX13" fmla="*/ 152400 w 1767840"/>
                <a:gd name="connsiteY13" fmla="*/ 190500 h 464820"/>
                <a:gd name="connsiteX14" fmla="*/ 251460 w 1767840"/>
                <a:gd name="connsiteY14" fmla="*/ 274320 h 464820"/>
                <a:gd name="connsiteX15" fmla="*/ 388620 w 1767840"/>
                <a:gd name="connsiteY15" fmla="*/ 312420 h 464820"/>
                <a:gd name="connsiteX16" fmla="*/ 541020 w 1767840"/>
                <a:gd name="connsiteY16" fmla="*/ 327660 h 464820"/>
                <a:gd name="connsiteX17" fmla="*/ 708660 w 1767840"/>
                <a:gd name="connsiteY17" fmla="*/ 297180 h 464820"/>
                <a:gd name="connsiteX18" fmla="*/ 1714500 w 1767840"/>
                <a:gd name="connsiteY18" fmla="*/ 83820 h 464820"/>
                <a:gd name="connsiteX0" fmla="*/ 1714500 w 1767840"/>
                <a:gd name="connsiteY0" fmla="*/ 83820 h 464820"/>
                <a:gd name="connsiteX1" fmla="*/ 1767840 w 1767840"/>
                <a:gd name="connsiteY1" fmla="*/ 205740 h 464820"/>
                <a:gd name="connsiteX2" fmla="*/ 1691640 w 1767840"/>
                <a:gd name="connsiteY2" fmla="*/ 365760 h 464820"/>
                <a:gd name="connsiteX3" fmla="*/ 1371600 w 1767840"/>
                <a:gd name="connsiteY3" fmla="*/ 281940 h 464820"/>
                <a:gd name="connsiteX4" fmla="*/ 723900 w 1767840"/>
                <a:gd name="connsiteY4" fmla="*/ 449580 h 464820"/>
                <a:gd name="connsiteX5" fmla="*/ 609600 w 1767840"/>
                <a:gd name="connsiteY5" fmla="*/ 464820 h 464820"/>
                <a:gd name="connsiteX6" fmla="*/ 449580 w 1767840"/>
                <a:gd name="connsiteY6" fmla="*/ 464820 h 464820"/>
                <a:gd name="connsiteX7" fmla="*/ 281940 w 1767840"/>
                <a:gd name="connsiteY7" fmla="*/ 426720 h 464820"/>
                <a:gd name="connsiteX8" fmla="*/ 152400 w 1767840"/>
                <a:gd name="connsiteY8" fmla="*/ 373380 h 464820"/>
                <a:gd name="connsiteX9" fmla="*/ 76200 w 1767840"/>
                <a:gd name="connsiteY9" fmla="*/ 327660 h 464820"/>
                <a:gd name="connsiteX10" fmla="*/ 7620 w 1767840"/>
                <a:gd name="connsiteY10" fmla="*/ 289560 h 464820"/>
                <a:gd name="connsiteX11" fmla="*/ 0 w 1767840"/>
                <a:gd name="connsiteY11" fmla="*/ 0 h 464820"/>
                <a:gd name="connsiteX12" fmla="*/ 60960 w 1767840"/>
                <a:gd name="connsiteY12" fmla="*/ 99060 h 464820"/>
                <a:gd name="connsiteX13" fmla="*/ 152400 w 1767840"/>
                <a:gd name="connsiteY13" fmla="*/ 190500 h 464820"/>
                <a:gd name="connsiteX14" fmla="*/ 259080 w 1767840"/>
                <a:gd name="connsiteY14" fmla="*/ 251460 h 464820"/>
                <a:gd name="connsiteX15" fmla="*/ 388620 w 1767840"/>
                <a:gd name="connsiteY15" fmla="*/ 312420 h 464820"/>
                <a:gd name="connsiteX16" fmla="*/ 541020 w 1767840"/>
                <a:gd name="connsiteY16" fmla="*/ 327660 h 464820"/>
                <a:gd name="connsiteX17" fmla="*/ 708660 w 1767840"/>
                <a:gd name="connsiteY17" fmla="*/ 297180 h 464820"/>
                <a:gd name="connsiteX18" fmla="*/ 1714500 w 1767840"/>
                <a:gd name="connsiteY18" fmla="*/ 83820 h 464820"/>
                <a:gd name="connsiteX0" fmla="*/ 1721360 w 1767840"/>
                <a:gd name="connsiteY0" fmla="*/ 52450 h 464820"/>
                <a:gd name="connsiteX1" fmla="*/ 1767840 w 1767840"/>
                <a:gd name="connsiteY1" fmla="*/ 205740 h 464820"/>
                <a:gd name="connsiteX2" fmla="*/ 1691640 w 1767840"/>
                <a:gd name="connsiteY2" fmla="*/ 365760 h 464820"/>
                <a:gd name="connsiteX3" fmla="*/ 1371600 w 1767840"/>
                <a:gd name="connsiteY3" fmla="*/ 281940 h 464820"/>
                <a:gd name="connsiteX4" fmla="*/ 723900 w 1767840"/>
                <a:gd name="connsiteY4" fmla="*/ 449580 h 464820"/>
                <a:gd name="connsiteX5" fmla="*/ 609600 w 1767840"/>
                <a:gd name="connsiteY5" fmla="*/ 464820 h 464820"/>
                <a:gd name="connsiteX6" fmla="*/ 449580 w 1767840"/>
                <a:gd name="connsiteY6" fmla="*/ 464820 h 464820"/>
                <a:gd name="connsiteX7" fmla="*/ 281940 w 1767840"/>
                <a:gd name="connsiteY7" fmla="*/ 426720 h 464820"/>
                <a:gd name="connsiteX8" fmla="*/ 152400 w 1767840"/>
                <a:gd name="connsiteY8" fmla="*/ 373380 h 464820"/>
                <a:gd name="connsiteX9" fmla="*/ 76200 w 1767840"/>
                <a:gd name="connsiteY9" fmla="*/ 327660 h 464820"/>
                <a:gd name="connsiteX10" fmla="*/ 7620 w 1767840"/>
                <a:gd name="connsiteY10" fmla="*/ 289560 h 464820"/>
                <a:gd name="connsiteX11" fmla="*/ 0 w 1767840"/>
                <a:gd name="connsiteY11" fmla="*/ 0 h 464820"/>
                <a:gd name="connsiteX12" fmla="*/ 60960 w 1767840"/>
                <a:gd name="connsiteY12" fmla="*/ 99060 h 464820"/>
                <a:gd name="connsiteX13" fmla="*/ 152400 w 1767840"/>
                <a:gd name="connsiteY13" fmla="*/ 190500 h 464820"/>
                <a:gd name="connsiteX14" fmla="*/ 259080 w 1767840"/>
                <a:gd name="connsiteY14" fmla="*/ 251460 h 464820"/>
                <a:gd name="connsiteX15" fmla="*/ 388620 w 1767840"/>
                <a:gd name="connsiteY15" fmla="*/ 312420 h 464820"/>
                <a:gd name="connsiteX16" fmla="*/ 541020 w 1767840"/>
                <a:gd name="connsiteY16" fmla="*/ 327660 h 464820"/>
                <a:gd name="connsiteX17" fmla="*/ 708660 w 1767840"/>
                <a:gd name="connsiteY17" fmla="*/ 297180 h 464820"/>
                <a:gd name="connsiteX18" fmla="*/ 1721360 w 1767840"/>
                <a:gd name="connsiteY18" fmla="*/ 52450 h 464820"/>
                <a:gd name="connsiteX0" fmla="*/ 1721360 w 1756407"/>
                <a:gd name="connsiteY0" fmla="*/ 52450 h 464820"/>
                <a:gd name="connsiteX1" fmla="*/ 1756407 w 1756407"/>
                <a:gd name="connsiteY1" fmla="*/ 215392 h 464820"/>
                <a:gd name="connsiteX2" fmla="*/ 1691640 w 1756407"/>
                <a:gd name="connsiteY2" fmla="*/ 365760 h 464820"/>
                <a:gd name="connsiteX3" fmla="*/ 1371600 w 1756407"/>
                <a:gd name="connsiteY3" fmla="*/ 281940 h 464820"/>
                <a:gd name="connsiteX4" fmla="*/ 723900 w 1756407"/>
                <a:gd name="connsiteY4" fmla="*/ 449580 h 464820"/>
                <a:gd name="connsiteX5" fmla="*/ 609600 w 1756407"/>
                <a:gd name="connsiteY5" fmla="*/ 464820 h 464820"/>
                <a:gd name="connsiteX6" fmla="*/ 449580 w 1756407"/>
                <a:gd name="connsiteY6" fmla="*/ 464820 h 464820"/>
                <a:gd name="connsiteX7" fmla="*/ 281940 w 1756407"/>
                <a:gd name="connsiteY7" fmla="*/ 426720 h 464820"/>
                <a:gd name="connsiteX8" fmla="*/ 152400 w 1756407"/>
                <a:gd name="connsiteY8" fmla="*/ 373380 h 464820"/>
                <a:gd name="connsiteX9" fmla="*/ 76200 w 1756407"/>
                <a:gd name="connsiteY9" fmla="*/ 327660 h 464820"/>
                <a:gd name="connsiteX10" fmla="*/ 7620 w 1756407"/>
                <a:gd name="connsiteY10" fmla="*/ 289560 h 464820"/>
                <a:gd name="connsiteX11" fmla="*/ 0 w 1756407"/>
                <a:gd name="connsiteY11" fmla="*/ 0 h 464820"/>
                <a:gd name="connsiteX12" fmla="*/ 60960 w 1756407"/>
                <a:gd name="connsiteY12" fmla="*/ 99060 h 464820"/>
                <a:gd name="connsiteX13" fmla="*/ 152400 w 1756407"/>
                <a:gd name="connsiteY13" fmla="*/ 190500 h 464820"/>
                <a:gd name="connsiteX14" fmla="*/ 259080 w 1756407"/>
                <a:gd name="connsiteY14" fmla="*/ 251460 h 464820"/>
                <a:gd name="connsiteX15" fmla="*/ 388620 w 1756407"/>
                <a:gd name="connsiteY15" fmla="*/ 312420 h 464820"/>
                <a:gd name="connsiteX16" fmla="*/ 541020 w 1756407"/>
                <a:gd name="connsiteY16" fmla="*/ 327660 h 464820"/>
                <a:gd name="connsiteX17" fmla="*/ 708660 w 1756407"/>
                <a:gd name="connsiteY17" fmla="*/ 297180 h 464820"/>
                <a:gd name="connsiteX18" fmla="*/ 1721360 w 1756407"/>
                <a:gd name="connsiteY18" fmla="*/ 52450 h 464820"/>
                <a:gd name="connsiteX0" fmla="*/ 1721360 w 1756407"/>
                <a:gd name="connsiteY0" fmla="*/ 52450 h 464820"/>
                <a:gd name="connsiteX1" fmla="*/ 1756407 w 1756407"/>
                <a:gd name="connsiteY1" fmla="*/ 215392 h 464820"/>
                <a:gd name="connsiteX2" fmla="*/ 1691640 w 1756407"/>
                <a:gd name="connsiteY2" fmla="*/ 365760 h 464820"/>
                <a:gd name="connsiteX3" fmla="*/ 1280140 w 1756407"/>
                <a:gd name="connsiteY3" fmla="*/ 294007 h 464820"/>
                <a:gd name="connsiteX4" fmla="*/ 723900 w 1756407"/>
                <a:gd name="connsiteY4" fmla="*/ 449580 h 464820"/>
                <a:gd name="connsiteX5" fmla="*/ 609600 w 1756407"/>
                <a:gd name="connsiteY5" fmla="*/ 464820 h 464820"/>
                <a:gd name="connsiteX6" fmla="*/ 449580 w 1756407"/>
                <a:gd name="connsiteY6" fmla="*/ 464820 h 464820"/>
                <a:gd name="connsiteX7" fmla="*/ 281940 w 1756407"/>
                <a:gd name="connsiteY7" fmla="*/ 426720 h 464820"/>
                <a:gd name="connsiteX8" fmla="*/ 152400 w 1756407"/>
                <a:gd name="connsiteY8" fmla="*/ 373380 h 464820"/>
                <a:gd name="connsiteX9" fmla="*/ 76200 w 1756407"/>
                <a:gd name="connsiteY9" fmla="*/ 327660 h 464820"/>
                <a:gd name="connsiteX10" fmla="*/ 7620 w 1756407"/>
                <a:gd name="connsiteY10" fmla="*/ 289560 h 464820"/>
                <a:gd name="connsiteX11" fmla="*/ 0 w 1756407"/>
                <a:gd name="connsiteY11" fmla="*/ 0 h 464820"/>
                <a:gd name="connsiteX12" fmla="*/ 60960 w 1756407"/>
                <a:gd name="connsiteY12" fmla="*/ 99060 h 464820"/>
                <a:gd name="connsiteX13" fmla="*/ 152400 w 1756407"/>
                <a:gd name="connsiteY13" fmla="*/ 190500 h 464820"/>
                <a:gd name="connsiteX14" fmla="*/ 259080 w 1756407"/>
                <a:gd name="connsiteY14" fmla="*/ 251460 h 464820"/>
                <a:gd name="connsiteX15" fmla="*/ 388620 w 1756407"/>
                <a:gd name="connsiteY15" fmla="*/ 312420 h 464820"/>
                <a:gd name="connsiteX16" fmla="*/ 541020 w 1756407"/>
                <a:gd name="connsiteY16" fmla="*/ 327660 h 464820"/>
                <a:gd name="connsiteX17" fmla="*/ 708660 w 1756407"/>
                <a:gd name="connsiteY17" fmla="*/ 297180 h 464820"/>
                <a:gd name="connsiteX18" fmla="*/ 1721360 w 1756407"/>
                <a:gd name="connsiteY18" fmla="*/ 52450 h 464820"/>
                <a:gd name="connsiteX0" fmla="*/ 1721360 w 1756407"/>
                <a:gd name="connsiteY0" fmla="*/ 52450 h 464820"/>
                <a:gd name="connsiteX1" fmla="*/ 1756407 w 1756407"/>
                <a:gd name="connsiteY1" fmla="*/ 215392 h 464820"/>
                <a:gd name="connsiteX2" fmla="*/ 1691640 w 1756407"/>
                <a:gd name="connsiteY2" fmla="*/ 365760 h 464820"/>
                <a:gd name="connsiteX3" fmla="*/ 1280140 w 1756407"/>
                <a:gd name="connsiteY3" fmla="*/ 294007 h 464820"/>
                <a:gd name="connsiteX4" fmla="*/ 723900 w 1756407"/>
                <a:gd name="connsiteY4" fmla="*/ 449580 h 464820"/>
                <a:gd name="connsiteX5" fmla="*/ 609600 w 1756407"/>
                <a:gd name="connsiteY5" fmla="*/ 464820 h 464820"/>
                <a:gd name="connsiteX6" fmla="*/ 449580 w 1756407"/>
                <a:gd name="connsiteY6" fmla="*/ 464820 h 464820"/>
                <a:gd name="connsiteX7" fmla="*/ 281940 w 1756407"/>
                <a:gd name="connsiteY7" fmla="*/ 426720 h 464820"/>
                <a:gd name="connsiteX8" fmla="*/ 152400 w 1756407"/>
                <a:gd name="connsiteY8" fmla="*/ 373380 h 464820"/>
                <a:gd name="connsiteX9" fmla="*/ 76200 w 1756407"/>
                <a:gd name="connsiteY9" fmla="*/ 327660 h 464820"/>
                <a:gd name="connsiteX10" fmla="*/ 7620 w 1756407"/>
                <a:gd name="connsiteY10" fmla="*/ 289560 h 464820"/>
                <a:gd name="connsiteX11" fmla="*/ 0 w 1756407"/>
                <a:gd name="connsiteY11" fmla="*/ 0 h 464820"/>
                <a:gd name="connsiteX12" fmla="*/ 60960 w 1756407"/>
                <a:gd name="connsiteY12" fmla="*/ 99060 h 464820"/>
                <a:gd name="connsiteX13" fmla="*/ 152400 w 1756407"/>
                <a:gd name="connsiteY13" fmla="*/ 190500 h 464820"/>
                <a:gd name="connsiteX14" fmla="*/ 259080 w 1756407"/>
                <a:gd name="connsiteY14" fmla="*/ 251460 h 464820"/>
                <a:gd name="connsiteX15" fmla="*/ 388620 w 1756407"/>
                <a:gd name="connsiteY15" fmla="*/ 312420 h 464820"/>
                <a:gd name="connsiteX16" fmla="*/ 541020 w 1756407"/>
                <a:gd name="connsiteY16" fmla="*/ 327660 h 464820"/>
                <a:gd name="connsiteX17" fmla="*/ 708660 w 1756407"/>
                <a:gd name="connsiteY17" fmla="*/ 297180 h 464820"/>
                <a:gd name="connsiteX18" fmla="*/ 1721360 w 1756407"/>
                <a:gd name="connsiteY18" fmla="*/ 52450 h 464820"/>
                <a:gd name="connsiteX0" fmla="*/ 1721360 w 1756407"/>
                <a:gd name="connsiteY0" fmla="*/ 52450 h 464820"/>
                <a:gd name="connsiteX1" fmla="*/ 1756407 w 1756407"/>
                <a:gd name="connsiteY1" fmla="*/ 215392 h 464820"/>
                <a:gd name="connsiteX2" fmla="*/ 1691640 w 1756407"/>
                <a:gd name="connsiteY2" fmla="*/ 365760 h 464820"/>
                <a:gd name="connsiteX3" fmla="*/ 1280140 w 1756407"/>
                <a:gd name="connsiteY3" fmla="*/ 294007 h 464820"/>
                <a:gd name="connsiteX4" fmla="*/ 723900 w 1756407"/>
                <a:gd name="connsiteY4" fmla="*/ 449580 h 464820"/>
                <a:gd name="connsiteX5" fmla="*/ 609600 w 1756407"/>
                <a:gd name="connsiteY5" fmla="*/ 464820 h 464820"/>
                <a:gd name="connsiteX6" fmla="*/ 449580 w 1756407"/>
                <a:gd name="connsiteY6" fmla="*/ 464820 h 464820"/>
                <a:gd name="connsiteX7" fmla="*/ 281940 w 1756407"/>
                <a:gd name="connsiteY7" fmla="*/ 426720 h 464820"/>
                <a:gd name="connsiteX8" fmla="*/ 152400 w 1756407"/>
                <a:gd name="connsiteY8" fmla="*/ 373380 h 464820"/>
                <a:gd name="connsiteX9" fmla="*/ 76200 w 1756407"/>
                <a:gd name="connsiteY9" fmla="*/ 327660 h 464820"/>
                <a:gd name="connsiteX10" fmla="*/ 7620 w 1756407"/>
                <a:gd name="connsiteY10" fmla="*/ 289560 h 464820"/>
                <a:gd name="connsiteX11" fmla="*/ 0 w 1756407"/>
                <a:gd name="connsiteY11" fmla="*/ 0 h 464820"/>
                <a:gd name="connsiteX12" fmla="*/ 60960 w 1756407"/>
                <a:gd name="connsiteY12" fmla="*/ 99060 h 464820"/>
                <a:gd name="connsiteX13" fmla="*/ 152400 w 1756407"/>
                <a:gd name="connsiteY13" fmla="*/ 190500 h 464820"/>
                <a:gd name="connsiteX14" fmla="*/ 259080 w 1756407"/>
                <a:gd name="connsiteY14" fmla="*/ 251460 h 464820"/>
                <a:gd name="connsiteX15" fmla="*/ 388620 w 1756407"/>
                <a:gd name="connsiteY15" fmla="*/ 312420 h 464820"/>
                <a:gd name="connsiteX16" fmla="*/ 541020 w 1756407"/>
                <a:gd name="connsiteY16" fmla="*/ 327660 h 464820"/>
                <a:gd name="connsiteX17" fmla="*/ 708660 w 1756407"/>
                <a:gd name="connsiteY17" fmla="*/ 297180 h 464820"/>
                <a:gd name="connsiteX18" fmla="*/ 1721360 w 1756407"/>
                <a:gd name="connsiteY18" fmla="*/ 52450 h 464820"/>
                <a:gd name="connsiteX0" fmla="*/ 1721360 w 1756407"/>
                <a:gd name="connsiteY0" fmla="*/ 52450 h 464820"/>
                <a:gd name="connsiteX1" fmla="*/ 1756407 w 1756407"/>
                <a:gd name="connsiteY1" fmla="*/ 215392 h 464820"/>
                <a:gd name="connsiteX2" fmla="*/ 1696214 w 1756407"/>
                <a:gd name="connsiteY2" fmla="*/ 377826 h 464820"/>
                <a:gd name="connsiteX3" fmla="*/ 1280140 w 1756407"/>
                <a:gd name="connsiteY3" fmla="*/ 294007 h 464820"/>
                <a:gd name="connsiteX4" fmla="*/ 723900 w 1756407"/>
                <a:gd name="connsiteY4" fmla="*/ 449580 h 464820"/>
                <a:gd name="connsiteX5" fmla="*/ 609600 w 1756407"/>
                <a:gd name="connsiteY5" fmla="*/ 464820 h 464820"/>
                <a:gd name="connsiteX6" fmla="*/ 449580 w 1756407"/>
                <a:gd name="connsiteY6" fmla="*/ 464820 h 464820"/>
                <a:gd name="connsiteX7" fmla="*/ 281940 w 1756407"/>
                <a:gd name="connsiteY7" fmla="*/ 426720 h 464820"/>
                <a:gd name="connsiteX8" fmla="*/ 152400 w 1756407"/>
                <a:gd name="connsiteY8" fmla="*/ 373380 h 464820"/>
                <a:gd name="connsiteX9" fmla="*/ 76200 w 1756407"/>
                <a:gd name="connsiteY9" fmla="*/ 327660 h 464820"/>
                <a:gd name="connsiteX10" fmla="*/ 7620 w 1756407"/>
                <a:gd name="connsiteY10" fmla="*/ 289560 h 464820"/>
                <a:gd name="connsiteX11" fmla="*/ 0 w 1756407"/>
                <a:gd name="connsiteY11" fmla="*/ 0 h 464820"/>
                <a:gd name="connsiteX12" fmla="*/ 60960 w 1756407"/>
                <a:gd name="connsiteY12" fmla="*/ 99060 h 464820"/>
                <a:gd name="connsiteX13" fmla="*/ 152400 w 1756407"/>
                <a:gd name="connsiteY13" fmla="*/ 190500 h 464820"/>
                <a:gd name="connsiteX14" fmla="*/ 259080 w 1756407"/>
                <a:gd name="connsiteY14" fmla="*/ 251460 h 464820"/>
                <a:gd name="connsiteX15" fmla="*/ 388620 w 1756407"/>
                <a:gd name="connsiteY15" fmla="*/ 312420 h 464820"/>
                <a:gd name="connsiteX16" fmla="*/ 541020 w 1756407"/>
                <a:gd name="connsiteY16" fmla="*/ 327660 h 464820"/>
                <a:gd name="connsiteX17" fmla="*/ 708660 w 1756407"/>
                <a:gd name="connsiteY17" fmla="*/ 297180 h 464820"/>
                <a:gd name="connsiteX18" fmla="*/ 1721360 w 1756407"/>
                <a:gd name="connsiteY18" fmla="*/ 52450 h 464820"/>
                <a:gd name="connsiteX0" fmla="*/ 1721360 w 1756407"/>
                <a:gd name="connsiteY0" fmla="*/ 52450 h 464820"/>
                <a:gd name="connsiteX1" fmla="*/ 1756407 w 1756407"/>
                <a:gd name="connsiteY1" fmla="*/ 215392 h 464820"/>
                <a:gd name="connsiteX2" fmla="*/ 1696214 w 1756407"/>
                <a:gd name="connsiteY2" fmla="*/ 377826 h 464820"/>
                <a:gd name="connsiteX3" fmla="*/ 1280140 w 1756407"/>
                <a:gd name="connsiteY3" fmla="*/ 294007 h 464820"/>
                <a:gd name="connsiteX4" fmla="*/ 723900 w 1756407"/>
                <a:gd name="connsiteY4" fmla="*/ 449580 h 464820"/>
                <a:gd name="connsiteX5" fmla="*/ 609600 w 1756407"/>
                <a:gd name="connsiteY5" fmla="*/ 464820 h 464820"/>
                <a:gd name="connsiteX6" fmla="*/ 449580 w 1756407"/>
                <a:gd name="connsiteY6" fmla="*/ 464820 h 464820"/>
                <a:gd name="connsiteX7" fmla="*/ 281940 w 1756407"/>
                <a:gd name="connsiteY7" fmla="*/ 426720 h 464820"/>
                <a:gd name="connsiteX8" fmla="*/ 152400 w 1756407"/>
                <a:gd name="connsiteY8" fmla="*/ 373380 h 464820"/>
                <a:gd name="connsiteX9" fmla="*/ 76200 w 1756407"/>
                <a:gd name="connsiteY9" fmla="*/ 327660 h 464820"/>
                <a:gd name="connsiteX10" fmla="*/ 7620 w 1756407"/>
                <a:gd name="connsiteY10" fmla="*/ 289560 h 464820"/>
                <a:gd name="connsiteX11" fmla="*/ 0 w 1756407"/>
                <a:gd name="connsiteY11" fmla="*/ 0 h 464820"/>
                <a:gd name="connsiteX12" fmla="*/ 60960 w 1756407"/>
                <a:gd name="connsiteY12" fmla="*/ 99060 h 464820"/>
                <a:gd name="connsiteX13" fmla="*/ 152400 w 1756407"/>
                <a:gd name="connsiteY13" fmla="*/ 190500 h 464820"/>
                <a:gd name="connsiteX14" fmla="*/ 259080 w 1756407"/>
                <a:gd name="connsiteY14" fmla="*/ 251460 h 464820"/>
                <a:gd name="connsiteX15" fmla="*/ 388620 w 1756407"/>
                <a:gd name="connsiteY15" fmla="*/ 312420 h 464820"/>
                <a:gd name="connsiteX16" fmla="*/ 541020 w 1756407"/>
                <a:gd name="connsiteY16" fmla="*/ 327660 h 464820"/>
                <a:gd name="connsiteX17" fmla="*/ 708660 w 1756407"/>
                <a:gd name="connsiteY17" fmla="*/ 297180 h 464820"/>
                <a:gd name="connsiteX18" fmla="*/ 1721360 w 1756407"/>
                <a:gd name="connsiteY18" fmla="*/ 52450 h 464820"/>
                <a:gd name="connsiteX0" fmla="*/ 1721360 w 1756407"/>
                <a:gd name="connsiteY0" fmla="*/ 52450 h 464820"/>
                <a:gd name="connsiteX1" fmla="*/ 1756407 w 1756407"/>
                <a:gd name="connsiteY1" fmla="*/ 215392 h 464820"/>
                <a:gd name="connsiteX2" fmla="*/ 1693928 w 1756407"/>
                <a:gd name="connsiteY2" fmla="*/ 375413 h 464820"/>
                <a:gd name="connsiteX3" fmla="*/ 1280140 w 1756407"/>
                <a:gd name="connsiteY3" fmla="*/ 294007 h 464820"/>
                <a:gd name="connsiteX4" fmla="*/ 723900 w 1756407"/>
                <a:gd name="connsiteY4" fmla="*/ 449580 h 464820"/>
                <a:gd name="connsiteX5" fmla="*/ 609600 w 1756407"/>
                <a:gd name="connsiteY5" fmla="*/ 464820 h 464820"/>
                <a:gd name="connsiteX6" fmla="*/ 449580 w 1756407"/>
                <a:gd name="connsiteY6" fmla="*/ 464820 h 464820"/>
                <a:gd name="connsiteX7" fmla="*/ 281940 w 1756407"/>
                <a:gd name="connsiteY7" fmla="*/ 426720 h 464820"/>
                <a:gd name="connsiteX8" fmla="*/ 152400 w 1756407"/>
                <a:gd name="connsiteY8" fmla="*/ 373380 h 464820"/>
                <a:gd name="connsiteX9" fmla="*/ 76200 w 1756407"/>
                <a:gd name="connsiteY9" fmla="*/ 327660 h 464820"/>
                <a:gd name="connsiteX10" fmla="*/ 7620 w 1756407"/>
                <a:gd name="connsiteY10" fmla="*/ 289560 h 464820"/>
                <a:gd name="connsiteX11" fmla="*/ 0 w 1756407"/>
                <a:gd name="connsiteY11" fmla="*/ 0 h 464820"/>
                <a:gd name="connsiteX12" fmla="*/ 60960 w 1756407"/>
                <a:gd name="connsiteY12" fmla="*/ 99060 h 464820"/>
                <a:gd name="connsiteX13" fmla="*/ 152400 w 1756407"/>
                <a:gd name="connsiteY13" fmla="*/ 190500 h 464820"/>
                <a:gd name="connsiteX14" fmla="*/ 259080 w 1756407"/>
                <a:gd name="connsiteY14" fmla="*/ 251460 h 464820"/>
                <a:gd name="connsiteX15" fmla="*/ 388620 w 1756407"/>
                <a:gd name="connsiteY15" fmla="*/ 312420 h 464820"/>
                <a:gd name="connsiteX16" fmla="*/ 541020 w 1756407"/>
                <a:gd name="connsiteY16" fmla="*/ 327660 h 464820"/>
                <a:gd name="connsiteX17" fmla="*/ 708660 w 1756407"/>
                <a:gd name="connsiteY17" fmla="*/ 297180 h 464820"/>
                <a:gd name="connsiteX18" fmla="*/ 1721360 w 1756407"/>
                <a:gd name="connsiteY18" fmla="*/ 52450 h 464820"/>
                <a:gd name="connsiteX0" fmla="*/ 1721360 w 1756407"/>
                <a:gd name="connsiteY0" fmla="*/ 52450 h 464820"/>
                <a:gd name="connsiteX1" fmla="*/ 1756407 w 1756407"/>
                <a:gd name="connsiteY1" fmla="*/ 215392 h 464820"/>
                <a:gd name="connsiteX2" fmla="*/ 1693928 w 1756407"/>
                <a:gd name="connsiteY2" fmla="*/ 375413 h 464820"/>
                <a:gd name="connsiteX3" fmla="*/ 1344162 w 1756407"/>
                <a:gd name="connsiteY3" fmla="*/ 291594 h 464820"/>
                <a:gd name="connsiteX4" fmla="*/ 723900 w 1756407"/>
                <a:gd name="connsiteY4" fmla="*/ 449580 h 464820"/>
                <a:gd name="connsiteX5" fmla="*/ 609600 w 1756407"/>
                <a:gd name="connsiteY5" fmla="*/ 464820 h 464820"/>
                <a:gd name="connsiteX6" fmla="*/ 449580 w 1756407"/>
                <a:gd name="connsiteY6" fmla="*/ 464820 h 464820"/>
                <a:gd name="connsiteX7" fmla="*/ 281940 w 1756407"/>
                <a:gd name="connsiteY7" fmla="*/ 426720 h 464820"/>
                <a:gd name="connsiteX8" fmla="*/ 152400 w 1756407"/>
                <a:gd name="connsiteY8" fmla="*/ 373380 h 464820"/>
                <a:gd name="connsiteX9" fmla="*/ 76200 w 1756407"/>
                <a:gd name="connsiteY9" fmla="*/ 327660 h 464820"/>
                <a:gd name="connsiteX10" fmla="*/ 7620 w 1756407"/>
                <a:gd name="connsiteY10" fmla="*/ 289560 h 464820"/>
                <a:gd name="connsiteX11" fmla="*/ 0 w 1756407"/>
                <a:gd name="connsiteY11" fmla="*/ 0 h 464820"/>
                <a:gd name="connsiteX12" fmla="*/ 60960 w 1756407"/>
                <a:gd name="connsiteY12" fmla="*/ 99060 h 464820"/>
                <a:gd name="connsiteX13" fmla="*/ 152400 w 1756407"/>
                <a:gd name="connsiteY13" fmla="*/ 190500 h 464820"/>
                <a:gd name="connsiteX14" fmla="*/ 259080 w 1756407"/>
                <a:gd name="connsiteY14" fmla="*/ 251460 h 464820"/>
                <a:gd name="connsiteX15" fmla="*/ 388620 w 1756407"/>
                <a:gd name="connsiteY15" fmla="*/ 312420 h 464820"/>
                <a:gd name="connsiteX16" fmla="*/ 541020 w 1756407"/>
                <a:gd name="connsiteY16" fmla="*/ 327660 h 464820"/>
                <a:gd name="connsiteX17" fmla="*/ 708660 w 1756407"/>
                <a:gd name="connsiteY17" fmla="*/ 297180 h 464820"/>
                <a:gd name="connsiteX18" fmla="*/ 1721360 w 1756407"/>
                <a:gd name="connsiteY18" fmla="*/ 52450 h 464820"/>
                <a:gd name="connsiteX0" fmla="*/ 1721360 w 1756407"/>
                <a:gd name="connsiteY0" fmla="*/ 52450 h 464820"/>
                <a:gd name="connsiteX1" fmla="*/ 1756407 w 1756407"/>
                <a:gd name="connsiteY1" fmla="*/ 215392 h 464820"/>
                <a:gd name="connsiteX2" fmla="*/ 1693928 w 1756407"/>
                <a:gd name="connsiteY2" fmla="*/ 375413 h 464820"/>
                <a:gd name="connsiteX3" fmla="*/ 1344162 w 1756407"/>
                <a:gd name="connsiteY3" fmla="*/ 291594 h 464820"/>
                <a:gd name="connsiteX4" fmla="*/ 723900 w 1756407"/>
                <a:gd name="connsiteY4" fmla="*/ 449580 h 464820"/>
                <a:gd name="connsiteX5" fmla="*/ 609600 w 1756407"/>
                <a:gd name="connsiteY5" fmla="*/ 464820 h 464820"/>
                <a:gd name="connsiteX6" fmla="*/ 449580 w 1756407"/>
                <a:gd name="connsiteY6" fmla="*/ 464820 h 464820"/>
                <a:gd name="connsiteX7" fmla="*/ 281940 w 1756407"/>
                <a:gd name="connsiteY7" fmla="*/ 426720 h 464820"/>
                <a:gd name="connsiteX8" fmla="*/ 152400 w 1756407"/>
                <a:gd name="connsiteY8" fmla="*/ 373380 h 464820"/>
                <a:gd name="connsiteX9" fmla="*/ 76200 w 1756407"/>
                <a:gd name="connsiteY9" fmla="*/ 327660 h 464820"/>
                <a:gd name="connsiteX10" fmla="*/ 7620 w 1756407"/>
                <a:gd name="connsiteY10" fmla="*/ 289560 h 464820"/>
                <a:gd name="connsiteX11" fmla="*/ 0 w 1756407"/>
                <a:gd name="connsiteY11" fmla="*/ 0 h 464820"/>
                <a:gd name="connsiteX12" fmla="*/ 60960 w 1756407"/>
                <a:gd name="connsiteY12" fmla="*/ 99060 h 464820"/>
                <a:gd name="connsiteX13" fmla="*/ 152400 w 1756407"/>
                <a:gd name="connsiteY13" fmla="*/ 190500 h 464820"/>
                <a:gd name="connsiteX14" fmla="*/ 259080 w 1756407"/>
                <a:gd name="connsiteY14" fmla="*/ 251460 h 464820"/>
                <a:gd name="connsiteX15" fmla="*/ 388620 w 1756407"/>
                <a:gd name="connsiteY15" fmla="*/ 312420 h 464820"/>
                <a:gd name="connsiteX16" fmla="*/ 541020 w 1756407"/>
                <a:gd name="connsiteY16" fmla="*/ 327660 h 464820"/>
                <a:gd name="connsiteX17" fmla="*/ 708660 w 1756407"/>
                <a:gd name="connsiteY17" fmla="*/ 297180 h 464820"/>
                <a:gd name="connsiteX18" fmla="*/ 1721360 w 1756407"/>
                <a:gd name="connsiteY18" fmla="*/ 52450 h 464820"/>
                <a:gd name="connsiteX0" fmla="*/ 1721360 w 1756407"/>
                <a:gd name="connsiteY0" fmla="*/ 52450 h 464820"/>
                <a:gd name="connsiteX1" fmla="*/ 1756407 w 1756407"/>
                <a:gd name="connsiteY1" fmla="*/ 215392 h 464820"/>
                <a:gd name="connsiteX2" fmla="*/ 1693928 w 1756407"/>
                <a:gd name="connsiteY2" fmla="*/ 375413 h 464820"/>
                <a:gd name="connsiteX3" fmla="*/ 1344162 w 1756407"/>
                <a:gd name="connsiteY3" fmla="*/ 291594 h 464820"/>
                <a:gd name="connsiteX4" fmla="*/ 705608 w 1756407"/>
                <a:gd name="connsiteY4" fmla="*/ 430275 h 464820"/>
                <a:gd name="connsiteX5" fmla="*/ 609600 w 1756407"/>
                <a:gd name="connsiteY5" fmla="*/ 464820 h 464820"/>
                <a:gd name="connsiteX6" fmla="*/ 449580 w 1756407"/>
                <a:gd name="connsiteY6" fmla="*/ 464820 h 464820"/>
                <a:gd name="connsiteX7" fmla="*/ 281940 w 1756407"/>
                <a:gd name="connsiteY7" fmla="*/ 426720 h 464820"/>
                <a:gd name="connsiteX8" fmla="*/ 152400 w 1756407"/>
                <a:gd name="connsiteY8" fmla="*/ 373380 h 464820"/>
                <a:gd name="connsiteX9" fmla="*/ 76200 w 1756407"/>
                <a:gd name="connsiteY9" fmla="*/ 327660 h 464820"/>
                <a:gd name="connsiteX10" fmla="*/ 7620 w 1756407"/>
                <a:gd name="connsiteY10" fmla="*/ 289560 h 464820"/>
                <a:gd name="connsiteX11" fmla="*/ 0 w 1756407"/>
                <a:gd name="connsiteY11" fmla="*/ 0 h 464820"/>
                <a:gd name="connsiteX12" fmla="*/ 60960 w 1756407"/>
                <a:gd name="connsiteY12" fmla="*/ 99060 h 464820"/>
                <a:gd name="connsiteX13" fmla="*/ 152400 w 1756407"/>
                <a:gd name="connsiteY13" fmla="*/ 190500 h 464820"/>
                <a:gd name="connsiteX14" fmla="*/ 259080 w 1756407"/>
                <a:gd name="connsiteY14" fmla="*/ 251460 h 464820"/>
                <a:gd name="connsiteX15" fmla="*/ 388620 w 1756407"/>
                <a:gd name="connsiteY15" fmla="*/ 312420 h 464820"/>
                <a:gd name="connsiteX16" fmla="*/ 541020 w 1756407"/>
                <a:gd name="connsiteY16" fmla="*/ 327660 h 464820"/>
                <a:gd name="connsiteX17" fmla="*/ 708660 w 1756407"/>
                <a:gd name="connsiteY17" fmla="*/ 297180 h 464820"/>
                <a:gd name="connsiteX18" fmla="*/ 1721360 w 1756407"/>
                <a:gd name="connsiteY18" fmla="*/ 52450 h 464820"/>
                <a:gd name="connsiteX0" fmla="*/ 1721360 w 1756407"/>
                <a:gd name="connsiteY0" fmla="*/ 52450 h 464820"/>
                <a:gd name="connsiteX1" fmla="*/ 1756407 w 1756407"/>
                <a:gd name="connsiteY1" fmla="*/ 215392 h 464820"/>
                <a:gd name="connsiteX2" fmla="*/ 1693928 w 1756407"/>
                <a:gd name="connsiteY2" fmla="*/ 375413 h 464820"/>
                <a:gd name="connsiteX3" fmla="*/ 1344162 w 1756407"/>
                <a:gd name="connsiteY3" fmla="*/ 291594 h 464820"/>
                <a:gd name="connsiteX4" fmla="*/ 707894 w 1756407"/>
                <a:gd name="connsiteY4" fmla="*/ 420622 h 464820"/>
                <a:gd name="connsiteX5" fmla="*/ 609600 w 1756407"/>
                <a:gd name="connsiteY5" fmla="*/ 464820 h 464820"/>
                <a:gd name="connsiteX6" fmla="*/ 449580 w 1756407"/>
                <a:gd name="connsiteY6" fmla="*/ 464820 h 464820"/>
                <a:gd name="connsiteX7" fmla="*/ 281940 w 1756407"/>
                <a:gd name="connsiteY7" fmla="*/ 426720 h 464820"/>
                <a:gd name="connsiteX8" fmla="*/ 152400 w 1756407"/>
                <a:gd name="connsiteY8" fmla="*/ 373380 h 464820"/>
                <a:gd name="connsiteX9" fmla="*/ 76200 w 1756407"/>
                <a:gd name="connsiteY9" fmla="*/ 327660 h 464820"/>
                <a:gd name="connsiteX10" fmla="*/ 7620 w 1756407"/>
                <a:gd name="connsiteY10" fmla="*/ 289560 h 464820"/>
                <a:gd name="connsiteX11" fmla="*/ 0 w 1756407"/>
                <a:gd name="connsiteY11" fmla="*/ 0 h 464820"/>
                <a:gd name="connsiteX12" fmla="*/ 60960 w 1756407"/>
                <a:gd name="connsiteY12" fmla="*/ 99060 h 464820"/>
                <a:gd name="connsiteX13" fmla="*/ 152400 w 1756407"/>
                <a:gd name="connsiteY13" fmla="*/ 190500 h 464820"/>
                <a:gd name="connsiteX14" fmla="*/ 259080 w 1756407"/>
                <a:gd name="connsiteY14" fmla="*/ 251460 h 464820"/>
                <a:gd name="connsiteX15" fmla="*/ 388620 w 1756407"/>
                <a:gd name="connsiteY15" fmla="*/ 312420 h 464820"/>
                <a:gd name="connsiteX16" fmla="*/ 541020 w 1756407"/>
                <a:gd name="connsiteY16" fmla="*/ 327660 h 464820"/>
                <a:gd name="connsiteX17" fmla="*/ 708660 w 1756407"/>
                <a:gd name="connsiteY17" fmla="*/ 297180 h 464820"/>
                <a:gd name="connsiteX18" fmla="*/ 1721360 w 1756407"/>
                <a:gd name="connsiteY18" fmla="*/ 52450 h 464820"/>
                <a:gd name="connsiteX0" fmla="*/ 1721360 w 1756407"/>
                <a:gd name="connsiteY0" fmla="*/ 52450 h 464820"/>
                <a:gd name="connsiteX1" fmla="*/ 1756407 w 1756407"/>
                <a:gd name="connsiteY1" fmla="*/ 215392 h 464820"/>
                <a:gd name="connsiteX2" fmla="*/ 1693928 w 1756407"/>
                <a:gd name="connsiteY2" fmla="*/ 375413 h 464820"/>
                <a:gd name="connsiteX3" fmla="*/ 1344162 w 1756407"/>
                <a:gd name="connsiteY3" fmla="*/ 291594 h 464820"/>
                <a:gd name="connsiteX4" fmla="*/ 707894 w 1756407"/>
                <a:gd name="connsiteY4" fmla="*/ 420622 h 464820"/>
                <a:gd name="connsiteX5" fmla="*/ 609600 w 1756407"/>
                <a:gd name="connsiteY5" fmla="*/ 464820 h 464820"/>
                <a:gd name="connsiteX6" fmla="*/ 449580 w 1756407"/>
                <a:gd name="connsiteY6" fmla="*/ 464820 h 464820"/>
                <a:gd name="connsiteX7" fmla="*/ 281940 w 1756407"/>
                <a:gd name="connsiteY7" fmla="*/ 426720 h 464820"/>
                <a:gd name="connsiteX8" fmla="*/ 152400 w 1756407"/>
                <a:gd name="connsiteY8" fmla="*/ 373380 h 464820"/>
                <a:gd name="connsiteX9" fmla="*/ 76200 w 1756407"/>
                <a:gd name="connsiteY9" fmla="*/ 327660 h 464820"/>
                <a:gd name="connsiteX10" fmla="*/ 7620 w 1756407"/>
                <a:gd name="connsiteY10" fmla="*/ 289560 h 464820"/>
                <a:gd name="connsiteX11" fmla="*/ 0 w 1756407"/>
                <a:gd name="connsiteY11" fmla="*/ 0 h 464820"/>
                <a:gd name="connsiteX12" fmla="*/ 60960 w 1756407"/>
                <a:gd name="connsiteY12" fmla="*/ 99060 h 464820"/>
                <a:gd name="connsiteX13" fmla="*/ 152400 w 1756407"/>
                <a:gd name="connsiteY13" fmla="*/ 190500 h 464820"/>
                <a:gd name="connsiteX14" fmla="*/ 259080 w 1756407"/>
                <a:gd name="connsiteY14" fmla="*/ 251460 h 464820"/>
                <a:gd name="connsiteX15" fmla="*/ 388620 w 1756407"/>
                <a:gd name="connsiteY15" fmla="*/ 312420 h 464820"/>
                <a:gd name="connsiteX16" fmla="*/ 541020 w 1756407"/>
                <a:gd name="connsiteY16" fmla="*/ 327660 h 464820"/>
                <a:gd name="connsiteX17" fmla="*/ 708660 w 1756407"/>
                <a:gd name="connsiteY17" fmla="*/ 297180 h 464820"/>
                <a:gd name="connsiteX18" fmla="*/ 1721360 w 1756407"/>
                <a:gd name="connsiteY18" fmla="*/ 52450 h 464820"/>
                <a:gd name="connsiteX0" fmla="*/ 1721360 w 1756407"/>
                <a:gd name="connsiteY0" fmla="*/ 52450 h 464820"/>
                <a:gd name="connsiteX1" fmla="*/ 1756407 w 1756407"/>
                <a:gd name="connsiteY1" fmla="*/ 215392 h 464820"/>
                <a:gd name="connsiteX2" fmla="*/ 1693928 w 1756407"/>
                <a:gd name="connsiteY2" fmla="*/ 375413 h 464820"/>
                <a:gd name="connsiteX3" fmla="*/ 1344162 w 1756407"/>
                <a:gd name="connsiteY3" fmla="*/ 291594 h 464820"/>
                <a:gd name="connsiteX4" fmla="*/ 707894 w 1756407"/>
                <a:gd name="connsiteY4" fmla="*/ 420622 h 464820"/>
                <a:gd name="connsiteX5" fmla="*/ 680482 w 1756407"/>
                <a:gd name="connsiteY5" fmla="*/ 457581 h 464820"/>
                <a:gd name="connsiteX6" fmla="*/ 449580 w 1756407"/>
                <a:gd name="connsiteY6" fmla="*/ 464820 h 464820"/>
                <a:gd name="connsiteX7" fmla="*/ 281940 w 1756407"/>
                <a:gd name="connsiteY7" fmla="*/ 426720 h 464820"/>
                <a:gd name="connsiteX8" fmla="*/ 152400 w 1756407"/>
                <a:gd name="connsiteY8" fmla="*/ 373380 h 464820"/>
                <a:gd name="connsiteX9" fmla="*/ 76200 w 1756407"/>
                <a:gd name="connsiteY9" fmla="*/ 327660 h 464820"/>
                <a:gd name="connsiteX10" fmla="*/ 7620 w 1756407"/>
                <a:gd name="connsiteY10" fmla="*/ 289560 h 464820"/>
                <a:gd name="connsiteX11" fmla="*/ 0 w 1756407"/>
                <a:gd name="connsiteY11" fmla="*/ 0 h 464820"/>
                <a:gd name="connsiteX12" fmla="*/ 60960 w 1756407"/>
                <a:gd name="connsiteY12" fmla="*/ 99060 h 464820"/>
                <a:gd name="connsiteX13" fmla="*/ 152400 w 1756407"/>
                <a:gd name="connsiteY13" fmla="*/ 190500 h 464820"/>
                <a:gd name="connsiteX14" fmla="*/ 259080 w 1756407"/>
                <a:gd name="connsiteY14" fmla="*/ 251460 h 464820"/>
                <a:gd name="connsiteX15" fmla="*/ 388620 w 1756407"/>
                <a:gd name="connsiteY15" fmla="*/ 312420 h 464820"/>
                <a:gd name="connsiteX16" fmla="*/ 541020 w 1756407"/>
                <a:gd name="connsiteY16" fmla="*/ 327660 h 464820"/>
                <a:gd name="connsiteX17" fmla="*/ 708660 w 1756407"/>
                <a:gd name="connsiteY17" fmla="*/ 297180 h 464820"/>
                <a:gd name="connsiteX18" fmla="*/ 1721360 w 1756407"/>
                <a:gd name="connsiteY18" fmla="*/ 52450 h 464820"/>
                <a:gd name="connsiteX0" fmla="*/ 1732792 w 1767839"/>
                <a:gd name="connsiteY0" fmla="*/ 161040 h 573410"/>
                <a:gd name="connsiteX1" fmla="*/ 1767839 w 1767839"/>
                <a:gd name="connsiteY1" fmla="*/ 323982 h 573410"/>
                <a:gd name="connsiteX2" fmla="*/ 1705360 w 1767839"/>
                <a:gd name="connsiteY2" fmla="*/ 484003 h 573410"/>
                <a:gd name="connsiteX3" fmla="*/ 1355594 w 1767839"/>
                <a:gd name="connsiteY3" fmla="*/ 400184 h 573410"/>
                <a:gd name="connsiteX4" fmla="*/ 719326 w 1767839"/>
                <a:gd name="connsiteY4" fmla="*/ 529212 h 573410"/>
                <a:gd name="connsiteX5" fmla="*/ 691914 w 1767839"/>
                <a:gd name="connsiteY5" fmla="*/ 566171 h 573410"/>
                <a:gd name="connsiteX6" fmla="*/ 461012 w 1767839"/>
                <a:gd name="connsiteY6" fmla="*/ 573410 h 573410"/>
                <a:gd name="connsiteX7" fmla="*/ 293372 w 1767839"/>
                <a:gd name="connsiteY7" fmla="*/ 535310 h 573410"/>
                <a:gd name="connsiteX8" fmla="*/ 163832 w 1767839"/>
                <a:gd name="connsiteY8" fmla="*/ 481970 h 573410"/>
                <a:gd name="connsiteX9" fmla="*/ 87632 w 1767839"/>
                <a:gd name="connsiteY9" fmla="*/ 436250 h 573410"/>
                <a:gd name="connsiteX10" fmla="*/ 19052 w 1767839"/>
                <a:gd name="connsiteY10" fmla="*/ 398150 h 573410"/>
                <a:gd name="connsiteX11" fmla="*/ 0 w 1767839"/>
                <a:gd name="connsiteY11" fmla="*/ 0 h 573410"/>
                <a:gd name="connsiteX12" fmla="*/ 72392 w 1767839"/>
                <a:gd name="connsiteY12" fmla="*/ 207650 h 573410"/>
                <a:gd name="connsiteX13" fmla="*/ 163832 w 1767839"/>
                <a:gd name="connsiteY13" fmla="*/ 299090 h 573410"/>
                <a:gd name="connsiteX14" fmla="*/ 270512 w 1767839"/>
                <a:gd name="connsiteY14" fmla="*/ 360050 h 573410"/>
                <a:gd name="connsiteX15" fmla="*/ 400052 w 1767839"/>
                <a:gd name="connsiteY15" fmla="*/ 421010 h 573410"/>
                <a:gd name="connsiteX16" fmla="*/ 552452 w 1767839"/>
                <a:gd name="connsiteY16" fmla="*/ 436250 h 573410"/>
                <a:gd name="connsiteX17" fmla="*/ 720092 w 1767839"/>
                <a:gd name="connsiteY17" fmla="*/ 405770 h 573410"/>
                <a:gd name="connsiteX18" fmla="*/ 1732792 w 1767839"/>
                <a:gd name="connsiteY18" fmla="*/ 161040 h 573410"/>
                <a:gd name="connsiteX0" fmla="*/ 1738890 w 1773937"/>
                <a:gd name="connsiteY0" fmla="*/ 161040 h 573410"/>
                <a:gd name="connsiteX1" fmla="*/ 1773937 w 1773937"/>
                <a:gd name="connsiteY1" fmla="*/ 323982 h 573410"/>
                <a:gd name="connsiteX2" fmla="*/ 1711458 w 1773937"/>
                <a:gd name="connsiteY2" fmla="*/ 484003 h 573410"/>
                <a:gd name="connsiteX3" fmla="*/ 1361692 w 1773937"/>
                <a:gd name="connsiteY3" fmla="*/ 400184 h 573410"/>
                <a:gd name="connsiteX4" fmla="*/ 725424 w 1773937"/>
                <a:gd name="connsiteY4" fmla="*/ 529212 h 573410"/>
                <a:gd name="connsiteX5" fmla="*/ 698012 w 1773937"/>
                <a:gd name="connsiteY5" fmla="*/ 566171 h 573410"/>
                <a:gd name="connsiteX6" fmla="*/ 467110 w 1773937"/>
                <a:gd name="connsiteY6" fmla="*/ 573410 h 573410"/>
                <a:gd name="connsiteX7" fmla="*/ 299470 w 1773937"/>
                <a:gd name="connsiteY7" fmla="*/ 535310 h 573410"/>
                <a:gd name="connsiteX8" fmla="*/ 169930 w 1773937"/>
                <a:gd name="connsiteY8" fmla="*/ 481970 h 573410"/>
                <a:gd name="connsiteX9" fmla="*/ 93730 w 1773937"/>
                <a:gd name="connsiteY9" fmla="*/ 436250 h 573410"/>
                <a:gd name="connsiteX10" fmla="*/ 0 w 1773937"/>
                <a:gd name="connsiteY10" fmla="*/ 383671 h 573410"/>
                <a:gd name="connsiteX11" fmla="*/ 6098 w 1773937"/>
                <a:gd name="connsiteY11" fmla="*/ 0 h 573410"/>
                <a:gd name="connsiteX12" fmla="*/ 78490 w 1773937"/>
                <a:gd name="connsiteY12" fmla="*/ 207650 h 573410"/>
                <a:gd name="connsiteX13" fmla="*/ 169930 w 1773937"/>
                <a:gd name="connsiteY13" fmla="*/ 299090 h 573410"/>
                <a:gd name="connsiteX14" fmla="*/ 276610 w 1773937"/>
                <a:gd name="connsiteY14" fmla="*/ 360050 h 573410"/>
                <a:gd name="connsiteX15" fmla="*/ 406150 w 1773937"/>
                <a:gd name="connsiteY15" fmla="*/ 421010 h 573410"/>
                <a:gd name="connsiteX16" fmla="*/ 558550 w 1773937"/>
                <a:gd name="connsiteY16" fmla="*/ 436250 h 573410"/>
                <a:gd name="connsiteX17" fmla="*/ 726190 w 1773937"/>
                <a:gd name="connsiteY17" fmla="*/ 405770 h 573410"/>
                <a:gd name="connsiteX18" fmla="*/ 1738890 w 1773937"/>
                <a:gd name="connsiteY18" fmla="*/ 161040 h 573410"/>
                <a:gd name="connsiteX0" fmla="*/ 1738890 w 1773937"/>
                <a:gd name="connsiteY0" fmla="*/ 161040 h 573410"/>
                <a:gd name="connsiteX1" fmla="*/ 1773937 w 1773937"/>
                <a:gd name="connsiteY1" fmla="*/ 323982 h 573410"/>
                <a:gd name="connsiteX2" fmla="*/ 1711458 w 1773937"/>
                <a:gd name="connsiteY2" fmla="*/ 484003 h 573410"/>
                <a:gd name="connsiteX3" fmla="*/ 1361692 w 1773937"/>
                <a:gd name="connsiteY3" fmla="*/ 400184 h 573410"/>
                <a:gd name="connsiteX4" fmla="*/ 725424 w 1773937"/>
                <a:gd name="connsiteY4" fmla="*/ 529212 h 573410"/>
                <a:gd name="connsiteX5" fmla="*/ 698012 w 1773937"/>
                <a:gd name="connsiteY5" fmla="*/ 566171 h 573410"/>
                <a:gd name="connsiteX6" fmla="*/ 467110 w 1773937"/>
                <a:gd name="connsiteY6" fmla="*/ 573410 h 573410"/>
                <a:gd name="connsiteX7" fmla="*/ 299470 w 1773937"/>
                <a:gd name="connsiteY7" fmla="*/ 535310 h 573410"/>
                <a:gd name="connsiteX8" fmla="*/ 169930 w 1773937"/>
                <a:gd name="connsiteY8" fmla="*/ 481970 h 573410"/>
                <a:gd name="connsiteX9" fmla="*/ 93730 w 1773937"/>
                <a:gd name="connsiteY9" fmla="*/ 436250 h 573410"/>
                <a:gd name="connsiteX10" fmla="*/ 0 w 1773937"/>
                <a:gd name="connsiteY10" fmla="*/ 383671 h 573410"/>
                <a:gd name="connsiteX11" fmla="*/ 6098 w 1773937"/>
                <a:gd name="connsiteY11" fmla="*/ 0 h 573410"/>
                <a:gd name="connsiteX12" fmla="*/ 78490 w 1773937"/>
                <a:gd name="connsiteY12" fmla="*/ 207650 h 573410"/>
                <a:gd name="connsiteX13" fmla="*/ 169930 w 1773937"/>
                <a:gd name="connsiteY13" fmla="*/ 299090 h 573410"/>
                <a:gd name="connsiteX14" fmla="*/ 276610 w 1773937"/>
                <a:gd name="connsiteY14" fmla="*/ 360050 h 573410"/>
                <a:gd name="connsiteX15" fmla="*/ 406150 w 1773937"/>
                <a:gd name="connsiteY15" fmla="*/ 421010 h 573410"/>
                <a:gd name="connsiteX16" fmla="*/ 558550 w 1773937"/>
                <a:gd name="connsiteY16" fmla="*/ 436250 h 573410"/>
                <a:gd name="connsiteX17" fmla="*/ 806217 w 1773937"/>
                <a:gd name="connsiteY17" fmla="*/ 347855 h 573410"/>
                <a:gd name="connsiteX18" fmla="*/ 1738890 w 1773937"/>
                <a:gd name="connsiteY18" fmla="*/ 161040 h 573410"/>
                <a:gd name="connsiteX0" fmla="*/ 1738890 w 1773937"/>
                <a:gd name="connsiteY0" fmla="*/ 161040 h 573410"/>
                <a:gd name="connsiteX1" fmla="*/ 1773937 w 1773937"/>
                <a:gd name="connsiteY1" fmla="*/ 323982 h 573410"/>
                <a:gd name="connsiteX2" fmla="*/ 1711458 w 1773937"/>
                <a:gd name="connsiteY2" fmla="*/ 484003 h 573410"/>
                <a:gd name="connsiteX3" fmla="*/ 1361692 w 1773937"/>
                <a:gd name="connsiteY3" fmla="*/ 400184 h 573410"/>
                <a:gd name="connsiteX4" fmla="*/ 725424 w 1773937"/>
                <a:gd name="connsiteY4" fmla="*/ 529212 h 573410"/>
                <a:gd name="connsiteX5" fmla="*/ 698012 w 1773937"/>
                <a:gd name="connsiteY5" fmla="*/ 566171 h 573410"/>
                <a:gd name="connsiteX6" fmla="*/ 467110 w 1773937"/>
                <a:gd name="connsiteY6" fmla="*/ 573410 h 573410"/>
                <a:gd name="connsiteX7" fmla="*/ 299470 w 1773937"/>
                <a:gd name="connsiteY7" fmla="*/ 535310 h 573410"/>
                <a:gd name="connsiteX8" fmla="*/ 169930 w 1773937"/>
                <a:gd name="connsiteY8" fmla="*/ 481970 h 573410"/>
                <a:gd name="connsiteX9" fmla="*/ 93730 w 1773937"/>
                <a:gd name="connsiteY9" fmla="*/ 436250 h 573410"/>
                <a:gd name="connsiteX10" fmla="*/ 0 w 1773937"/>
                <a:gd name="connsiteY10" fmla="*/ 383671 h 573410"/>
                <a:gd name="connsiteX11" fmla="*/ 6098 w 1773937"/>
                <a:gd name="connsiteY11" fmla="*/ 0 h 573410"/>
                <a:gd name="connsiteX12" fmla="*/ 78490 w 1773937"/>
                <a:gd name="connsiteY12" fmla="*/ 207650 h 573410"/>
                <a:gd name="connsiteX13" fmla="*/ 169930 w 1773937"/>
                <a:gd name="connsiteY13" fmla="*/ 299090 h 573410"/>
                <a:gd name="connsiteX14" fmla="*/ 276610 w 1773937"/>
                <a:gd name="connsiteY14" fmla="*/ 360050 h 573410"/>
                <a:gd name="connsiteX15" fmla="*/ 406150 w 1773937"/>
                <a:gd name="connsiteY15" fmla="*/ 421010 h 573410"/>
                <a:gd name="connsiteX16" fmla="*/ 606566 w 1773937"/>
                <a:gd name="connsiteY16" fmla="*/ 385575 h 573410"/>
                <a:gd name="connsiteX17" fmla="*/ 806217 w 1773937"/>
                <a:gd name="connsiteY17" fmla="*/ 347855 h 573410"/>
                <a:gd name="connsiteX18" fmla="*/ 1738890 w 1773937"/>
                <a:gd name="connsiteY18" fmla="*/ 161040 h 573410"/>
                <a:gd name="connsiteX0" fmla="*/ 1738890 w 1773937"/>
                <a:gd name="connsiteY0" fmla="*/ 161040 h 573410"/>
                <a:gd name="connsiteX1" fmla="*/ 1773937 w 1773937"/>
                <a:gd name="connsiteY1" fmla="*/ 323982 h 573410"/>
                <a:gd name="connsiteX2" fmla="*/ 1711458 w 1773937"/>
                <a:gd name="connsiteY2" fmla="*/ 484003 h 573410"/>
                <a:gd name="connsiteX3" fmla="*/ 1361692 w 1773937"/>
                <a:gd name="connsiteY3" fmla="*/ 400184 h 573410"/>
                <a:gd name="connsiteX4" fmla="*/ 725424 w 1773937"/>
                <a:gd name="connsiteY4" fmla="*/ 529212 h 573410"/>
                <a:gd name="connsiteX5" fmla="*/ 698012 w 1773937"/>
                <a:gd name="connsiteY5" fmla="*/ 566171 h 573410"/>
                <a:gd name="connsiteX6" fmla="*/ 467110 w 1773937"/>
                <a:gd name="connsiteY6" fmla="*/ 573410 h 573410"/>
                <a:gd name="connsiteX7" fmla="*/ 299470 w 1773937"/>
                <a:gd name="connsiteY7" fmla="*/ 535310 h 573410"/>
                <a:gd name="connsiteX8" fmla="*/ 169930 w 1773937"/>
                <a:gd name="connsiteY8" fmla="*/ 481970 h 573410"/>
                <a:gd name="connsiteX9" fmla="*/ 93730 w 1773937"/>
                <a:gd name="connsiteY9" fmla="*/ 436250 h 573410"/>
                <a:gd name="connsiteX10" fmla="*/ 0 w 1773937"/>
                <a:gd name="connsiteY10" fmla="*/ 383671 h 573410"/>
                <a:gd name="connsiteX11" fmla="*/ 6098 w 1773937"/>
                <a:gd name="connsiteY11" fmla="*/ 0 h 573410"/>
                <a:gd name="connsiteX12" fmla="*/ 78490 w 1773937"/>
                <a:gd name="connsiteY12" fmla="*/ 207650 h 573410"/>
                <a:gd name="connsiteX13" fmla="*/ 169930 w 1773937"/>
                <a:gd name="connsiteY13" fmla="*/ 299090 h 573410"/>
                <a:gd name="connsiteX14" fmla="*/ 276610 w 1773937"/>
                <a:gd name="connsiteY14" fmla="*/ 360050 h 573410"/>
                <a:gd name="connsiteX15" fmla="*/ 406150 w 1773937"/>
                <a:gd name="connsiteY15" fmla="*/ 421010 h 573410"/>
                <a:gd name="connsiteX16" fmla="*/ 606566 w 1773937"/>
                <a:gd name="connsiteY16" fmla="*/ 385575 h 573410"/>
                <a:gd name="connsiteX17" fmla="*/ 806217 w 1773937"/>
                <a:gd name="connsiteY17" fmla="*/ 347855 h 573410"/>
                <a:gd name="connsiteX18" fmla="*/ 1738890 w 1773937"/>
                <a:gd name="connsiteY18" fmla="*/ 161040 h 573410"/>
                <a:gd name="connsiteX0" fmla="*/ 1738890 w 1773937"/>
                <a:gd name="connsiteY0" fmla="*/ 161040 h 573410"/>
                <a:gd name="connsiteX1" fmla="*/ 1773937 w 1773937"/>
                <a:gd name="connsiteY1" fmla="*/ 323982 h 573410"/>
                <a:gd name="connsiteX2" fmla="*/ 1711458 w 1773937"/>
                <a:gd name="connsiteY2" fmla="*/ 484003 h 573410"/>
                <a:gd name="connsiteX3" fmla="*/ 1361692 w 1773937"/>
                <a:gd name="connsiteY3" fmla="*/ 400184 h 573410"/>
                <a:gd name="connsiteX4" fmla="*/ 725424 w 1773937"/>
                <a:gd name="connsiteY4" fmla="*/ 529212 h 573410"/>
                <a:gd name="connsiteX5" fmla="*/ 698012 w 1773937"/>
                <a:gd name="connsiteY5" fmla="*/ 566171 h 573410"/>
                <a:gd name="connsiteX6" fmla="*/ 467110 w 1773937"/>
                <a:gd name="connsiteY6" fmla="*/ 573410 h 573410"/>
                <a:gd name="connsiteX7" fmla="*/ 299470 w 1773937"/>
                <a:gd name="connsiteY7" fmla="*/ 535310 h 573410"/>
                <a:gd name="connsiteX8" fmla="*/ 169930 w 1773937"/>
                <a:gd name="connsiteY8" fmla="*/ 481970 h 573410"/>
                <a:gd name="connsiteX9" fmla="*/ 93730 w 1773937"/>
                <a:gd name="connsiteY9" fmla="*/ 436250 h 573410"/>
                <a:gd name="connsiteX10" fmla="*/ 0 w 1773937"/>
                <a:gd name="connsiteY10" fmla="*/ 383671 h 573410"/>
                <a:gd name="connsiteX11" fmla="*/ 6098 w 1773937"/>
                <a:gd name="connsiteY11" fmla="*/ 0 h 573410"/>
                <a:gd name="connsiteX12" fmla="*/ 78490 w 1773937"/>
                <a:gd name="connsiteY12" fmla="*/ 207650 h 573410"/>
                <a:gd name="connsiteX13" fmla="*/ 169930 w 1773937"/>
                <a:gd name="connsiteY13" fmla="*/ 299090 h 573410"/>
                <a:gd name="connsiteX14" fmla="*/ 276610 w 1773937"/>
                <a:gd name="connsiteY14" fmla="*/ 360050 h 573410"/>
                <a:gd name="connsiteX15" fmla="*/ 413010 w 1773937"/>
                <a:gd name="connsiteY15" fmla="*/ 389640 h 573410"/>
                <a:gd name="connsiteX16" fmla="*/ 606566 w 1773937"/>
                <a:gd name="connsiteY16" fmla="*/ 385575 h 573410"/>
                <a:gd name="connsiteX17" fmla="*/ 806217 w 1773937"/>
                <a:gd name="connsiteY17" fmla="*/ 347855 h 573410"/>
                <a:gd name="connsiteX18" fmla="*/ 1738890 w 1773937"/>
                <a:gd name="connsiteY18" fmla="*/ 161040 h 573410"/>
                <a:gd name="connsiteX0" fmla="*/ 1738890 w 1773937"/>
                <a:gd name="connsiteY0" fmla="*/ 161040 h 573410"/>
                <a:gd name="connsiteX1" fmla="*/ 1773937 w 1773937"/>
                <a:gd name="connsiteY1" fmla="*/ 323982 h 573410"/>
                <a:gd name="connsiteX2" fmla="*/ 1711458 w 1773937"/>
                <a:gd name="connsiteY2" fmla="*/ 484003 h 573410"/>
                <a:gd name="connsiteX3" fmla="*/ 1361692 w 1773937"/>
                <a:gd name="connsiteY3" fmla="*/ 400184 h 573410"/>
                <a:gd name="connsiteX4" fmla="*/ 725424 w 1773937"/>
                <a:gd name="connsiteY4" fmla="*/ 529212 h 573410"/>
                <a:gd name="connsiteX5" fmla="*/ 698012 w 1773937"/>
                <a:gd name="connsiteY5" fmla="*/ 566171 h 573410"/>
                <a:gd name="connsiteX6" fmla="*/ 467110 w 1773937"/>
                <a:gd name="connsiteY6" fmla="*/ 573410 h 573410"/>
                <a:gd name="connsiteX7" fmla="*/ 299470 w 1773937"/>
                <a:gd name="connsiteY7" fmla="*/ 535310 h 573410"/>
                <a:gd name="connsiteX8" fmla="*/ 169930 w 1773937"/>
                <a:gd name="connsiteY8" fmla="*/ 481970 h 573410"/>
                <a:gd name="connsiteX9" fmla="*/ 93730 w 1773937"/>
                <a:gd name="connsiteY9" fmla="*/ 436250 h 573410"/>
                <a:gd name="connsiteX10" fmla="*/ 0 w 1773937"/>
                <a:gd name="connsiteY10" fmla="*/ 383671 h 573410"/>
                <a:gd name="connsiteX11" fmla="*/ 6098 w 1773937"/>
                <a:gd name="connsiteY11" fmla="*/ 0 h 573410"/>
                <a:gd name="connsiteX12" fmla="*/ 78490 w 1773937"/>
                <a:gd name="connsiteY12" fmla="*/ 207650 h 573410"/>
                <a:gd name="connsiteX13" fmla="*/ 169930 w 1773937"/>
                <a:gd name="connsiteY13" fmla="*/ 299090 h 573410"/>
                <a:gd name="connsiteX14" fmla="*/ 276610 w 1773937"/>
                <a:gd name="connsiteY14" fmla="*/ 360050 h 573410"/>
                <a:gd name="connsiteX15" fmla="*/ 413010 w 1773937"/>
                <a:gd name="connsiteY15" fmla="*/ 389640 h 573410"/>
                <a:gd name="connsiteX16" fmla="*/ 606566 w 1773937"/>
                <a:gd name="connsiteY16" fmla="*/ 385575 h 573410"/>
                <a:gd name="connsiteX17" fmla="*/ 806217 w 1773937"/>
                <a:gd name="connsiteY17" fmla="*/ 347855 h 573410"/>
                <a:gd name="connsiteX18" fmla="*/ 1738890 w 1773937"/>
                <a:gd name="connsiteY18" fmla="*/ 161040 h 573410"/>
                <a:gd name="connsiteX0" fmla="*/ 1738890 w 1773937"/>
                <a:gd name="connsiteY0" fmla="*/ 161040 h 573410"/>
                <a:gd name="connsiteX1" fmla="*/ 1773937 w 1773937"/>
                <a:gd name="connsiteY1" fmla="*/ 323982 h 573410"/>
                <a:gd name="connsiteX2" fmla="*/ 1711458 w 1773937"/>
                <a:gd name="connsiteY2" fmla="*/ 484003 h 573410"/>
                <a:gd name="connsiteX3" fmla="*/ 1361692 w 1773937"/>
                <a:gd name="connsiteY3" fmla="*/ 400184 h 573410"/>
                <a:gd name="connsiteX4" fmla="*/ 725424 w 1773937"/>
                <a:gd name="connsiteY4" fmla="*/ 529212 h 573410"/>
                <a:gd name="connsiteX5" fmla="*/ 698012 w 1773937"/>
                <a:gd name="connsiteY5" fmla="*/ 566171 h 573410"/>
                <a:gd name="connsiteX6" fmla="*/ 467110 w 1773937"/>
                <a:gd name="connsiteY6" fmla="*/ 573410 h 573410"/>
                <a:gd name="connsiteX7" fmla="*/ 299470 w 1773937"/>
                <a:gd name="connsiteY7" fmla="*/ 535310 h 573410"/>
                <a:gd name="connsiteX8" fmla="*/ 169930 w 1773937"/>
                <a:gd name="connsiteY8" fmla="*/ 481970 h 573410"/>
                <a:gd name="connsiteX9" fmla="*/ 93730 w 1773937"/>
                <a:gd name="connsiteY9" fmla="*/ 436250 h 573410"/>
                <a:gd name="connsiteX10" fmla="*/ 0 w 1773937"/>
                <a:gd name="connsiteY10" fmla="*/ 383671 h 573410"/>
                <a:gd name="connsiteX11" fmla="*/ 6098 w 1773937"/>
                <a:gd name="connsiteY11" fmla="*/ 0 h 573410"/>
                <a:gd name="connsiteX12" fmla="*/ 78490 w 1773937"/>
                <a:gd name="connsiteY12" fmla="*/ 207650 h 573410"/>
                <a:gd name="connsiteX13" fmla="*/ 169930 w 1773937"/>
                <a:gd name="connsiteY13" fmla="*/ 299090 h 573410"/>
                <a:gd name="connsiteX14" fmla="*/ 276610 w 1773937"/>
                <a:gd name="connsiteY14" fmla="*/ 360050 h 573410"/>
                <a:gd name="connsiteX15" fmla="*/ 413010 w 1773937"/>
                <a:gd name="connsiteY15" fmla="*/ 389640 h 573410"/>
                <a:gd name="connsiteX16" fmla="*/ 606566 w 1773937"/>
                <a:gd name="connsiteY16" fmla="*/ 385575 h 573410"/>
                <a:gd name="connsiteX17" fmla="*/ 806217 w 1773937"/>
                <a:gd name="connsiteY17" fmla="*/ 347855 h 573410"/>
                <a:gd name="connsiteX18" fmla="*/ 1738890 w 1773937"/>
                <a:gd name="connsiteY18" fmla="*/ 161040 h 573410"/>
                <a:gd name="connsiteX0" fmla="*/ 1738890 w 1773937"/>
                <a:gd name="connsiteY0" fmla="*/ 161040 h 573410"/>
                <a:gd name="connsiteX1" fmla="*/ 1773937 w 1773937"/>
                <a:gd name="connsiteY1" fmla="*/ 323982 h 573410"/>
                <a:gd name="connsiteX2" fmla="*/ 1711458 w 1773937"/>
                <a:gd name="connsiteY2" fmla="*/ 484003 h 573410"/>
                <a:gd name="connsiteX3" fmla="*/ 1361692 w 1773937"/>
                <a:gd name="connsiteY3" fmla="*/ 400184 h 573410"/>
                <a:gd name="connsiteX4" fmla="*/ 725424 w 1773937"/>
                <a:gd name="connsiteY4" fmla="*/ 529212 h 573410"/>
                <a:gd name="connsiteX5" fmla="*/ 698012 w 1773937"/>
                <a:gd name="connsiteY5" fmla="*/ 566171 h 573410"/>
                <a:gd name="connsiteX6" fmla="*/ 467110 w 1773937"/>
                <a:gd name="connsiteY6" fmla="*/ 573410 h 573410"/>
                <a:gd name="connsiteX7" fmla="*/ 299470 w 1773937"/>
                <a:gd name="connsiteY7" fmla="*/ 535310 h 573410"/>
                <a:gd name="connsiteX8" fmla="*/ 169930 w 1773937"/>
                <a:gd name="connsiteY8" fmla="*/ 481970 h 573410"/>
                <a:gd name="connsiteX9" fmla="*/ 93730 w 1773937"/>
                <a:gd name="connsiteY9" fmla="*/ 436250 h 573410"/>
                <a:gd name="connsiteX10" fmla="*/ 0 w 1773937"/>
                <a:gd name="connsiteY10" fmla="*/ 383671 h 573410"/>
                <a:gd name="connsiteX11" fmla="*/ 6098 w 1773937"/>
                <a:gd name="connsiteY11" fmla="*/ 0 h 573410"/>
                <a:gd name="connsiteX12" fmla="*/ 78490 w 1773937"/>
                <a:gd name="connsiteY12" fmla="*/ 207650 h 573410"/>
                <a:gd name="connsiteX13" fmla="*/ 169930 w 1773937"/>
                <a:gd name="connsiteY13" fmla="*/ 299090 h 573410"/>
                <a:gd name="connsiteX14" fmla="*/ 276610 w 1773937"/>
                <a:gd name="connsiteY14" fmla="*/ 360050 h 573410"/>
                <a:gd name="connsiteX15" fmla="*/ 413010 w 1773937"/>
                <a:gd name="connsiteY15" fmla="*/ 389640 h 573410"/>
                <a:gd name="connsiteX16" fmla="*/ 606566 w 1773937"/>
                <a:gd name="connsiteY16" fmla="*/ 385575 h 573410"/>
                <a:gd name="connsiteX17" fmla="*/ 806217 w 1773937"/>
                <a:gd name="connsiteY17" fmla="*/ 347855 h 573410"/>
                <a:gd name="connsiteX18" fmla="*/ 1738890 w 1773937"/>
                <a:gd name="connsiteY18" fmla="*/ 161040 h 573410"/>
                <a:gd name="connsiteX0" fmla="*/ 1738890 w 1773937"/>
                <a:gd name="connsiteY0" fmla="*/ 161040 h 573410"/>
                <a:gd name="connsiteX1" fmla="*/ 1773937 w 1773937"/>
                <a:gd name="connsiteY1" fmla="*/ 323982 h 573410"/>
                <a:gd name="connsiteX2" fmla="*/ 1711458 w 1773937"/>
                <a:gd name="connsiteY2" fmla="*/ 484003 h 573410"/>
                <a:gd name="connsiteX3" fmla="*/ 1361692 w 1773937"/>
                <a:gd name="connsiteY3" fmla="*/ 400184 h 573410"/>
                <a:gd name="connsiteX4" fmla="*/ 725424 w 1773937"/>
                <a:gd name="connsiteY4" fmla="*/ 529212 h 573410"/>
                <a:gd name="connsiteX5" fmla="*/ 698012 w 1773937"/>
                <a:gd name="connsiteY5" fmla="*/ 566171 h 573410"/>
                <a:gd name="connsiteX6" fmla="*/ 467110 w 1773937"/>
                <a:gd name="connsiteY6" fmla="*/ 573410 h 573410"/>
                <a:gd name="connsiteX7" fmla="*/ 299470 w 1773937"/>
                <a:gd name="connsiteY7" fmla="*/ 535310 h 573410"/>
                <a:gd name="connsiteX8" fmla="*/ 169930 w 1773937"/>
                <a:gd name="connsiteY8" fmla="*/ 481970 h 573410"/>
                <a:gd name="connsiteX9" fmla="*/ 93730 w 1773937"/>
                <a:gd name="connsiteY9" fmla="*/ 436250 h 573410"/>
                <a:gd name="connsiteX10" fmla="*/ 0 w 1773937"/>
                <a:gd name="connsiteY10" fmla="*/ 383671 h 573410"/>
                <a:gd name="connsiteX11" fmla="*/ 6098 w 1773937"/>
                <a:gd name="connsiteY11" fmla="*/ 0 h 573410"/>
                <a:gd name="connsiteX12" fmla="*/ 44194 w 1773937"/>
                <a:gd name="connsiteY12" fmla="*/ 123190 h 573410"/>
                <a:gd name="connsiteX13" fmla="*/ 169930 w 1773937"/>
                <a:gd name="connsiteY13" fmla="*/ 299090 h 573410"/>
                <a:gd name="connsiteX14" fmla="*/ 276610 w 1773937"/>
                <a:gd name="connsiteY14" fmla="*/ 360050 h 573410"/>
                <a:gd name="connsiteX15" fmla="*/ 413010 w 1773937"/>
                <a:gd name="connsiteY15" fmla="*/ 389640 h 573410"/>
                <a:gd name="connsiteX16" fmla="*/ 606566 w 1773937"/>
                <a:gd name="connsiteY16" fmla="*/ 385575 h 573410"/>
                <a:gd name="connsiteX17" fmla="*/ 806217 w 1773937"/>
                <a:gd name="connsiteY17" fmla="*/ 347855 h 573410"/>
                <a:gd name="connsiteX18" fmla="*/ 1738890 w 1773937"/>
                <a:gd name="connsiteY18" fmla="*/ 161040 h 573410"/>
                <a:gd name="connsiteX0" fmla="*/ 1738890 w 1773937"/>
                <a:gd name="connsiteY0" fmla="*/ 161040 h 573410"/>
                <a:gd name="connsiteX1" fmla="*/ 1773937 w 1773937"/>
                <a:gd name="connsiteY1" fmla="*/ 323982 h 573410"/>
                <a:gd name="connsiteX2" fmla="*/ 1711458 w 1773937"/>
                <a:gd name="connsiteY2" fmla="*/ 484003 h 573410"/>
                <a:gd name="connsiteX3" fmla="*/ 1361692 w 1773937"/>
                <a:gd name="connsiteY3" fmla="*/ 400184 h 573410"/>
                <a:gd name="connsiteX4" fmla="*/ 725424 w 1773937"/>
                <a:gd name="connsiteY4" fmla="*/ 529212 h 573410"/>
                <a:gd name="connsiteX5" fmla="*/ 698012 w 1773937"/>
                <a:gd name="connsiteY5" fmla="*/ 566171 h 573410"/>
                <a:gd name="connsiteX6" fmla="*/ 467110 w 1773937"/>
                <a:gd name="connsiteY6" fmla="*/ 573410 h 573410"/>
                <a:gd name="connsiteX7" fmla="*/ 299470 w 1773937"/>
                <a:gd name="connsiteY7" fmla="*/ 535310 h 573410"/>
                <a:gd name="connsiteX8" fmla="*/ 169930 w 1773937"/>
                <a:gd name="connsiteY8" fmla="*/ 481970 h 573410"/>
                <a:gd name="connsiteX9" fmla="*/ 93730 w 1773937"/>
                <a:gd name="connsiteY9" fmla="*/ 436250 h 573410"/>
                <a:gd name="connsiteX10" fmla="*/ 0 w 1773937"/>
                <a:gd name="connsiteY10" fmla="*/ 383671 h 573410"/>
                <a:gd name="connsiteX11" fmla="*/ 6098 w 1773937"/>
                <a:gd name="connsiteY11" fmla="*/ 0 h 573410"/>
                <a:gd name="connsiteX12" fmla="*/ 44194 w 1773937"/>
                <a:gd name="connsiteY12" fmla="*/ 123190 h 573410"/>
                <a:gd name="connsiteX13" fmla="*/ 169930 w 1773937"/>
                <a:gd name="connsiteY13" fmla="*/ 299090 h 573410"/>
                <a:gd name="connsiteX14" fmla="*/ 276610 w 1773937"/>
                <a:gd name="connsiteY14" fmla="*/ 360050 h 573410"/>
                <a:gd name="connsiteX15" fmla="*/ 413010 w 1773937"/>
                <a:gd name="connsiteY15" fmla="*/ 389640 h 573410"/>
                <a:gd name="connsiteX16" fmla="*/ 606566 w 1773937"/>
                <a:gd name="connsiteY16" fmla="*/ 385575 h 573410"/>
                <a:gd name="connsiteX17" fmla="*/ 806217 w 1773937"/>
                <a:gd name="connsiteY17" fmla="*/ 347855 h 573410"/>
                <a:gd name="connsiteX18" fmla="*/ 1738890 w 1773937"/>
                <a:gd name="connsiteY18" fmla="*/ 161040 h 573410"/>
                <a:gd name="connsiteX0" fmla="*/ 1738890 w 1773937"/>
                <a:gd name="connsiteY0" fmla="*/ 161040 h 573410"/>
                <a:gd name="connsiteX1" fmla="*/ 1773937 w 1773937"/>
                <a:gd name="connsiteY1" fmla="*/ 323982 h 573410"/>
                <a:gd name="connsiteX2" fmla="*/ 1711458 w 1773937"/>
                <a:gd name="connsiteY2" fmla="*/ 484003 h 573410"/>
                <a:gd name="connsiteX3" fmla="*/ 1361692 w 1773937"/>
                <a:gd name="connsiteY3" fmla="*/ 400184 h 573410"/>
                <a:gd name="connsiteX4" fmla="*/ 725424 w 1773937"/>
                <a:gd name="connsiteY4" fmla="*/ 529212 h 573410"/>
                <a:gd name="connsiteX5" fmla="*/ 698012 w 1773937"/>
                <a:gd name="connsiteY5" fmla="*/ 566171 h 573410"/>
                <a:gd name="connsiteX6" fmla="*/ 467110 w 1773937"/>
                <a:gd name="connsiteY6" fmla="*/ 573410 h 573410"/>
                <a:gd name="connsiteX7" fmla="*/ 299470 w 1773937"/>
                <a:gd name="connsiteY7" fmla="*/ 535310 h 573410"/>
                <a:gd name="connsiteX8" fmla="*/ 169930 w 1773937"/>
                <a:gd name="connsiteY8" fmla="*/ 481970 h 573410"/>
                <a:gd name="connsiteX9" fmla="*/ 93730 w 1773937"/>
                <a:gd name="connsiteY9" fmla="*/ 436250 h 573410"/>
                <a:gd name="connsiteX10" fmla="*/ 0 w 1773937"/>
                <a:gd name="connsiteY10" fmla="*/ 383671 h 573410"/>
                <a:gd name="connsiteX11" fmla="*/ 6098 w 1773937"/>
                <a:gd name="connsiteY11" fmla="*/ 0 h 573410"/>
                <a:gd name="connsiteX12" fmla="*/ 44194 w 1773937"/>
                <a:gd name="connsiteY12" fmla="*/ 123190 h 573410"/>
                <a:gd name="connsiteX13" fmla="*/ 276610 w 1773937"/>
                <a:gd name="connsiteY13" fmla="*/ 360050 h 573410"/>
                <a:gd name="connsiteX14" fmla="*/ 413010 w 1773937"/>
                <a:gd name="connsiteY14" fmla="*/ 389640 h 573410"/>
                <a:gd name="connsiteX15" fmla="*/ 606566 w 1773937"/>
                <a:gd name="connsiteY15" fmla="*/ 385575 h 573410"/>
                <a:gd name="connsiteX16" fmla="*/ 806217 w 1773937"/>
                <a:gd name="connsiteY16" fmla="*/ 347855 h 573410"/>
                <a:gd name="connsiteX17" fmla="*/ 1738890 w 1773937"/>
                <a:gd name="connsiteY17" fmla="*/ 161040 h 573410"/>
                <a:gd name="connsiteX0" fmla="*/ 1738890 w 1773937"/>
                <a:gd name="connsiteY0" fmla="*/ 161040 h 573410"/>
                <a:gd name="connsiteX1" fmla="*/ 1773937 w 1773937"/>
                <a:gd name="connsiteY1" fmla="*/ 323982 h 573410"/>
                <a:gd name="connsiteX2" fmla="*/ 1711458 w 1773937"/>
                <a:gd name="connsiteY2" fmla="*/ 484003 h 573410"/>
                <a:gd name="connsiteX3" fmla="*/ 1361692 w 1773937"/>
                <a:gd name="connsiteY3" fmla="*/ 400184 h 573410"/>
                <a:gd name="connsiteX4" fmla="*/ 725424 w 1773937"/>
                <a:gd name="connsiteY4" fmla="*/ 529212 h 573410"/>
                <a:gd name="connsiteX5" fmla="*/ 698012 w 1773937"/>
                <a:gd name="connsiteY5" fmla="*/ 566171 h 573410"/>
                <a:gd name="connsiteX6" fmla="*/ 467110 w 1773937"/>
                <a:gd name="connsiteY6" fmla="*/ 573410 h 573410"/>
                <a:gd name="connsiteX7" fmla="*/ 299470 w 1773937"/>
                <a:gd name="connsiteY7" fmla="*/ 535310 h 573410"/>
                <a:gd name="connsiteX8" fmla="*/ 169930 w 1773937"/>
                <a:gd name="connsiteY8" fmla="*/ 481970 h 573410"/>
                <a:gd name="connsiteX9" fmla="*/ 93730 w 1773937"/>
                <a:gd name="connsiteY9" fmla="*/ 436250 h 573410"/>
                <a:gd name="connsiteX10" fmla="*/ 0 w 1773937"/>
                <a:gd name="connsiteY10" fmla="*/ 383671 h 573410"/>
                <a:gd name="connsiteX11" fmla="*/ 6098 w 1773937"/>
                <a:gd name="connsiteY11" fmla="*/ 0 h 573410"/>
                <a:gd name="connsiteX12" fmla="*/ 44194 w 1773937"/>
                <a:gd name="connsiteY12" fmla="*/ 123190 h 573410"/>
                <a:gd name="connsiteX13" fmla="*/ 413010 w 1773937"/>
                <a:gd name="connsiteY13" fmla="*/ 389640 h 573410"/>
                <a:gd name="connsiteX14" fmla="*/ 606566 w 1773937"/>
                <a:gd name="connsiteY14" fmla="*/ 385575 h 573410"/>
                <a:gd name="connsiteX15" fmla="*/ 806217 w 1773937"/>
                <a:gd name="connsiteY15" fmla="*/ 347855 h 573410"/>
                <a:gd name="connsiteX16" fmla="*/ 1738890 w 1773937"/>
                <a:gd name="connsiteY16" fmla="*/ 161040 h 573410"/>
                <a:gd name="connsiteX0" fmla="*/ 1738890 w 1773937"/>
                <a:gd name="connsiteY0" fmla="*/ 161040 h 573410"/>
                <a:gd name="connsiteX1" fmla="*/ 1773937 w 1773937"/>
                <a:gd name="connsiteY1" fmla="*/ 323982 h 573410"/>
                <a:gd name="connsiteX2" fmla="*/ 1711458 w 1773937"/>
                <a:gd name="connsiteY2" fmla="*/ 484003 h 573410"/>
                <a:gd name="connsiteX3" fmla="*/ 1361692 w 1773937"/>
                <a:gd name="connsiteY3" fmla="*/ 400184 h 573410"/>
                <a:gd name="connsiteX4" fmla="*/ 725424 w 1773937"/>
                <a:gd name="connsiteY4" fmla="*/ 529212 h 573410"/>
                <a:gd name="connsiteX5" fmla="*/ 698012 w 1773937"/>
                <a:gd name="connsiteY5" fmla="*/ 566171 h 573410"/>
                <a:gd name="connsiteX6" fmla="*/ 467110 w 1773937"/>
                <a:gd name="connsiteY6" fmla="*/ 573410 h 573410"/>
                <a:gd name="connsiteX7" fmla="*/ 299470 w 1773937"/>
                <a:gd name="connsiteY7" fmla="*/ 535310 h 573410"/>
                <a:gd name="connsiteX8" fmla="*/ 169930 w 1773937"/>
                <a:gd name="connsiteY8" fmla="*/ 481970 h 573410"/>
                <a:gd name="connsiteX9" fmla="*/ 93730 w 1773937"/>
                <a:gd name="connsiteY9" fmla="*/ 436250 h 573410"/>
                <a:gd name="connsiteX10" fmla="*/ 0 w 1773937"/>
                <a:gd name="connsiteY10" fmla="*/ 383671 h 573410"/>
                <a:gd name="connsiteX11" fmla="*/ 6098 w 1773937"/>
                <a:gd name="connsiteY11" fmla="*/ 0 h 573410"/>
                <a:gd name="connsiteX12" fmla="*/ 44194 w 1773937"/>
                <a:gd name="connsiteY12" fmla="*/ 123190 h 573410"/>
                <a:gd name="connsiteX13" fmla="*/ 606566 w 1773937"/>
                <a:gd name="connsiteY13" fmla="*/ 385575 h 573410"/>
                <a:gd name="connsiteX14" fmla="*/ 806217 w 1773937"/>
                <a:gd name="connsiteY14" fmla="*/ 347855 h 573410"/>
                <a:gd name="connsiteX15" fmla="*/ 1738890 w 1773937"/>
                <a:gd name="connsiteY15" fmla="*/ 161040 h 573410"/>
                <a:gd name="connsiteX0" fmla="*/ 1738890 w 1773937"/>
                <a:gd name="connsiteY0" fmla="*/ 161040 h 573410"/>
                <a:gd name="connsiteX1" fmla="*/ 1773937 w 1773937"/>
                <a:gd name="connsiteY1" fmla="*/ 323982 h 573410"/>
                <a:gd name="connsiteX2" fmla="*/ 1711458 w 1773937"/>
                <a:gd name="connsiteY2" fmla="*/ 484003 h 573410"/>
                <a:gd name="connsiteX3" fmla="*/ 1361692 w 1773937"/>
                <a:gd name="connsiteY3" fmla="*/ 400184 h 573410"/>
                <a:gd name="connsiteX4" fmla="*/ 725424 w 1773937"/>
                <a:gd name="connsiteY4" fmla="*/ 529212 h 573410"/>
                <a:gd name="connsiteX5" fmla="*/ 698012 w 1773937"/>
                <a:gd name="connsiteY5" fmla="*/ 566171 h 573410"/>
                <a:gd name="connsiteX6" fmla="*/ 467110 w 1773937"/>
                <a:gd name="connsiteY6" fmla="*/ 573410 h 573410"/>
                <a:gd name="connsiteX7" fmla="*/ 299470 w 1773937"/>
                <a:gd name="connsiteY7" fmla="*/ 535310 h 573410"/>
                <a:gd name="connsiteX8" fmla="*/ 169930 w 1773937"/>
                <a:gd name="connsiteY8" fmla="*/ 481970 h 573410"/>
                <a:gd name="connsiteX9" fmla="*/ 93730 w 1773937"/>
                <a:gd name="connsiteY9" fmla="*/ 436250 h 573410"/>
                <a:gd name="connsiteX10" fmla="*/ 0 w 1773937"/>
                <a:gd name="connsiteY10" fmla="*/ 383671 h 573410"/>
                <a:gd name="connsiteX11" fmla="*/ 6098 w 1773937"/>
                <a:gd name="connsiteY11" fmla="*/ 0 h 573410"/>
                <a:gd name="connsiteX12" fmla="*/ 44194 w 1773937"/>
                <a:gd name="connsiteY12" fmla="*/ 123190 h 573410"/>
                <a:gd name="connsiteX13" fmla="*/ 606566 w 1773937"/>
                <a:gd name="connsiteY13" fmla="*/ 385575 h 573410"/>
                <a:gd name="connsiteX14" fmla="*/ 806217 w 1773937"/>
                <a:gd name="connsiteY14" fmla="*/ 347855 h 573410"/>
                <a:gd name="connsiteX15" fmla="*/ 1738890 w 1773937"/>
                <a:gd name="connsiteY15" fmla="*/ 161040 h 573410"/>
                <a:gd name="connsiteX0" fmla="*/ 1738890 w 1773937"/>
                <a:gd name="connsiteY0" fmla="*/ 161040 h 573410"/>
                <a:gd name="connsiteX1" fmla="*/ 1773937 w 1773937"/>
                <a:gd name="connsiteY1" fmla="*/ 323982 h 573410"/>
                <a:gd name="connsiteX2" fmla="*/ 1711458 w 1773937"/>
                <a:gd name="connsiteY2" fmla="*/ 484003 h 573410"/>
                <a:gd name="connsiteX3" fmla="*/ 1361692 w 1773937"/>
                <a:gd name="connsiteY3" fmla="*/ 400184 h 573410"/>
                <a:gd name="connsiteX4" fmla="*/ 725424 w 1773937"/>
                <a:gd name="connsiteY4" fmla="*/ 529212 h 573410"/>
                <a:gd name="connsiteX5" fmla="*/ 698012 w 1773937"/>
                <a:gd name="connsiteY5" fmla="*/ 566171 h 573410"/>
                <a:gd name="connsiteX6" fmla="*/ 467110 w 1773937"/>
                <a:gd name="connsiteY6" fmla="*/ 573410 h 573410"/>
                <a:gd name="connsiteX7" fmla="*/ 299470 w 1773937"/>
                <a:gd name="connsiteY7" fmla="*/ 535310 h 573410"/>
                <a:gd name="connsiteX8" fmla="*/ 169930 w 1773937"/>
                <a:gd name="connsiteY8" fmla="*/ 481970 h 573410"/>
                <a:gd name="connsiteX9" fmla="*/ 93730 w 1773937"/>
                <a:gd name="connsiteY9" fmla="*/ 436250 h 573410"/>
                <a:gd name="connsiteX10" fmla="*/ 0 w 1773937"/>
                <a:gd name="connsiteY10" fmla="*/ 383671 h 573410"/>
                <a:gd name="connsiteX11" fmla="*/ 6098 w 1773937"/>
                <a:gd name="connsiteY11" fmla="*/ 0 h 573410"/>
                <a:gd name="connsiteX12" fmla="*/ 44194 w 1773937"/>
                <a:gd name="connsiteY12" fmla="*/ 123190 h 573410"/>
                <a:gd name="connsiteX13" fmla="*/ 606566 w 1773937"/>
                <a:gd name="connsiteY13" fmla="*/ 385575 h 573410"/>
                <a:gd name="connsiteX14" fmla="*/ 806217 w 1773937"/>
                <a:gd name="connsiteY14" fmla="*/ 347855 h 573410"/>
                <a:gd name="connsiteX15" fmla="*/ 1738890 w 1773937"/>
                <a:gd name="connsiteY15" fmla="*/ 161040 h 573410"/>
                <a:gd name="connsiteX0" fmla="*/ 1738890 w 1773937"/>
                <a:gd name="connsiteY0" fmla="*/ 161040 h 573410"/>
                <a:gd name="connsiteX1" fmla="*/ 1773937 w 1773937"/>
                <a:gd name="connsiteY1" fmla="*/ 323982 h 573410"/>
                <a:gd name="connsiteX2" fmla="*/ 1711458 w 1773937"/>
                <a:gd name="connsiteY2" fmla="*/ 484003 h 573410"/>
                <a:gd name="connsiteX3" fmla="*/ 1361692 w 1773937"/>
                <a:gd name="connsiteY3" fmla="*/ 400184 h 573410"/>
                <a:gd name="connsiteX4" fmla="*/ 725424 w 1773937"/>
                <a:gd name="connsiteY4" fmla="*/ 529212 h 573410"/>
                <a:gd name="connsiteX5" fmla="*/ 698012 w 1773937"/>
                <a:gd name="connsiteY5" fmla="*/ 566171 h 573410"/>
                <a:gd name="connsiteX6" fmla="*/ 467110 w 1773937"/>
                <a:gd name="connsiteY6" fmla="*/ 573410 h 573410"/>
                <a:gd name="connsiteX7" fmla="*/ 299470 w 1773937"/>
                <a:gd name="connsiteY7" fmla="*/ 535310 h 573410"/>
                <a:gd name="connsiteX8" fmla="*/ 169930 w 1773937"/>
                <a:gd name="connsiteY8" fmla="*/ 481970 h 573410"/>
                <a:gd name="connsiteX9" fmla="*/ 0 w 1773937"/>
                <a:gd name="connsiteY9" fmla="*/ 383671 h 573410"/>
                <a:gd name="connsiteX10" fmla="*/ 6098 w 1773937"/>
                <a:gd name="connsiteY10" fmla="*/ 0 h 573410"/>
                <a:gd name="connsiteX11" fmla="*/ 44194 w 1773937"/>
                <a:gd name="connsiteY11" fmla="*/ 123190 h 573410"/>
                <a:gd name="connsiteX12" fmla="*/ 606566 w 1773937"/>
                <a:gd name="connsiteY12" fmla="*/ 385575 h 573410"/>
                <a:gd name="connsiteX13" fmla="*/ 806217 w 1773937"/>
                <a:gd name="connsiteY13" fmla="*/ 347855 h 573410"/>
                <a:gd name="connsiteX14" fmla="*/ 1738890 w 1773937"/>
                <a:gd name="connsiteY14" fmla="*/ 161040 h 573410"/>
                <a:gd name="connsiteX0" fmla="*/ 1738890 w 1773937"/>
                <a:gd name="connsiteY0" fmla="*/ 161040 h 573410"/>
                <a:gd name="connsiteX1" fmla="*/ 1773937 w 1773937"/>
                <a:gd name="connsiteY1" fmla="*/ 323982 h 573410"/>
                <a:gd name="connsiteX2" fmla="*/ 1711458 w 1773937"/>
                <a:gd name="connsiteY2" fmla="*/ 484003 h 573410"/>
                <a:gd name="connsiteX3" fmla="*/ 1361692 w 1773937"/>
                <a:gd name="connsiteY3" fmla="*/ 400184 h 573410"/>
                <a:gd name="connsiteX4" fmla="*/ 725424 w 1773937"/>
                <a:gd name="connsiteY4" fmla="*/ 529212 h 573410"/>
                <a:gd name="connsiteX5" fmla="*/ 698012 w 1773937"/>
                <a:gd name="connsiteY5" fmla="*/ 566171 h 573410"/>
                <a:gd name="connsiteX6" fmla="*/ 467110 w 1773937"/>
                <a:gd name="connsiteY6" fmla="*/ 573410 h 573410"/>
                <a:gd name="connsiteX7" fmla="*/ 169930 w 1773937"/>
                <a:gd name="connsiteY7" fmla="*/ 481970 h 573410"/>
                <a:gd name="connsiteX8" fmla="*/ 0 w 1773937"/>
                <a:gd name="connsiteY8" fmla="*/ 383671 h 573410"/>
                <a:gd name="connsiteX9" fmla="*/ 6098 w 1773937"/>
                <a:gd name="connsiteY9" fmla="*/ 0 h 573410"/>
                <a:gd name="connsiteX10" fmla="*/ 44194 w 1773937"/>
                <a:gd name="connsiteY10" fmla="*/ 123190 h 573410"/>
                <a:gd name="connsiteX11" fmla="*/ 606566 w 1773937"/>
                <a:gd name="connsiteY11" fmla="*/ 385575 h 573410"/>
                <a:gd name="connsiteX12" fmla="*/ 806217 w 1773937"/>
                <a:gd name="connsiteY12" fmla="*/ 347855 h 573410"/>
                <a:gd name="connsiteX13" fmla="*/ 1738890 w 1773937"/>
                <a:gd name="connsiteY13" fmla="*/ 161040 h 573410"/>
                <a:gd name="connsiteX0" fmla="*/ 1738890 w 1773937"/>
                <a:gd name="connsiteY0" fmla="*/ 161040 h 573410"/>
                <a:gd name="connsiteX1" fmla="*/ 1773937 w 1773937"/>
                <a:gd name="connsiteY1" fmla="*/ 323982 h 573410"/>
                <a:gd name="connsiteX2" fmla="*/ 1711458 w 1773937"/>
                <a:gd name="connsiteY2" fmla="*/ 484003 h 573410"/>
                <a:gd name="connsiteX3" fmla="*/ 1361692 w 1773937"/>
                <a:gd name="connsiteY3" fmla="*/ 400184 h 573410"/>
                <a:gd name="connsiteX4" fmla="*/ 725424 w 1773937"/>
                <a:gd name="connsiteY4" fmla="*/ 529212 h 573410"/>
                <a:gd name="connsiteX5" fmla="*/ 698012 w 1773937"/>
                <a:gd name="connsiteY5" fmla="*/ 566171 h 573410"/>
                <a:gd name="connsiteX6" fmla="*/ 467110 w 1773937"/>
                <a:gd name="connsiteY6" fmla="*/ 573410 h 573410"/>
                <a:gd name="connsiteX7" fmla="*/ 0 w 1773937"/>
                <a:gd name="connsiteY7" fmla="*/ 383671 h 573410"/>
                <a:gd name="connsiteX8" fmla="*/ 6098 w 1773937"/>
                <a:gd name="connsiteY8" fmla="*/ 0 h 573410"/>
                <a:gd name="connsiteX9" fmla="*/ 44194 w 1773937"/>
                <a:gd name="connsiteY9" fmla="*/ 123190 h 573410"/>
                <a:gd name="connsiteX10" fmla="*/ 606566 w 1773937"/>
                <a:gd name="connsiteY10" fmla="*/ 385575 h 573410"/>
                <a:gd name="connsiteX11" fmla="*/ 806217 w 1773937"/>
                <a:gd name="connsiteY11" fmla="*/ 347855 h 573410"/>
                <a:gd name="connsiteX12" fmla="*/ 1738890 w 1773937"/>
                <a:gd name="connsiteY12" fmla="*/ 161040 h 573410"/>
                <a:gd name="connsiteX0" fmla="*/ 1738890 w 1773937"/>
                <a:gd name="connsiteY0" fmla="*/ 161040 h 573410"/>
                <a:gd name="connsiteX1" fmla="*/ 1773937 w 1773937"/>
                <a:gd name="connsiteY1" fmla="*/ 323982 h 573410"/>
                <a:gd name="connsiteX2" fmla="*/ 1711458 w 1773937"/>
                <a:gd name="connsiteY2" fmla="*/ 484003 h 573410"/>
                <a:gd name="connsiteX3" fmla="*/ 1361692 w 1773937"/>
                <a:gd name="connsiteY3" fmla="*/ 400184 h 573410"/>
                <a:gd name="connsiteX4" fmla="*/ 725424 w 1773937"/>
                <a:gd name="connsiteY4" fmla="*/ 529212 h 573410"/>
                <a:gd name="connsiteX5" fmla="*/ 698012 w 1773937"/>
                <a:gd name="connsiteY5" fmla="*/ 566171 h 573410"/>
                <a:gd name="connsiteX6" fmla="*/ 467110 w 1773937"/>
                <a:gd name="connsiteY6" fmla="*/ 573410 h 573410"/>
                <a:gd name="connsiteX7" fmla="*/ 0 w 1773937"/>
                <a:gd name="connsiteY7" fmla="*/ 383671 h 573410"/>
                <a:gd name="connsiteX8" fmla="*/ 6098 w 1773937"/>
                <a:gd name="connsiteY8" fmla="*/ 0 h 573410"/>
                <a:gd name="connsiteX9" fmla="*/ 44194 w 1773937"/>
                <a:gd name="connsiteY9" fmla="*/ 123190 h 573410"/>
                <a:gd name="connsiteX10" fmla="*/ 606566 w 1773937"/>
                <a:gd name="connsiteY10" fmla="*/ 385575 h 573410"/>
                <a:gd name="connsiteX11" fmla="*/ 806217 w 1773937"/>
                <a:gd name="connsiteY11" fmla="*/ 347855 h 573410"/>
                <a:gd name="connsiteX12" fmla="*/ 1738890 w 1773937"/>
                <a:gd name="connsiteY12" fmla="*/ 161040 h 573410"/>
                <a:gd name="connsiteX0" fmla="*/ 1738890 w 1773937"/>
                <a:gd name="connsiteY0" fmla="*/ 161040 h 573410"/>
                <a:gd name="connsiteX1" fmla="*/ 1773937 w 1773937"/>
                <a:gd name="connsiteY1" fmla="*/ 323982 h 573410"/>
                <a:gd name="connsiteX2" fmla="*/ 1711458 w 1773937"/>
                <a:gd name="connsiteY2" fmla="*/ 484003 h 573410"/>
                <a:gd name="connsiteX3" fmla="*/ 1361692 w 1773937"/>
                <a:gd name="connsiteY3" fmla="*/ 400184 h 573410"/>
                <a:gd name="connsiteX4" fmla="*/ 725424 w 1773937"/>
                <a:gd name="connsiteY4" fmla="*/ 529212 h 573410"/>
                <a:gd name="connsiteX5" fmla="*/ 698012 w 1773937"/>
                <a:gd name="connsiteY5" fmla="*/ 566171 h 573410"/>
                <a:gd name="connsiteX6" fmla="*/ 467110 w 1773937"/>
                <a:gd name="connsiteY6" fmla="*/ 573410 h 573410"/>
                <a:gd name="connsiteX7" fmla="*/ 0 w 1773937"/>
                <a:gd name="connsiteY7" fmla="*/ 383671 h 573410"/>
                <a:gd name="connsiteX8" fmla="*/ 6098 w 1773937"/>
                <a:gd name="connsiteY8" fmla="*/ 0 h 573410"/>
                <a:gd name="connsiteX9" fmla="*/ 44194 w 1773937"/>
                <a:gd name="connsiteY9" fmla="*/ 123190 h 573410"/>
                <a:gd name="connsiteX10" fmla="*/ 606566 w 1773937"/>
                <a:gd name="connsiteY10" fmla="*/ 385575 h 573410"/>
                <a:gd name="connsiteX11" fmla="*/ 806217 w 1773937"/>
                <a:gd name="connsiteY11" fmla="*/ 347855 h 573410"/>
                <a:gd name="connsiteX12" fmla="*/ 1738890 w 1773937"/>
                <a:gd name="connsiteY12" fmla="*/ 161040 h 573410"/>
                <a:gd name="connsiteX0" fmla="*/ 1738890 w 1773937"/>
                <a:gd name="connsiteY0" fmla="*/ 161040 h 573410"/>
                <a:gd name="connsiteX1" fmla="*/ 1773937 w 1773937"/>
                <a:gd name="connsiteY1" fmla="*/ 323982 h 573410"/>
                <a:gd name="connsiteX2" fmla="*/ 1711458 w 1773937"/>
                <a:gd name="connsiteY2" fmla="*/ 484003 h 573410"/>
                <a:gd name="connsiteX3" fmla="*/ 1361692 w 1773937"/>
                <a:gd name="connsiteY3" fmla="*/ 400184 h 573410"/>
                <a:gd name="connsiteX4" fmla="*/ 725424 w 1773937"/>
                <a:gd name="connsiteY4" fmla="*/ 529212 h 573410"/>
                <a:gd name="connsiteX5" fmla="*/ 700298 w 1773937"/>
                <a:gd name="connsiteY5" fmla="*/ 566171 h 573410"/>
                <a:gd name="connsiteX6" fmla="*/ 467110 w 1773937"/>
                <a:gd name="connsiteY6" fmla="*/ 573410 h 573410"/>
                <a:gd name="connsiteX7" fmla="*/ 0 w 1773937"/>
                <a:gd name="connsiteY7" fmla="*/ 383671 h 573410"/>
                <a:gd name="connsiteX8" fmla="*/ 6098 w 1773937"/>
                <a:gd name="connsiteY8" fmla="*/ 0 h 573410"/>
                <a:gd name="connsiteX9" fmla="*/ 44194 w 1773937"/>
                <a:gd name="connsiteY9" fmla="*/ 123190 h 573410"/>
                <a:gd name="connsiteX10" fmla="*/ 606566 w 1773937"/>
                <a:gd name="connsiteY10" fmla="*/ 385575 h 573410"/>
                <a:gd name="connsiteX11" fmla="*/ 806217 w 1773937"/>
                <a:gd name="connsiteY11" fmla="*/ 347855 h 573410"/>
                <a:gd name="connsiteX12" fmla="*/ 1738890 w 1773937"/>
                <a:gd name="connsiteY12" fmla="*/ 161040 h 573410"/>
                <a:gd name="connsiteX0" fmla="*/ 1738890 w 1773937"/>
                <a:gd name="connsiteY0" fmla="*/ 161040 h 573410"/>
                <a:gd name="connsiteX1" fmla="*/ 1773937 w 1773937"/>
                <a:gd name="connsiteY1" fmla="*/ 323982 h 573410"/>
                <a:gd name="connsiteX2" fmla="*/ 1711458 w 1773937"/>
                <a:gd name="connsiteY2" fmla="*/ 484003 h 573410"/>
                <a:gd name="connsiteX3" fmla="*/ 1361692 w 1773937"/>
                <a:gd name="connsiteY3" fmla="*/ 400184 h 573410"/>
                <a:gd name="connsiteX4" fmla="*/ 725424 w 1773937"/>
                <a:gd name="connsiteY4" fmla="*/ 529212 h 573410"/>
                <a:gd name="connsiteX5" fmla="*/ 700298 w 1773937"/>
                <a:gd name="connsiteY5" fmla="*/ 566171 h 573410"/>
                <a:gd name="connsiteX6" fmla="*/ 467110 w 1773937"/>
                <a:gd name="connsiteY6" fmla="*/ 573410 h 573410"/>
                <a:gd name="connsiteX7" fmla="*/ 0 w 1773937"/>
                <a:gd name="connsiteY7" fmla="*/ 383671 h 573410"/>
                <a:gd name="connsiteX8" fmla="*/ 6098 w 1773937"/>
                <a:gd name="connsiteY8" fmla="*/ 0 h 573410"/>
                <a:gd name="connsiteX9" fmla="*/ 44194 w 1773937"/>
                <a:gd name="connsiteY9" fmla="*/ 123190 h 573410"/>
                <a:gd name="connsiteX10" fmla="*/ 606566 w 1773937"/>
                <a:gd name="connsiteY10" fmla="*/ 385575 h 573410"/>
                <a:gd name="connsiteX11" fmla="*/ 806217 w 1773937"/>
                <a:gd name="connsiteY11" fmla="*/ 347855 h 573410"/>
                <a:gd name="connsiteX12" fmla="*/ 1738890 w 1773937"/>
                <a:gd name="connsiteY12" fmla="*/ 161040 h 573410"/>
                <a:gd name="connsiteX0" fmla="*/ 1753157 w 1773937"/>
                <a:gd name="connsiteY0" fmla="*/ 155667 h 573410"/>
                <a:gd name="connsiteX1" fmla="*/ 1773937 w 1773937"/>
                <a:gd name="connsiteY1" fmla="*/ 323982 h 573410"/>
                <a:gd name="connsiteX2" fmla="*/ 1711458 w 1773937"/>
                <a:gd name="connsiteY2" fmla="*/ 484003 h 573410"/>
                <a:gd name="connsiteX3" fmla="*/ 1361692 w 1773937"/>
                <a:gd name="connsiteY3" fmla="*/ 400184 h 573410"/>
                <a:gd name="connsiteX4" fmla="*/ 725424 w 1773937"/>
                <a:gd name="connsiteY4" fmla="*/ 529212 h 573410"/>
                <a:gd name="connsiteX5" fmla="*/ 700298 w 1773937"/>
                <a:gd name="connsiteY5" fmla="*/ 566171 h 573410"/>
                <a:gd name="connsiteX6" fmla="*/ 467110 w 1773937"/>
                <a:gd name="connsiteY6" fmla="*/ 573410 h 573410"/>
                <a:gd name="connsiteX7" fmla="*/ 0 w 1773937"/>
                <a:gd name="connsiteY7" fmla="*/ 383671 h 573410"/>
                <a:gd name="connsiteX8" fmla="*/ 6098 w 1773937"/>
                <a:gd name="connsiteY8" fmla="*/ 0 h 573410"/>
                <a:gd name="connsiteX9" fmla="*/ 44194 w 1773937"/>
                <a:gd name="connsiteY9" fmla="*/ 123190 h 573410"/>
                <a:gd name="connsiteX10" fmla="*/ 606566 w 1773937"/>
                <a:gd name="connsiteY10" fmla="*/ 385575 h 573410"/>
                <a:gd name="connsiteX11" fmla="*/ 806217 w 1773937"/>
                <a:gd name="connsiteY11" fmla="*/ 347855 h 573410"/>
                <a:gd name="connsiteX12" fmla="*/ 1753157 w 1773937"/>
                <a:gd name="connsiteY12" fmla="*/ 155667 h 573410"/>
                <a:gd name="connsiteX0" fmla="*/ 1753157 w 1788204"/>
                <a:gd name="connsiteY0" fmla="*/ 155667 h 573410"/>
                <a:gd name="connsiteX1" fmla="*/ 1788204 w 1788204"/>
                <a:gd name="connsiteY1" fmla="*/ 318608 h 573410"/>
                <a:gd name="connsiteX2" fmla="*/ 1711458 w 1788204"/>
                <a:gd name="connsiteY2" fmla="*/ 484003 h 573410"/>
                <a:gd name="connsiteX3" fmla="*/ 1361692 w 1788204"/>
                <a:gd name="connsiteY3" fmla="*/ 400184 h 573410"/>
                <a:gd name="connsiteX4" fmla="*/ 725424 w 1788204"/>
                <a:gd name="connsiteY4" fmla="*/ 529212 h 573410"/>
                <a:gd name="connsiteX5" fmla="*/ 700298 w 1788204"/>
                <a:gd name="connsiteY5" fmla="*/ 566171 h 573410"/>
                <a:gd name="connsiteX6" fmla="*/ 467110 w 1788204"/>
                <a:gd name="connsiteY6" fmla="*/ 573410 h 573410"/>
                <a:gd name="connsiteX7" fmla="*/ 0 w 1788204"/>
                <a:gd name="connsiteY7" fmla="*/ 383671 h 573410"/>
                <a:gd name="connsiteX8" fmla="*/ 6098 w 1788204"/>
                <a:gd name="connsiteY8" fmla="*/ 0 h 573410"/>
                <a:gd name="connsiteX9" fmla="*/ 44194 w 1788204"/>
                <a:gd name="connsiteY9" fmla="*/ 123190 h 573410"/>
                <a:gd name="connsiteX10" fmla="*/ 606566 w 1788204"/>
                <a:gd name="connsiteY10" fmla="*/ 385575 h 573410"/>
                <a:gd name="connsiteX11" fmla="*/ 806217 w 1788204"/>
                <a:gd name="connsiteY11" fmla="*/ 347855 h 573410"/>
                <a:gd name="connsiteX12" fmla="*/ 1753157 w 1788204"/>
                <a:gd name="connsiteY12" fmla="*/ 155667 h 573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88204" h="573410">
                  <a:moveTo>
                    <a:pt x="1753157" y="155667"/>
                  </a:moveTo>
                  <a:lnTo>
                    <a:pt x="1788204" y="318608"/>
                  </a:lnTo>
                  <a:lnTo>
                    <a:pt x="1711458" y="484003"/>
                  </a:lnTo>
                  <a:cubicBezTo>
                    <a:pt x="1658891" y="452846"/>
                    <a:pt x="1556021" y="399971"/>
                    <a:pt x="1361692" y="400184"/>
                  </a:cubicBezTo>
                  <a:lnTo>
                    <a:pt x="725424" y="529212"/>
                  </a:lnTo>
                  <a:cubicBezTo>
                    <a:pt x="701805" y="565663"/>
                    <a:pt x="719344" y="536960"/>
                    <a:pt x="700298" y="566171"/>
                  </a:cubicBezTo>
                  <a:lnTo>
                    <a:pt x="467110" y="573410"/>
                  </a:lnTo>
                  <a:cubicBezTo>
                    <a:pt x="325125" y="565666"/>
                    <a:pt x="199147" y="565161"/>
                    <a:pt x="0" y="383671"/>
                  </a:cubicBezTo>
                  <a:cubicBezTo>
                    <a:pt x="2033" y="255781"/>
                    <a:pt x="4065" y="127890"/>
                    <a:pt x="6098" y="0"/>
                  </a:cubicBezTo>
                  <a:lnTo>
                    <a:pt x="44194" y="123190"/>
                  </a:lnTo>
                  <a:cubicBezTo>
                    <a:pt x="109974" y="209170"/>
                    <a:pt x="148021" y="432591"/>
                    <a:pt x="606566" y="385575"/>
                  </a:cubicBezTo>
                  <a:lnTo>
                    <a:pt x="806217" y="347855"/>
                  </a:lnTo>
                  <a:lnTo>
                    <a:pt x="1753157" y="155667"/>
                  </a:lnTo>
                  <a:close/>
                </a:path>
              </a:pathLst>
            </a:custGeom>
            <a:solidFill>
              <a:srgbClr val="008000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DE" sz="6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1" name="Text_T110N_BA1">
              <a:extLst>
                <a:ext uri="{FF2B5EF4-FFF2-40B4-BE49-F238E27FC236}">
                  <a16:creationId xmlns:a16="http://schemas.microsoft.com/office/drawing/2014/main" id="{B6C317AB-0C9E-478B-82FB-EE9F94B4AC2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08375" y="3396042"/>
              <a:ext cx="25105" cy="24576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de-DE" dirty="0"/>
            </a:p>
          </p:txBody>
        </p:sp>
        <p:sp>
          <p:nvSpPr>
            <p:cNvPr id="12" name="Text_T110N_BA1">
              <a:extLst>
                <a:ext uri="{FF2B5EF4-FFF2-40B4-BE49-F238E27FC236}">
                  <a16:creationId xmlns:a16="http://schemas.microsoft.com/office/drawing/2014/main" id="{DC43C381-DB25-4641-9017-7237D326DC79}"/>
                </a:ext>
              </a:extLst>
            </p:cNvPr>
            <p:cNvSpPr/>
            <p:nvPr/>
          </p:nvSpPr>
          <p:spPr>
            <a:xfrm>
              <a:off x="3233135" y="3309212"/>
              <a:ext cx="1381067" cy="188411"/>
            </a:xfrm>
            <a:prstGeom prst="borderCallout1">
              <a:avLst>
                <a:gd name="adj1" fmla="val 53181"/>
                <a:gd name="adj2" fmla="val 100320"/>
                <a:gd name="adj3" fmla="val 53256"/>
                <a:gd name="adj4" fmla="val 129084"/>
              </a:avLst>
            </a:prstGeom>
            <a:solidFill>
              <a:schemeClr val="tx2">
                <a:lumMod val="20000"/>
                <a:lumOff val="80000"/>
              </a:schemeClr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257312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>
                  <a:solidFill>
                    <a:sysClr val="windowText" lastClr="000000"/>
                  </a:solidFill>
                </a:rPr>
                <a:t>K0923A (T110N, 1. BA)</a:t>
              </a:r>
            </a:p>
          </p:txBody>
        </p:sp>
        <p:sp>
          <p:nvSpPr>
            <p:cNvPr id="13" name="T110N_BA5">
              <a:extLst>
                <a:ext uri="{FF2B5EF4-FFF2-40B4-BE49-F238E27FC236}">
                  <a16:creationId xmlns:a16="http://schemas.microsoft.com/office/drawing/2014/main" id="{0381A236-311E-4338-90E3-7AB0A820155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908632" y="1880237"/>
              <a:ext cx="1008918" cy="1402278"/>
            </a:xfrm>
            <a:custGeom>
              <a:avLst/>
              <a:gdLst>
                <a:gd name="connsiteX0" fmla="*/ 0 w 5234940"/>
                <a:gd name="connsiteY0" fmla="*/ 1219200 h 4191000"/>
                <a:gd name="connsiteX1" fmla="*/ 190500 w 5234940"/>
                <a:gd name="connsiteY1" fmla="*/ 990600 h 4191000"/>
                <a:gd name="connsiteX2" fmla="*/ 434340 w 5234940"/>
                <a:gd name="connsiteY2" fmla="*/ 792480 h 4191000"/>
                <a:gd name="connsiteX3" fmla="*/ 662940 w 5234940"/>
                <a:gd name="connsiteY3" fmla="*/ 624840 h 4191000"/>
                <a:gd name="connsiteX4" fmla="*/ 906780 w 5234940"/>
                <a:gd name="connsiteY4" fmla="*/ 533400 h 4191000"/>
                <a:gd name="connsiteX5" fmla="*/ 868680 w 5234940"/>
                <a:gd name="connsiteY5" fmla="*/ 426720 h 4191000"/>
                <a:gd name="connsiteX6" fmla="*/ 1051560 w 5234940"/>
                <a:gd name="connsiteY6" fmla="*/ 358140 h 4191000"/>
                <a:gd name="connsiteX7" fmla="*/ 1097280 w 5234940"/>
                <a:gd name="connsiteY7" fmla="*/ 464820 h 4191000"/>
                <a:gd name="connsiteX8" fmla="*/ 1219200 w 5234940"/>
                <a:gd name="connsiteY8" fmla="*/ 434340 h 4191000"/>
                <a:gd name="connsiteX9" fmla="*/ 1249680 w 5234940"/>
                <a:gd name="connsiteY9" fmla="*/ 365760 h 4191000"/>
                <a:gd name="connsiteX10" fmla="*/ 1508760 w 5234940"/>
                <a:gd name="connsiteY10" fmla="*/ 297180 h 4191000"/>
                <a:gd name="connsiteX11" fmla="*/ 1562100 w 5234940"/>
                <a:gd name="connsiteY11" fmla="*/ 327660 h 4191000"/>
                <a:gd name="connsiteX12" fmla="*/ 1691640 w 5234940"/>
                <a:gd name="connsiteY12" fmla="*/ 274320 h 4191000"/>
                <a:gd name="connsiteX13" fmla="*/ 1661160 w 5234940"/>
                <a:gd name="connsiteY13" fmla="*/ 114300 h 4191000"/>
                <a:gd name="connsiteX14" fmla="*/ 2065020 w 5234940"/>
                <a:gd name="connsiteY14" fmla="*/ 0 h 4191000"/>
                <a:gd name="connsiteX15" fmla="*/ 2110740 w 5234940"/>
                <a:gd name="connsiteY15" fmla="*/ 160020 h 4191000"/>
                <a:gd name="connsiteX16" fmla="*/ 2362200 w 5234940"/>
                <a:gd name="connsiteY16" fmla="*/ 106680 h 4191000"/>
                <a:gd name="connsiteX17" fmla="*/ 2621280 w 5234940"/>
                <a:gd name="connsiteY17" fmla="*/ 99060 h 4191000"/>
                <a:gd name="connsiteX18" fmla="*/ 2948940 w 5234940"/>
                <a:gd name="connsiteY18" fmla="*/ 152400 h 4191000"/>
                <a:gd name="connsiteX19" fmla="*/ 3276600 w 5234940"/>
                <a:gd name="connsiteY19" fmla="*/ 251460 h 4191000"/>
                <a:gd name="connsiteX20" fmla="*/ 3642360 w 5234940"/>
                <a:gd name="connsiteY20" fmla="*/ 464820 h 4191000"/>
                <a:gd name="connsiteX21" fmla="*/ 3931920 w 5234940"/>
                <a:gd name="connsiteY21" fmla="*/ 723900 h 4191000"/>
                <a:gd name="connsiteX22" fmla="*/ 4442460 w 5234940"/>
                <a:gd name="connsiteY22" fmla="*/ 1280160 h 4191000"/>
                <a:gd name="connsiteX23" fmla="*/ 4472940 w 5234940"/>
                <a:gd name="connsiteY23" fmla="*/ 1287780 h 4191000"/>
                <a:gd name="connsiteX24" fmla="*/ 4655820 w 5234940"/>
                <a:gd name="connsiteY24" fmla="*/ 1463040 h 4191000"/>
                <a:gd name="connsiteX25" fmla="*/ 4640580 w 5234940"/>
                <a:gd name="connsiteY25" fmla="*/ 1524000 h 4191000"/>
                <a:gd name="connsiteX26" fmla="*/ 4892040 w 5234940"/>
                <a:gd name="connsiteY26" fmla="*/ 1821180 h 4191000"/>
                <a:gd name="connsiteX27" fmla="*/ 5082540 w 5234940"/>
                <a:gd name="connsiteY27" fmla="*/ 2217420 h 4191000"/>
                <a:gd name="connsiteX28" fmla="*/ 5204460 w 5234940"/>
                <a:gd name="connsiteY28" fmla="*/ 2636520 h 4191000"/>
                <a:gd name="connsiteX29" fmla="*/ 5234940 w 5234940"/>
                <a:gd name="connsiteY29" fmla="*/ 3086100 h 4191000"/>
                <a:gd name="connsiteX30" fmla="*/ 5181600 w 5234940"/>
                <a:gd name="connsiteY30" fmla="*/ 3611880 h 4191000"/>
                <a:gd name="connsiteX31" fmla="*/ 5029200 w 5234940"/>
                <a:gd name="connsiteY31" fmla="*/ 4175760 h 4191000"/>
                <a:gd name="connsiteX32" fmla="*/ 4450080 w 5234940"/>
                <a:gd name="connsiteY32" fmla="*/ 4191000 h 4191000"/>
                <a:gd name="connsiteX33" fmla="*/ 4671060 w 5234940"/>
                <a:gd name="connsiteY33" fmla="*/ 3261360 h 4191000"/>
                <a:gd name="connsiteX34" fmla="*/ 4678680 w 5234940"/>
                <a:gd name="connsiteY34" fmla="*/ 2834640 h 4191000"/>
                <a:gd name="connsiteX35" fmla="*/ 4556760 w 5234940"/>
                <a:gd name="connsiteY35" fmla="*/ 2415540 h 4191000"/>
                <a:gd name="connsiteX36" fmla="*/ 4351020 w 5234940"/>
                <a:gd name="connsiteY36" fmla="*/ 2057400 h 4191000"/>
                <a:gd name="connsiteX37" fmla="*/ 3406140 w 5234940"/>
                <a:gd name="connsiteY37" fmla="*/ 1013460 h 4191000"/>
                <a:gd name="connsiteX38" fmla="*/ 3169920 w 5234940"/>
                <a:gd name="connsiteY38" fmla="*/ 853440 h 4191000"/>
                <a:gd name="connsiteX39" fmla="*/ 2887980 w 5234940"/>
                <a:gd name="connsiteY39" fmla="*/ 739140 h 4191000"/>
                <a:gd name="connsiteX40" fmla="*/ 2491740 w 5234940"/>
                <a:gd name="connsiteY40" fmla="*/ 693420 h 4191000"/>
                <a:gd name="connsiteX41" fmla="*/ 2209800 w 5234940"/>
                <a:gd name="connsiteY41" fmla="*/ 739140 h 4191000"/>
                <a:gd name="connsiteX42" fmla="*/ 1211580 w 5234940"/>
                <a:gd name="connsiteY42" fmla="*/ 1059180 h 4191000"/>
                <a:gd name="connsiteX43" fmla="*/ 937260 w 5234940"/>
                <a:gd name="connsiteY43" fmla="*/ 1165860 h 4191000"/>
                <a:gd name="connsiteX44" fmla="*/ 792480 w 5234940"/>
                <a:gd name="connsiteY44" fmla="*/ 1257300 h 4191000"/>
                <a:gd name="connsiteX45" fmla="*/ 0 w 5234940"/>
                <a:gd name="connsiteY45" fmla="*/ 1219200 h 4191000"/>
                <a:gd name="connsiteX0" fmla="*/ 0 w 5257800"/>
                <a:gd name="connsiteY0" fmla="*/ 1234440 h 4191000"/>
                <a:gd name="connsiteX1" fmla="*/ 213360 w 5257800"/>
                <a:gd name="connsiteY1" fmla="*/ 990600 h 4191000"/>
                <a:gd name="connsiteX2" fmla="*/ 457200 w 5257800"/>
                <a:gd name="connsiteY2" fmla="*/ 792480 h 4191000"/>
                <a:gd name="connsiteX3" fmla="*/ 685800 w 5257800"/>
                <a:gd name="connsiteY3" fmla="*/ 624840 h 4191000"/>
                <a:gd name="connsiteX4" fmla="*/ 929640 w 5257800"/>
                <a:gd name="connsiteY4" fmla="*/ 533400 h 4191000"/>
                <a:gd name="connsiteX5" fmla="*/ 891540 w 5257800"/>
                <a:gd name="connsiteY5" fmla="*/ 426720 h 4191000"/>
                <a:gd name="connsiteX6" fmla="*/ 1074420 w 5257800"/>
                <a:gd name="connsiteY6" fmla="*/ 358140 h 4191000"/>
                <a:gd name="connsiteX7" fmla="*/ 1120140 w 5257800"/>
                <a:gd name="connsiteY7" fmla="*/ 464820 h 4191000"/>
                <a:gd name="connsiteX8" fmla="*/ 1242060 w 5257800"/>
                <a:gd name="connsiteY8" fmla="*/ 434340 h 4191000"/>
                <a:gd name="connsiteX9" fmla="*/ 1272540 w 5257800"/>
                <a:gd name="connsiteY9" fmla="*/ 365760 h 4191000"/>
                <a:gd name="connsiteX10" fmla="*/ 1531620 w 5257800"/>
                <a:gd name="connsiteY10" fmla="*/ 297180 h 4191000"/>
                <a:gd name="connsiteX11" fmla="*/ 1584960 w 5257800"/>
                <a:gd name="connsiteY11" fmla="*/ 327660 h 4191000"/>
                <a:gd name="connsiteX12" fmla="*/ 1714500 w 5257800"/>
                <a:gd name="connsiteY12" fmla="*/ 274320 h 4191000"/>
                <a:gd name="connsiteX13" fmla="*/ 1684020 w 5257800"/>
                <a:gd name="connsiteY13" fmla="*/ 114300 h 4191000"/>
                <a:gd name="connsiteX14" fmla="*/ 2087880 w 5257800"/>
                <a:gd name="connsiteY14" fmla="*/ 0 h 4191000"/>
                <a:gd name="connsiteX15" fmla="*/ 2133600 w 5257800"/>
                <a:gd name="connsiteY15" fmla="*/ 160020 h 4191000"/>
                <a:gd name="connsiteX16" fmla="*/ 2385060 w 5257800"/>
                <a:gd name="connsiteY16" fmla="*/ 106680 h 4191000"/>
                <a:gd name="connsiteX17" fmla="*/ 2644140 w 5257800"/>
                <a:gd name="connsiteY17" fmla="*/ 99060 h 4191000"/>
                <a:gd name="connsiteX18" fmla="*/ 2971800 w 5257800"/>
                <a:gd name="connsiteY18" fmla="*/ 152400 h 4191000"/>
                <a:gd name="connsiteX19" fmla="*/ 3299460 w 5257800"/>
                <a:gd name="connsiteY19" fmla="*/ 251460 h 4191000"/>
                <a:gd name="connsiteX20" fmla="*/ 3665220 w 5257800"/>
                <a:gd name="connsiteY20" fmla="*/ 464820 h 4191000"/>
                <a:gd name="connsiteX21" fmla="*/ 3954780 w 5257800"/>
                <a:gd name="connsiteY21" fmla="*/ 723900 h 4191000"/>
                <a:gd name="connsiteX22" fmla="*/ 4465320 w 5257800"/>
                <a:gd name="connsiteY22" fmla="*/ 1280160 h 4191000"/>
                <a:gd name="connsiteX23" fmla="*/ 4495800 w 5257800"/>
                <a:gd name="connsiteY23" fmla="*/ 1287780 h 4191000"/>
                <a:gd name="connsiteX24" fmla="*/ 4678680 w 5257800"/>
                <a:gd name="connsiteY24" fmla="*/ 1463040 h 4191000"/>
                <a:gd name="connsiteX25" fmla="*/ 4663440 w 5257800"/>
                <a:gd name="connsiteY25" fmla="*/ 1524000 h 4191000"/>
                <a:gd name="connsiteX26" fmla="*/ 4914900 w 5257800"/>
                <a:gd name="connsiteY26" fmla="*/ 1821180 h 4191000"/>
                <a:gd name="connsiteX27" fmla="*/ 5105400 w 5257800"/>
                <a:gd name="connsiteY27" fmla="*/ 2217420 h 4191000"/>
                <a:gd name="connsiteX28" fmla="*/ 5227320 w 5257800"/>
                <a:gd name="connsiteY28" fmla="*/ 2636520 h 4191000"/>
                <a:gd name="connsiteX29" fmla="*/ 5257800 w 5257800"/>
                <a:gd name="connsiteY29" fmla="*/ 3086100 h 4191000"/>
                <a:gd name="connsiteX30" fmla="*/ 5204460 w 5257800"/>
                <a:gd name="connsiteY30" fmla="*/ 3611880 h 4191000"/>
                <a:gd name="connsiteX31" fmla="*/ 5052060 w 5257800"/>
                <a:gd name="connsiteY31" fmla="*/ 4175760 h 4191000"/>
                <a:gd name="connsiteX32" fmla="*/ 4472940 w 5257800"/>
                <a:gd name="connsiteY32" fmla="*/ 4191000 h 4191000"/>
                <a:gd name="connsiteX33" fmla="*/ 4693920 w 5257800"/>
                <a:gd name="connsiteY33" fmla="*/ 3261360 h 4191000"/>
                <a:gd name="connsiteX34" fmla="*/ 4701540 w 5257800"/>
                <a:gd name="connsiteY34" fmla="*/ 2834640 h 4191000"/>
                <a:gd name="connsiteX35" fmla="*/ 4579620 w 5257800"/>
                <a:gd name="connsiteY35" fmla="*/ 2415540 h 4191000"/>
                <a:gd name="connsiteX36" fmla="*/ 4373880 w 5257800"/>
                <a:gd name="connsiteY36" fmla="*/ 2057400 h 4191000"/>
                <a:gd name="connsiteX37" fmla="*/ 3429000 w 5257800"/>
                <a:gd name="connsiteY37" fmla="*/ 1013460 h 4191000"/>
                <a:gd name="connsiteX38" fmla="*/ 3192780 w 5257800"/>
                <a:gd name="connsiteY38" fmla="*/ 853440 h 4191000"/>
                <a:gd name="connsiteX39" fmla="*/ 2910840 w 5257800"/>
                <a:gd name="connsiteY39" fmla="*/ 739140 h 4191000"/>
                <a:gd name="connsiteX40" fmla="*/ 2514600 w 5257800"/>
                <a:gd name="connsiteY40" fmla="*/ 693420 h 4191000"/>
                <a:gd name="connsiteX41" fmla="*/ 2232660 w 5257800"/>
                <a:gd name="connsiteY41" fmla="*/ 739140 h 4191000"/>
                <a:gd name="connsiteX42" fmla="*/ 1234440 w 5257800"/>
                <a:gd name="connsiteY42" fmla="*/ 1059180 h 4191000"/>
                <a:gd name="connsiteX43" fmla="*/ 960120 w 5257800"/>
                <a:gd name="connsiteY43" fmla="*/ 1165860 h 4191000"/>
                <a:gd name="connsiteX44" fmla="*/ 815340 w 5257800"/>
                <a:gd name="connsiteY44" fmla="*/ 1257300 h 4191000"/>
                <a:gd name="connsiteX45" fmla="*/ 0 w 5257800"/>
                <a:gd name="connsiteY45" fmla="*/ 1234440 h 4191000"/>
                <a:gd name="connsiteX0" fmla="*/ 0 w 5257800"/>
                <a:gd name="connsiteY0" fmla="*/ 1234440 h 4206240"/>
                <a:gd name="connsiteX1" fmla="*/ 213360 w 5257800"/>
                <a:gd name="connsiteY1" fmla="*/ 990600 h 4206240"/>
                <a:gd name="connsiteX2" fmla="*/ 457200 w 5257800"/>
                <a:gd name="connsiteY2" fmla="*/ 792480 h 4206240"/>
                <a:gd name="connsiteX3" fmla="*/ 685800 w 5257800"/>
                <a:gd name="connsiteY3" fmla="*/ 624840 h 4206240"/>
                <a:gd name="connsiteX4" fmla="*/ 929640 w 5257800"/>
                <a:gd name="connsiteY4" fmla="*/ 533400 h 4206240"/>
                <a:gd name="connsiteX5" fmla="*/ 891540 w 5257800"/>
                <a:gd name="connsiteY5" fmla="*/ 426720 h 4206240"/>
                <a:gd name="connsiteX6" fmla="*/ 1074420 w 5257800"/>
                <a:gd name="connsiteY6" fmla="*/ 358140 h 4206240"/>
                <a:gd name="connsiteX7" fmla="*/ 1120140 w 5257800"/>
                <a:gd name="connsiteY7" fmla="*/ 464820 h 4206240"/>
                <a:gd name="connsiteX8" fmla="*/ 1242060 w 5257800"/>
                <a:gd name="connsiteY8" fmla="*/ 434340 h 4206240"/>
                <a:gd name="connsiteX9" fmla="*/ 1272540 w 5257800"/>
                <a:gd name="connsiteY9" fmla="*/ 365760 h 4206240"/>
                <a:gd name="connsiteX10" fmla="*/ 1531620 w 5257800"/>
                <a:gd name="connsiteY10" fmla="*/ 297180 h 4206240"/>
                <a:gd name="connsiteX11" fmla="*/ 1584960 w 5257800"/>
                <a:gd name="connsiteY11" fmla="*/ 327660 h 4206240"/>
                <a:gd name="connsiteX12" fmla="*/ 1714500 w 5257800"/>
                <a:gd name="connsiteY12" fmla="*/ 274320 h 4206240"/>
                <a:gd name="connsiteX13" fmla="*/ 1684020 w 5257800"/>
                <a:gd name="connsiteY13" fmla="*/ 114300 h 4206240"/>
                <a:gd name="connsiteX14" fmla="*/ 2087880 w 5257800"/>
                <a:gd name="connsiteY14" fmla="*/ 0 h 4206240"/>
                <a:gd name="connsiteX15" fmla="*/ 2133600 w 5257800"/>
                <a:gd name="connsiteY15" fmla="*/ 160020 h 4206240"/>
                <a:gd name="connsiteX16" fmla="*/ 2385060 w 5257800"/>
                <a:gd name="connsiteY16" fmla="*/ 106680 h 4206240"/>
                <a:gd name="connsiteX17" fmla="*/ 2644140 w 5257800"/>
                <a:gd name="connsiteY17" fmla="*/ 99060 h 4206240"/>
                <a:gd name="connsiteX18" fmla="*/ 2971800 w 5257800"/>
                <a:gd name="connsiteY18" fmla="*/ 152400 h 4206240"/>
                <a:gd name="connsiteX19" fmla="*/ 3299460 w 5257800"/>
                <a:gd name="connsiteY19" fmla="*/ 251460 h 4206240"/>
                <a:gd name="connsiteX20" fmla="*/ 3665220 w 5257800"/>
                <a:gd name="connsiteY20" fmla="*/ 464820 h 4206240"/>
                <a:gd name="connsiteX21" fmla="*/ 3954780 w 5257800"/>
                <a:gd name="connsiteY21" fmla="*/ 723900 h 4206240"/>
                <a:gd name="connsiteX22" fmla="*/ 4465320 w 5257800"/>
                <a:gd name="connsiteY22" fmla="*/ 1280160 h 4206240"/>
                <a:gd name="connsiteX23" fmla="*/ 4495800 w 5257800"/>
                <a:gd name="connsiteY23" fmla="*/ 1287780 h 4206240"/>
                <a:gd name="connsiteX24" fmla="*/ 4678680 w 5257800"/>
                <a:gd name="connsiteY24" fmla="*/ 1463040 h 4206240"/>
                <a:gd name="connsiteX25" fmla="*/ 4663440 w 5257800"/>
                <a:gd name="connsiteY25" fmla="*/ 1524000 h 4206240"/>
                <a:gd name="connsiteX26" fmla="*/ 4914900 w 5257800"/>
                <a:gd name="connsiteY26" fmla="*/ 1821180 h 4206240"/>
                <a:gd name="connsiteX27" fmla="*/ 5105400 w 5257800"/>
                <a:gd name="connsiteY27" fmla="*/ 2217420 h 4206240"/>
                <a:gd name="connsiteX28" fmla="*/ 5227320 w 5257800"/>
                <a:gd name="connsiteY28" fmla="*/ 2636520 h 4206240"/>
                <a:gd name="connsiteX29" fmla="*/ 5257800 w 5257800"/>
                <a:gd name="connsiteY29" fmla="*/ 3086100 h 4206240"/>
                <a:gd name="connsiteX30" fmla="*/ 5204460 w 5257800"/>
                <a:gd name="connsiteY30" fmla="*/ 3611880 h 4206240"/>
                <a:gd name="connsiteX31" fmla="*/ 5044440 w 5257800"/>
                <a:gd name="connsiteY31" fmla="*/ 4206240 h 4206240"/>
                <a:gd name="connsiteX32" fmla="*/ 4472940 w 5257800"/>
                <a:gd name="connsiteY32" fmla="*/ 4191000 h 4206240"/>
                <a:gd name="connsiteX33" fmla="*/ 4693920 w 5257800"/>
                <a:gd name="connsiteY33" fmla="*/ 3261360 h 4206240"/>
                <a:gd name="connsiteX34" fmla="*/ 4701540 w 5257800"/>
                <a:gd name="connsiteY34" fmla="*/ 2834640 h 4206240"/>
                <a:gd name="connsiteX35" fmla="*/ 4579620 w 5257800"/>
                <a:gd name="connsiteY35" fmla="*/ 2415540 h 4206240"/>
                <a:gd name="connsiteX36" fmla="*/ 4373880 w 5257800"/>
                <a:gd name="connsiteY36" fmla="*/ 2057400 h 4206240"/>
                <a:gd name="connsiteX37" fmla="*/ 3429000 w 5257800"/>
                <a:gd name="connsiteY37" fmla="*/ 1013460 h 4206240"/>
                <a:gd name="connsiteX38" fmla="*/ 3192780 w 5257800"/>
                <a:gd name="connsiteY38" fmla="*/ 853440 h 4206240"/>
                <a:gd name="connsiteX39" fmla="*/ 2910840 w 5257800"/>
                <a:gd name="connsiteY39" fmla="*/ 739140 h 4206240"/>
                <a:gd name="connsiteX40" fmla="*/ 2514600 w 5257800"/>
                <a:gd name="connsiteY40" fmla="*/ 693420 h 4206240"/>
                <a:gd name="connsiteX41" fmla="*/ 2232660 w 5257800"/>
                <a:gd name="connsiteY41" fmla="*/ 739140 h 4206240"/>
                <a:gd name="connsiteX42" fmla="*/ 1234440 w 5257800"/>
                <a:gd name="connsiteY42" fmla="*/ 1059180 h 4206240"/>
                <a:gd name="connsiteX43" fmla="*/ 960120 w 5257800"/>
                <a:gd name="connsiteY43" fmla="*/ 1165860 h 4206240"/>
                <a:gd name="connsiteX44" fmla="*/ 815340 w 5257800"/>
                <a:gd name="connsiteY44" fmla="*/ 1257300 h 4206240"/>
                <a:gd name="connsiteX45" fmla="*/ 0 w 5257800"/>
                <a:gd name="connsiteY45" fmla="*/ 1234440 h 4206240"/>
                <a:gd name="connsiteX0" fmla="*/ 0 w 5257800"/>
                <a:gd name="connsiteY0" fmla="*/ 1234440 h 4213860"/>
                <a:gd name="connsiteX1" fmla="*/ 213360 w 5257800"/>
                <a:gd name="connsiteY1" fmla="*/ 990600 h 4213860"/>
                <a:gd name="connsiteX2" fmla="*/ 457200 w 5257800"/>
                <a:gd name="connsiteY2" fmla="*/ 792480 h 4213860"/>
                <a:gd name="connsiteX3" fmla="*/ 685800 w 5257800"/>
                <a:gd name="connsiteY3" fmla="*/ 624840 h 4213860"/>
                <a:gd name="connsiteX4" fmla="*/ 929640 w 5257800"/>
                <a:gd name="connsiteY4" fmla="*/ 533400 h 4213860"/>
                <a:gd name="connsiteX5" fmla="*/ 891540 w 5257800"/>
                <a:gd name="connsiteY5" fmla="*/ 426720 h 4213860"/>
                <a:gd name="connsiteX6" fmla="*/ 1074420 w 5257800"/>
                <a:gd name="connsiteY6" fmla="*/ 358140 h 4213860"/>
                <a:gd name="connsiteX7" fmla="*/ 1120140 w 5257800"/>
                <a:gd name="connsiteY7" fmla="*/ 464820 h 4213860"/>
                <a:gd name="connsiteX8" fmla="*/ 1242060 w 5257800"/>
                <a:gd name="connsiteY8" fmla="*/ 434340 h 4213860"/>
                <a:gd name="connsiteX9" fmla="*/ 1272540 w 5257800"/>
                <a:gd name="connsiteY9" fmla="*/ 365760 h 4213860"/>
                <a:gd name="connsiteX10" fmla="*/ 1531620 w 5257800"/>
                <a:gd name="connsiteY10" fmla="*/ 297180 h 4213860"/>
                <a:gd name="connsiteX11" fmla="*/ 1584960 w 5257800"/>
                <a:gd name="connsiteY11" fmla="*/ 327660 h 4213860"/>
                <a:gd name="connsiteX12" fmla="*/ 1714500 w 5257800"/>
                <a:gd name="connsiteY12" fmla="*/ 274320 h 4213860"/>
                <a:gd name="connsiteX13" fmla="*/ 1684020 w 5257800"/>
                <a:gd name="connsiteY13" fmla="*/ 114300 h 4213860"/>
                <a:gd name="connsiteX14" fmla="*/ 2087880 w 5257800"/>
                <a:gd name="connsiteY14" fmla="*/ 0 h 4213860"/>
                <a:gd name="connsiteX15" fmla="*/ 2133600 w 5257800"/>
                <a:gd name="connsiteY15" fmla="*/ 160020 h 4213860"/>
                <a:gd name="connsiteX16" fmla="*/ 2385060 w 5257800"/>
                <a:gd name="connsiteY16" fmla="*/ 106680 h 4213860"/>
                <a:gd name="connsiteX17" fmla="*/ 2644140 w 5257800"/>
                <a:gd name="connsiteY17" fmla="*/ 99060 h 4213860"/>
                <a:gd name="connsiteX18" fmla="*/ 2971800 w 5257800"/>
                <a:gd name="connsiteY18" fmla="*/ 152400 h 4213860"/>
                <a:gd name="connsiteX19" fmla="*/ 3299460 w 5257800"/>
                <a:gd name="connsiteY19" fmla="*/ 251460 h 4213860"/>
                <a:gd name="connsiteX20" fmla="*/ 3665220 w 5257800"/>
                <a:gd name="connsiteY20" fmla="*/ 464820 h 4213860"/>
                <a:gd name="connsiteX21" fmla="*/ 3954780 w 5257800"/>
                <a:gd name="connsiteY21" fmla="*/ 723900 h 4213860"/>
                <a:gd name="connsiteX22" fmla="*/ 4465320 w 5257800"/>
                <a:gd name="connsiteY22" fmla="*/ 1280160 h 4213860"/>
                <a:gd name="connsiteX23" fmla="*/ 4495800 w 5257800"/>
                <a:gd name="connsiteY23" fmla="*/ 1287780 h 4213860"/>
                <a:gd name="connsiteX24" fmla="*/ 4678680 w 5257800"/>
                <a:gd name="connsiteY24" fmla="*/ 1463040 h 4213860"/>
                <a:gd name="connsiteX25" fmla="*/ 4663440 w 5257800"/>
                <a:gd name="connsiteY25" fmla="*/ 1524000 h 4213860"/>
                <a:gd name="connsiteX26" fmla="*/ 4914900 w 5257800"/>
                <a:gd name="connsiteY26" fmla="*/ 1821180 h 4213860"/>
                <a:gd name="connsiteX27" fmla="*/ 5105400 w 5257800"/>
                <a:gd name="connsiteY27" fmla="*/ 2217420 h 4213860"/>
                <a:gd name="connsiteX28" fmla="*/ 5227320 w 5257800"/>
                <a:gd name="connsiteY28" fmla="*/ 2636520 h 4213860"/>
                <a:gd name="connsiteX29" fmla="*/ 5257800 w 5257800"/>
                <a:gd name="connsiteY29" fmla="*/ 3086100 h 4213860"/>
                <a:gd name="connsiteX30" fmla="*/ 5204460 w 5257800"/>
                <a:gd name="connsiteY30" fmla="*/ 3611880 h 4213860"/>
                <a:gd name="connsiteX31" fmla="*/ 5044440 w 5257800"/>
                <a:gd name="connsiteY31" fmla="*/ 4206240 h 4213860"/>
                <a:gd name="connsiteX32" fmla="*/ 4495800 w 5257800"/>
                <a:gd name="connsiteY32" fmla="*/ 4213860 h 4213860"/>
                <a:gd name="connsiteX33" fmla="*/ 4693920 w 5257800"/>
                <a:gd name="connsiteY33" fmla="*/ 3261360 h 4213860"/>
                <a:gd name="connsiteX34" fmla="*/ 4701540 w 5257800"/>
                <a:gd name="connsiteY34" fmla="*/ 2834640 h 4213860"/>
                <a:gd name="connsiteX35" fmla="*/ 4579620 w 5257800"/>
                <a:gd name="connsiteY35" fmla="*/ 2415540 h 4213860"/>
                <a:gd name="connsiteX36" fmla="*/ 4373880 w 5257800"/>
                <a:gd name="connsiteY36" fmla="*/ 2057400 h 4213860"/>
                <a:gd name="connsiteX37" fmla="*/ 3429000 w 5257800"/>
                <a:gd name="connsiteY37" fmla="*/ 1013460 h 4213860"/>
                <a:gd name="connsiteX38" fmla="*/ 3192780 w 5257800"/>
                <a:gd name="connsiteY38" fmla="*/ 853440 h 4213860"/>
                <a:gd name="connsiteX39" fmla="*/ 2910840 w 5257800"/>
                <a:gd name="connsiteY39" fmla="*/ 739140 h 4213860"/>
                <a:gd name="connsiteX40" fmla="*/ 2514600 w 5257800"/>
                <a:gd name="connsiteY40" fmla="*/ 693420 h 4213860"/>
                <a:gd name="connsiteX41" fmla="*/ 2232660 w 5257800"/>
                <a:gd name="connsiteY41" fmla="*/ 739140 h 4213860"/>
                <a:gd name="connsiteX42" fmla="*/ 1234440 w 5257800"/>
                <a:gd name="connsiteY42" fmla="*/ 1059180 h 4213860"/>
                <a:gd name="connsiteX43" fmla="*/ 960120 w 5257800"/>
                <a:gd name="connsiteY43" fmla="*/ 1165860 h 4213860"/>
                <a:gd name="connsiteX44" fmla="*/ 815340 w 5257800"/>
                <a:gd name="connsiteY44" fmla="*/ 1257300 h 4213860"/>
                <a:gd name="connsiteX45" fmla="*/ 0 w 5257800"/>
                <a:gd name="connsiteY45" fmla="*/ 1234440 h 4213860"/>
                <a:gd name="connsiteX0" fmla="*/ 0 w 5257800"/>
                <a:gd name="connsiteY0" fmla="*/ 1234440 h 4213860"/>
                <a:gd name="connsiteX1" fmla="*/ 213360 w 5257800"/>
                <a:gd name="connsiteY1" fmla="*/ 990600 h 4213860"/>
                <a:gd name="connsiteX2" fmla="*/ 457200 w 5257800"/>
                <a:gd name="connsiteY2" fmla="*/ 792480 h 4213860"/>
                <a:gd name="connsiteX3" fmla="*/ 685800 w 5257800"/>
                <a:gd name="connsiteY3" fmla="*/ 624840 h 4213860"/>
                <a:gd name="connsiteX4" fmla="*/ 929640 w 5257800"/>
                <a:gd name="connsiteY4" fmla="*/ 533400 h 4213860"/>
                <a:gd name="connsiteX5" fmla="*/ 891540 w 5257800"/>
                <a:gd name="connsiteY5" fmla="*/ 426720 h 4213860"/>
                <a:gd name="connsiteX6" fmla="*/ 1074420 w 5257800"/>
                <a:gd name="connsiteY6" fmla="*/ 358140 h 4213860"/>
                <a:gd name="connsiteX7" fmla="*/ 1120140 w 5257800"/>
                <a:gd name="connsiteY7" fmla="*/ 464820 h 4213860"/>
                <a:gd name="connsiteX8" fmla="*/ 1242060 w 5257800"/>
                <a:gd name="connsiteY8" fmla="*/ 434340 h 4213860"/>
                <a:gd name="connsiteX9" fmla="*/ 1272540 w 5257800"/>
                <a:gd name="connsiteY9" fmla="*/ 365760 h 4213860"/>
                <a:gd name="connsiteX10" fmla="*/ 1531620 w 5257800"/>
                <a:gd name="connsiteY10" fmla="*/ 297180 h 4213860"/>
                <a:gd name="connsiteX11" fmla="*/ 1584960 w 5257800"/>
                <a:gd name="connsiteY11" fmla="*/ 327660 h 4213860"/>
                <a:gd name="connsiteX12" fmla="*/ 1714500 w 5257800"/>
                <a:gd name="connsiteY12" fmla="*/ 274320 h 4213860"/>
                <a:gd name="connsiteX13" fmla="*/ 1684020 w 5257800"/>
                <a:gd name="connsiteY13" fmla="*/ 114300 h 4213860"/>
                <a:gd name="connsiteX14" fmla="*/ 2087880 w 5257800"/>
                <a:gd name="connsiteY14" fmla="*/ 0 h 4213860"/>
                <a:gd name="connsiteX15" fmla="*/ 2133600 w 5257800"/>
                <a:gd name="connsiteY15" fmla="*/ 160020 h 4213860"/>
                <a:gd name="connsiteX16" fmla="*/ 2385060 w 5257800"/>
                <a:gd name="connsiteY16" fmla="*/ 106680 h 4213860"/>
                <a:gd name="connsiteX17" fmla="*/ 2644140 w 5257800"/>
                <a:gd name="connsiteY17" fmla="*/ 99060 h 4213860"/>
                <a:gd name="connsiteX18" fmla="*/ 2971800 w 5257800"/>
                <a:gd name="connsiteY18" fmla="*/ 152400 h 4213860"/>
                <a:gd name="connsiteX19" fmla="*/ 3299460 w 5257800"/>
                <a:gd name="connsiteY19" fmla="*/ 251460 h 4213860"/>
                <a:gd name="connsiteX20" fmla="*/ 3665220 w 5257800"/>
                <a:gd name="connsiteY20" fmla="*/ 464820 h 4213860"/>
                <a:gd name="connsiteX21" fmla="*/ 3954780 w 5257800"/>
                <a:gd name="connsiteY21" fmla="*/ 723900 h 4213860"/>
                <a:gd name="connsiteX22" fmla="*/ 4465320 w 5257800"/>
                <a:gd name="connsiteY22" fmla="*/ 1280160 h 4213860"/>
                <a:gd name="connsiteX23" fmla="*/ 4495800 w 5257800"/>
                <a:gd name="connsiteY23" fmla="*/ 1287780 h 4213860"/>
                <a:gd name="connsiteX24" fmla="*/ 4678680 w 5257800"/>
                <a:gd name="connsiteY24" fmla="*/ 1463040 h 4213860"/>
                <a:gd name="connsiteX25" fmla="*/ 4663440 w 5257800"/>
                <a:gd name="connsiteY25" fmla="*/ 1524000 h 4213860"/>
                <a:gd name="connsiteX26" fmla="*/ 4914900 w 5257800"/>
                <a:gd name="connsiteY26" fmla="*/ 1821180 h 4213860"/>
                <a:gd name="connsiteX27" fmla="*/ 5105400 w 5257800"/>
                <a:gd name="connsiteY27" fmla="*/ 2217420 h 4213860"/>
                <a:gd name="connsiteX28" fmla="*/ 5227320 w 5257800"/>
                <a:gd name="connsiteY28" fmla="*/ 2636520 h 4213860"/>
                <a:gd name="connsiteX29" fmla="*/ 5257800 w 5257800"/>
                <a:gd name="connsiteY29" fmla="*/ 3086100 h 4213860"/>
                <a:gd name="connsiteX30" fmla="*/ 5204460 w 5257800"/>
                <a:gd name="connsiteY30" fmla="*/ 3611880 h 4213860"/>
                <a:gd name="connsiteX31" fmla="*/ 5044440 w 5257800"/>
                <a:gd name="connsiteY31" fmla="*/ 4206240 h 4213860"/>
                <a:gd name="connsiteX32" fmla="*/ 4495800 w 5257800"/>
                <a:gd name="connsiteY32" fmla="*/ 4213860 h 4213860"/>
                <a:gd name="connsiteX33" fmla="*/ 4693920 w 5257800"/>
                <a:gd name="connsiteY33" fmla="*/ 3261360 h 4213860"/>
                <a:gd name="connsiteX34" fmla="*/ 4701540 w 5257800"/>
                <a:gd name="connsiteY34" fmla="*/ 2834640 h 4213860"/>
                <a:gd name="connsiteX35" fmla="*/ 4579620 w 5257800"/>
                <a:gd name="connsiteY35" fmla="*/ 2415540 h 4213860"/>
                <a:gd name="connsiteX36" fmla="*/ 4373880 w 5257800"/>
                <a:gd name="connsiteY36" fmla="*/ 2057400 h 4213860"/>
                <a:gd name="connsiteX37" fmla="*/ 3429000 w 5257800"/>
                <a:gd name="connsiteY37" fmla="*/ 1013460 h 4213860"/>
                <a:gd name="connsiteX38" fmla="*/ 3192780 w 5257800"/>
                <a:gd name="connsiteY38" fmla="*/ 853440 h 4213860"/>
                <a:gd name="connsiteX39" fmla="*/ 2910840 w 5257800"/>
                <a:gd name="connsiteY39" fmla="*/ 739140 h 4213860"/>
                <a:gd name="connsiteX40" fmla="*/ 2514600 w 5257800"/>
                <a:gd name="connsiteY40" fmla="*/ 693420 h 4213860"/>
                <a:gd name="connsiteX41" fmla="*/ 2232660 w 5257800"/>
                <a:gd name="connsiteY41" fmla="*/ 739140 h 4213860"/>
                <a:gd name="connsiteX42" fmla="*/ 1234440 w 5257800"/>
                <a:gd name="connsiteY42" fmla="*/ 1059180 h 4213860"/>
                <a:gd name="connsiteX43" fmla="*/ 960120 w 5257800"/>
                <a:gd name="connsiteY43" fmla="*/ 1165860 h 4213860"/>
                <a:gd name="connsiteX44" fmla="*/ 815340 w 5257800"/>
                <a:gd name="connsiteY44" fmla="*/ 1257300 h 4213860"/>
                <a:gd name="connsiteX45" fmla="*/ 0 w 5257800"/>
                <a:gd name="connsiteY45" fmla="*/ 1234440 h 4213860"/>
                <a:gd name="connsiteX0" fmla="*/ 0 w 5257800"/>
                <a:gd name="connsiteY0" fmla="*/ 1234440 h 4213860"/>
                <a:gd name="connsiteX1" fmla="*/ 213360 w 5257800"/>
                <a:gd name="connsiteY1" fmla="*/ 990600 h 4213860"/>
                <a:gd name="connsiteX2" fmla="*/ 457200 w 5257800"/>
                <a:gd name="connsiteY2" fmla="*/ 792480 h 4213860"/>
                <a:gd name="connsiteX3" fmla="*/ 685800 w 5257800"/>
                <a:gd name="connsiteY3" fmla="*/ 624840 h 4213860"/>
                <a:gd name="connsiteX4" fmla="*/ 929640 w 5257800"/>
                <a:gd name="connsiteY4" fmla="*/ 533400 h 4213860"/>
                <a:gd name="connsiteX5" fmla="*/ 891540 w 5257800"/>
                <a:gd name="connsiteY5" fmla="*/ 426720 h 4213860"/>
                <a:gd name="connsiteX6" fmla="*/ 1074420 w 5257800"/>
                <a:gd name="connsiteY6" fmla="*/ 358140 h 4213860"/>
                <a:gd name="connsiteX7" fmla="*/ 1120140 w 5257800"/>
                <a:gd name="connsiteY7" fmla="*/ 464820 h 4213860"/>
                <a:gd name="connsiteX8" fmla="*/ 1242060 w 5257800"/>
                <a:gd name="connsiteY8" fmla="*/ 434340 h 4213860"/>
                <a:gd name="connsiteX9" fmla="*/ 1272540 w 5257800"/>
                <a:gd name="connsiteY9" fmla="*/ 365760 h 4213860"/>
                <a:gd name="connsiteX10" fmla="*/ 1531620 w 5257800"/>
                <a:gd name="connsiteY10" fmla="*/ 297180 h 4213860"/>
                <a:gd name="connsiteX11" fmla="*/ 1584960 w 5257800"/>
                <a:gd name="connsiteY11" fmla="*/ 327660 h 4213860"/>
                <a:gd name="connsiteX12" fmla="*/ 1714500 w 5257800"/>
                <a:gd name="connsiteY12" fmla="*/ 274320 h 4213860"/>
                <a:gd name="connsiteX13" fmla="*/ 1684020 w 5257800"/>
                <a:gd name="connsiteY13" fmla="*/ 114300 h 4213860"/>
                <a:gd name="connsiteX14" fmla="*/ 2087880 w 5257800"/>
                <a:gd name="connsiteY14" fmla="*/ 0 h 4213860"/>
                <a:gd name="connsiteX15" fmla="*/ 2133600 w 5257800"/>
                <a:gd name="connsiteY15" fmla="*/ 160020 h 4213860"/>
                <a:gd name="connsiteX16" fmla="*/ 2385060 w 5257800"/>
                <a:gd name="connsiteY16" fmla="*/ 106680 h 4213860"/>
                <a:gd name="connsiteX17" fmla="*/ 2644140 w 5257800"/>
                <a:gd name="connsiteY17" fmla="*/ 99060 h 4213860"/>
                <a:gd name="connsiteX18" fmla="*/ 2971800 w 5257800"/>
                <a:gd name="connsiteY18" fmla="*/ 152400 h 4213860"/>
                <a:gd name="connsiteX19" fmla="*/ 3299460 w 5257800"/>
                <a:gd name="connsiteY19" fmla="*/ 251460 h 4213860"/>
                <a:gd name="connsiteX20" fmla="*/ 3665220 w 5257800"/>
                <a:gd name="connsiteY20" fmla="*/ 464820 h 4213860"/>
                <a:gd name="connsiteX21" fmla="*/ 3954780 w 5257800"/>
                <a:gd name="connsiteY21" fmla="*/ 723900 h 4213860"/>
                <a:gd name="connsiteX22" fmla="*/ 4465320 w 5257800"/>
                <a:gd name="connsiteY22" fmla="*/ 1280160 h 4213860"/>
                <a:gd name="connsiteX23" fmla="*/ 4495800 w 5257800"/>
                <a:gd name="connsiteY23" fmla="*/ 1287780 h 4213860"/>
                <a:gd name="connsiteX24" fmla="*/ 4678680 w 5257800"/>
                <a:gd name="connsiteY24" fmla="*/ 1463040 h 4213860"/>
                <a:gd name="connsiteX25" fmla="*/ 4663440 w 5257800"/>
                <a:gd name="connsiteY25" fmla="*/ 1524000 h 4213860"/>
                <a:gd name="connsiteX26" fmla="*/ 4914900 w 5257800"/>
                <a:gd name="connsiteY26" fmla="*/ 1821180 h 4213860"/>
                <a:gd name="connsiteX27" fmla="*/ 5105400 w 5257800"/>
                <a:gd name="connsiteY27" fmla="*/ 2217420 h 4213860"/>
                <a:gd name="connsiteX28" fmla="*/ 5227320 w 5257800"/>
                <a:gd name="connsiteY28" fmla="*/ 2636520 h 4213860"/>
                <a:gd name="connsiteX29" fmla="*/ 5257800 w 5257800"/>
                <a:gd name="connsiteY29" fmla="*/ 3086100 h 4213860"/>
                <a:gd name="connsiteX30" fmla="*/ 5204460 w 5257800"/>
                <a:gd name="connsiteY30" fmla="*/ 3611880 h 4213860"/>
                <a:gd name="connsiteX31" fmla="*/ 5044440 w 5257800"/>
                <a:gd name="connsiteY31" fmla="*/ 4206240 h 4213860"/>
                <a:gd name="connsiteX32" fmla="*/ 4495800 w 5257800"/>
                <a:gd name="connsiteY32" fmla="*/ 4213860 h 4213860"/>
                <a:gd name="connsiteX33" fmla="*/ 4693920 w 5257800"/>
                <a:gd name="connsiteY33" fmla="*/ 3261360 h 4213860"/>
                <a:gd name="connsiteX34" fmla="*/ 4701540 w 5257800"/>
                <a:gd name="connsiteY34" fmla="*/ 2834640 h 4213860"/>
                <a:gd name="connsiteX35" fmla="*/ 4579620 w 5257800"/>
                <a:gd name="connsiteY35" fmla="*/ 2415540 h 4213860"/>
                <a:gd name="connsiteX36" fmla="*/ 4373880 w 5257800"/>
                <a:gd name="connsiteY36" fmla="*/ 2057400 h 4213860"/>
                <a:gd name="connsiteX37" fmla="*/ 3429000 w 5257800"/>
                <a:gd name="connsiteY37" fmla="*/ 1013460 h 4213860"/>
                <a:gd name="connsiteX38" fmla="*/ 3192780 w 5257800"/>
                <a:gd name="connsiteY38" fmla="*/ 853440 h 4213860"/>
                <a:gd name="connsiteX39" fmla="*/ 2910840 w 5257800"/>
                <a:gd name="connsiteY39" fmla="*/ 739140 h 4213860"/>
                <a:gd name="connsiteX40" fmla="*/ 2514600 w 5257800"/>
                <a:gd name="connsiteY40" fmla="*/ 693420 h 4213860"/>
                <a:gd name="connsiteX41" fmla="*/ 2232660 w 5257800"/>
                <a:gd name="connsiteY41" fmla="*/ 739140 h 4213860"/>
                <a:gd name="connsiteX42" fmla="*/ 1234440 w 5257800"/>
                <a:gd name="connsiteY42" fmla="*/ 1059180 h 4213860"/>
                <a:gd name="connsiteX43" fmla="*/ 960120 w 5257800"/>
                <a:gd name="connsiteY43" fmla="*/ 1165860 h 4213860"/>
                <a:gd name="connsiteX44" fmla="*/ 815340 w 5257800"/>
                <a:gd name="connsiteY44" fmla="*/ 1257300 h 4213860"/>
                <a:gd name="connsiteX45" fmla="*/ 0 w 5257800"/>
                <a:gd name="connsiteY45" fmla="*/ 1234440 h 4213860"/>
                <a:gd name="connsiteX0" fmla="*/ 0 w 5257800"/>
                <a:gd name="connsiteY0" fmla="*/ 1234440 h 4213860"/>
                <a:gd name="connsiteX1" fmla="*/ 213360 w 5257800"/>
                <a:gd name="connsiteY1" fmla="*/ 990600 h 4213860"/>
                <a:gd name="connsiteX2" fmla="*/ 457200 w 5257800"/>
                <a:gd name="connsiteY2" fmla="*/ 792480 h 4213860"/>
                <a:gd name="connsiteX3" fmla="*/ 685800 w 5257800"/>
                <a:gd name="connsiteY3" fmla="*/ 624840 h 4213860"/>
                <a:gd name="connsiteX4" fmla="*/ 929640 w 5257800"/>
                <a:gd name="connsiteY4" fmla="*/ 533400 h 4213860"/>
                <a:gd name="connsiteX5" fmla="*/ 891540 w 5257800"/>
                <a:gd name="connsiteY5" fmla="*/ 426720 h 4213860"/>
                <a:gd name="connsiteX6" fmla="*/ 1074420 w 5257800"/>
                <a:gd name="connsiteY6" fmla="*/ 358140 h 4213860"/>
                <a:gd name="connsiteX7" fmla="*/ 1120140 w 5257800"/>
                <a:gd name="connsiteY7" fmla="*/ 464820 h 4213860"/>
                <a:gd name="connsiteX8" fmla="*/ 1242060 w 5257800"/>
                <a:gd name="connsiteY8" fmla="*/ 434340 h 4213860"/>
                <a:gd name="connsiteX9" fmla="*/ 1272540 w 5257800"/>
                <a:gd name="connsiteY9" fmla="*/ 365760 h 4213860"/>
                <a:gd name="connsiteX10" fmla="*/ 1531620 w 5257800"/>
                <a:gd name="connsiteY10" fmla="*/ 297180 h 4213860"/>
                <a:gd name="connsiteX11" fmla="*/ 1584960 w 5257800"/>
                <a:gd name="connsiteY11" fmla="*/ 327660 h 4213860"/>
                <a:gd name="connsiteX12" fmla="*/ 1714500 w 5257800"/>
                <a:gd name="connsiteY12" fmla="*/ 274320 h 4213860"/>
                <a:gd name="connsiteX13" fmla="*/ 1684020 w 5257800"/>
                <a:gd name="connsiteY13" fmla="*/ 114300 h 4213860"/>
                <a:gd name="connsiteX14" fmla="*/ 2087880 w 5257800"/>
                <a:gd name="connsiteY14" fmla="*/ 0 h 4213860"/>
                <a:gd name="connsiteX15" fmla="*/ 2133600 w 5257800"/>
                <a:gd name="connsiteY15" fmla="*/ 160020 h 4213860"/>
                <a:gd name="connsiteX16" fmla="*/ 2385060 w 5257800"/>
                <a:gd name="connsiteY16" fmla="*/ 106680 h 4213860"/>
                <a:gd name="connsiteX17" fmla="*/ 2644140 w 5257800"/>
                <a:gd name="connsiteY17" fmla="*/ 99060 h 4213860"/>
                <a:gd name="connsiteX18" fmla="*/ 2971800 w 5257800"/>
                <a:gd name="connsiteY18" fmla="*/ 152400 h 4213860"/>
                <a:gd name="connsiteX19" fmla="*/ 3299460 w 5257800"/>
                <a:gd name="connsiteY19" fmla="*/ 251460 h 4213860"/>
                <a:gd name="connsiteX20" fmla="*/ 3665220 w 5257800"/>
                <a:gd name="connsiteY20" fmla="*/ 464820 h 4213860"/>
                <a:gd name="connsiteX21" fmla="*/ 3954780 w 5257800"/>
                <a:gd name="connsiteY21" fmla="*/ 723900 h 4213860"/>
                <a:gd name="connsiteX22" fmla="*/ 4465320 w 5257800"/>
                <a:gd name="connsiteY22" fmla="*/ 1280160 h 4213860"/>
                <a:gd name="connsiteX23" fmla="*/ 4495800 w 5257800"/>
                <a:gd name="connsiteY23" fmla="*/ 1287780 h 4213860"/>
                <a:gd name="connsiteX24" fmla="*/ 4678680 w 5257800"/>
                <a:gd name="connsiteY24" fmla="*/ 1463040 h 4213860"/>
                <a:gd name="connsiteX25" fmla="*/ 4663440 w 5257800"/>
                <a:gd name="connsiteY25" fmla="*/ 1524000 h 4213860"/>
                <a:gd name="connsiteX26" fmla="*/ 4914900 w 5257800"/>
                <a:gd name="connsiteY26" fmla="*/ 1821180 h 4213860"/>
                <a:gd name="connsiteX27" fmla="*/ 5105400 w 5257800"/>
                <a:gd name="connsiteY27" fmla="*/ 2217420 h 4213860"/>
                <a:gd name="connsiteX28" fmla="*/ 5227320 w 5257800"/>
                <a:gd name="connsiteY28" fmla="*/ 2636520 h 4213860"/>
                <a:gd name="connsiteX29" fmla="*/ 5257800 w 5257800"/>
                <a:gd name="connsiteY29" fmla="*/ 3086100 h 4213860"/>
                <a:gd name="connsiteX30" fmla="*/ 5204460 w 5257800"/>
                <a:gd name="connsiteY30" fmla="*/ 3611880 h 4213860"/>
                <a:gd name="connsiteX31" fmla="*/ 5044440 w 5257800"/>
                <a:gd name="connsiteY31" fmla="*/ 4206240 h 4213860"/>
                <a:gd name="connsiteX32" fmla="*/ 4495800 w 5257800"/>
                <a:gd name="connsiteY32" fmla="*/ 4213860 h 4213860"/>
                <a:gd name="connsiteX33" fmla="*/ 4693920 w 5257800"/>
                <a:gd name="connsiteY33" fmla="*/ 3261360 h 4213860"/>
                <a:gd name="connsiteX34" fmla="*/ 4701540 w 5257800"/>
                <a:gd name="connsiteY34" fmla="*/ 2834640 h 4213860"/>
                <a:gd name="connsiteX35" fmla="*/ 4579620 w 5257800"/>
                <a:gd name="connsiteY35" fmla="*/ 2415540 h 4213860"/>
                <a:gd name="connsiteX36" fmla="*/ 4373880 w 5257800"/>
                <a:gd name="connsiteY36" fmla="*/ 2057400 h 4213860"/>
                <a:gd name="connsiteX37" fmla="*/ 3429000 w 5257800"/>
                <a:gd name="connsiteY37" fmla="*/ 1013460 h 4213860"/>
                <a:gd name="connsiteX38" fmla="*/ 3192780 w 5257800"/>
                <a:gd name="connsiteY38" fmla="*/ 853440 h 4213860"/>
                <a:gd name="connsiteX39" fmla="*/ 2910840 w 5257800"/>
                <a:gd name="connsiteY39" fmla="*/ 739140 h 4213860"/>
                <a:gd name="connsiteX40" fmla="*/ 2514600 w 5257800"/>
                <a:gd name="connsiteY40" fmla="*/ 693420 h 4213860"/>
                <a:gd name="connsiteX41" fmla="*/ 2232660 w 5257800"/>
                <a:gd name="connsiteY41" fmla="*/ 739140 h 4213860"/>
                <a:gd name="connsiteX42" fmla="*/ 1234440 w 5257800"/>
                <a:gd name="connsiteY42" fmla="*/ 1059180 h 4213860"/>
                <a:gd name="connsiteX43" fmla="*/ 960120 w 5257800"/>
                <a:gd name="connsiteY43" fmla="*/ 1165860 h 4213860"/>
                <a:gd name="connsiteX44" fmla="*/ 815340 w 5257800"/>
                <a:gd name="connsiteY44" fmla="*/ 1257300 h 4213860"/>
                <a:gd name="connsiteX45" fmla="*/ 0 w 5257800"/>
                <a:gd name="connsiteY45" fmla="*/ 1234440 h 4213860"/>
                <a:gd name="connsiteX0" fmla="*/ 0 w 5257800"/>
                <a:gd name="connsiteY0" fmla="*/ 1234440 h 4574791"/>
                <a:gd name="connsiteX1" fmla="*/ 213360 w 5257800"/>
                <a:gd name="connsiteY1" fmla="*/ 990600 h 4574791"/>
                <a:gd name="connsiteX2" fmla="*/ 457200 w 5257800"/>
                <a:gd name="connsiteY2" fmla="*/ 792480 h 4574791"/>
                <a:gd name="connsiteX3" fmla="*/ 685800 w 5257800"/>
                <a:gd name="connsiteY3" fmla="*/ 624840 h 4574791"/>
                <a:gd name="connsiteX4" fmla="*/ 929640 w 5257800"/>
                <a:gd name="connsiteY4" fmla="*/ 533400 h 4574791"/>
                <a:gd name="connsiteX5" fmla="*/ 891540 w 5257800"/>
                <a:gd name="connsiteY5" fmla="*/ 426720 h 4574791"/>
                <a:gd name="connsiteX6" fmla="*/ 1074420 w 5257800"/>
                <a:gd name="connsiteY6" fmla="*/ 358140 h 4574791"/>
                <a:gd name="connsiteX7" fmla="*/ 1120140 w 5257800"/>
                <a:gd name="connsiteY7" fmla="*/ 464820 h 4574791"/>
                <a:gd name="connsiteX8" fmla="*/ 1242060 w 5257800"/>
                <a:gd name="connsiteY8" fmla="*/ 434340 h 4574791"/>
                <a:gd name="connsiteX9" fmla="*/ 1272540 w 5257800"/>
                <a:gd name="connsiteY9" fmla="*/ 365760 h 4574791"/>
                <a:gd name="connsiteX10" fmla="*/ 1531620 w 5257800"/>
                <a:gd name="connsiteY10" fmla="*/ 297180 h 4574791"/>
                <a:gd name="connsiteX11" fmla="*/ 1584960 w 5257800"/>
                <a:gd name="connsiteY11" fmla="*/ 327660 h 4574791"/>
                <a:gd name="connsiteX12" fmla="*/ 1714500 w 5257800"/>
                <a:gd name="connsiteY12" fmla="*/ 274320 h 4574791"/>
                <a:gd name="connsiteX13" fmla="*/ 1684020 w 5257800"/>
                <a:gd name="connsiteY13" fmla="*/ 114300 h 4574791"/>
                <a:gd name="connsiteX14" fmla="*/ 2087880 w 5257800"/>
                <a:gd name="connsiteY14" fmla="*/ 0 h 4574791"/>
                <a:gd name="connsiteX15" fmla="*/ 2133600 w 5257800"/>
                <a:gd name="connsiteY15" fmla="*/ 160020 h 4574791"/>
                <a:gd name="connsiteX16" fmla="*/ 2385060 w 5257800"/>
                <a:gd name="connsiteY16" fmla="*/ 106680 h 4574791"/>
                <a:gd name="connsiteX17" fmla="*/ 2644140 w 5257800"/>
                <a:gd name="connsiteY17" fmla="*/ 99060 h 4574791"/>
                <a:gd name="connsiteX18" fmla="*/ 2971800 w 5257800"/>
                <a:gd name="connsiteY18" fmla="*/ 152400 h 4574791"/>
                <a:gd name="connsiteX19" fmla="*/ 3299460 w 5257800"/>
                <a:gd name="connsiteY19" fmla="*/ 251460 h 4574791"/>
                <a:gd name="connsiteX20" fmla="*/ 3665220 w 5257800"/>
                <a:gd name="connsiteY20" fmla="*/ 464820 h 4574791"/>
                <a:gd name="connsiteX21" fmla="*/ 3954780 w 5257800"/>
                <a:gd name="connsiteY21" fmla="*/ 723900 h 4574791"/>
                <a:gd name="connsiteX22" fmla="*/ 4465320 w 5257800"/>
                <a:gd name="connsiteY22" fmla="*/ 1280160 h 4574791"/>
                <a:gd name="connsiteX23" fmla="*/ 4495800 w 5257800"/>
                <a:gd name="connsiteY23" fmla="*/ 1287780 h 4574791"/>
                <a:gd name="connsiteX24" fmla="*/ 4678680 w 5257800"/>
                <a:gd name="connsiteY24" fmla="*/ 1463040 h 4574791"/>
                <a:gd name="connsiteX25" fmla="*/ 4663440 w 5257800"/>
                <a:gd name="connsiteY25" fmla="*/ 1524000 h 4574791"/>
                <a:gd name="connsiteX26" fmla="*/ 4914900 w 5257800"/>
                <a:gd name="connsiteY26" fmla="*/ 1821180 h 4574791"/>
                <a:gd name="connsiteX27" fmla="*/ 5105400 w 5257800"/>
                <a:gd name="connsiteY27" fmla="*/ 2217420 h 4574791"/>
                <a:gd name="connsiteX28" fmla="*/ 5227320 w 5257800"/>
                <a:gd name="connsiteY28" fmla="*/ 2636520 h 4574791"/>
                <a:gd name="connsiteX29" fmla="*/ 5257800 w 5257800"/>
                <a:gd name="connsiteY29" fmla="*/ 3086100 h 4574791"/>
                <a:gd name="connsiteX30" fmla="*/ 5204460 w 5257800"/>
                <a:gd name="connsiteY30" fmla="*/ 3611880 h 4574791"/>
                <a:gd name="connsiteX31" fmla="*/ 5044440 w 5257800"/>
                <a:gd name="connsiteY31" fmla="*/ 4206240 h 4574791"/>
                <a:gd name="connsiteX32" fmla="*/ 4382946 w 5257800"/>
                <a:gd name="connsiteY32" fmla="*/ 4574791 h 4574791"/>
                <a:gd name="connsiteX33" fmla="*/ 4693920 w 5257800"/>
                <a:gd name="connsiteY33" fmla="*/ 3261360 h 4574791"/>
                <a:gd name="connsiteX34" fmla="*/ 4701540 w 5257800"/>
                <a:gd name="connsiteY34" fmla="*/ 2834640 h 4574791"/>
                <a:gd name="connsiteX35" fmla="*/ 4579620 w 5257800"/>
                <a:gd name="connsiteY35" fmla="*/ 2415540 h 4574791"/>
                <a:gd name="connsiteX36" fmla="*/ 4373880 w 5257800"/>
                <a:gd name="connsiteY36" fmla="*/ 2057400 h 4574791"/>
                <a:gd name="connsiteX37" fmla="*/ 3429000 w 5257800"/>
                <a:gd name="connsiteY37" fmla="*/ 1013460 h 4574791"/>
                <a:gd name="connsiteX38" fmla="*/ 3192780 w 5257800"/>
                <a:gd name="connsiteY38" fmla="*/ 853440 h 4574791"/>
                <a:gd name="connsiteX39" fmla="*/ 2910840 w 5257800"/>
                <a:gd name="connsiteY39" fmla="*/ 739140 h 4574791"/>
                <a:gd name="connsiteX40" fmla="*/ 2514600 w 5257800"/>
                <a:gd name="connsiteY40" fmla="*/ 693420 h 4574791"/>
                <a:gd name="connsiteX41" fmla="*/ 2232660 w 5257800"/>
                <a:gd name="connsiteY41" fmla="*/ 739140 h 4574791"/>
                <a:gd name="connsiteX42" fmla="*/ 1234440 w 5257800"/>
                <a:gd name="connsiteY42" fmla="*/ 1059180 h 4574791"/>
                <a:gd name="connsiteX43" fmla="*/ 960120 w 5257800"/>
                <a:gd name="connsiteY43" fmla="*/ 1165860 h 4574791"/>
                <a:gd name="connsiteX44" fmla="*/ 815340 w 5257800"/>
                <a:gd name="connsiteY44" fmla="*/ 1257300 h 4574791"/>
                <a:gd name="connsiteX45" fmla="*/ 0 w 5257800"/>
                <a:gd name="connsiteY45" fmla="*/ 1234440 h 4574791"/>
                <a:gd name="connsiteX0" fmla="*/ 0 w 5257800"/>
                <a:gd name="connsiteY0" fmla="*/ 1234440 h 4785630"/>
                <a:gd name="connsiteX1" fmla="*/ 213360 w 5257800"/>
                <a:gd name="connsiteY1" fmla="*/ 990600 h 4785630"/>
                <a:gd name="connsiteX2" fmla="*/ 457200 w 5257800"/>
                <a:gd name="connsiteY2" fmla="*/ 792480 h 4785630"/>
                <a:gd name="connsiteX3" fmla="*/ 685800 w 5257800"/>
                <a:gd name="connsiteY3" fmla="*/ 624840 h 4785630"/>
                <a:gd name="connsiteX4" fmla="*/ 929640 w 5257800"/>
                <a:gd name="connsiteY4" fmla="*/ 533400 h 4785630"/>
                <a:gd name="connsiteX5" fmla="*/ 891540 w 5257800"/>
                <a:gd name="connsiteY5" fmla="*/ 426720 h 4785630"/>
                <a:gd name="connsiteX6" fmla="*/ 1074420 w 5257800"/>
                <a:gd name="connsiteY6" fmla="*/ 358140 h 4785630"/>
                <a:gd name="connsiteX7" fmla="*/ 1120140 w 5257800"/>
                <a:gd name="connsiteY7" fmla="*/ 464820 h 4785630"/>
                <a:gd name="connsiteX8" fmla="*/ 1242060 w 5257800"/>
                <a:gd name="connsiteY8" fmla="*/ 434340 h 4785630"/>
                <a:gd name="connsiteX9" fmla="*/ 1272540 w 5257800"/>
                <a:gd name="connsiteY9" fmla="*/ 365760 h 4785630"/>
                <a:gd name="connsiteX10" fmla="*/ 1531620 w 5257800"/>
                <a:gd name="connsiteY10" fmla="*/ 297180 h 4785630"/>
                <a:gd name="connsiteX11" fmla="*/ 1584960 w 5257800"/>
                <a:gd name="connsiteY11" fmla="*/ 327660 h 4785630"/>
                <a:gd name="connsiteX12" fmla="*/ 1714500 w 5257800"/>
                <a:gd name="connsiteY12" fmla="*/ 274320 h 4785630"/>
                <a:gd name="connsiteX13" fmla="*/ 1684020 w 5257800"/>
                <a:gd name="connsiteY13" fmla="*/ 114300 h 4785630"/>
                <a:gd name="connsiteX14" fmla="*/ 2087880 w 5257800"/>
                <a:gd name="connsiteY14" fmla="*/ 0 h 4785630"/>
                <a:gd name="connsiteX15" fmla="*/ 2133600 w 5257800"/>
                <a:gd name="connsiteY15" fmla="*/ 160020 h 4785630"/>
                <a:gd name="connsiteX16" fmla="*/ 2385060 w 5257800"/>
                <a:gd name="connsiteY16" fmla="*/ 106680 h 4785630"/>
                <a:gd name="connsiteX17" fmla="*/ 2644140 w 5257800"/>
                <a:gd name="connsiteY17" fmla="*/ 99060 h 4785630"/>
                <a:gd name="connsiteX18" fmla="*/ 2971800 w 5257800"/>
                <a:gd name="connsiteY18" fmla="*/ 152400 h 4785630"/>
                <a:gd name="connsiteX19" fmla="*/ 3299460 w 5257800"/>
                <a:gd name="connsiteY19" fmla="*/ 251460 h 4785630"/>
                <a:gd name="connsiteX20" fmla="*/ 3665220 w 5257800"/>
                <a:gd name="connsiteY20" fmla="*/ 464820 h 4785630"/>
                <a:gd name="connsiteX21" fmla="*/ 3954780 w 5257800"/>
                <a:gd name="connsiteY21" fmla="*/ 723900 h 4785630"/>
                <a:gd name="connsiteX22" fmla="*/ 4465320 w 5257800"/>
                <a:gd name="connsiteY22" fmla="*/ 1280160 h 4785630"/>
                <a:gd name="connsiteX23" fmla="*/ 4495800 w 5257800"/>
                <a:gd name="connsiteY23" fmla="*/ 1287780 h 4785630"/>
                <a:gd name="connsiteX24" fmla="*/ 4678680 w 5257800"/>
                <a:gd name="connsiteY24" fmla="*/ 1463040 h 4785630"/>
                <a:gd name="connsiteX25" fmla="*/ 4663440 w 5257800"/>
                <a:gd name="connsiteY25" fmla="*/ 1524000 h 4785630"/>
                <a:gd name="connsiteX26" fmla="*/ 4914900 w 5257800"/>
                <a:gd name="connsiteY26" fmla="*/ 1821180 h 4785630"/>
                <a:gd name="connsiteX27" fmla="*/ 5105400 w 5257800"/>
                <a:gd name="connsiteY27" fmla="*/ 2217420 h 4785630"/>
                <a:gd name="connsiteX28" fmla="*/ 5227320 w 5257800"/>
                <a:gd name="connsiteY28" fmla="*/ 2636520 h 4785630"/>
                <a:gd name="connsiteX29" fmla="*/ 5257800 w 5257800"/>
                <a:gd name="connsiteY29" fmla="*/ 3086100 h 4785630"/>
                <a:gd name="connsiteX30" fmla="*/ 5204460 w 5257800"/>
                <a:gd name="connsiteY30" fmla="*/ 3611880 h 4785630"/>
                <a:gd name="connsiteX31" fmla="*/ 4905544 w 5257800"/>
                <a:gd name="connsiteY31" fmla="*/ 4785630 h 4785630"/>
                <a:gd name="connsiteX32" fmla="*/ 4382946 w 5257800"/>
                <a:gd name="connsiteY32" fmla="*/ 4574791 h 4785630"/>
                <a:gd name="connsiteX33" fmla="*/ 4693920 w 5257800"/>
                <a:gd name="connsiteY33" fmla="*/ 3261360 h 4785630"/>
                <a:gd name="connsiteX34" fmla="*/ 4701540 w 5257800"/>
                <a:gd name="connsiteY34" fmla="*/ 2834640 h 4785630"/>
                <a:gd name="connsiteX35" fmla="*/ 4579620 w 5257800"/>
                <a:gd name="connsiteY35" fmla="*/ 2415540 h 4785630"/>
                <a:gd name="connsiteX36" fmla="*/ 4373880 w 5257800"/>
                <a:gd name="connsiteY36" fmla="*/ 2057400 h 4785630"/>
                <a:gd name="connsiteX37" fmla="*/ 3429000 w 5257800"/>
                <a:gd name="connsiteY37" fmla="*/ 1013460 h 4785630"/>
                <a:gd name="connsiteX38" fmla="*/ 3192780 w 5257800"/>
                <a:gd name="connsiteY38" fmla="*/ 853440 h 4785630"/>
                <a:gd name="connsiteX39" fmla="*/ 2910840 w 5257800"/>
                <a:gd name="connsiteY39" fmla="*/ 739140 h 4785630"/>
                <a:gd name="connsiteX40" fmla="*/ 2514600 w 5257800"/>
                <a:gd name="connsiteY40" fmla="*/ 693420 h 4785630"/>
                <a:gd name="connsiteX41" fmla="*/ 2232660 w 5257800"/>
                <a:gd name="connsiteY41" fmla="*/ 739140 h 4785630"/>
                <a:gd name="connsiteX42" fmla="*/ 1234440 w 5257800"/>
                <a:gd name="connsiteY42" fmla="*/ 1059180 h 4785630"/>
                <a:gd name="connsiteX43" fmla="*/ 960120 w 5257800"/>
                <a:gd name="connsiteY43" fmla="*/ 1165860 h 4785630"/>
                <a:gd name="connsiteX44" fmla="*/ 815340 w 5257800"/>
                <a:gd name="connsiteY44" fmla="*/ 1257300 h 4785630"/>
                <a:gd name="connsiteX45" fmla="*/ 0 w 5257800"/>
                <a:gd name="connsiteY45" fmla="*/ 1234440 h 4785630"/>
                <a:gd name="connsiteX0" fmla="*/ 0 w 5257800"/>
                <a:gd name="connsiteY0" fmla="*/ 1234440 h 4785630"/>
                <a:gd name="connsiteX1" fmla="*/ 213360 w 5257800"/>
                <a:gd name="connsiteY1" fmla="*/ 990600 h 4785630"/>
                <a:gd name="connsiteX2" fmla="*/ 457200 w 5257800"/>
                <a:gd name="connsiteY2" fmla="*/ 792480 h 4785630"/>
                <a:gd name="connsiteX3" fmla="*/ 685800 w 5257800"/>
                <a:gd name="connsiteY3" fmla="*/ 624840 h 4785630"/>
                <a:gd name="connsiteX4" fmla="*/ 929640 w 5257800"/>
                <a:gd name="connsiteY4" fmla="*/ 533400 h 4785630"/>
                <a:gd name="connsiteX5" fmla="*/ 891540 w 5257800"/>
                <a:gd name="connsiteY5" fmla="*/ 426720 h 4785630"/>
                <a:gd name="connsiteX6" fmla="*/ 1074420 w 5257800"/>
                <a:gd name="connsiteY6" fmla="*/ 358140 h 4785630"/>
                <a:gd name="connsiteX7" fmla="*/ 1120140 w 5257800"/>
                <a:gd name="connsiteY7" fmla="*/ 464820 h 4785630"/>
                <a:gd name="connsiteX8" fmla="*/ 1242060 w 5257800"/>
                <a:gd name="connsiteY8" fmla="*/ 434340 h 4785630"/>
                <a:gd name="connsiteX9" fmla="*/ 1272540 w 5257800"/>
                <a:gd name="connsiteY9" fmla="*/ 365760 h 4785630"/>
                <a:gd name="connsiteX10" fmla="*/ 1531620 w 5257800"/>
                <a:gd name="connsiteY10" fmla="*/ 297180 h 4785630"/>
                <a:gd name="connsiteX11" fmla="*/ 1584960 w 5257800"/>
                <a:gd name="connsiteY11" fmla="*/ 327660 h 4785630"/>
                <a:gd name="connsiteX12" fmla="*/ 1714500 w 5257800"/>
                <a:gd name="connsiteY12" fmla="*/ 274320 h 4785630"/>
                <a:gd name="connsiteX13" fmla="*/ 1684020 w 5257800"/>
                <a:gd name="connsiteY13" fmla="*/ 114300 h 4785630"/>
                <a:gd name="connsiteX14" fmla="*/ 2087880 w 5257800"/>
                <a:gd name="connsiteY14" fmla="*/ 0 h 4785630"/>
                <a:gd name="connsiteX15" fmla="*/ 2133600 w 5257800"/>
                <a:gd name="connsiteY15" fmla="*/ 160020 h 4785630"/>
                <a:gd name="connsiteX16" fmla="*/ 2385060 w 5257800"/>
                <a:gd name="connsiteY16" fmla="*/ 106680 h 4785630"/>
                <a:gd name="connsiteX17" fmla="*/ 2644140 w 5257800"/>
                <a:gd name="connsiteY17" fmla="*/ 99060 h 4785630"/>
                <a:gd name="connsiteX18" fmla="*/ 2971800 w 5257800"/>
                <a:gd name="connsiteY18" fmla="*/ 152400 h 4785630"/>
                <a:gd name="connsiteX19" fmla="*/ 3299460 w 5257800"/>
                <a:gd name="connsiteY19" fmla="*/ 251460 h 4785630"/>
                <a:gd name="connsiteX20" fmla="*/ 3665220 w 5257800"/>
                <a:gd name="connsiteY20" fmla="*/ 464820 h 4785630"/>
                <a:gd name="connsiteX21" fmla="*/ 3954780 w 5257800"/>
                <a:gd name="connsiteY21" fmla="*/ 723900 h 4785630"/>
                <a:gd name="connsiteX22" fmla="*/ 4465320 w 5257800"/>
                <a:gd name="connsiteY22" fmla="*/ 1280160 h 4785630"/>
                <a:gd name="connsiteX23" fmla="*/ 4495800 w 5257800"/>
                <a:gd name="connsiteY23" fmla="*/ 1287780 h 4785630"/>
                <a:gd name="connsiteX24" fmla="*/ 4678680 w 5257800"/>
                <a:gd name="connsiteY24" fmla="*/ 1463040 h 4785630"/>
                <a:gd name="connsiteX25" fmla="*/ 4663440 w 5257800"/>
                <a:gd name="connsiteY25" fmla="*/ 1524000 h 4785630"/>
                <a:gd name="connsiteX26" fmla="*/ 4914900 w 5257800"/>
                <a:gd name="connsiteY26" fmla="*/ 1821180 h 4785630"/>
                <a:gd name="connsiteX27" fmla="*/ 5105400 w 5257800"/>
                <a:gd name="connsiteY27" fmla="*/ 2217420 h 4785630"/>
                <a:gd name="connsiteX28" fmla="*/ 5227320 w 5257800"/>
                <a:gd name="connsiteY28" fmla="*/ 2636520 h 4785630"/>
                <a:gd name="connsiteX29" fmla="*/ 5257800 w 5257800"/>
                <a:gd name="connsiteY29" fmla="*/ 3086100 h 4785630"/>
                <a:gd name="connsiteX30" fmla="*/ 5204460 w 5257800"/>
                <a:gd name="connsiteY30" fmla="*/ 3611880 h 4785630"/>
                <a:gd name="connsiteX31" fmla="*/ 4958901 w 5257800"/>
                <a:gd name="connsiteY31" fmla="*/ 4553471 h 4785630"/>
                <a:gd name="connsiteX32" fmla="*/ 4905544 w 5257800"/>
                <a:gd name="connsiteY32" fmla="*/ 4785630 h 4785630"/>
                <a:gd name="connsiteX33" fmla="*/ 4382946 w 5257800"/>
                <a:gd name="connsiteY33" fmla="*/ 4574791 h 4785630"/>
                <a:gd name="connsiteX34" fmla="*/ 4693920 w 5257800"/>
                <a:gd name="connsiteY34" fmla="*/ 3261360 h 4785630"/>
                <a:gd name="connsiteX35" fmla="*/ 4701540 w 5257800"/>
                <a:gd name="connsiteY35" fmla="*/ 2834640 h 4785630"/>
                <a:gd name="connsiteX36" fmla="*/ 4579620 w 5257800"/>
                <a:gd name="connsiteY36" fmla="*/ 2415540 h 4785630"/>
                <a:gd name="connsiteX37" fmla="*/ 4373880 w 5257800"/>
                <a:gd name="connsiteY37" fmla="*/ 2057400 h 4785630"/>
                <a:gd name="connsiteX38" fmla="*/ 3429000 w 5257800"/>
                <a:gd name="connsiteY38" fmla="*/ 1013460 h 4785630"/>
                <a:gd name="connsiteX39" fmla="*/ 3192780 w 5257800"/>
                <a:gd name="connsiteY39" fmla="*/ 853440 h 4785630"/>
                <a:gd name="connsiteX40" fmla="*/ 2910840 w 5257800"/>
                <a:gd name="connsiteY40" fmla="*/ 739140 h 4785630"/>
                <a:gd name="connsiteX41" fmla="*/ 2514600 w 5257800"/>
                <a:gd name="connsiteY41" fmla="*/ 693420 h 4785630"/>
                <a:gd name="connsiteX42" fmla="*/ 2232660 w 5257800"/>
                <a:gd name="connsiteY42" fmla="*/ 739140 h 4785630"/>
                <a:gd name="connsiteX43" fmla="*/ 1234440 w 5257800"/>
                <a:gd name="connsiteY43" fmla="*/ 1059180 h 4785630"/>
                <a:gd name="connsiteX44" fmla="*/ 960120 w 5257800"/>
                <a:gd name="connsiteY44" fmla="*/ 1165860 h 4785630"/>
                <a:gd name="connsiteX45" fmla="*/ 815340 w 5257800"/>
                <a:gd name="connsiteY45" fmla="*/ 1257300 h 4785630"/>
                <a:gd name="connsiteX46" fmla="*/ 0 w 5257800"/>
                <a:gd name="connsiteY46" fmla="*/ 1234440 h 4785630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63073 w 5257800"/>
                <a:gd name="connsiteY31" fmla="*/ 4847915 h 4847915"/>
                <a:gd name="connsiteX32" fmla="*/ 4905544 w 5257800"/>
                <a:gd name="connsiteY32" fmla="*/ 4785630 h 4847915"/>
                <a:gd name="connsiteX33" fmla="*/ 4382946 w 5257800"/>
                <a:gd name="connsiteY33" fmla="*/ 4574791 h 4847915"/>
                <a:gd name="connsiteX34" fmla="*/ 4693920 w 5257800"/>
                <a:gd name="connsiteY34" fmla="*/ 3261360 h 4847915"/>
                <a:gd name="connsiteX35" fmla="*/ 4701540 w 5257800"/>
                <a:gd name="connsiteY35" fmla="*/ 2834640 h 4847915"/>
                <a:gd name="connsiteX36" fmla="*/ 4579620 w 5257800"/>
                <a:gd name="connsiteY36" fmla="*/ 2415540 h 4847915"/>
                <a:gd name="connsiteX37" fmla="*/ 4373880 w 5257800"/>
                <a:gd name="connsiteY37" fmla="*/ 2057400 h 4847915"/>
                <a:gd name="connsiteX38" fmla="*/ 3429000 w 5257800"/>
                <a:gd name="connsiteY38" fmla="*/ 1013460 h 4847915"/>
                <a:gd name="connsiteX39" fmla="*/ 3192780 w 5257800"/>
                <a:gd name="connsiteY39" fmla="*/ 853440 h 4847915"/>
                <a:gd name="connsiteX40" fmla="*/ 2910840 w 5257800"/>
                <a:gd name="connsiteY40" fmla="*/ 739140 h 4847915"/>
                <a:gd name="connsiteX41" fmla="*/ 2514600 w 5257800"/>
                <a:gd name="connsiteY41" fmla="*/ 693420 h 4847915"/>
                <a:gd name="connsiteX42" fmla="*/ 2232660 w 5257800"/>
                <a:gd name="connsiteY42" fmla="*/ 739140 h 4847915"/>
                <a:gd name="connsiteX43" fmla="*/ 1234440 w 5257800"/>
                <a:gd name="connsiteY43" fmla="*/ 1059180 h 4847915"/>
                <a:gd name="connsiteX44" fmla="*/ 960120 w 5257800"/>
                <a:gd name="connsiteY44" fmla="*/ 1165860 h 4847915"/>
                <a:gd name="connsiteX45" fmla="*/ 815340 w 5257800"/>
                <a:gd name="connsiteY45" fmla="*/ 1257300 h 4847915"/>
                <a:gd name="connsiteX46" fmla="*/ 0 w 5257800"/>
                <a:gd name="connsiteY46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132522 w 5257800"/>
                <a:gd name="connsiteY31" fmla="*/ 4173543 h 4847915"/>
                <a:gd name="connsiteX32" fmla="*/ 5063073 w 5257800"/>
                <a:gd name="connsiteY32" fmla="*/ 4847915 h 4847915"/>
                <a:gd name="connsiteX33" fmla="*/ 4905544 w 5257800"/>
                <a:gd name="connsiteY33" fmla="*/ 4785630 h 4847915"/>
                <a:gd name="connsiteX34" fmla="*/ 4382946 w 5257800"/>
                <a:gd name="connsiteY34" fmla="*/ 4574791 h 4847915"/>
                <a:gd name="connsiteX35" fmla="*/ 4693920 w 5257800"/>
                <a:gd name="connsiteY35" fmla="*/ 3261360 h 4847915"/>
                <a:gd name="connsiteX36" fmla="*/ 4701540 w 5257800"/>
                <a:gd name="connsiteY36" fmla="*/ 2834640 h 4847915"/>
                <a:gd name="connsiteX37" fmla="*/ 4579620 w 5257800"/>
                <a:gd name="connsiteY37" fmla="*/ 2415540 h 4847915"/>
                <a:gd name="connsiteX38" fmla="*/ 4373880 w 5257800"/>
                <a:gd name="connsiteY38" fmla="*/ 2057400 h 4847915"/>
                <a:gd name="connsiteX39" fmla="*/ 3429000 w 5257800"/>
                <a:gd name="connsiteY39" fmla="*/ 1013460 h 4847915"/>
                <a:gd name="connsiteX40" fmla="*/ 3192780 w 5257800"/>
                <a:gd name="connsiteY40" fmla="*/ 853440 h 4847915"/>
                <a:gd name="connsiteX41" fmla="*/ 2910840 w 5257800"/>
                <a:gd name="connsiteY41" fmla="*/ 739140 h 4847915"/>
                <a:gd name="connsiteX42" fmla="*/ 2514600 w 5257800"/>
                <a:gd name="connsiteY42" fmla="*/ 693420 h 4847915"/>
                <a:gd name="connsiteX43" fmla="*/ 2232660 w 5257800"/>
                <a:gd name="connsiteY43" fmla="*/ 739140 h 4847915"/>
                <a:gd name="connsiteX44" fmla="*/ 1234440 w 5257800"/>
                <a:gd name="connsiteY44" fmla="*/ 1059180 h 4847915"/>
                <a:gd name="connsiteX45" fmla="*/ 960120 w 5257800"/>
                <a:gd name="connsiteY45" fmla="*/ 1165860 h 4847915"/>
                <a:gd name="connsiteX46" fmla="*/ 815340 w 5257800"/>
                <a:gd name="connsiteY46" fmla="*/ 1257300 h 4847915"/>
                <a:gd name="connsiteX47" fmla="*/ 0 w 5257800"/>
                <a:gd name="connsiteY47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02306 w 5257800"/>
                <a:gd name="connsiteY31" fmla="*/ 4363507 h 4847915"/>
                <a:gd name="connsiteX32" fmla="*/ 5063073 w 5257800"/>
                <a:gd name="connsiteY32" fmla="*/ 4847915 h 4847915"/>
                <a:gd name="connsiteX33" fmla="*/ 4905544 w 5257800"/>
                <a:gd name="connsiteY33" fmla="*/ 4785630 h 4847915"/>
                <a:gd name="connsiteX34" fmla="*/ 4382946 w 5257800"/>
                <a:gd name="connsiteY34" fmla="*/ 4574791 h 4847915"/>
                <a:gd name="connsiteX35" fmla="*/ 4693920 w 5257800"/>
                <a:gd name="connsiteY35" fmla="*/ 3261360 h 4847915"/>
                <a:gd name="connsiteX36" fmla="*/ 4701540 w 5257800"/>
                <a:gd name="connsiteY36" fmla="*/ 2834640 h 4847915"/>
                <a:gd name="connsiteX37" fmla="*/ 4579620 w 5257800"/>
                <a:gd name="connsiteY37" fmla="*/ 2415540 h 4847915"/>
                <a:gd name="connsiteX38" fmla="*/ 4373880 w 5257800"/>
                <a:gd name="connsiteY38" fmla="*/ 2057400 h 4847915"/>
                <a:gd name="connsiteX39" fmla="*/ 3429000 w 5257800"/>
                <a:gd name="connsiteY39" fmla="*/ 1013460 h 4847915"/>
                <a:gd name="connsiteX40" fmla="*/ 3192780 w 5257800"/>
                <a:gd name="connsiteY40" fmla="*/ 853440 h 4847915"/>
                <a:gd name="connsiteX41" fmla="*/ 2910840 w 5257800"/>
                <a:gd name="connsiteY41" fmla="*/ 739140 h 4847915"/>
                <a:gd name="connsiteX42" fmla="*/ 2514600 w 5257800"/>
                <a:gd name="connsiteY42" fmla="*/ 693420 h 4847915"/>
                <a:gd name="connsiteX43" fmla="*/ 2232660 w 5257800"/>
                <a:gd name="connsiteY43" fmla="*/ 739140 h 4847915"/>
                <a:gd name="connsiteX44" fmla="*/ 1234440 w 5257800"/>
                <a:gd name="connsiteY44" fmla="*/ 1059180 h 4847915"/>
                <a:gd name="connsiteX45" fmla="*/ 960120 w 5257800"/>
                <a:gd name="connsiteY45" fmla="*/ 1165860 h 4847915"/>
                <a:gd name="connsiteX46" fmla="*/ 815340 w 5257800"/>
                <a:gd name="connsiteY46" fmla="*/ 1257300 h 4847915"/>
                <a:gd name="connsiteX47" fmla="*/ 0 w 5257800"/>
                <a:gd name="connsiteY47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02306 w 5257800"/>
                <a:gd name="connsiteY31" fmla="*/ 4363507 h 4847915"/>
                <a:gd name="connsiteX32" fmla="*/ 5010987 w 5257800"/>
                <a:gd name="connsiteY32" fmla="*/ 4600961 h 4847915"/>
                <a:gd name="connsiteX33" fmla="*/ 5063073 w 5257800"/>
                <a:gd name="connsiteY33" fmla="*/ 4847915 h 4847915"/>
                <a:gd name="connsiteX34" fmla="*/ 4905544 w 5257800"/>
                <a:gd name="connsiteY34" fmla="*/ 4785630 h 4847915"/>
                <a:gd name="connsiteX35" fmla="*/ 4382946 w 5257800"/>
                <a:gd name="connsiteY35" fmla="*/ 4574791 h 4847915"/>
                <a:gd name="connsiteX36" fmla="*/ 4693920 w 5257800"/>
                <a:gd name="connsiteY36" fmla="*/ 3261360 h 4847915"/>
                <a:gd name="connsiteX37" fmla="*/ 4701540 w 5257800"/>
                <a:gd name="connsiteY37" fmla="*/ 2834640 h 4847915"/>
                <a:gd name="connsiteX38" fmla="*/ 4579620 w 5257800"/>
                <a:gd name="connsiteY38" fmla="*/ 2415540 h 4847915"/>
                <a:gd name="connsiteX39" fmla="*/ 4373880 w 5257800"/>
                <a:gd name="connsiteY39" fmla="*/ 2057400 h 4847915"/>
                <a:gd name="connsiteX40" fmla="*/ 3429000 w 5257800"/>
                <a:gd name="connsiteY40" fmla="*/ 1013460 h 4847915"/>
                <a:gd name="connsiteX41" fmla="*/ 3192780 w 5257800"/>
                <a:gd name="connsiteY41" fmla="*/ 853440 h 4847915"/>
                <a:gd name="connsiteX42" fmla="*/ 2910840 w 5257800"/>
                <a:gd name="connsiteY42" fmla="*/ 739140 h 4847915"/>
                <a:gd name="connsiteX43" fmla="*/ 2514600 w 5257800"/>
                <a:gd name="connsiteY43" fmla="*/ 693420 h 4847915"/>
                <a:gd name="connsiteX44" fmla="*/ 2232660 w 5257800"/>
                <a:gd name="connsiteY44" fmla="*/ 739140 h 4847915"/>
                <a:gd name="connsiteX45" fmla="*/ 1234440 w 5257800"/>
                <a:gd name="connsiteY45" fmla="*/ 1059180 h 4847915"/>
                <a:gd name="connsiteX46" fmla="*/ 960120 w 5257800"/>
                <a:gd name="connsiteY46" fmla="*/ 1165860 h 4847915"/>
                <a:gd name="connsiteX47" fmla="*/ 815340 w 5257800"/>
                <a:gd name="connsiteY47" fmla="*/ 1257300 h 4847915"/>
                <a:gd name="connsiteX48" fmla="*/ 0 w 5257800"/>
                <a:gd name="connsiteY48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02306 w 5257800"/>
                <a:gd name="connsiteY31" fmla="*/ 4363507 h 4847915"/>
                <a:gd name="connsiteX32" fmla="*/ 5132522 w 5257800"/>
                <a:gd name="connsiteY32" fmla="*/ 4429994 h 4847915"/>
                <a:gd name="connsiteX33" fmla="*/ 5063073 w 5257800"/>
                <a:gd name="connsiteY33" fmla="*/ 4847915 h 4847915"/>
                <a:gd name="connsiteX34" fmla="*/ 4905544 w 5257800"/>
                <a:gd name="connsiteY34" fmla="*/ 4785630 h 4847915"/>
                <a:gd name="connsiteX35" fmla="*/ 4382946 w 5257800"/>
                <a:gd name="connsiteY35" fmla="*/ 4574791 h 4847915"/>
                <a:gd name="connsiteX36" fmla="*/ 4693920 w 5257800"/>
                <a:gd name="connsiteY36" fmla="*/ 3261360 h 4847915"/>
                <a:gd name="connsiteX37" fmla="*/ 4701540 w 5257800"/>
                <a:gd name="connsiteY37" fmla="*/ 2834640 h 4847915"/>
                <a:gd name="connsiteX38" fmla="*/ 4579620 w 5257800"/>
                <a:gd name="connsiteY38" fmla="*/ 2415540 h 4847915"/>
                <a:gd name="connsiteX39" fmla="*/ 4373880 w 5257800"/>
                <a:gd name="connsiteY39" fmla="*/ 2057400 h 4847915"/>
                <a:gd name="connsiteX40" fmla="*/ 3429000 w 5257800"/>
                <a:gd name="connsiteY40" fmla="*/ 1013460 h 4847915"/>
                <a:gd name="connsiteX41" fmla="*/ 3192780 w 5257800"/>
                <a:gd name="connsiteY41" fmla="*/ 853440 h 4847915"/>
                <a:gd name="connsiteX42" fmla="*/ 2910840 w 5257800"/>
                <a:gd name="connsiteY42" fmla="*/ 739140 h 4847915"/>
                <a:gd name="connsiteX43" fmla="*/ 2514600 w 5257800"/>
                <a:gd name="connsiteY43" fmla="*/ 693420 h 4847915"/>
                <a:gd name="connsiteX44" fmla="*/ 2232660 w 5257800"/>
                <a:gd name="connsiteY44" fmla="*/ 739140 h 4847915"/>
                <a:gd name="connsiteX45" fmla="*/ 1234440 w 5257800"/>
                <a:gd name="connsiteY45" fmla="*/ 1059180 h 4847915"/>
                <a:gd name="connsiteX46" fmla="*/ 960120 w 5257800"/>
                <a:gd name="connsiteY46" fmla="*/ 1165860 h 4847915"/>
                <a:gd name="connsiteX47" fmla="*/ 815340 w 5257800"/>
                <a:gd name="connsiteY47" fmla="*/ 1257300 h 4847915"/>
                <a:gd name="connsiteX48" fmla="*/ 0 w 5257800"/>
                <a:gd name="connsiteY48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02306 w 5257800"/>
                <a:gd name="connsiteY31" fmla="*/ 4363507 h 4847915"/>
                <a:gd name="connsiteX32" fmla="*/ 5132522 w 5257800"/>
                <a:gd name="connsiteY32" fmla="*/ 4429994 h 4847915"/>
                <a:gd name="connsiteX33" fmla="*/ 5063073 w 5257800"/>
                <a:gd name="connsiteY33" fmla="*/ 4847915 h 4847915"/>
                <a:gd name="connsiteX34" fmla="*/ 4905544 w 5257800"/>
                <a:gd name="connsiteY34" fmla="*/ 4785630 h 4847915"/>
                <a:gd name="connsiteX35" fmla="*/ 4655065 w 5257800"/>
                <a:gd name="connsiteY35" fmla="*/ 4676947 h 4847915"/>
                <a:gd name="connsiteX36" fmla="*/ 4382946 w 5257800"/>
                <a:gd name="connsiteY36" fmla="*/ 4574791 h 4847915"/>
                <a:gd name="connsiteX37" fmla="*/ 4693920 w 5257800"/>
                <a:gd name="connsiteY37" fmla="*/ 3261360 h 4847915"/>
                <a:gd name="connsiteX38" fmla="*/ 4701540 w 5257800"/>
                <a:gd name="connsiteY38" fmla="*/ 2834640 h 4847915"/>
                <a:gd name="connsiteX39" fmla="*/ 4579620 w 5257800"/>
                <a:gd name="connsiteY39" fmla="*/ 2415540 h 4847915"/>
                <a:gd name="connsiteX40" fmla="*/ 4373880 w 5257800"/>
                <a:gd name="connsiteY40" fmla="*/ 2057400 h 4847915"/>
                <a:gd name="connsiteX41" fmla="*/ 3429000 w 5257800"/>
                <a:gd name="connsiteY41" fmla="*/ 1013460 h 4847915"/>
                <a:gd name="connsiteX42" fmla="*/ 3192780 w 5257800"/>
                <a:gd name="connsiteY42" fmla="*/ 853440 h 4847915"/>
                <a:gd name="connsiteX43" fmla="*/ 2910840 w 5257800"/>
                <a:gd name="connsiteY43" fmla="*/ 739140 h 4847915"/>
                <a:gd name="connsiteX44" fmla="*/ 2514600 w 5257800"/>
                <a:gd name="connsiteY44" fmla="*/ 693420 h 4847915"/>
                <a:gd name="connsiteX45" fmla="*/ 2232660 w 5257800"/>
                <a:gd name="connsiteY45" fmla="*/ 739140 h 4847915"/>
                <a:gd name="connsiteX46" fmla="*/ 1234440 w 5257800"/>
                <a:gd name="connsiteY46" fmla="*/ 1059180 h 4847915"/>
                <a:gd name="connsiteX47" fmla="*/ 960120 w 5257800"/>
                <a:gd name="connsiteY47" fmla="*/ 1165860 h 4847915"/>
                <a:gd name="connsiteX48" fmla="*/ 815340 w 5257800"/>
                <a:gd name="connsiteY48" fmla="*/ 1257300 h 4847915"/>
                <a:gd name="connsiteX49" fmla="*/ 0 w 5257800"/>
                <a:gd name="connsiteY49" fmla="*/ 1234440 h 4847915"/>
                <a:gd name="connsiteX0" fmla="*/ 0 w 5257800"/>
                <a:gd name="connsiteY0" fmla="*/ 1234440 h 5588772"/>
                <a:gd name="connsiteX1" fmla="*/ 213360 w 5257800"/>
                <a:gd name="connsiteY1" fmla="*/ 990600 h 5588772"/>
                <a:gd name="connsiteX2" fmla="*/ 457200 w 5257800"/>
                <a:gd name="connsiteY2" fmla="*/ 792480 h 5588772"/>
                <a:gd name="connsiteX3" fmla="*/ 685800 w 5257800"/>
                <a:gd name="connsiteY3" fmla="*/ 624840 h 5588772"/>
                <a:gd name="connsiteX4" fmla="*/ 929640 w 5257800"/>
                <a:gd name="connsiteY4" fmla="*/ 533400 h 5588772"/>
                <a:gd name="connsiteX5" fmla="*/ 891540 w 5257800"/>
                <a:gd name="connsiteY5" fmla="*/ 426720 h 5588772"/>
                <a:gd name="connsiteX6" fmla="*/ 1074420 w 5257800"/>
                <a:gd name="connsiteY6" fmla="*/ 358140 h 5588772"/>
                <a:gd name="connsiteX7" fmla="*/ 1120140 w 5257800"/>
                <a:gd name="connsiteY7" fmla="*/ 464820 h 5588772"/>
                <a:gd name="connsiteX8" fmla="*/ 1242060 w 5257800"/>
                <a:gd name="connsiteY8" fmla="*/ 434340 h 5588772"/>
                <a:gd name="connsiteX9" fmla="*/ 1272540 w 5257800"/>
                <a:gd name="connsiteY9" fmla="*/ 365760 h 5588772"/>
                <a:gd name="connsiteX10" fmla="*/ 1531620 w 5257800"/>
                <a:gd name="connsiteY10" fmla="*/ 297180 h 5588772"/>
                <a:gd name="connsiteX11" fmla="*/ 1584960 w 5257800"/>
                <a:gd name="connsiteY11" fmla="*/ 327660 h 5588772"/>
                <a:gd name="connsiteX12" fmla="*/ 1714500 w 5257800"/>
                <a:gd name="connsiteY12" fmla="*/ 274320 h 5588772"/>
                <a:gd name="connsiteX13" fmla="*/ 1684020 w 5257800"/>
                <a:gd name="connsiteY13" fmla="*/ 114300 h 5588772"/>
                <a:gd name="connsiteX14" fmla="*/ 2087880 w 5257800"/>
                <a:gd name="connsiteY14" fmla="*/ 0 h 5588772"/>
                <a:gd name="connsiteX15" fmla="*/ 2133600 w 5257800"/>
                <a:gd name="connsiteY15" fmla="*/ 160020 h 5588772"/>
                <a:gd name="connsiteX16" fmla="*/ 2385060 w 5257800"/>
                <a:gd name="connsiteY16" fmla="*/ 106680 h 5588772"/>
                <a:gd name="connsiteX17" fmla="*/ 2644140 w 5257800"/>
                <a:gd name="connsiteY17" fmla="*/ 99060 h 5588772"/>
                <a:gd name="connsiteX18" fmla="*/ 2971800 w 5257800"/>
                <a:gd name="connsiteY18" fmla="*/ 152400 h 5588772"/>
                <a:gd name="connsiteX19" fmla="*/ 3299460 w 5257800"/>
                <a:gd name="connsiteY19" fmla="*/ 251460 h 5588772"/>
                <a:gd name="connsiteX20" fmla="*/ 3665220 w 5257800"/>
                <a:gd name="connsiteY20" fmla="*/ 464820 h 5588772"/>
                <a:gd name="connsiteX21" fmla="*/ 3954780 w 5257800"/>
                <a:gd name="connsiteY21" fmla="*/ 723900 h 5588772"/>
                <a:gd name="connsiteX22" fmla="*/ 4465320 w 5257800"/>
                <a:gd name="connsiteY22" fmla="*/ 1280160 h 5588772"/>
                <a:gd name="connsiteX23" fmla="*/ 4495800 w 5257800"/>
                <a:gd name="connsiteY23" fmla="*/ 1287780 h 5588772"/>
                <a:gd name="connsiteX24" fmla="*/ 4678680 w 5257800"/>
                <a:gd name="connsiteY24" fmla="*/ 1463040 h 5588772"/>
                <a:gd name="connsiteX25" fmla="*/ 4663440 w 5257800"/>
                <a:gd name="connsiteY25" fmla="*/ 1524000 h 5588772"/>
                <a:gd name="connsiteX26" fmla="*/ 4914900 w 5257800"/>
                <a:gd name="connsiteY26" fmla="*/ 1821180 h 5588772"/>
                <a:gd name="connsiteX27" fmla="*/ 5105400 w 5257800"/>
                <a:gd name="connsiteY27" fmla="*/ 2217420 h 5588772"/>
                <a:gd name="connsiteX28" fmla="*/ 5227320 w 5257800"/>
                <a:gd name="connsiteY28" fmla="*/ 2636520 h 5588772"/>
                <a:gd name="connsiteX29" fmla="*/ 5257800 w 5257800"/>
                <a:gd name="connsiteY29" fmla="*/ 3086100 h 5588772"/>
                <a:gd name="connsiteX30" fmla="*/ 5204460 w 5257800"/>
                <a:gd name="connsiteY30" fmla="*/ 3611880 h 5588772"/>
                <a:gd name="connsiteX31" fmla="*/ 5002306 w 5257800"/>
                <a:gd name="connsiteY31" fmla="*/ 4363507 h 5588772"/>
                <a:gd name="connsiteX32" fmla="*/ 5132522 w 5257800"/>
                <a:gd name="connsiteY32" fmla="*/ 4429994 h 5588772"/>
                <a:gd name="connsiteX33" fmla="*/ 5063073 w 5257800"/>
                <a:gd name="connsiteY33" fmla="*/ 4847915 h 5588772"/>
                <a:gd name="connsiteX34" fmla="*/ 4905544 w 5257800"/>
                <a:gd name="connsiteY34" fmla="*/ 4785630 h 5588772"/>
                <a:gd name="connsiteX35" fmla="*/ 3595980 w 5257800"/>
                <a:gd name="connsiteY35" fmla="*/ 5588772 h 5588772"/>
                <a:gd name="connsiteX36" fmla="*/ 4382946 w 5257800"/>
                <a:gd name="connsiteY36" fmla="*/ 4574791 h 5588772"/>
                <a:gd name="connsiteX37" fmla="*/ 4693920 w 5257800"/>
                <a:gd name="connsiteY37" fmla="*/ 3261360 h 5588772"/>
                <a:gd name="connsiteX38" fmla="*/ 4701540 w 5257800"/>
                <a:gd name="connsiteY38" fmla="*/ 2834640 h 5588772"/>
                <a:gd name="connsiteX39" fmla="*/ 4579620 w 5257800"/>
                <a:gd name="connsiteY39" fmla="*/ 2415540 h 5588772"/>
                <a:gd name="connsiteX40" fmla="*/ 4373880 w 5257800"/>
                <a:gd name="connsiteY40" fmla="*/ 2057400 h 5588772"/>
                <a:gd name="connsiteX41" fmla="*/ 3429000 w 5257800"/>
                <a:gd name="connsiteY41" fmla="*/ 1013460 h 5588772"/>
                <a:gd name="connsiteX42" fmla="*/ 3192780 w 5257800"/>
                <a:gd name="connsiteY42" fmla="*/ 853440 h 5588772"/>
                <a:gd name="connsiteX43" fmla="*/ 2910840 w 5257800"/>
                <a:gd name="connsiteY43" fmla="*/ 739140 h 5588772"/>
                <a:gd name="connsiteX44" fmla="*/ 2514600 w 5257800"/>
                <a:gd name="connsiteY44" fmla="*/ 693420 h 5588772"/>
                <a:gd name="connsiteX45" fmla="*/ 2232660 w 5257800"/>
                <a:gd name="connsiteY45" fmla="*/ 739140 h 5588772"/>
                <a:gd name="connsiteX46" fmla="*/ 1234440 w 5257800"/>
                <a:gd name="connsiteY46" fmla="*/ 1059180 h 5588772"/>
                <a:gd name="connsiteX47" fmla="*/ 960120 w 5257800"/>
                <a:gd name="connsiteY47" fmla="*/ 1165860 h 5588772"/>
                <a:gd name="connsiteX48" fmla="*/ 815340 w 5257800"/>
                <a:gd name="connsiteY48" fmla="*/ 1257300 h 5588772"/>
                <a:gd name="connsiteX49" fmla="*/ 0 w 5257800"/>
                <a:gd name="connsiteY49" fmla="*/ 1234440 h 5588772"/>
                <a:gd name="connsiteX0" fmla="*/ 0 w 5257800"/>
                <a:gd name="connsiteY0" fmla="*/ 1234440 h 5588772"/>
                <a:gd name="connsiteX1" fmla="*/ 213360 w 5257800"/>
                <a:gd name="connsiteY1" fmla="*/ 990600 h 5588772"/>
                <a:gd name="connsiteX2" fmla="*/ 457200 w 5257800"/>
                <a:gd name="connsiteY2" fmla="*/ 792480 h 5588772"/>
                <a:gd name="connsiteX3" fmla="*/ 685800 w 5257800"/>
                <a:gd name="connsiteY3" fmla="*/ 624840 h 5588772"/>
                <a:gd name="connsiteX4" fmla="*/ 929640 w 5257800"/>
                <a:gd name="connsiteY4" fmla="*/ 533400 h 5588772"/>
                <a:gd name="connsiteX5" fmla="*/ 891540 w 5257800"/>
                <a:gd name="connsiteY5" fmla="*/ 426720 h 5588772"/>
                <a:gd name="connsiteX6" fmla="*/ 1074420 w 5257800"/>
                <a:gd name="connsiteY6" fmla="*/ 358140 h 5588772"/>
                <a:gd name="connsiteX7" fmla="*/ 1120140 w 5257800"/>
                <a:gd name="connsiteY7" fmla="*/ 464820 h 5588772"/>
                <a:gd name="connsiteX8" fmla="*/ 1242060 w 5257800"/>
                <a:gd name="connsiteY8" fmla="*/ 434340 h 5588772"/>
                <a:gd name="connsiteX9" fmla="*/ 1272540 w 5257800"/>
                <a:gd name="connsiteY9" fmla="*/ 365760 h 5588772"/>
                <a:gd name="connsiteX10" fmla="*/ 1531620 w 5257800"/>
                <a:gd name="connsiteY10" fmla="*/ 297180 h 5588772"/>
                <a:gd name="connsiteX11" fmla="*/ 1584960 w 5257800"/>
                <a:gd name="connsiteY11" fmla="*/ 327660 h 5588772"/>
                <a:gd name="connsiteX12" fmla="*/ 1714500 w 5257800"/>
                <a:gd name="connsiteY12" fmla="*/ 274320 h 5588772"/>
                <a:gd name="connsiteX13" fmla="*/ 1684020 w 5257800"/>
                <a:gd name="connsiteY13" fmla="*/ 114300 h 5588772"/>
                <a:gd name="connsiteX14" fmla="*/ 2087880 w 5257800"/>
                <a:gd name="connsiteY14" fmla="*/ 0 h 5588772"/>
                <a:gd name="connsiteX15" fmla="*/ 2133600 w 5257800"/>
                <a:gd name="connsiteY15" fmla="*/ 160020 h 5588772"/>
                <a:gd name="connsiteX16" fmla="*/ 2385060 w 5257800"/>
                <a:gd name="connsiteY16" fmla="*/ 106680 h 5588772"/>
                <a:gd name="connsiteX17" fmla="*/ 2644140 w 5257800"/>
                <a:gd name="connsiteY17" fmla="*/ 99060 h 5588772"/>
                <a:gd name="connsiteX18" fmla="*/ 2971800 w 5257800"/>
                <a:gd name="connsiteY18" fmla="*/ 152400 h 5588772"/>
                <a:gd name="connsiteX19" fmla="*/ 3299460 w 5257800"/>
                <a:gd name="connsiteY19" fmla="*/ 251460 h 5588772"/>
                <a:gd name="connsiteX20" fmla="*/ 3665220 w 5257800"/>
                <a:gd name="connsiteY20" fmla="*/ 464820 h 5588772"/>
                <a:gd name="connsiteX21" fmla="*/ 3954780 w 5257800"/>
                <a:gd name="connsiteY21" fmla="*/ 723900 h 5588772"/>
                <a:gd name="connsiteX22" fmla="*/ 4465320 w 5257800"/>
                <a:gd name="connsiteY22" fmla="*/ 1280160 h 5588772"/>
                <a:gd name="connsiteX23" fmla="*/ 4495800 w 5257800"/>
                <a:gd name="connsiteY23" fmla="*/ 1287780 h 5588772"/>
                <a:gd name="connsiteX24" fmla="*/ 4678680 w 5257800"/>
                <a:gd name="connsiteY24" fmla="*/ 1463040 h 5588772"/>
                <a:gd name="connsiteX25" fmla="*/ 4663440 w 5257800"/>
                <a:gd name="connsiteY25" fmla="*/ 1524000 h 5588772"/>
                <a:gd name="connsiteX26" fmla="*/ 4914900 w 5257800"/>
                <a:gd name="connsiteY26" fmla="*/ 1821180 h 5588772"/>
                <a:gd name="connsiteX27" fmla="*/ 5105400 w 5257800"/>
                <a:gd name="connsiteY27" fmla="*/ 2217420 h 5588772"/>
                <a:gd name="connsiteX28" fmla="*/ 5227320 w 5257800"/>
                <a:gd name="connsiteY28" fmla="*/ 2636520 h 5588772"/>
                <a:gd name="connsiteX29" fmla="*/ 5257800 w 5257800"/>
                <a:gd name="connsiteY29" fmla="*/ 3086100 h 5588772"/>
                <a:gd name="connsiteX30" fmla="*/ 5204460 w 5257800"/>
                <a:gd name="connsiteY30" fmla="*/ 3611880 h 5588772"/>
                <a:gd name="connsiteX31" fmla="*/ 5002306 w 5257800"/>
                <a:gd name="connsiteY31" fmla="*/ 4363507 h 5588772"/>
                <a:gd name="connsiteX32" fmla="*/ 5132522 w 5257800"/>
                <a:gd name="connsiteY32" fmla="*/ 4429994 h 5588772"/>
                <a:gd name="connsiteX33" fmla="*/ 5063073 w 5257800"/>
                <a:gd name="connsiteY33" fmla="*/ 4847915 h 5588772"/>
                <a:gd name="connsiteX34" fmla="*/ 4905544 w 5257800"/>
                <a:gd name="connsiteY34" fmla="*/ 4785630 h 5588772"/>
                <a:gd name="connsiteX35" fmla="*/ 4385953 w 5257800"/>
                <a:gd name="connsiteY35" fmla="*/ 5104365 h 5588772"/>
                <a:gd name="connsiteX36" fmla="*/ 3595980 w 5257800"/>
                <a:gd name="connsiteY36" fmla="*/ 5588772 h 5588772"/>
                <a:gd name="connsiteX37" fmla="*/ 4382946 w 5257800"/>
                <a:gd name="connsiteY37" fmla="*/ 4574791 h 5588772"/>
                <a:gd name="connsiteX38" fmla="*/ 4693920 w 5257800"/>
                <a:gd name="connsiteY38" fmla="*/ 3261360 h 5588772"/>
                <a:gd name="connsiteX39" fmla="*/ 4701540 w 5257800"/>
                <a:gd name="connsiteY39" fmla="*/ 2834640 h 5588772"/>
                <a:gd name="connsiteX40" fmla="*/ 4579620 w 5257800"/>
                <a:gd name="connsiteY40" fmla="*/ 2415540 h 5588772"/>
                <a:gd name="connsiteX41" fmla="*/ 4373880 w 5257800"/>
                <a:gd name="connsiteY41" fmla="*/ 2057400 h 5588772"/>
                <a:gd name="connsiteX42" fmla="*/ 3429000 w 5257800"/>
                <a:gd name="connsiteY42" fmla="*/ 1013460 h 5588772"/>
                <a:gd name="connsiteX43" fmla="*/ 3192780 w 5257800"/>
                <a:gd name="connsiteY43" fmla="*/ 853440 h 5588772"/>
                <a:gd name="connsiteX44" fmla="*/ 2910840 w 5257800"/>
                <a:gd name="connsiteY44" fmla="*/ 739140 h 5588772"/>
                <a:gd name="connsiteX45" fmla="*/ 2514600 w 5257800"/>
                <a:gd name="connsiteY45" fmla="*/ 693420 h 5588772"/>
                <a:gd name="connsiteX46" fmla="*/ 2232660 w 5257800"/>
                <a:gd name="connsiteY46" fmla="*/ 739140 h 5588772"/>
                <a:gd name="connsiteX47" fmla="*/ 1234440 w 5257800"/>
                <a:gd name="connsiteY47" fmla="*/ 1059180 h 5588772"/>
                <a:gd name="connsiteX48" fmla="*/ 960120 w 5257800"/>
                <a:gd name="connsiteY48" fmla="*/ 1165860 h 5588772"/>
                <a:gd name="connsiteX49" fmla="*/ 815340 w 5257800"/>
                <a:gd name="connsiteY49" fmla="*/ 1257300 h 5588772"/>
                <a:gd name="connsiteX50" fmla="*/ 0 w 5257800"/>
                <a:gd name="connsiteY50" fmla="*/ 1234440 h 5588772"/>
                <a:gd name="connsiteX0" fmla="*/ 0 w 5257800"/>
                <a:gd name="connsiteY0" fmla="*/ 1234440 h 6187157"/>
                <a:gd name="connsiteX1" fmla="*/ 213360 w 5257800"/>
                <a:gd name="connsiteY1" fmla="*/ 990600 h 6187157"/>
                <a:gd name="connsiteX2" fmla="*/ 457200 w 5257800"/>
                <a:gd name="connsiteY2" fmla="*/ 792480 h 6187157"/>
                <a:gd name="connsiteX3" fmla="*/ 685800 w 5257800"/>
                <a:gd name="connsiteY3" fmla="*/ 624840 h 6187157"/>
                <a:gd name="connsiteX4" fmla="*/ 929640 w 5257800"/>
                <a:gd name="connsiteY4" fmla="*/ 533400 h 6187157"/>
                <a:gd name="connsiteX5" fmla="*/ 891540 w 5257800"/>
                <a:gd name="connsiteY5" fmla="*/ 426720 h 6187157"/>
                <a:gd name="connsiteX6" fmla="*/ 1074420 w 5257800"/>
                <a:gd name="connsiteY6" fmla="*/ 358140 h 6187157"/>
                <a:gd name="connsiteX7" fmla="*/ 1120140 w 5257800"/>
                <a:gd name="connsiteY7" fmla="*/ 464820 h 6187157"/>
                <a:gd name="connsiteX8" fmla="*/ 1242060 w 5257800"/>
                <a:gd name="connsiteY8" fmla="*/ 434340 h 6187157"/>
                <a:gd name="connsiteX9" fmla="*/ 1272540 w 5257800"/>
                <a:gd name="connsiteY9" fmla="*/ 365760 h 6187157"/>
                <a:gd name="connsiteX10" fmla="*/ 1531620 w 5257800"/>
                <a:gd name="connsiteY10" fmla="*/ 297180 h 6187157"/>
                <a:gd name="connsiteX11" fmla="*/ 1584960 w 5257800"/>
                <a:gd name="connsiteY11" fmla="*/ 327660 h 6187157"/>
                <a:gd name="connsiteX12" fmla="*/ 1714500 w 5257800"/>
                <a:gd name="connsiteY12" fmla="*/ 274320 h 6187157"/>
                <a:gd name="connsiteX13" fmla="*/ 1684020 w 5257800"/>
                <a:gd name="connsiteY13" fmla="*/ 114300 h 6187157"/>
                <a:gd name="connsiteX14" fmla="*/ 2087880 w 5257800"/>
                <a:gd name="connsiteY14" fmla="*/ 0 h 6187157"/>
                <a:gd name="connsiteX15" fmla="*/ 2133600 w 5257800"/>
                <a:gd name="connsiteY15" fmla="*/ 160020 h 6187157"/>
                <a:gd name="connsiteX16" fmla="*/ 2385060 w 5257800"/>
                <a:gd name="connsiteY16" fmla="*/ 106680 h 6187157"/>
                <a:gd name="connsiteX17" fmla="*/ 2644140 w 5257800"/>
                <a:gd name="connsiteY17" fmla="*/ 99060 h 6187157"/>
                <a:gd name="connsiteX18" fmla="*/ 2971800 w 5257800"/>
                <a:gd name="connsiteY18" fmla="*/ 152400 h 6187157"/>
                <a:gd name="connsiteX19" fmla="*/ 3299460 w 5257800"/>
                <a:gd name="connsiteY19" fmla="*/ 251460 h 6187157"/>
                <a:gd name="connsiteX20" fmla="*/ 3665220 w 5257800"/>
                <a:gd name="connsiteY20" fmla="*/ 464820 h 6187157"/>
                <a:gd name="connsiteX21" fmla="*/ 3954780 w 5257800"/>
                <a:gd name="connsiteY21" fmla="*/ 723900 h 6187157"/>
                <a:gd name="connsiteX22" fmla="*/ 4465320 w 5257800"/>
                <a:gd name="connsiteY22" fmla="*/ 1280160 h 6187157"/>
                <a:gd name="connsiteX23" fmla="*/ 4495800 w 5257800"/>
                <a:gd name="connsiteY23" fmla="*/ 1287780 h 6187157"/>
                <a:gd name="connsiteX24" fmla="*/ 4678680 w 5257800"/>
                <a:gd name="connsiteY24" fmla="*/ 1463040 h 6187157"/>
                <a:gd name="connsiteX25" fmla="*/ 4663440 w 5257800"/>
                <a:gd name="connsiteY25" fmla="*/ 1524000 h 6187157"/>
                <a:gd name="connsiteX26" fmla="*/ 4914900 w 5257800"/>
                <a:gd name="connsiteY26" fmla="*/ 1821180 h 6187157"/>
                <a:gd name="connsiteX27" fmla="*/ 5105400 w 5257800"/>
                <a:gd name="connsiteY27" fmla="*/ 2217420 h 6187157"/>
                <a:gd name="connsiteX28" fmla="*/ 5227320 w 5257800"/>
                <a:gd name="connsiteY28" fmla="*/ 2636520 h 6187157"/>
                <a:gd name="connsiteX29" fmla="*/ 5257800 w 5257800"/>
                <a:gd name="connsiteY29" fmla="*/ 3086100 h 6187157"/>
                <a:gd name="connsiteX30" fmla="*/ 5204460 w 5257800"/>
                <a:gd name="connsiteY30" fmla="*/ 3611880 h 6187157"/>
                <a:gd name="connsiteX31" fmla="*/ 5002306 w 5257800"/>
                <a:gd name="connsiteY31" fmla="*/ 4363507 h 6187157"/>
                <a:gd name="connsiteX32" fmla="*/ 5132522 w 5257800"/>
                <a:gd name="connsiteY32" fmla="*/ 4429994 h 6187157"/>
                <a:gd name="connsiteX33" fmla="*/ 5063073 w 5257800"/>
                <a:gd name="connsiteY33" fmla="*/ 4847915 h 6187157"/>
                <a:gd name="connsiteX34" fmla="*/ 4905544 w 5257800"/>
                <a:gd name="connsiteY34" fmla="*/ 4785630 h 6187157"/>
                <a:gd name="connsiteX35" fmla="*/ 3743556 w 5257800"/>
                <a:gd name="connsiteY35" fmla="*/ 6187157 h 6187157"/>
                <a:gd name="connsiteX36" fmla="*/ 3595980 w 5257800"/>
                <a:gd name="connsiteY36" fmla="*/ 5588772 h 6187157"/>
                <a:gd name="connsiteX37" fmla="*/ 4382946 w 5257800"/>
                <a:gd name="connsiteY37" fmla="*/ 4574791 h 6187157"/>
                <a:gd name="connsiteX38" fmla="*/ 4693920 w 5257800"/>
                <a:gd name="connsiteY38" fmla="*/ 3261360 h 6187157"/>
                <a:gd name="connsiteX39" fmla="*/ 4701540 w 5257800"/>
                <a:gd name="connsiteY39" fmla="*/ 2834640 h 6187157"/>
                <a:gd name="connsiteX40" fmla="*/ 4579620 w 5257800"/>
                <a:gd name="connsiteY40" fmla="*/ 2415540 h 6187157"/>
                <a:gd name="connsiteX41" fmla="*/ 4373880 w 5257800"/>
                <a:gd name="connsiteY41" fmla="*/ 2057400 h 6187157"/>
                <a:gd name="connsiteX42" fmla="*/ 3429000 w 5257800"/>
                <a:gd name="connsiteY42" fmla="*/ 1013460 h 6187157"/>
                <a:gd name="connsiteX43" fmla="*/ 3192780 w 5257800"/>
                <a:gd name="connsiteY43" fmla="*/ 853440 h 6187157"/>
                <a:gd name="connsiteX44" fmla="*/ 2910840 w 5257800"/>
                <a:gd name="connsiteY44" fmla="*/ 739140 h 6187157"/>
                <a:gd name="connsiteX45" fmla="*/ 2514600 w 5257800"/>
                <a:gd name="connsiteY45" fmla="*/ 693420 h 6187157"/>
                <a:gd name="connsiteX46" fmla="*/ 2232660 w 5257800"/>
                <a:gd name="connsiteY46" fmla="*/ 739140 h 6187157"/>
                <a:gd name="connsiteX47" fmla="*/ 1234440 w 5257800"/>
                <a:gd name="connsiteY47" fmla="*/ 1059180 h 6187157"/>
                <a:gd name="connsiteX48" fmla="*/ 960120 w 5257800"/>
                <a:gd name="connsiteY48" fmla="*/ 1165860 h 6187157"/>
                <a:gd name="connsiteX49" fmla="*/ 815340 w 5257800"/>
                <a:gd name="connsiteY49" fmla="*/ 1257300 h 6187157"/>
                <a:gd name="connsiteX50" fmla="*/ 0 w 5257800"/>
                <a:gd name="connsiteY50" fmla="*/ 1234440 h 6187157"/>
                <a:gd name="connsiteX0" fmla="*/ 0 w 5257800"/>
                <a:gd name="connsiteY0" fmla="*/ 1234440 h 6187157"/>
                <a:gd name="connsiteX1" fmla="*/ 213360 w 5257800"/>
                <a:gd name="connsiteY1" fmla="*/ 990600 h 6187157"/>
                <a:gd name="connsiteX2" fmla="*/ 457200 w 5257800"/>
                <a:gd name="connsiteY2" fmla="*/ 792480 h 6187157"/>
                <a:gd name="connsiteX3" fmla="*/ 685800 w 5257800"/>
                <a:gd name="connsiteY3" fmla="*/ 624840 h 6187157"/>
                <a:gd name="connsiteX4" fmla="*/ 929640 w 5257800"/>
                <a:gd name="connsiteY4" fmla="*/ 533400 h 6187157"/>
                <a:gd name="connsiteX5" fmla="*/ 891540 w 5257800"/>
                <a:gd name="connsiteY5" fmla="*/ 426720 h 6187157"/>
                <a:gd name="connsiteX6" fmla="*/ 1074420 w 5257800"/>
                <a:gd name="connsiteY6" fmla="*/ 358140 h 6187157"/>
                <a:gd name="connsiteX7" fmla="*/ 1120140 w 5257800"/>
                <a:gd name="connsiteY7" fmla="*/ 464820 h 6187157"/>
                <a:gd name="connsiteX8" fmla="*/ 1242060 w 5257800"/>
                <a:gd name="connsiteY8" fmla="*/ 434340 h 6187157"/>
                <a:gd name="connsiteX9" fmla="*/ 1272540 w 5257800"/>
                <a:gd name="connsiteY9" fmla="*/ 365760 h 6187157"/>
                <a:gd name="connsiteX10" fmla="*/ 1531620 w 5257800"/>
                <a:gd name="connsiteY10" fmla="*/ 297180 h 6187157"/>
                <a:gd name="connsiteX11" fmla="*/ 1584960 w 5257800"/>
                <a:gd name="connsiteY11" fmla="*/ 327660 h 6187157"/>
                <a:gd name="connsiteX12" fmla="*/ 1714500 w 5257800"/>
                <a:gd name="connsiteY12" fmla="*/ 274320 h 6187157"/>
                <a:gd name="connsiteX13" fmla="*/ 1684020 w 5257800"/>
                <a:gd name="connsiteY13" fmla="*/ 114300 h 6187157"/>
                <a:gd name="connsiteX14" fmla="*/ 2087880 w 5257800"/>
                <a:gd name="connsiteY14" fmla="*/ 0 h 6187157"/>
                <a:gd name="connsiteX15" fmla="*/ 2133600 w 5257800"/>
                <a:gd name="connsiteY15" fmla="*/ 160020 h 6187157"/>
                <a:gd name="connsiteX16" fmla="*/ 2385060 w 5257800"/>
                <a:gd name="connsiteY16" fmla="*/ 106680 h 6187157"/>
                <a:gd name="connsiteX17" fmla="*/ 2644140 w 5257800"/>
                <a:gd name="connsiteY17" fmla="*/ 99060 h 6187157"/>
                <a:gd name="connsiteX18" fmla="*/ 2971800 w 5257800"/>
                <a:gd name="connsiteY18" fmla="*/ 152400 h 6187157"/>
                <a:gd name="connsiteX19" fmla="*/ 3299460 w 5257800"/>
                <a:gd name="connsiteY19" fmla="*/ 251460 h 6187157"/>
                <a:gd name="connsiteX20" fmla="*/ 3665220 w 5257800"/>
                <a:gd name="connsiteY20" fmla="*/ 464820 h 6187157"/>
                <a:gd name="connsiteX21" fmla="*/ 3954780 w 5257800"/>
                <a:gd name="connsiteY21" fmla="*/ 723900 h 6187157"/>
                <a:gd name="connsiteX22" fmla="*/ 4465320 w 5257800"/>
                <a:gd name="connsiteY22" fmla="*/ 1280160 h 6187157"/>
                <a:gd name="connsiteX23" fmla="*/ 4495800 w 5257800"/>
                <a:gd name="connsiteY23" fmla="*/ 1287780 h 6187157"/>
                <a:gd name="connsiteX24" fmla="*/ 4678680 w 5257800"/>
                <a:gd name="connsiteY24" fmla="*/ 1463040 h 6187157"/>
                <a:gd name="connsiteX25" fmla="*/ 4663440 w 5257800"/>
                <a:gd name="connsiteY25" fmla="*/ 1524000 h 6187157"/>
                <a:gd name="connsiteX26" fmla="*/ 4914900 w 5257800"/>
                <a:gd name="connsiteY26" fmla="*/ 1821180 h 6187157"/>
                <a:gd name="connsiteX27" fmla="*/ 5105400 w 5257800"/>
                <a:gd name="connsiteY27" fmla="*/ 2217420 h 6187157"/>
                <a:gd name="connsiteX28" fmla="*/ 5227320 w 5257800"/>
                <a:gd name="connsiteY28" fmla="*/ 2636520 h 6187157"/>
                <a:gd name="connsiteX29" fmla="*/ 5257800 w 5257800"/>
                <a:gd name="connsiteY29" fmla="*/ 3086100 h 6187157"/>
                <a:gd name="connsiteX30" fmla="*/ 5204460 w 5257800"/>
                <a:gd name="connsiteY30" fmla="*/ 3611880 h 6187157"/>
                <a:gd name="connsiteX31" fmla="*/ 5002306 w 5257800"/>
                <a:gd name="connsiteY31" fmla="*/ 4363507 h 6187157"/>
                <a:gd name="connsiteX32" fmla="*/ 5132522 w 5257800"/>
                <a:gd name="connsiteY32" fmla="*/ 4429994 h 6187157"/>
                <a:gd name="connsiteX33" fmla="*/ 5063073 w 5257800"/>
                <a:gd name="connsiteY33" fmla="*/ 4847915 h 6187157"/>
                <a:gd name="connsiteX34" fmla="*/ 4905544 w 5257800"/>
                <a:gd name="connsiteY34" fmla="*/ 4785630 h 6187157"/>
                <a:gd name="connsiteX35" fmla="*/ 3743556 w 5257800"/>
                <a:gd name="connsiteY35" fmla="*/ 6187157 h 6187157"/>
                <a:gd name="connsiteX36" fmla="*/ 3595980 w 5257800"/>
                <a:gd name="connsiteY36" fmla="*/ 5588772 h 6187157"/>
                <a:gd name="connsiteX37" fmla="*/ 4382946 w 5257800"/>
                <a:gd name="connsiteY37" fmla="*/ 4574791 h 6187157"/>
                <a:gd name="connsiteX38" fmla="*/ 4693920 w 5257800"/>
                <a:gd name="connsiteY38" fmla="*/ 3261360 h 6187157"/>
                <a:gd name="connsiteX39" fmla="*/ 4701540 w 5257800"/>
                <a:gd name="connsiteY39" fmla="*/ 2834640 h 6187157"/>
                <a:gd name="connsiteX40" fmla="*/ 4579620 w 5257800"/>
                <a:gd name="connsiteY40" fmla="*/ 2415540 h 6187157"/>
                <a:gd name="connsiteX41" fmla="*/ 4373880 w 5257800"/>
                <a:gd name="connsiteY41" fmla="*/ 2057400 h 6187157"/>
                <a:gd name="connsiteX42" fmla="*/ 3429000 w 5257800"/>
                <a:gd name="connsiteY42" fmla="*/ 1013460 h 6187157"/>
                <a:gd name="connsiteX43" fmla="*/ 3192780 w 5257800"/>
                <a:gd name="connsiteY43" fmla="*/ 853440 h 6187157"/>
                <a:gd name="connsiteX44" fmla="*/ 2910840 w 5257800"/>
                <a:gd name="connsiteY44" fmla="*/ 739140 h 6187157"/>
                <a:gd name="connsiteX45" fmla="*/ 2514600 w 5257800"/>
                <a:gd name="connsiteY45" fmla="*/ 693420 h 6187157"/>
                <a:gd name="connsiteX46" fmla="*/ 2232660 w 5257800"/>
                <a:gd name="connsiteY46" fmla="*/ 739140 h 6187157"/>
                <a:gd name="connsiteX47" fmla="*/ 1234440 w 5257800"/>
                <a:gd name="connsiteY47" fmla="*/ 1059180 h 6187157"/>
                <a:gd name="connsiteX48" fmla="*/ 960120 w 5257800"/>
                <a:gd name="connsiteY48" fmla="*/ 1165860 h 6187157"/>
                <a:gd name="connsiteX49" fmla="*/ 815340 w 5257800"/>
                <a:gd name="connsiteY49" fmla="*/ 1257300 h 6187157"/>
                <a:gd name="connsiteX50" fmla="*/ 0 w 5257800"/>
                <a:gd name="connsiteY50" fmla="*/ 1234440 h 6187157"/>
                <a:gd name="connsiteX0" fmla="*/ 0 w 5257800"/>
                <a:gd name="connsiteY0" fmla="*/ 1234440 h 6187157"/>
                <a:gd name="connsiteX1" fmla="*/ 213360 w 5257800"/>
                <a:gd name="connsiteY1" fmla="*/ 990600 h 6187157"/>
                <a:gd name="connsiteX2" fmla="*/ 457200 w 5257800"/>
                <a:gd name="connsiteY2" fmla="*/ 792480 h 6187157"/>
                <a:gd name="connsiteX3" fmla="*/ 685800 w 5257800"/>
                <a:gd name="connsiteY3" fmla="*/ 624840 h 6187157"/>
                <a:gd name="connsiteX4" fmla="*/ 929640 w 5257800"/>
                <a:gd name="connsiteY4" fmla="*/ 533400 h 6187157"/>
                <a:gd name="connsiteX5" fmla="*/ 891540 w 5257800"/>
                <a:gd name="connsiteY5" fmla="*/ 426720 h 6187157"/>
                <a:gd name="connsiteX6" fmla="*/ 1074420 w 5257800"/>
                <a:gd name="connsiteY6" fmla="*/ 358140 h 6187157"/>
                <a:gd name="connsiteX7" fmla="*/ 1120140 w 5257800"/>
                <a:gd name="connsiteY7" fmla="*/ 464820 h 6187157"/>
                <a:gd name="connsiteX8" fmla="*/ 1242060 w 5257800"/>
                <a:gd name="connsiteY8" fmla="*/ 434340 h 6187157"/>
                <a:gd name="connsiteX9" fmla="*/ 1272540 w 5257800"/>
                <a:gd name="connsiteY9" fmla="*/ 365760 h 6187157"/>
                <a:gd name="connsiteX10" fmla="*/ 1531620 w 5257800"/>
                <a:gd name="connsiteY10" fmla="*/ 297180 h 6187157"/>
                <a:gd name="connsiteX11" fmla="*/ 1584960 w 5257800"/>
                <a:gd name="connsiteY11" fmla="*/ 327660 h 6187157"/>
                <a:gd name="connsiteX12" fmla="*/ 1714500 w 5257800"/>
                <a:gd name="connsiteY12" fmla="*/ 274320 h 6187157"/>
                <a:gd name="connsiteX13" fmla="*/ 1684020 w 5257800"/>
                <a:gd name="connsiteY13" fmla="*/ 114300 h 6187157"/>
                <a:gd name="connsiteX14" fmla="*/ 2087880 w 5257800"/>
                <a:gd name="connsiteY14" fmla="*/ 0 h 6187157"/>
                <a:gd name="connsiteX15" fmla="*/ 2133600 w 5257800"/>
                <a:gd name="connsiteY15" fmla="*/ 160020 h 6187157"/>
                <a:gd name="connsiteX16" fmla="*/ 2385060 w 5257800"/>
                <a:gd name="connsiteY16" fmla="*/ 106680 h 6187157"/>
                <a:gd name="connsiteX17" fmla="*/ 2644140 w 5257800"/>
                <a:gd name="connsiteY17" fmla="*/ 99060 h 6187157"/>
                <a:gd name="connsiteX18" fmla="*/ 2971800 w 5257800"/>
                <a:gd name="connsiteY18" fmla="*/ 152400 h 6187157"/>
                <a:gd name="connsiteX19" fmla="*/ 3299460 w 5257800"/>
                <a:gd name="connsiteY19" fmla="*/ 251460 h 6187157"/>
                <a:gd name="connsiteX20" fmla="*/ 3665220 w 5257800"/>
                <a:gd name="connsiteY20" fmla="*/ 464820 h 6187157"/>
                <a:gd name="connsiteX21" fmla="*/ 3954780 w 5257800"/>
                <a:gd name="connsiteY21" fmla="*/ 723900 h 6187157"/>
                <a:gd name="connsiteX22" fmla="*/ 4465320 w 5257800"/>
                <a:gd name="connsiteY22" fmla="*/ 1280160 h 6187157"/>
                <a:gd name="connsiteX23" fmla="*/ 4495800 w 5257800"/>
                <a:gd name="connsiteY23" fmla="*/ 1287780 h 6187157"/>
                <a:gd name="connsiteX24" fmla="*/ 4678680 w 5257800"/>
                <a:gd name="connsiteY24" fmla="*/ 1463040 h 6187157"/>
                <a:gd name="connsiteX25" fmla="*/ 4663440 w 5257800"/>
                <a:gd name="connsiteY25" fmla="*/ 1524000 h 6187157"/>
                <a:gd name="connsiteX26" fmla="*/ 4914900 w 5257800"/>
                <a:gd name="connsiteY26" fmla="*/ 1821180 h 6187157"/>
                <a:gd name="connsiteX27" fmla="*/ 5105400 w 5257800"/>
                <a:gd name="connsiteY27" fmla="*/ 2217420 h 6187157"/>
                <a:gd name="connsiteX28" fmla="*/ 5227320 w 5257800"/>
                <a:gd name="connsiteY28" fmla="*/ 2636520 h 6187157"/>
                <a:gd name="connsiteX29" fmla="*/ 5257800 w 5257800"/>
                <a:gd name="connsiteY29" fmla="*/ 3086100 h 6187157"/>
                <a:gd name="connsiteX30" fmla="*/ 5204460 w 5257800"/>
                <a:gd name="connsiteY30" fmla="*/ 3611880 h 6187157"/>
                <a:gd name="connsiteX31" fmla="*/ 5002306 w 5257800"/>
                <a:gd name="connsiteY31" fmla="*/ 4363507 h 6187157"/>
                <a:gd name="connsiteX32" fmla="*/ 5132522 w 5257800"/>
                <a:gd name="connsiteY32" fmla="*/ 4429994 h 6187157"/>
                <a:gd name="connsiteX33" fmla="*/ 5063073 w 5257800"/>
                <a:gd name="connsiteY33" fmla="*/ 4847915 h 6187157"/>
                <a:gd name="connsiteX34" fmla="*/ 4905544 w 5257800"/>
                <a:gd name="connsiteY34" fmla="*/ 4785630 h 6187157"/>
                <a:gd name="connsiteX35" fmla="*/ 3743556 w 5257800"/>
                <a:gd name="connsiteY35" fmla="*/ 6187157 h 6187157"/>
                <a:gd name="connsiteX36" fmla="*/ 3595980 w 5257800"/>
                <a:gd name="connsiteY36" fmla="*/ 5588772 h 6187157"/>
                <a:gd name="connsiteX37" fmla="*/ 4382946 w 5257800"/>
                <a:gd name="connsiteY37" fmla="*/ 4574791 h 6187157"/>
                <a:gd name="connsiteX38" fmla="*/ 4693920 w 5257800"/>
                <a:gd name="connsiteY38" fmla="*/ 3261360 h 6187157"/>
                <a:gd name="connsiteX39" fmla="*/ 4701540 w 5257800"/>
                <a:gd name="connsiteY39" fmla="*/ 2834640 h 6187157"/>
                <a:gd name="connsiteX40" fmla="*/ 4579620 w 5257800"/>
                <a:gd name="connsiteY40" fmla="*/ 2415540 h 6187157"/>
                <a:gd name="connsiteX41" fmla="*/ 4373880 w 5257800"/>
                <a:gd name="connsiteY41" fmla="*/ 2057400 h 6187157"/>
                <a:gd name="connsiteX42" fmla="*/ 3429000 w 5257800"/>
                <a:gd name="connsiteY42" fmla="*/ 1013460 h 6187157"/>
                <a:gd name="connsiteX43" fmla="*/ 3192780 w 5257800"/>
                <a:gd name="connsiteY43" fmla="*/ 853440 h 6187157"/>
                <a:gd name="connsiteX44" fmla="*/ 2910840 w 5257800"/>
                <a:gd name="connsiteY44" fmla="*/ 739140 h 6187157"/>
                <a:gd name="connsiteX45" fmla="*/ 2514600 w 5257800"/>
                <a:gd name="connsiteY45" fmla="*/ 693420 h 6187157"/>
                <a:gd name="connsiteX46" fmla="*/ 2232660 w 5257800"/>
                <a:gd name="connsiteY46" fmla="*/ 739140 h 6187157"/>
                <a:gd name="connsiteX47" fmla="*/ 1234440 w 5257800"/>
                <a:gd name="connsiteY47" fmla="*/ 1059180 h 6187157"/>
                <a:gd name="connsiteX48" fmla="*/ 960120 w 5257800"/>
                <a:gd name="connsiteY48" fmla="*/ 1165860 h 6187157"/>
                <a:gd name="connsiteX49" fmla="*/ 815340 w 5257800"/>
                <a:gd name="connsiteY49" fmla="*/ 1257300 h 6187157"/>
                <a:gd name="connsiteX50" fmla="*/ 0 w 5257800"/>
                <a:gd name="connsiteY50" fmla="*/ 1234440 h 6187157"/>
                <a:gd name="connsiteX0" fmla="*/ 0 w 5257800"/>
                <a:gd name="connsiteY0" fmla="*/ 1234440 h 6187157"/>
                <a:gd name="connsiteX1" fmla="*/ 213360 w 5257800"/>
                <a:gd name="connsiteY1" fmla="*/ 990600 h 6187157"/>
                <a:gd name="connsiteX2" fmla="*/ 457200 w 5257800"/>
                <a:gd name="connsiteY2" fmla="*/ 792480 h 6187157"/>
                <a:gd name="connsiteX3" fmla="*/ 685800 w 5257800"/>
                <a:gd name="connsiteY3" fmla="*/ 624840 h 6187157"/>
                <a:gd name="connsiteX4" fmla="*/ 929640 w 5257800"/>
                <a:gd name="connsiteY4" fmla="*/ 533400 h 6187157"/>
                <a:gd name="connsiteX5" fmla="*/ 891540 w 5257800"/>
                <a:gd name="connsiteY5" fmla="*/ 426720 h 6187157"/>
                <a:gd name="connsiteX6" fmla="*/ 1074420 w 5257800"/>
                <a:gd name="connsiteY6" fmla="*/ 358140 h 6187157"/>
                <a:gd name="connsiteX7" fmla="*/ 1120140 w 5257800"/>
                <a:gd name="connsiteY7" fmla="*/ 464820 h 6187157"/>
                <a:gd name="connsiteX8" fmla="*/ 1242060 w 5257800"/>
                <a:gd name="connsiteY8" fmla="*/ 434340 h 6187157"/>
                <a:gd name="connsiteX9" fmla="*/ 1272540 w 5257800"/>
                <a:gd name="connsiteY9" fmla="*/ 365760 h 6187157"/>
                <a:gd name="connsiteX10" fmla="*/ 1531620 w 5257800"/>
                <a:gd name="connsiteY10" fmla="*/ 297180 h 6187157"/>
                <a:gd name="connsiteX11" fmla="*/ 1584960 w 5257800"/>
                <a:gd name="connsiteY11" fmla="*/ 327660 h 6187157"/>
                <a:gd name="connsiteX12" fmla="*/ 1714500 w 5257800"/>
                <a:gd name="connsiteY12" fmla="*/ 274320 h 6187157"/>
                <a:gd name="connsiteX13" fmla="*/ 1684020 w 5257800"/>
                <a:gd name="connsiteY13" fmla="*/ 114300 h 6187157"/>
                <a:gd name="connsiteX14" fmla="*/ 2087880 w 5257800"/>
                <a:gd name="connsiteY14" fmla="*/ 0 h 6187157"/>
                <a:gd name="connsiteX15" fmla="*/ 2133600 w 5257800"/>
                <a:gd name="connsiteY15" fmla="*/ 160020 h 6187157"/>
                <a:gd name="connsiteX16" fmla="*/ 2385060 w 5257800"/>
                <a:gd name="connsiteY16" fmla="*/ 106680 h 6187157"/>
                <a:gd name="connsiteX17" fmla="*/ 2644140 w 5257800"/>
                <a:gd name="connsiteY17" fmla="*/ 99060 h 6187157"/>
                <a:gd name="connsiteX18" fmla="*/ 2971800 w 5257800"/>
                <a:gd name="connsiteY18" fmla="*/ 152400 h 6187157"/>
                <a:gd name="connsiteX19" fmla="*/ 3299460 w 5257800"/>
                <a:gd name="connsiteY19" fmla="*/ 251460 h 6187157"/>
                <a:gd name="connsiteX20" fmla="*/ 3665220 w 5257800"/>
                <a:gd name="connsiteY20" fmla="*/ 464820 h 6187157"/>
                <a:gd name="connsiteX21" fmla="*/ 3954780 w 5257800"/>
                <a:gd name="connsiteY21" fmla="*/ 723900 h 6187157"/>
                <a:gd name="connsiteX22" fmla="*/ 4465320 w 5257800"/>
                <a:gd name="connsiteY22" fmla="*/ 1280160 h 6187157"/>
                <a:gd name="connsiteX23" fmla="*/ 4495800 w 5257800"/>
                <a:gd name="connsiteY23" fmla="*/ 1287780 h 6187157"/>
                <a:gd name="connsiteX24" fmla="*/ 4678680 w 5257800"/>
                <a:gd name="connsiteY24" fmla="*/ 1463040 h 6187157"/>
                <a:gd name="connsiteX25" fmla="*/ 4663440 w 5257800"/>
                <a:gd name="connsiteY25" fmla="*/ 1524000 h 6187157"/>
                <a:gd name="connsiteX26" fmla="*/ 4914900 w 5257800"/>
                <a:gd name="connsiteY26" fmla="*/ 1821180 h 6187157"/>
                <a:gd name="connsiteX27" fmla="*/ 5105400 w 5257800"/>
                <a:gd name="connsiteY27" fmla="*/ 2217420 h 6187157"/>
                <a:gd name="connsiteX28" fmla="*/ 5227320 w 5257800"/>
                <a:gd name="connsiteY28" fmla="*/ 2636520 h 6187157"/>
                <a:gd name="connsiteX29" fmla="*/ 5257800 w 5257800"/>
                <a:gd name="connsiteY29" fmla="*/ 3086100 h 6187157"/>
                <a:gd name="connsiteX30" fmla="*/ 5204460 w 5257800"/>
                <a:gd name="connsiteY30" fmla="*/ 3611880 h 6187157"/>
                <a:gd name="connsiteX31" fmla="*/ 5002306 w 5257800"/>
                <a:gd name="connsiteY31" fmla="*/ 4363507 h 6187157"/>
                <a:gd name="connsiteX32" fmla="*/ 5132522 w 5257800"/>
                <a:gd name="connsiteY32" fmla="*/ 4429994 h 6187157"/>
                <a:gd name="connsiteX33" fmla="*/ 5063073 w 5257800"/>
                <a:gd name="connsiteY33" fmla="*/ 4847915 h 6187157"/>
                <a:gd name="connsiteX34" fmla="*/ 4905544 w 5257800"/>
                <a:gd name="connsiteY34" fmla="*/ 4785630 h 6187157"/>
                <a:gd name="connsiteX35" fmla="*/ 3743556 w 5257800"/>
                <a:gd name="connsiteY35" fmla="*/ 6187157 h 6187157"/>
                <a:gd name="connsiteX36" fmla="*/ 3595980 w 5257800"/>
                <a:gd name="connsiteY36" fmla="*/ 5588772 h 6187157"/>
                <a:gd name="connsiteX37" fmla="*/ 4382946 w 5257800"/>
                <a:gd name="connsiteY37" fmla="*/ 4574791 h 6187157"/>
                <a:gd name="connsiteX38" fmla="*/ 4693920 w 5257800"/>
                <a:gd name="connsiteY38" fmla="*/ 3261360 h 6187157"/>
                <a:gd name="connsiteX39" fmla="*/ 4701540 w 5257800"/>
                <a:gd name="connsiteY39" fmla="*/ 2834640 h 6187157"/>
                <a:gd name="connsiteX40" fmla="*/ 4579620 w 5257800"/>
                <a:gd name="connsiteY40" fmla="*/ 2415540 h 6187157"/>
                <a:gd name="connsiteX41" fmla="*/ 4373880 w 5257800"/>
                <a:gd name="connsiteY41" fmla="*/ 2057400 h 6187157"/>
                <a:gd name="connsiteX42" fmla="*/ 3429000 w 5257800"/>
                <a:gd name="connsiteY42" fmla="*/ 1013460 h 6187157"/>
                <a:gd name="connsiteX43" fmla="*/ 3192780 w 5257800"/>
                <a:gd name="connsiteY43" fmla="*/ 853440 h 6187157"/>
                <a:gd name="connsiteX44" fmla="*/ 2910840 w 5257800"/>
                <a:gd name="connsiteY44" fmla="*/ 739140 h 6187157"/>
                <a:gd name="connsiteX45" fmla="*/ 2514600 w 5257800"/>
                <a:gd name="connsiteY45" fmla="*/ 693420 h 6187157"/>
                <a:gd name="connsiteX46" fmla="*/ 2232660 w 5257800"/>
                <a:gd name="connsiteY46" fmla="*/ 739140 h 6187157"/>
                <a:gd name="connsiteX47" fmla="*/ 1234440 w 5257800"/>
                <a:gd name="connsiteY47" fmla="*/ 1059180 h 6187157"/>
                <a:gd name="connsiteX48" fmla="*/ 960120 w 5257800"/>
                <a:gd name="connsiteY48" fmla="*/ 1165860 h 6187157"/>
                <a:gd name="connsiteX49" fmla="*/ 815340 w 5257800"/>
                <a:gd name="connsiteY49" fmla="*/ 1257300 h 6187157"/>
                <a:gd name="connsiteX50" fmla="*/ 0 w 5257800"/>
                <a:gd name="connsiteY50" fmla="*/ 1234440 h 6187157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701540 w 5257800"/>
                <a:gd name="connsiteY39" fmla="*/ 2834640 h 6177659"/>
                <a:gd name="connsiteX40" fmla="*/ 4579620 w 5257800"/>
                <a:gd name="connsiteY40" fmla="*/ 2415540 h 6177659"/>
                <a:gd name="connsiteX41" fmla="*/ 4373880 w 5257800"/>
                <a:gd name="connsiteY41" fmla="*/ 2057400 h 6177659"/>
                <a:gd name="connsiteX42" fmla="*/ 3429000 w 5257800"/>
                <a:gd name="connsiteY42" fmla="*/ 1013460 h 6177659"/>
                <a:gd name="connsiteX43" fmla="*/ 3192780 w 5257800"/>
                <a:gd name="connsiteY43" fmla="*/ 853440 h 6177659"/>
                <a:gd name="connsiteX44" fmla="*/ 2910840 w 5257800"/>
                <a:gd name="connsiteY44" fmla="*/ 739140 h 6177659"/>
                <a:gd name="connsiteX45" fmla="*/ 2514600 w 5257800"/>
                <a:gd name="connsiteY45" fmla="*/ 693420 h 6177659"/>
                <a:gd name="connsiteX46" fmla="*/ 2232660 w 5257800"/>
                <a:gd name="connsiteY46" fmla="*/ 739140 h 6177659"/>
                <a:gd name="connsiteX47" fmla="*/ 1234440 w 5257800"/>
                <a:gd name="connsiteY47" fmla="*/ 1059180 h 6177659"/>
                <a:gd name="connsiteX48" fmla="*/ 960120 w 5257800"/>
                <a:gd name="connsiteY48" fmla="*/ 1165860 h 6177659"/>
                <a:gd name="connsiteX49" fmla="*/ 815340 w 5257800"/>
                <a:gd name="connsiteY49" fmla="*/ 1257300 h 6177659"/>
                <a:gd name="connsiteX50" fmla="*/ 0 w 5257800"/>
                <a:gd name="connsiteY50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701540 w 5257800"/>
                <a:gd name="connsiteY39" fmla="*/ 2834640 h 6177659"/>
                <a:gd name="connsiteX40" fmla="*/ 4579620 w 5257800"/>
                <a:gd name="connsiteY40" fmla="*/ 2415540 h 6177659"/>
                <a:gd name="connsiteX41" fmla="*/ 4373880 w 5257800"/>
                <a:gd name="connsiteY41" fmla="*/ 2057400 h 6177659"/>
                <a:gd name="connsiteX42" fmla="*/ 3429000 w 5257800"/>
                <a:gd name="connsiteY42" fmla="*/ 1013460 h 6177659"/>
                <a:gd name="connsiteX43" fmla="*/ 3192780 w 5257800"/>
                <a:gd name="connsiteY43" fmla="*/ 853440 h 6177659"/>
                <a:gd name="connsiteX44" fmla="*/ 2910840 w 5257800"/>
                <a:gd name="connsiteY44" fmla="*/ 739140 h 6177659"/>
                <a:gd name="connsiteX45" fmla="*/ 2514600 w 5257800"/>
                <a:gd name="connsiteY45" fmla="*/ 693420 h 6177659"/>
                <a:gd name="connsiteX46" fmla="*/ 2232660 w 5257800"/>
                <a:gd name="connsiteY46" fmla="*/ 739140 h 6177659"/>
                <a:gd name="connsiteX47" fmla="*/ 1234440 w 5257800"/>
                <a:gd name="connsiteY47" fmla="*/ 1059180 h 6177659"/>
                <a:gd name="connsiteX48" fmla="*/ 960120 w 5257800"/>
                <a:gd name="connsiteY48" fmla="*/ 1165860 h 6177659"/>
                <a:gd name="connsiteX49" fmla="*/ 815340 w 5257800"/>
                <a:gd name="connsiteY49" fmla="*/ 1257300 h 6177659"/>
                <a:gd name="connsiteX50" fmla="*/ 0 w 5257800"/>
                <a:gd name="connsiteY50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701540 w 5257800"/>
                <a:gd name="connsiteY39" fmla="*/ 2834640 h 6177659"/>
                <a:gd name="connsiteX40" fmla="*/ 4579620 w 5257800"/>
                <a:gd name="connsiteY40" fmla="*/ 2415540 h 6177659"/>
                <a:gd name="connsiteX41" fmla="*/ 4373880 w 5257800"/>
                <a:gd name="connsiteY41" fmla="*/ 2057400 h 6177659"/>
                <a:gd name="connsiteX42" fmla="*/ 3429000 w 5257800"/>
                <a:gd name="connsiteY42" fmla="*/ 1013460 h 6177659"/>
                <a:gd name="connsiteX43" fmla="*/ 3192780 w 5257800"/>
                <a:gd name="connsiteY43" fmla="*/ 853440 h 6177659"/>
                <a:gd name="connsiteX44" fmla="*/ 2910840 w 5257800"/>
                <a:gd name="connsiteY44" fmla="*/ 739140 h 6177659"/>
                <a:gd name="connsiteX45" fmla="*/ 2514600 w 5257800"/>
                <a:gd name="connsiteY45" fmla="*/ 693420 h 6177659"/>
                <a:gd name="connsiteX46" fmla="*/ 2232660 w 5257800"/>
                <a:gd name="connsiteY46" fmla="*/ 739140 h 6177659"/>
                <a:gd name="connsiteX47" fmla="*/ 1234440 w 5257800"/>
                <a:gd name="connsiteY47" fmla="*/ 1059180 h 6177659"/>
                <a:gd name="connsiteX48" fmla="*/ 960120 w 5257800"/>
                <a:gd name="connsiteY48" fmla="*/ 1165860 h 6177659"/>
                <a:gd name="connsiteX49" fmla="*/ 815340 w 5257800"/>
                <a:gd name="connsiteY49" fmla="*/ 1257300 h 6177659"/>
                <a:gd name="connsiteX50" fmla="*/ 0 w 5257800"/>
                <a:gd name="connsiteY50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579620 w 5257800"/>
                <a:gd name="connsiteY39" fmla="*/ 2415540 h 6177659"/>
                <a:gd name="connsiteX40" fmla="*/ 4373880 w 5257800"/>
                <a:gd name="connsiteY40" fmla="*/ 2057400 h 6177659"/>
                <a:gd name="connsiteX41" fmla="*/ 3429000 w 5257800"/>
                <a:gd name="connsiteY41" fmla="*/ 1013460 h 6177659"/>
                <a:gd name="connsiteX42" fmla="*/ 3192780 w 5257800"/>
                <a:gd name="connsiteY42" fmla="*/ 853440 h 6177659"/>
                <a:gd name="connsiteX43" fmla="*/ 2910840 w 5257800"/>
                <a:gd name="connsiteY43" fmla="*/ 739140 h 6177659"/>
                <a:gd name="connsiteX44" fmla="*/ 2514600 w 5257800"/>
                <a:gd name="connsiteY44" fmla="*/ 693420 h 6177659"/>
                <a:gd name="connsiteX45" fmla="*/ 2232660 w 5257800"/>
                <a:gd name="connsiteY45" fmla="*/ 739140 h 6177659"/>
                <a:gd name="connsiteX46" fmla="*/ 1234440 w 5257800"/>
                <a:gd name="connsiteY46" fmla="*/ 1059180 h 6177659"/>
                <a:gd name="connsiteX47" fmla="*/ 960120 w 5257800"/>
                <a:gd name="connsiteY47" fmla="*/ 1165860 h 6177659"/>
                <a:gd name="connsiteX48" fmla="*/ 815340 w 5257800"/>
                <a:gd name="connsiteY48" fmla="*/ 1257300 h 6177659"/>
                <a:gd name="connsiteX49" fmla="*/ 0 w 5257800"/>
                <a:gd name="connsiteY49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373880 w 5257800"/>
                <a:gd name="connsiteY39" fmla="*/ 2057400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408604 w 5257800"/>
                <a:gd name="connsiteY39" fmla="*/ 2104892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408604 w 5257800"/>
                <a:gd name="connsiteY39" fmla="*/ 2104892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408604 w 5257800"/>
                <a:gd name="connsiteY39" fmla="*/ 2104892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408604 w 5257800"/>
                <a:gd name="connsiteY39" fmla="*/ 2104892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344179 w 5257800"/>
                <a:gd name="connsiteY39" fmla="*/ 2027325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344179 w 5257800"/>
                <a:gd name="connsiteY39" fmla="*/ 2027325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344179 w 5257800"/>
                <a:gd name="connsiteY39" fmla="*/ 2027325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814397 w 5257800"/>
                <a:gd name="connsiteY26" fmla="*/ 1704828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344179 w 5257800"/>
                <a:gd name="connsiteY39" fmla="*/ 2027325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814397 w 5257800"/>
                <a:gd name="connsiteY26" fmla="*/ 1704828 h 6177659"/>
                <a:gd name="connsiteX27" fmla="*/ 5227320 w 5257800"/>
                <a:gd name="connsiteY27" fmla="*/ 2636520 h 6177659"/>
                <a:gd name="connsiteX28" fmla="*/ 5257800 w 5257800"/>
                <a:gd name="connsiteY28" fmla="*/ 3086100 h 6177659"/>
                <a:gd name="connsiteX29" fmla="*/ 5204460 w 5257800"/>
                <a:gd name="connsiteY29" fmla="*/ 3611880 h 6177659"/>
                <a:gd name="connsiteX30" fmla="*/ 5002306 w 5257800"/>
                <a:gd name="connsiteY30" fmla="*/ 4363507 h 6177659"/>
                <a:gd name="connsiteX31" fmla="*/ 5132522 w 5257800"/>
                <a:gd name="connsiteY31" fmla="*/ 4429994 h 6177659"/>
                <a:gd name="connsiteX32" fmla="*/ 5063073 w 5257800"/>
                <a:gd name="connsiteY32" fmla="*/ 4847915 h 6177659"/>
                <a:gd name="connsiteX33" fmla="*/ 4905544 w 5257800"/>
                <a:gd name="connsiteY33" fmla="*/ 4785630 h 6177659"/>
                <a:gd name="connsiteX34" fmla="*/ 3778281 w 5257800"/>
                <a:gd name="connsiteY34" fmla="*/ 6177659 h 6177659"/>
                <a:gd name="connsiteX35" fmla="*/ 3595980 w 5257800"/>
                <a:gd name="connsiteY35" fmla="*/ 5588772 h 6177659"/>
                <a:gd name="connsiteX36" fmla="*/ 4382946 w 5257800"/>
                <a:gd name="connsiteY36" fmla="*/ 4574791 h 6177659"/>
                <a:gd name="connsiteX37" fmla="*/ 4662995 w 5257800"/>
                <a:gd name="connsiteY37" fmla="*/ 3330617 h 6177659"/>
                <a:gd name="connsiteX38" fmla="*/ 4344179 w 5257800"/>
                <a:gd name="connsiteY38" fmla="*/ 2027325 h 6177659"/>
                <a:gd name="connsiteX39" fmla="*/ 3429000 w 5257800"/>
                <a:gd name="connsiteY39" fmla="*/ 1013460 h 6177659"/>
                <a:gd name="connsiteX40" fmla="*/ 3192780 w 5257800"/>
                <a:gd name="connsiteY40" fmla="*/ 853440 h 6177659"/>
                <a:gd name="connsiteX41" fmla="*/ 2910840 w 5257800"/>
                <a:gd name="connsiteY41" fmla="*/ 739140 h 6177659"/>
                <a:gd name="connsiteX42" fmla="*/ 2514600 w 5257800"/>
                <a:gd name="connsiteY42" fmla="*/ 693420 h 6177659"/>
                <a:gd name="connsiteX43" fmla="*/ 2232660 w 5257800"/>
                <a:gd name="connsiteY43" fmla="*/ 739140 h 6177659"/>
                <a:gd name="connsiteX44" fmla="*/ 1234440 w 5257800"/>
                <a:gd name="connsiteY44" fmla="*/ 1059180 h 6177659"/>
                <a:gd name="connsiteX45" fmla="*/ 960120 w 5257800"/>
                <a:gd name="connsiteY45" fmla="*/ 1165860 h 6177659"/>
                <a:gd name="connsiteX46" fmla="*/ 815340 w 5257800"/>
                <a:gd name="connsiteY46" fmla="*/ 1257300 h 6177659"/>
                <a:gd name="connsiteX47" fmla="*/ 0 w 5257800"/>
                <a:gd name="connsiteY47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814397 w 5257800"/>
                <a:gd name="connsiteY26" fmla="*/ 1704828 h 6177659"/>
                <a:gd name="connsiteX27" fmla="*/ 5257800 w 5257800"/>
                <a:gd name="connsiteY27" fmla="*/ 3086100 h 6177659"/>
                <a:gd name="connsiteX28" fmla="*/ 5204460 w 5257800"/>
                <a:gd name="connsiteY28" fmla="*/ 3611880 h 6177659"/>
                <a:gd name="connsiteX29" fmla="*/ 5002306 w 5257800"/>
                <a:gd name="connsiteY29" fmla="*/ 4363507 h 6177659"/>
                <a:gd name="connsiteX30" fmla="*/ 5132522 w 5257800"/>
                <a:gd name="connsiteY30" fmla="*/ 4429994 h 6177659"/>
                <a:gd name="connsiteX31" fmla="*/ 5063073 w 5257800"/>
                <a:gd name="connsiteY31" fmla="*/ 4847915 h 6177659"/>
                <a:gd name="connsiteX32" fmla="*/ 4905544 w 5257800"/>
                <a:gd name="connsiteY32" fmla="*/ 4785630 h 6177659"/>
                <a:gd name="connsiteX33" fmla="*/ 3778281 w 5257800"/>
                <a:gd name="connsiteY33" fmla="*/ 6177659 h 6177659"/>
                <a:gd name="connsiteX34" fmla="*/ 3595980 w 5257800"/>
                <a:gd name="connsiteY34" fmla="*/ 5588772 h 6177659"/>
                <a:gd name="connsiteX35" fmla="*/ 4382946 w 5257800"/>
                <a:gd name="connsiteY35" fmla="*/ 4574791 h 6177659"/>
                <a:gd name="connsiteX36" fmla="*/ 4662995 w 5257800"/>
                <a:gd name="connsiteY36" fmla="*/ 3330617 h 6177659"/>
                <a:gd name="connsiteX37" fmla="*/ 4344179 w 5257800"/>
                <a:gd name="connsiteY37" fmla="*/ 2027325 h 6177659"/>
                <a:gd name="connsiteX38" fmla="*/ 3429000 w 5257800"/>
                <a:gd name="connsiteY38" fmla="*/ 1013460 h 6177659"/>
                <a:gd name="connsiteX39" fmla="*/ 3192780 w 5257800"/>
                <a:gd name="connsiteY39" fmla="*/ 853440 h 6177659"/>
                <a:gd name="connsiteX40" fmla="*/ 2910840 w 5257800"/>
                <a:gd name="connsiteY40" fmla="*/ 739140 h 6177659"/>
                <a:gd name="connsiteX41" fmla="*/ 2514600 w 5257800"/>
                <a:gd name="connsiteY41" fmla="*/ 693420 h 6177659"/>
                <a:gd name="connsiteX42" fmla="*/ 2232660 w 5257800"/>
                <a:gd name="connsiteY42" fmla="*/ 739140 h 6177659"/>
                <a:gd name="connsiteX43" fmla="*/ 1234440 w 5257800"/>
                <a:gd name="connsiteY43" fmla="*/ 1059180 h 6177659"/>
                <a:gd name="connsiteX44" fmla="*/ 960120 w 5257800"/>
                <a:gd name="connsiteY44" fmla="*/ 1165860 h 6177659"/>
                <a:gd name="connsiteX45" fmla="*/ 815340 w 5257800"/>
                <a:gd name="connsiteY45" fmla="*/ 1257300 h 6177659"/>
                <a:gd name="connsiteX46" fmla="*/ 0 w 5257800"/>
                <a:gd name="connsiteY46" fmla="*/ 1234440 h 6177659"/>
                <a:gd name="connsiteX0" fmla="*/ 0 w 5204460"/>
                <a:gd name="connsiteY0" fmla="*/ 1234440 h 6177659"/>
                <a:gd name="connsiteX1" fmla="*/ 213360 w 5204460"/>
                <a:gd name="connsiteY1" fmla="*/ 990600 h 6177659"/>
                <a:gd name="connsiteX2" fmla="*/ 457200 w 5204460"/>
                <a:gd name="connsiteY2" fmla="*/ 792480 h 6177659"/>
                <a:gd name="connsiteX3" fmla="*/ 685800 w 5204460"/>
                <a:gd name="connsiteY3" fmla="*/ 624840 h 6177659"/>
                <a:gd name="connsiteX4" fmla="*/ 929640 w 5204460"/>
                <a:gd name="connsiteY4" fmla="*/ 533400 h 6177659"/>
                <a:gd name="connsiteX5" fmla="*/ 891540 w 5204460"/>
                <a:gd name="connsiteY5" fmla="*/ 426720 h 6177659"/>
                <a:gd name="connsiteX6" fmla="*/ 1074420 w 5204460"/>
                <a:gd name="connsiteY6" fmla="*/ 358140 h 6177659"/>
                <a:gd name="connsiteX7" fmla="*/ 1120140 w 5204460"/>
                <a:gd name="connsiteY7" fmla="*/ 464820 h 6177659"/>
                <a:gd name="connsiteX8" fmla="*/ 1242060 w 5204460"/>
                <a:gd name="connsiteY8" fmla="*/ 434340 h 6177659"/>
                <a:gd name="connsiteX9" fmla="*/ 1272540 w 5204460"/>
                <a:gd name="connsiteY9" fmla="*/ 365760 h 6177659"/>
                <a:gd name="connsiteX10" fmla="*/ 1531620 w 5204460"/>
                <a:gd name="connsiteY10" fmla="*/ 297180 h 6177659"/>
                <a:gd name="connsiteX11" fmla="*/ 1584960 w 5204460"/>
                <a:gd name="connsiteY11" fmla="*/ 327660 h 6177659"/>
                <a:gd name="connsiteX12" fmla="*/ 1714500 w 5204460"/>
                <a:gd name="connsiteY12" fmla="*/ 274320 h 6177659"/>
                <a:gd name="connsiteX13" fmla="*/ 1684020 w 5204460"/>
                <a:gd name="connsiteY13" fmla="*/ 114300 h 6177659"/>
                <a:gd name="connsiteX14" fmla="*/ 2087880 w 5204460"/>
                <a:gd name="connsiteY14" fmla="*/ 0 h 6177659"/>
                <a:gd name="connsiteX15" fmla="*/ 2133600 w 5204460"/>
                <a:gd name="connsiteY15" fmla="*/ 160020 h 6177659"/>
                <a:gd name="connsiteX16" fmla="*/ 2385060 w 5204460"/>
                <a:gd name="connsiteY16" fmla="*/ 106680 h 6177659"/>
                <a:gd name="connsiteX17" fmla="*/ 2644140 w 5204460"/>
                <a:gd name="connsiteY17" fmla="*/ 99060 h 6177659"/>
                <a:gd name="connsiteX18" fmla="*/ 2971800 w 5204460"/>
                <a:gd name="connsiteY18" fmla="*/ 152400 h 6177659"/>
                <a:gd name="connsiteX19" fmla="*/ 3299460 w 5204460"/>
                <a:gd name="connsiteY19" fmla="*/ 251460 h 6177659"/>
                <a:gd name="connsiteX20" fmla="*/ 3665220 w 5204460"/>
                <a:gd name="connsiteY20" fmla="*/ 464820 h 6177659"/>
                <a:gd name="connsiteX21" fmla="*/ 3954780 w 5204460"/>
                <a:gd name="connsiteY21" fmla="*/ 723900 h 6177659"/>
                <a:gd name="connsiteX22" fmla="*/ 4465320 w 5204460"/>
                <a:gd name="connsiteY22" fmla="*/ 1280160 h 6177659"/>
                <a:gd name="connsiteX23" fmla="*/ 4495800 w 5204460"/>
                <a:gd name="connsiteY23" fmla="*/ 1287780 h 6177659"/>
                <a:gd name="connsiteX24" fmla="*/ 4678680 w 5204460"/>
                <a:gd name="connsiteY24" fmla="*/ 1463040 h 6177659"/>
                <a:gd name="connsiteX25" fmla="*/ 4663440 w 5204460"/>
                <a:gd name="connsiteY25" fmla="*/ 1524000 h 6177659"/>
                <a:gd name="connsiteX26" fmla="*/ 4814397 w 5204460"/>
                <a:gd name="connsiteY26" fmla="*/ 1704828 h 6177659"/>
                <a:gd name="connsiteX27" fmla="*/ 5204460 w 5204460"/>
                <a:gd name="connsiteY27" fmla="*/ 3611880 h 6177659"/>
                <a:gd name="connsiteX28" fmla="*/ 5002306 w 5204460"/>
                <a:gd name="connsiteY28" fmla="*/ 4363507 h 6177659"/>
                <a:gd name="connsiteX29" fmla="*/ 5132522 w 5204460"/>
                <a:gd name="connsiteY29" fmla="*/ 4429994 h 6177659"/>
                <a:gd name="connsiteX30" fmla="*/ 5063073 w 5204460"/>
                <a:gd name="connsiteY30" fmla="*/ 4847915 h 6177659"/>
                <a:gd name="connsiteX31" fmla="*/ 4905544 w 5204460"/>
                <a:gd name="connsiteY31" fmla="*/ 4785630 h 6177659"/>
                <a:gd name="connsiteX32" fmla="*/ 3778281 w 5204460"/>
                <a:gd name="connsiteY32" fmla="*/ 6177659 h 6177659"/>
                <a:gd name="connsiteX33" fmla="*/ 3595980 w 5204460"/>
                <a:gd name="connsiteY33" fmla="*/ 5588772 h 6177659"/>
                <a:gd name="connsiteX34" fmla="*/ 4382946 w 5204460"/>
                <a:gd name="connsiteY34" fmla="*/ 4574791 h 6177659"/>
                <a:gd name="connsiteX35" fmla="*/ 4662995 w 5204460"/>
                <a:gd name="connsiteY35" fmla="*/ 3330617 h 6177659"/>
                <a:gd name="connsiteX36" fmla="*/ 4344179 w 5204460"/>
                <a:gd name="connsiteY36" fmla="*/ 2027325 h 6177659"/>
                <a:gd name="connsiteX37" fmla="*/ 3429000 w 5204460"/>
                <a:gd name="connsiteY37" fmla="*/ 1013460 h 6177659"/>
                <a:gd name="connsiteX38" fmla="*/ 3192780 w 5204460"/>
                <a:gd name="connsiteY38" fmla="*/ 853440 h 6177659"/>
                <a:gd name="connsiteX39" fmla="*/ 2910840 w 5204460"/>
                <a:gd name="connsiteY39" fmla="*/ 739140 h 6177659"/>
                <a:gd name="connsiteX40" fmla="*/ 2514600 w 5204460"/>
                <a:gd name="connsiteY40" fmla="*/ 693420 h 6177659"/>
                <a:gd name="connsiteX41" fmla="*/ 2232660 w 5204460"/>
                <a:gd name="connsiteY41" fmla="*/ 739140 h 6177659"/>
                <a:gd name="connsiteX42" fmla="*/ 1234440 w 5204460"/>
                <a:gd name="connsiteY42" fmla="*/ 1059180 h 6177659"/>
                <a:gd name="connsiteX43" fmla="*/ 960120 w 5204460"/>
                <a:gd name="connsiteY43" fmla="*/ 1165860 h 6177659"/>
                <a:gd name="connsiteX44" fmla="*/ 815340 w 5204460"/>
                <a:gd name="connsiteY44" fmla="*/ 1257300 h 6177659"/>
                <a:gd name="connsiteX45" fmla="*/ 0 w 5204460"/>
                <a:gd name="connsiteY45" fmla="*/ 1234440 h 6177659"/>
                <a:gd name="connsiteX0" fmla="*/ 0 w 5132522"/>
                <a:gd name="connsiteY0" fmla="*/ 1234440 h 6177659"/>
                <a:gd name="connsiteX1" fmla="*/ 213360 w 5132522"/>
                <a:gd name="connsiteY1" fmla="*/ 990600 h 6177659"/>
                <a:gd name="connsiteX2" fmla="*/ 457200 w 5132522"/>
                <a:gd name="connsiteY2" fmla="*/ 792480 h 6177659"/>
                <a:gd name="connsiteX3" fmla="*/ 685800 w 5132522"/>
                <a:gd name="connsiteY3" fmla="*/ 624840 h 6177659"/>
                <a:gd name="connsiteX4" fmla="*/ 929640 w 5132522"/>
                <a:gd name="connsiteY4" fmla="*/ 533400 h 6177659"/>
                <a:gd name="connsiteX5" fmla="*/ 891540 w 5132522"/>
                <a:gd name="connsiteY5" fmla="*/ 426720 h 6177659"/>
                <a:gd name="connsiteX6" fmla="*/ 1074420 w 5132522"/>
                <a:gd name="connsiteY6" fmla="*/ 358140 h 6177659"/>
                <a:gd name="connsiteX7" fmla="*/ 1120140 w 5132522"/>
                <a:gd name="connsiteY7" fmla="*/ 464820 h 6177659"/>
                <a:gd name="connsiteX8" fmla="*/ 1242060 w 5132522"/>
                <a:gd name="connsiteY8" fmla="*/ 434340 h 6177659"/>
                <a:gd name="connsiteX9" fmla="*/ 1272540 w 5132522"/>
                <a:gd name="connsiteY9" fmla="*/ 365760 h 6177659"/>
                <a:gd name="connsiteX10" fmla="*/ 1531620 w 5132522"/>
                <a:gd name="connsiteY10" fmla="*/ 297180 h 6177659"/>
                <a:gd name="connsiteX11" fmla="*/ 1584960 w 5132522"/>
                <a:gd name="connsiteY11" fmla="*/ 327660 h 6177659"/>
                <a:gd name="connsiteX12" fmla="*/ 1714500 w 5132522"/>
                <a:gd name="connsiteY12" fmla="*/ 274320 h 6177659"/>
                <a:gd name="connsiteX13" fmla="*/ 1684020 w 5132522"/>
                <a:gd name="connsiteY13" fmla="*/ 114300 h 6177659"/>
                <a:gd name="connsiteX14" fmla="*/ 2087880 w 5132522"/>
                <a:gd name="connsiteY14" fmla="*/ 0 h 6177659"/>
                <a:gd name="connsiteX15" fmla="*/ 2133600 w 5132522"/>
                <a:gd name="connsiteY15" fmla="*/ 160020 h 6177659"/>
                <a:gd name="connsiteX16" fmla="*/ 2385060 w 5132522"/>
                <a:gd name="connsiteY16" fmla="*/ 106680 h 6177659"/>
                <a:gd name="connsiteX17" fmla="*/ 2644140 w 5132522"/>
                <a:gd name="connsiteY17" fmla="*/ 99060 h 6177659"/>
                <a:gd name="connsiteX18" fmla="*/ 2971800 w 5132522"/>
                <a:gd name="connsiteY18" fmla="*/ 152400 h 6177659"/>
                <a:gd name="connsiteX19" fmla="*/ 3299460 w 5132522"/>
                <a:gd name="connsiteY19" fmla="*/ 251460 h 6177659"/>
                <a:gd name="connsiteX20" fmla="*/ 3665220 w 5132522"/>
                <a:gd name="connsiteY20" fmla="*/ 464820 h 6177659"/>
                <a:gd name="connsiteX21" fmla="*/ 3954780 w 5132522"/>
                <a:gd name="connsiteY21" fmla="*/ 723900 h 6177659"/>
                <a:gd name="connsiteX22" fmla="*/ 4465320 w 5132522"/>
                <a:gd name="connsiteY22" fmla="*/ 1280160 h 6177659"/>
                <a:gd name="connsiteX23" fmla="*/ 4495800 w 5132522"/>
                <a:gd name="connsiteY23" fmla="*/ 1287780 h 6177659"/>
                <a:gd name="connsiteX24" fmla="*/ 4678680 w 5132522"/>
                <a:gd name="connsiteY24" fmla="*/ 1463040 h 6177659"/>
                <a:gd name="connsiteX25" fmla="*/ 4663440 w 5132522"/>
                <a:gd name="connsiteY25" fmla="*/ 1524000 h 6177659"/>
                <a:gd name="connsiteX26" fmla="*/ 4814397 w 5132522"/>
                <a:gd name="connsiteY26" fmla="*/ 1704828 h 6177659"/>
                <a:gd name="connsiteX27" fmla="*/ 5002306 w 5132522"/>
                <a:gd name="connsiteY27" fmla="*/ 4363507 h 6177659"/>
                <a:gd name="connsiteX28" fmla="*/ 5132522 w 5132522"/>
                <a:gd name="connsiteY28" fmla="*/ 4429994 h 6177659"/>
                <a:gd name="connsiteX29" fmla="*/ 5063073 w 5132522"/>
                <a:gd name="connsiteY29" fmla="*/ 4847915 h 6177659"/>
                <a:gd name="connsiteX30" fmla="*/ 4905544 w 5132522"/>
                <a:gd name="connsiteY30" fmla="*/ 4785630 h 6177659"/>
                <a:gd name="connsiteX31" fmla="*/ 3778281 w 5132522"/>
                <a:gd name="connsiteY31" fmla="*/ 6177659 h 6177659"/>
                <a:gd name="connsiteX32" fmla="*/ 3595980 w 5132522"/>
                <a:gd name="connsiteY32" fmla="*/ 5588772 h 6177659"/>
                <a:gd name="connsiteX33" fmla="*/ 4382946 w 5132522"/>
                <a:gd name="connsiteY33" fmla="*/ 4574791 h 6177659"/>
                <a:gd name="connsiteX34" fmla="*/ 4662995 w 5132522"/>
                <a:gd name="connsiteY34" fmla="*/ 3330617 h 6177659"/>
                <a:gd name="connsiteX35" fmla="*/ 4344179 w 5132522"/>
                <a:gd name="connsiteY35" fmla="*/ 2027325 h 6177659"/>
                <a:gd name="connsiteX36" fmla="*/ 3429000 w 5132522"/>
                <a:gd name="connsiteY36" fmla="*/ 1013460 h 6177659"/>
                <a:gd name="connsiteX37" fmla="*/ 3192780 w 5132522"/>
                <a:gd name="connsiteY37" fmla="*/ 853440 h 6177659"/>
                <a:gd name="connsiteX38" fmla="*/ 2910840 w 5132522"/>
                <a:gd name="connsiteY38" fmla="*/ 739140 h 6177659"/>
                <a:gd name="connsiteX39" fmla="*/ 2514600 w 5132522"/>
                <a:gd name="connsiteY39" fmla="*/ 693420 h 6177659"/>
                <a:gd name="connsiteX40" fmla="*/ 2232660 w 5132522"/>
                <a:gd name="connsiteY40" fmla="*/ 739140 h 6177659"/>
                <a:gd name="connsiteX41" fmla="*/ 1234440 w 5132522"/>
                <a:gd name="connsiteY41" fmla="*/ 1059180 h 6177659"/>
                <a:gd name="connsiteX42" fmla="*/ 960120 w 5132522"/>
                <a:gd name="connsiteY42" fmla="*/ 1165860 h 6177659"/>
                <a:gd name="connsiteX43" fmla="*/ 815340 w 5132522"/>
                <a:gd name="connsiteY43" fmla="*/ 1257300 h 6177659"/>
                <a:gd name="connsiteX44" fmla="*/ 0 w 5132522"/>
                <a:gd name="connsiteY44" fmla="*/ 1234440 h 6177659"/>
                <a:gd name="connsiteX0" fmla="*/ 0 w 5132522"/>
                <a:gd name="connsiteY0" fmla="*/ 1234440 h 6177659"/>
                <a:gd name="connsiteX1" fmla="*/ 213360 w 5132522"/>
                <a:gd name="connsiteY1" fmla="*/ 990600 h 6177659"/>
                <a:gd name="connsiteX2" fmla="*/ 457200 w 5132522"/>
                <a:gd name="connsiteY2" fmla="*/ 792480 h 6177659"/>
                <a:gd name="connsiteX3" fmla="*/ 685800 w 5132522"/>
                <a:gd name="connsiteY3" fmla="*/ 624840 h 6177659"/>
                <a:gd name="connsiteX4" fmla="*/ 929640 w 5132522"/>
                <a:gd name="connsiteY4" fmla="*/ 533400 h 6177659"/>
                <a:gd name="connsiteX5" fmla="*/ 891540 w 5132522"/>
                <a:gd name="connsiteY5" fmla="*/ 426720 h 6177659"/>
                <a:gd name="connsiteX6" fmla="*/ 1074420 w 5132522"/>
                <a:gd name="connsiteY6" fmla="*/ 358140 h 6177659"/>
                <a:gd name="connsiteX7" fmla="*/ 1120140 w 5132522"/>
                <a:gd name="connsiteY7" fmla="*/ 464820 h 6177659"/>
                <a:gd name="connsiteX8" fmla="*/ 1242060 w 5132522"/>
                <a:gd name="connsiteY8" fmla="*/ 434340 h 6177659"/>
                <a:gd name="connsiteX9" fmla="*/ 1272540 w 5132522"/>
                <a:gd name="connsiteY9" fmla="*/ 365760 h 6177659"/>
                <a:gd name="connsiteX10" fmla="*/ 1531620 w 5132522"/>
                <a:gd name="connsiteY10" fmla="*/ 297180 h 6177659"/>
                <a:gd name="connsiteX11" fmla="*/ 1584960 w 5132522"/>
                <a:gd name="connsiteY11" fmla="*/ 327660 h 6177659"/>
                <a:gd name="connsiteX12" fmla="*/ 1714500 w 5132522"/>
                <a:gd name="connsiteY12" fmla="*/ 274320 h 6177659"/>
                <a:gd name="connsiteX13" fmla="*/ 1684020 w 5132522"/>
                <a:gd name="connsiteY13" fmla="*/ 114300 h 6177659"/>
                <a:gd name="connsiteX14" fmla="*/ 2087880 w 5132522"/>
                <a:gd name="connsiteY14" fmla="*/ 0 h 6177659"/>
                <a:gd name="connsiteX15" fmla="*/ 2133600 w 5132522"/>
                <a:gd name="connsiteY15" fmla="*/ 160020 h 6177659"/>
                <a:gd name="connsiteX16" fmla="*/ 2385060 w 5132522"/>
                <a:gd name="connsiteY16" fmla="*/ 106680 h 6177659"/>
                <a:gd name="connsiteX17" fmla="*/ 2644140 w 5132522"/>
                <a:gd name="connsiteY17" fmla="*/ 99060 h 6177659"/>
                <a:gd name="connsiteX18" fmla="*/ 2971800 w 5132522"/>
                <a:gd name="connsiteY18" fmla="*/ 152400 h 6177659"/>
                <a:gd name="connsiteX19" fmla="*/ 3299460 w 5132522"/>
                <a:gd name="connsiteY19" fmla="*/ 251460 h 6177659"/>
                <a:gd name="connsiteX20" fmla="*/ 3665220 w 5132522"/>
                <a:gd name="connsiteY20" fmla="*/ 464820 h 6177659"/>
                <a:gd name="connsiteX21" fmla="*/ 3954780 w 5132522"/>
                <a:gd name="connsiteY21" fmla="*/ 723900 h 6177659"/>
                <a:gd name="connsiteX22" fmla="*/ 4465320 w 5132522"/>
                <a:gd name="connsiteY22" fmla="*/ 1280160 h 6177659"/>
                <a:gd name="connsiteX23" fmla="*/ 4495800 w 5132522"/>
                <a:gd name="connsiteY23" fmla="*/ 1287780 h 6177659"/>
                <a:gd name="connsiteX24" fmla="*/ 4678680 w 5132522"/>
                <a:gd name="connsiteY24" fmla="*/ 1463040 h 6177659"/>
                <a:gd name="connsiteX25" fmla="*/ 4663440 w 5132522"/>
                <a:gd name="connsiteY25" fmla="*/ 1524000 h 6177659"/>
                <a:gd name="connsiteX26" fmla="*/ 4814397 w 5132522"/>
                <a:gd name="connsiteY26" fmla="*/ 1704828 h 6177659"/>
                <a:gd name="connsiteX27" fmla="*/ 4965031 w 5132522"/>
                <a:gd name="connsiteY27" fmla="*/ 3813160 h 6177659"/>
                <a:gd name="connsiteX28" fmla="*/ 5002306 w 5132522"/>
                <a:gd name="connsiteY28" fmla="*/ 4363507 h 6177659"/>
                <a:gd name="connsiteX29" fmla="*/ 5132522 w 5132522"/>
                <a:gd name="connsiteY29" fmla="*/ 4429994 h 6177659"/>
                <a:gd name="connsiteX30" fmla="*/ 5063073 w 5132522"/>
                <a:gd name="connsiteY30" fmla="*/ 4847915 h 6177659"/>
                <a:gd name="connsiteX31" fmla="*/ 4905544 w 5132522"/>
                <a:gd name="connsiteY31" fmla="*/ 4785630 h 6177659"/>
                <a:gd name="connsiteX32" fmla="*/ 3778281 w 5132522"/>
                <a:gd name="connsiteY32" fmla="*/ 6177659 h 6177659"/>
                <a:gd name="connsiteX33" fmla="*/ 3595980 w 5132522"/>
                <a:gd name="connsiteY33" fmla="*/ 5588772 h 6177659"/>
                <a:gd name="connsiteX34" fmla="*/ 4382946 w 5132522"/>
                <a:gd name="connsiteY34" fmla="*/ 4574791 h 6177659"/>
                <a:gd name="connsiteX35" fmla="*/ 4662995 w 5132522"/>
                <a:gd name="connsiteY35" fmla="*/ 3330617 h 6177659"/>
                <a:gd name="connsiteX36" fmla="*/ 4344179 w 5132522"/>
                <a:gd name="connsiteY36" fmla="*/ 2027325 h 6177659"/>
                <a:gd name="connsiteX37" fmla="*/ 3429000 w 5132522"/>
                <a:gd name="connsiteY37" fmla="*/ 1013460 h 6177659"/>
                <a:gd name="connsiteX38" fmla="*/ 3192780 w 5132522"/>
                <a:gd name="connsiteY38" fmla="*/ 853440 h 6177659"/>
                <a:gd name="connsiteX39" fmla="*/ 2910840 w 5132522"/>
                <a:gd name="connsiteY39" fmla="*/ 739140 h 6177659"/>
                <a:gd name="connsiteX40" fmla="*/ 2514600 w 5132522"/>
                <a:gd name="connsiteY40" fmla="*/ 693420 h 6177659"/>
                <a:gd name="connsiteX41" fmla="*/ 2232660 w 5132522"/>
                <a:gd name="connsiteY41" fmla="*/ 739140 h 6177659"/>
                <a:gd name="connsiteX42" fmla="*/ 1234440 w 5132522"/>
                <a:gd name="connsiteY42" fmla="*/ 1059180 h 6177659"/>
                <a:gd name="connsiteX43" fmla="*/ 960120 w 5132522"/>
                <a:gd name="connsiteY43" fmla="*/ 1165860 h 6177659"/>
                <a:gd name="connsiteX44" fmla="*/ 815340 w 5132522"/>
                <a:gd name="connsiteY44" fmla="*/ 1257300 h 6177659"/>
                <a:gd name="connsiteX45" fmla="*/ 0 w 5132522"/>
                <a:gd name="connsiteY45" fmla="*/ 1234440 h 6177659"/>
                <a:gd name="connsiteX0" fmla="*/ 0 w 5194385"/>
                <a:gd name="connsiteY0" fmla="*/ 1234440 h 6177659"/>
                <a:gd name="connsiteX1" fmla="*/ 213360 w 5194385"/>
                <a:gd name="connsiteY1" fmla="*/ 990600 h 6177659"/>
                <a:gd name="connsiteX2" fmla="*/ 457200 w 5194385"/>
                <a:gd name="connsiteY2" fmla="*/ 792480 h 6177659"/>
                <a:gd name="connsiteX3" fmla="*/ 685800 w 5194385"/>
                <a:gd name="connsiteY3" fmla="*/ 624840 h 6177659"/>
                <a:gd name="connsiteX4" fmla="*/ 929640 w 5194385"/>
                <a:gd name="connsiteY4" fmla="*/ 533400 h 6177659"/>
                <a:gd name="connsiteX5" fmla="*/ 891540 w 5194385"/>
                <a:gd name="connsiteY5" fmla="*/ 426720 h 6177659"/>
                <a:gd name="connsiteX6" fmla="*/ 1074420 w 5194385"/>
                <a:gd name="connsiteY6" fmla="*/ 358140 h 6177659"/>
                <a:gd name="connsiteX7" fmla="*/ 1120140 w 5194385"/>
                <a:gd name="connsiteY7" fmla="*/ 464820 h 6177659"/>
                <a:gd name="connsiteX8" fmla="*/ 1242060 w 5194385"/>
                <a:gd name="connsiteY8" fmla="*/ 434340 h 6177659"/>
                <a:gd name="connsiteX9" fmla="*/ 1272540 w 5194385"/>
                <a:gd name="connsiteY9" fmla="*/ 365760 h 6177659"/>
                <a:gd name="connsiteX10" fmla="*/ 1531620 w 5194385"/>
                <a:gd name="connsiteY10" fmla="*/ 297180 h 6177659"/>
                <a:gd name="connsiteX11" fmla="*/ 1584960 w 5194385"/>
                <a:gd name="connsiteY11" fmla="*/ 327660 h 6177659"/>
                <a:gd name="connsiteX12" fmla="*/ 1714500 w 5194385"/>
                <a:gd name="connsiteY12" fmla="*/ 274320 h 6177659"/>
                <a:gd name="connsiteX13" fmla="*/ 1684020 w 5194385"/>
                <a:gd name="connsiteY13" fmla="*/ 114300 h 6177659"/>
                <a:gd name="connsiteX14" fmla="*/ 2087880 w 5194385"/>
                <a:gd name="connsiteY14" fmla="*/ 0 h 6177659"/>
                <a:gd name="connsiteX15" fmla="*/ 2133600 w 5194385"/>
                <a:gd name="connsiteY15" fmla="*/ 160020 h 6177659"/>
                <a:gd name="connsiteX16" fmla="*/ 2385060 w 5194385"/>
                <a:gd name="connsiteY16" fmla="*/ 106680 h 6177659"/>
                <a:gd name="connsiteX17" fmla="*/ 2644140 w 5194385"/>
                <a:gd name="connsiteY17" fmla="*/ 99060 h 6177659"/>
                <a:gd name="connsiteX18" fmla="*/ 2971800 w 5194385"/>
                <a:gd name="connsiteY18" fmla="*/ 152400 h 6177659"/>
                <a:gd name="connsiteX19" fmla="*/ 3299460 w 5194385"/>
                <a:gd name="connsiteY19" fmla="*/ 251460 h 6177659"/>
                <a:gd name="connsiteX20" fmla="*/ 3665220 w 5194385"/>
                <a:gd name="connsiteY20" fmla="*/ 464820 h 6177659"/>
                <a:gd name="connsiteX21" fmla="*/ 3954780 w 5194385"/>
                <a:gd name="connsiteY21" fmla="*/ 723900 h 6177659"/>
                <a:gd name="connsiteX22" fmla="*/ 4465320 w 5194385"/>
                <a:gd name="connsiteY22" fmla="*/ 1280160 h 6177659"/>
                <a:gd name="connsiteX23" fmla="*/ 4495800 w 5194385"/>
                <a:gd name="connsiteY23" fmla="*/ 1287780 h 6177659"/>
                <a:gd name="connsiteX24" fmla="*/ 4678680 w 5194385"/>
                <a:gd name="connsiteY24" fmla="*/ 1463040 h 6177659"/>
                <a:gd name="connsiteX25" fmla="*/ 4663440 w 5194385"/>
                <a:gd name="connsiteY25" fmla="*/ 1524000 h 6177659"/>
                <a:gd name="connsiteX26" fmla="*/ 4814397 w 5194385"/>
                <a:gd name="connsiteY26" fmla="*/ 1704828 h 6177659"/>
                <a:gd name="connsiteX27" fmla="*/ 5194385 w 5194385"/>
                <a:gd name="connsiteY27" fmla="*/ 3497350 h 6177659"/>
                <a:gd name="connsiteX28" fmla="*/ 5002306 w 5194385"/>
                <a:gd name="connsiteY28" fmla="*/ 4363507 h 6177659"/>
                <a:gd name="connsiteX29" fmla="*/ 5132522 w 5194385"/>
                <a:gd name="connsiteY29" fmla="*/ 4429994 h 6177659"/>
                <a:gd name="connsiteX30" fmla="*/ 5063073 w 5194385"/>
                <a:gd name="connsiteY30" fmla="*/ 4847915 h 6177659"/>
                <a:gd name="connsiteX31" fmla="*/ 4905544 w 5194385"/>
                <a:gd name="connsiteY31" fmla="*/ 4785630 h 6177659"/>
                <a:gd name="connsiteX32" fmla="*/ 3778281 w 5194385"/>
                <a:gd name="connsiteY32" fmla="*/ 6177659 h 6177659"/>
                <a:gd name="connsiteX33" fmla="*/ 3595980 w 5194385"/>
                <a:gd name="connsiteY33" fmla="*/ 5588772 h 6177659"/>
                <a:gd name="connsiteX34" fmla="*/ 4382946 w 5194385"/>
                <a:gd name="connsiteY34" fmla="*/ 4574791 h 6177659"/>
                <a:gd name="connsiteX35" fmla="*/ 4662995 w 5194385"/>
                <a:gd name="connsiteY35" fmla="*/ 3330617 h 6177659"/>
                <a:gd name="connsiteX36" fmla="*/ 4344179 w 5194385"/>
                <a:gd name="connsiteY36" fmla="*/ 2027325 h 6177659"/>
                <a:gd name="connsiteX37" fmla="*/ 3429000 w 5194385"/>
                <a:gd name="connsiteY37" fmla="*/ 1013460 h 6177659"/>
                <a:gd name="connsiteX38" fmla="*/ 3192780 w 5194385"/>
                <a:gd name="connsiteY38" fmla="*/ 853440 h 6177659"/>
                <a:gd name="connsiteX39" fmla="*/ 2910840 w 5194385"/>
                <a:gd name="connsiteY39" fmla="*/ 739140 h 6177659"/>
                <a:gd name="connsiteX40" fmla="*/ 2514600 w 5194385"/>
                <a:gd name="connsiteY40" fmla="*/ 693420 h 6177659"/>
                <a:gd name="connsiteX41" fmla="*/ 2232660 w 5194385"/>
                <a:gd name="connsiteY41" fmla="*/ 739140 h 6177659"/>
                <a:gd name="connsiteX42" fmla="*/ 1234440 w 5194385"/>
                <a:gd name="connsiteY42" fmla="*/ 1059180 h 6177659"/>
                <a:gd name="connsiteX43" fmla="*/ 960120 w 5194385"/>
                <a:gd name="connsiteY43" fmla="*/ 1165860 h 6177659"/>
                <a:gd name="connsiteX44" fmla="*/ 815340 w 5194385"/>
                <a:gd name="connsiteY44" fmla="*/ 1257300 h 6177659"/>
                <a:gd name="connsiteX45" fmla="*/ 0 w 5194385"/>
                <a:gd name="connsiteY45" fmla="*/ 1234440 h 6177659"/>
                <a:gd name="connsiteX0" fmla="*/ 0 w 5222873"/>
                <a:gd name="connsiteY0" fmla="*/ 1234440 h 6177659"/>
                <a:gd name="connsiteX1" fmla="*/ 213360 w 5222873"/>
                <a:gd name="connsiteY1" fmla="*/ 990600 h 6177659"/>
                <a:gd name="connsiteX2" fmla="*/ 457200 w 5222873"/>
                <a:gd name="connsiteY2" fmla="*/ 792480 h 6177659"/>
                <a:gd name="connsiteX3" fmla="*/ 685800 w 5222873"/>
                <a:gd name="connsiteY3" fmla="*/ 624840 h 6177659"/>
                <a:gd name="connsiteX4" fmla="*/ 929640 w 5222873"/>
                <a:gd name="connsiteY4" fmla="*/ 533400 h 6177659"/>
                <a:gd name="connsiteX5" fmla="*/ 891540 w 5222873"/>
                <a:gd name="connsiteY5" fmla="*/ 426720 h 6177659"/>
                <a:gd name="connsiteX6" fmla="*/ 1074420 w 5222873"/>
                <a:gd name="connsiteY6" fmla="*/ 358140 h 6177659"/>
                <a:gd name="connsiteX7" fmla="*/ 1120140 w 5222873"/>
                <a:gd name="connsiteY7" fmla="*/ 464820 h 6177659"/>
                <a:gd name="connsiteX8" fmla="*/ 1242060 w 5222873"/>
                <a:gd name="connsiteY8" fmla="*/ 434340 h 6177659"/>
                <a:gd name="connsiteX9" fmla="*/ 1272540 w 5222873"/>
                <a:gd name="connsiteY9" fmla="*/ 365760 h 6177659"/>
                <a:gd name="connsiteX10" fmla="*/ 1531620 w 5222873"/>
                <a:gd name="connsiteY10" fmla="*/ 297180 h 6177659"/>
                <a:gd name="connsiteX11" fmla="*/ 1584960 w 5222873"/>
                <a:gd name="connsiteY11" fmla="*/ 327660 h 6177659"/>
                <a:gd name="connsiteX12" fmla="*/ 1714500 w 5222873"/>
                <a:gd name="connsiteY12" fmla="*/ 274320 h 6177659"/>
                <a:gd name="connsiteX13" fmla="*/ 1684020 w 5222873"/>
                <a:gd name="connsiteY13" fmla="*/ 114300 h 6177659"/>
                <a:gd name="connsiteX14" fmla="*/ 2087880 w 5222873"/>
                <a:gd name="connsiteY14" fmla="*/ 0 h 6177659"/>
                <a:gd name="connsiteX15" fmla="*/ 2133600 w 5222873"/>
                <a:gd name="connsiteY15" fmla="*/ 160020 h 6177659"/>
                <a:gd name="connsiteX16" fmla="*/ 2385060 w 5222873"/>
                <a:gd name="connsiteY16" fmla="*/ 106680 h 6177659"/>
                <a:gd name="connsiteX17" fmla="*/ 2644140 w 5222873"/>
                <a:gd name="connsiteY17" fmla="*/ 99060 h 6177659"/>
                <a:gd name="connsiteX18" fmla="*/ 2971800 w 5222873"/>
                <a:gd name="connsiteY18" fmla="*/ 152400 h 6177659"/>
                <a:gd name="connsiteX19" fmla="*/ 3299460 w 5222873"/>
                <a:gd name="connsiteY19" fmla="*/ 251460 h 6177659"/>
                <a:gd name="connsiteX20" fmla="*/ 3665220 w 5222873"/>
                <a:gd name="connsiteY20" fmla="*/ 464820 h 6177659"/>
                <a:gd name="connsiteX21" fmla="*/ 3954780 w 5222873"/>
                <a:gd name="connsiteY21" fmla="*/ 723900 h 6177659"/>
                <a:gd name="connsiteX22" fmla="*/ 4465320 w 5222873"/>
                <a:gd name="connsiteY22" fmla="*/ 1280160 h 6177659"/>
                <a:gd name="connsiteX23" fmla="*/ 4495800 w 5222873"/>
                <a:gd name="connsiteY23" fmla="*/ 1287780 h 6177659"/>
                <a:gd name="connsiteX24" fmla="*/ 4678680 w 5222873"/>
                <a:gd name="connsiteY24" fmla="*/ 1463040 h 6177659"/>
                <a:gd name="connsiteX25" fmla="*/ 4663440 w 5222873"/>
                <a:gd name="connsiteY25" fmla="*/ 1524000 h 6177659"/>
                <a:gd name="connsiteX26" fmla="*/ 4814397 w 5222873"/>
                <a:gd name="connsiteY26" fmla="*/ 1704828 h 6177659"/>
                <a:gd name="connsiteX27" fmla="*/ 5194385 w 5222873"/>
                <a:gd name="connsiteY27" fmla="*/ 3497350 h 6177659"/>
                <a:gd name="connsiteX28" fmla="*/ 5002306 w 5222873"/>
                <a:gd name="connsiteY28" fmla="*/ 4363507 h 6177659"/>
                <a:gd name="connsiteX29" fmla="*/ 5132522 w 5222873"/>
                <a:gd name="connsiteY29" fmla="*/ 4429994 h 6177659"/>
                <a:gd name="connsiteX30" fmla="*/ 5063073 w 5222873"/>
                <a:gd name="connsiteY30" fmla="*/ 4847915 h 6177659"/>
                <a:gd name="connsiteX31" fmla="*/ 4905544 w 5222873"/>
                <a:gd name="connsiteY31" fmla="*/ 4785630 h 6177659"/>
                <a:gd name="connsiteX32" fmla="*/ 3778281 w 5222873"/>
                <a:gd name="connsiteY32" fmla="*/ 6177659 h 6177659"/>
                <a:gd name="connsiteX33" fmla="*/ 3595980 w 5222873"/>
                <a:gd name="connsiteY33" fmla="*/ 5588772 h 6177659"/>
                <a:gd name="connsiteX34" fmla="*/ 4382946 w 5222873"/>
                <a:gd name="connsiteY34" fmla="*/ 4574791 h 6177659"/>
                <a:gd name="connsiteX35" fmla="*/ 4662995 w 5222873"/>
                <a:gd name="connsiteY35" fmla="*/ 3330617 h 6177659"/>
                <a:gd name="connsiteX36" fmla="*/ 4344179 w 5222873"/>
                <a:gd name="connsiteY36" fmla="*/ 2027325 h 6177659"/>
                <a:gd name="connsiteX37" fmla="*/ 3429000 w 5222873"/>
                <a:gd name="connsiteY37" fmla="*/ 1013460 h 6177659"/>
                <a:gd name="connsiteX38" fmla="*/ 3192780 w 5222873"/>
                <a:gd name="connsiteY38" fmla="*/ 853440 h 6177659"/>
                <a:gd name="connsiteX39" fmla="*/ 2910840 w 5222873"/>
                <a:gd name="connsiteY39" fmla="*/ 739140 h 6177659"/>
                <a:gd name="connsiteX40" fmla="*/ 2514600 w 5222873"/>
                <a:gd name="connsiteY40" fmla="*/ 693420 h 6177659"/>
                <a:gd name="connsiteX41" fmla="*/ 2232660 w 5222873"/>
                <a:gd name="connsiteY41" fmla="*/ 739140 h 6177659"/>
                <a:gd name="connsiteX42" fmla="*/ 1234440 w 5222873"/>
                <a:gd name="connsiteY42" fmla="*/ 1059180 h 6177659"/>
                <a:gd name="connsiteX43" fmla="*/ 960120 w 5222873"/>
                <a:gd name="connsiteY43" fmla="*/ 1165860 h 6177659"/>
                <a:gd name="connsiteX44" fmla="*/ 815340 w 5222873"/>
                <a:gd name="connsiteY44" fmla="*/ 1257300 h 6177659"/>
                <a:gd name="connsiteX45" fmla="*/ 0 w 5222873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65320 w 5236526"/>
                <a:gd name="connsiteY22" fmla="*/ 1280160 h 6177659"/>
                <a:gd name="connsiteX23" fmla="*/ 4495800 w 5236526"/>
                <a:gd name="connsiteY23" fmla="*/ 1287780 h 6177659"/>
                <a:gd name="connsiteX24" fmla="*/ 4678680 w 5236526"/>
                <a:gd name="connsiteY24" fmla="*/ 1463040 h 6177659"/>
                <a:gd name="connsiteX25" fmla="*/ 4663440 w 5236526"/>
                <a:gd name="connsiteY25" fmla="*/ 1524000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65320 w 5236526"/>
                <a:gd name="connsiteY22" fmla="*/ 1280160 h 6177659"/>
                <a:gd name="connsiteX23" fmla="*/ 4495800 w 5236526"/>
                <a:gd name="connsiteY23" fmla="*/ 1287780 h 6177659"/>
                <a:gd name="connsiteX24" fmla="*/ 4678680 w 5236526"/>
                <a:gd name="connsiteY24" fmla="*/ 1463040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65320 w 5236526"/>
                <a:gd name="connsiteY22" fmla="*/ 1280160 h 6177659"/>
                <a:gd name="connsiteX23" fmla="*/ 4495800 w 5236526"/>
                <a:gd name="connsiteY23" fmla="*/ 1287780 h 6177659"/>
                <a:gd name="connsiteX24" fmla="*/ 4652910 w 5236526"/>
                <a:gd name="connsiteY24" fmla="*/ 1457499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26665 w 5236526"/>
                <a:gd name="connsiteY22" fmla="*/ 1269080 h 6177659"/>
                <a:gd name="connsiteX23" fmla="*/ 4495800 w 5236526"/>
                <a:gd name="connsiteY23" fmla="*/ 1287780 h 6177659"/>
                <a:gd name="connsiteX24" fmla="*/ 4652910 w 5236526"/>
                <a:gd name="connsiteY24" fmla="*/ 1457499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26665 w 5236526"/>
                <a:gd name="connsiteY22" fmla="*/ 1269080 h 6177659"/>
                <a:gd name="connsiteX23" fmla="*/ 4488069 w 5236526"/>
                <a:gd name="connsiteY23" fmla="*/ 1276698 h 6177659"/>
                <a:gd name="connsiteX24" fmla="*/ 4652910 w 5236526"/>
                <a:gd name="connsiteY24" fmla="*/ 1457499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34982 h 6177659"/>
                <a:gd name="connsiteX22" fmla="*/ 4426665 w 5236526"/>
                <a:gd name="connsiteY22" fmla="*/ 1269080 h 6177659"/>
                <a:gd name="connsiteX23" fmla="*/ 4488069 w 5236526"/>
                <a:gd name="connsiteY23" fmla="*/ 1276698 h 6177659"/>
                <a:gd name="connsiteX24" fmla="*/ 4652910 w 5236526"/>
                <a:gd name="connsiteY24" fmla="*/ 1457499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4426665 w 5236526"/>
                <a:gd name="connsiteY21" fmla="*/ 1269080 h 6177659"/>
                <a:gd name="connsiteX22" fmla="*/ 4488069 w 5236526"/>
                <a:gd name="connsiteY22" fmla="*/ 1276698 h 6177659"/>
                <a:gd name="connsiteX23" fmla="*/ 4652910 w 5236526"/>
                <a:gd name="connsiteY23" fmla="*/ 1457499 h 6177659"/>
                <a:gd name="connsiteX24" fmla="*/ 4653133 w 5236526"/>
                <a:gd name="connsiteY24" fmla="*/ 1512918 h 6177659"/>
                <a:gd name="connsiteX25" fmla="*/ 4814397 w 5236526"/>
                <a:gd name="connsiteY25" fmla="*/ 1704828 h 6177659"/>
                <a:gd name="connsiteX26" fmla="*/ 5194385 w 5236526"/>
                <a:gd name="connsiteY26" fmla="*/ 3497350 h 6177659"/>
                <a:gd name="connsiteX27" fmla="*/ 5002306 w 5236526"/>
                <a:gd name="connsiteY27" fmla="*/ 4363507 h 6177659"/>
                <a:gd name="connsiteX28" fmla="*/ 5132522 w 5236526"/>
                <a:gd name="connsiteY28" fmla="*/ 4429994 h 6177659"/>
                <a:gd name="connsiteX29" fmla="*/ 5063073 w 5236526"/>
                <a:gd name="connsiteY29" fmla="*/ 4847915 h 6177659"/>
                <a:gd name="connsiteX30" fmla="*/ 4905544 w 5236526"/>
                <a:gd name="connsiteY30" fmla="*/ 4785630 h 6177659"/>
                <a:gd name="connsiteX31" fmla="*/ 3778281 w 5236526"/>
                <a:gd name="connsiteY31" fmla="*/ 6177659 h 6177659"/>
                <a:gd name="connsiteX32" fmla="*/ 3595980 w 5236526"/>
                <a:gd name="connsiteY32" fmla="*/ 5588772 h 6177659"/>
                <a:gd name="connsiteX33" fmla="*/ 4382946 w 5236526"/>
                <a:gd name="connsiteY33" fmla="*/ 4574791 h 6177659"/>
                <a:gd name="connsiteX34" fmla="*/ 4662995 w 5236526"/>
                <a:gd name="connsiteY34" fmla="*/ 3330617 h 6177659"/>
                <a:gd name="connsiteX35" fmla="*/ 4344179 w 5236526"/>
                <a:gd name="connsiteY35" fmla="*/ 2027325 h 6177659"/>
                <a:gd name="connsiteX36" fmla="*/ 3429000 w 5236526"/>
                <a:gd name="connsiteY36" fmla="*/ 1013460 h 6177659"/>
                <a:gd name="connsiteX37" fmla="*/ 3192780 w 5236526"/>
                <a:gd name="connsiteY37" fmla="*/ 853440 h 6177659"/>
                <a:gd name="connsiteX38" fmla="*/ 2910840 w 5236526"/>
                <a:gd name="connsiteY38" fmla="*/ 739140 h 6177659"/>
                <a:gd name="connsiteX39" fmla="*/ 2514600 w 5236526"/>
                <a:gd name="connsiteY39" fmla="*/ 693420 h 6177659"/>
                <a:gd name="connsiteX40" fmla="*/ 2232660 w 5236526"/>
                <a:gd name="connsiteY40" fmla="*/ 739140 h 6177659"/>
                <a:gd name="connsiteX41" fmla="*/ 1234440 w 5236526"/>
                <a:gd name="connsiteY41" fmla="*/ 1059180 h 6177659"/>
                <a:gd name="connsiteX42" fmla="*/ 960120 w 5236526"/>
                <a:gd name="connsiteY42" fmla="*/ 1165860 h 6177659"/>
                <a:gd name="connsiteX43" fmla="*/ 815340 w 5236526"/>
                <a:gd name="connsiteY43" fmla="*/ 1257300 h 6177659"/>
                <a:gd name="connsiteX44" fmla="*/ 0 w 5236526"/>
                <a:gd name="connsiteY44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830149 w 5236526"/>
                <a:gd name="connsiteY20" fmla="*/ 619955 h 6177659"/>
                <a:gd name="connsiteX21" fmla="*/ 4426665 w 5236526"/>
                <a:gd name="connsiteY21" fmla="*/ 1269080 h 6177659"/>
                <a:gd name="connsiteX22" fmla="*/ 4488069 w 5236526"/>
                <a:gd name="connsiteY22" fmla="*/ 1276698 h 6177659"/>
                <a:gd name="connsiteX23" fmla="*/ 4652910 w 5236526"/>
                <a:gd name="connsiteY23" fmla="*/ 1457499 h 6177659"/>
                <a:gd name="connsiteX24" fmla="*/ 4653133 w 5236526"/>
                <a:gd name="connsiteY24" fmla="*/ 1512918 h 6177659"/>
                <a:gd name="connsiteX25" fmla="*/ 4814397 w 5236526"/>
                <a:gd name="connsiteY25" fmla="*/ 1704828 h 6177659"/>
                <a:gd name="connsiteX26" fmla="*/ 5194385 w 5236526"/>
                <a:gd name="connsiteY26" fmla="*/ 3497350 h 6177659"/>
                <a:gd name="connsiteX27" fmla="*/ 5002306 w 5236526"/>
                <a:gd name="connsiteY27" fmla="*/ 4363507 h 6177659"/>
                <a:gd name="connsiteX28" fmla="*/ 5132522 w 5236526"/>
                <a:gd name="connsiteY28" fmla="*/ 4429994 h 6177659"/>
                <a:gd name="connsiteX29" fmla="*/ 5063073 w 5236526"/>
                <a:gd name="connsiteY29" fmla="*/ 4847915 h 6177659"/>
                <a:gd name="connsiteX30" fmla="*/ 4905544 w 5236526"/>
                <a:gd name="connsiteY30" fmla="*/ 4785630 h 6177659"/>
                <a:gd name="connsiteX31" fmla="*/ 3778281 w 5236526"/>
                <a:gd name="connsiteY31" fmla="*/ 6177659 h 6177659"/>
                <a:gd name="connsiteX32" fmla="*/ 3595980 w 5236526"/>
                <a:gd name="connsiteY32" fmla="*/ 5588772 h 6177659"/>
                <a:gd name="connsiteX33" fmla="*/ 4382946 w 5236526"/>
                <a:gd name="connsiteY33" fmla="*/ 4574791 h 6177659"/>
                <a:gd name="connsiteX34" fmla="*/ 4662995 w 5236526"/>
                <a:gd name="connsiteY34" fmla="*/ 3330617 h 6177659"/>
                <a:gd name="connsiteX35" fmla="*/ 4344179 w 5236526"/>
                <a:gd name="connsiteY35" fmla="*/ 2027325 h 6177659"/>
                <a:gd name="connsiteX36" fmla="*/ 3429000 w 5236526"/>
                <a:gd name="connsiteY36" fmla="*/ 1013460 h 6177659"/>
                <a:gd name="connsiteX37" fmla="*/ 3192780 w 5236526"/>
                <a:gd name="connsiteY37" fmla="*/ 853440 h 6177659"/>
                <a:gd name="connsiteX38" fmla="*/ 2910840 w 5236526"/>
                <a:gd name="connsiteY38" fmla="*/ 739140 h 6177659"/>
                <a:gd name="connsiteX39" fmla="*/ 2514600 w 5236526"/>
                <a:gd name="connsiteY39" fmla="*/ 693420 h 6177659"/>
                <a:gd name="connsiteX40" fmla="*/ 2232660 w 5236526"/>
                <a:gd name="connsiteY40" fmla="*/ 739140 h 6177659"/>
                <a:gd name="connsiteX41" fmla="*/ 1234440 w 5236526"/>
                <a:gd name="connsiteY41" fmla="*/ 1059180 h 6177659"/>
                <a:gd name="connsiteX42" fmla="*/ 960120 w 5236526"/>
                <a:gd name="connsiteY42" fmla="*/ 1165860 h 6177659"/>
                <a:gd name="connsiteX43" fmla="*/ 815340 w 5236526"/>
                <a:gd name="connsiteY43" fmla="*/ 1257300 h 6177659"/>
                <a:gd name="connsiteX44" fmla="*/ 0 w 5236526"/>
                <a:gd name="connsiteY44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876535 w 5236526"/>
                <a:gd name="connsiteY20" fmla="*/ 658738 h 6177659"/>
                <a:gd name="connsiteX21" fmla="*/ 4426665 w 5236526"/>
                <a:gd name="connsiteY21" fmla="*/ 1269080 h 6177659"/>
                <a:gd name="connsiteX22" fmla="*/ 4488069 w 5236526"/>
                <a:gd name="connsiteY22" fmla="*/ 1276698 h 6177659"/>
                <a:gd name="connsiteX23" fmla="*/ 4652910 w 5236526"/>
                <a:gd name="connsiteY23" fmla="*/ 1457499 h 6177659"/>
                <a:gd name="connsiteX24" fmla="*/ 4653133 w 5236526"/>
                <a:gd name="connsiteY24" fmla="*/ 1512918 h 6177659"/>
                <a:gd name="connsiteX25" fmla="*/ 4814397 w 5236526"/>
                <a:gd name="connsiteY25" fmla="*/ 1704828 h 6177659"/>
                <a:gd name="connsiteX26" fmla="*/ 5194385 w 5236526"/>
                <a:gd name="connsiteY26" fmla="*/ 3497350 h 6177659"/>
                <a:gd name="connsiteX27" fmla="*/ 5002306 w 5236526"/>
                <a:gd name="connsiteY27" fmla="*/ 4363507 h 6177659"/>
                <a:gd name="connsiteX28" fmla="*/ 5132522 w 5236526"/>
                <a:gd name="connsiteY28" fmla="*/ 4429994 h 6177659"/>
                <a:gd name="connsiteX29" fmla="*/ 5063073 w 5236526"/>
                <a:gd name="connsiteY29" fmla="*/ 4847915 h 6177659"/>
                <a:gd name="connsiteX30" fmla="*/ 4905544 w 5236526"/>
                <a:gd name="connsiteY30" fmla="*/ 4785630 h 6177659"/>
                <a:gd name="connsiteX31" fmla="*/ 3778281 w 5236526"/>
                <a:gd name="connsiteY31" fmla="*/ 6177659 h 6177659"/>
                <a:gd name="connsiteX32" fmla="*/ 3595980 w 5236526"/>
                <a:gd name="connsiteY32" fmla="*/ 5588772 h 6177659"/>
                <a:gd name="connsiteX33" fmla="*/ 4382946 w 5236526"/>
                <a:gd name="connsiteY33" fmla="*/ 4574791 h 6177659"/>
                <a:gd name="connsiteX34" fmla="*/ 4662995 w 5236526"/>
                <a:gd name="connsiteY34" fmla="*/ 3330617 h 6177659"/>
                <a:gd name="connsiteX35" fmla="*/ 4344179 w 5236526"/>
                <a:gd name="connsiteY35" fmla="*/ 2027325 h 6177659"/>
                <a:gd name="connsiteX36" fmla="*/ 3429000 w 5236526"/>
                <a:gd name="connsiteY36" fmla="*/ 1013460 h 6177659"/>
                <a:gd name="connsiteX37" fmla="*/ 3192780 w 5236526"/>
                <a:gd name="connsiteY37" fmla="*/ 853440 h 6177659"/>
                <a:gd name="connsiteX38" fmla="*/ 2910840 w 5236526"/>
                <a:gd name="connsiteY38" fmla="*/ 739140 h 6177659"/>
                <a:gd name="connsiteX39" fmla="*/ 2514600 w 5236526"/>
                <a:gd name="connsiteY39" fmla="*/ 693420 h 6177659"/>
                <a:gd name="connsiteX40" fmla="*/ 2232660 w 5236526"/>
                <a:gd name="connsiteY40" fmla="*/ 739140 h 6177659"/>
                <a:gd name="connsiteX41" fmla="*/ 1234440 w 5236526"/>
                <a:gd name="connsiteY41" fmla="*/ 1059180 h 6177659"/>
                <a:gd name="connsiteX42" fmla="*/ 960120 w 5236526"/>
                <a:gd name="connsiteY42" fmla="*/ 1165860 h 6177659"/>
                <a:gd name="connsiteX43" fmla="*/ 815340 w 5236526"/>
                <a:gd name="connsiteY43" fmla="*/ 1257300 h 6177659"/>
                <a:gd name="connsiteX44" fmla="*/ 0 w 5236526"/>
                <a:gd name="connsiteY44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876535 w 5236526"/>
                <a:gd name="connsiteY19" fmla="*/ 658738 h 6177659"/>
                <a:gd name="connsiteX20" fmla="*/ 4426665 w 5236526"/>
                <a:gd name="connsiteY20" fmla="*/ 1269080 h 6177659"/>
                <a:gd name="connsiteX21" fmla="*/ 4488069 w 5236526"/>
                <a:gd name="connsiteY21" fmla="*/ 1276698 h 6177659"/>
                <a:gd name="connsiteX22" fmla="*/ 4652910 w 5236526"/>
                <a:gd name="connsiteY22" fmla="*/ 1457499 h 6177659"/>
                <a:gd name="connsiteX23" fmla="*/ 4653133 w 5236526"/>
                <a:gd name="connsiteY23" fmla="*/ 1512918 h 6177659"/>
                <a:gd name="connsiteX24" fmla="*/ 4814397 w 5236526"/>
                <a:gd name="connsiteY24" fmla="*/ 1704828 h 6177659"/>
                <a:gd name="connsiteX25" fmla="*/ 5194385 w 5236526"/>
                <a:gd name="connsiteY25" fmla="*/ 3497350 h 6177659"/>
                <a:gd name="connsiteX26" fmla="*/ 5002306 w 5236526"/>
                <a:gd name="connsiteY26" fmla="*/ 4363507 h 6177659"/>
                <a:gd name="connsiteX27" fmla="*/ 5132522 w 5236526"/>
                <a:gd name="connsiteY27" fmla="*/ 4429994 h 6177659"/>
                <a:gd name="connsiteX28" fmla="*/ 5063073 w 5236526"/>
                <a:gd name="connsiteY28" fmla="*/ 4847915 h 6177659"/>
                <a:gd name="connsiteX29" fmla="*/ 4905544 w 5236526"/>
                <a:gd name="connsiteY29" fmla="*/ 4785630 h 6177659"/>
                <a:gd name="connsiteX30" fmla="*/ 3778281 w 5236526"/>
                <a:gd name="connsiteY30" fmla="*/ 6177659 h 6177659"/>
                <a:gd name="connsiteX31" fmla="*/ 3595980 w 5236526"/>
                <a:gd name="connsiteY31" fmla="*/ 5588772 h 6177659"/>
                <a:gd name="connsiteX32" fmla="*/ 4382946 w 5236526"/>
                <a:gd name="connsiteY32" fmla="*/ 4574791 h 6177659"/>
                <a:gd name="connsiteX33" fmla="*/ 4662995 w 5236526"/>
                <a:gd name="connsiteY33" fmla="*/ 3330617 h 6177659"/>
                <a:gd name="connsiteX34" fmla="*/ 4344179 w 5236526"/>
                <a:gd name="connsiteY34" fmla="*/ 2027325 h 6177659"/>
                <a:gd name="connsiteX35" fmla="*/ 3429000 w 5236526"/>
                <a:gd name="connsiteY35" fmla="*/ 1013460 h 6177659"/>
                <a:gd name="connsiteX36" fmla="*/ 3192780 w 5236526"/>
                <a:gd name="connsiteY36" fmla="*/ 853440 h 6177659"/>
                <a:gd name="connsiteX37" fmla="*/ 2910840 w 5236526"/>
                <a:gd name="connsiteY37" fmla="*/ 739140 h 6177659"/>
                <a:gd name="connsiteX38" fmla="*/ 2514600 w 5236526"/>
                <a:gd name="connsiteY38" fmla="*/ 693420 h 6177659"/>
                <a:gd name="connsiteX39" fmla="*/ 2232660 w 5236526"/>
                <a:gd name="connsiteY39" fmla="*/ 739140 h 6177659"/>
                <a:gd name="connsiteX40" fmla="*/ 1234440 w 5236526"/>
                <a:gd name="connsiteY40" fmla="*/ 1059180 h 6177659"/>
                <a:gd name="connsiteX41" fmla="*/ 960120 w 5236526"/>
                <a:gd name="connsiteY41" fmla="*/ 1165860 h 6177659"/>
                <a:gd name="connsiteX42" fmla="*/ 815340 w 5236526"/>
                <a:gd name="connsiteY42" fmla="*/ 1257300 h 6177659"/>
                <a:gd name="connsiteX43" fmla="*/ 0 w 5236526"/>
                <a:gd name="connsiteY43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3876535 w 5236526"/>
                <a:gd name="connsiteY18" fmla="*/ 658738 h 6177659"/>
                <a:gd name="connsiteX19" fmla="*/ 4426665 w 5236526"/>
                <a:gd name="connsiteY19" fmla="*/ 1269080 h 6177659"/>
                <a:gd name="connsiteX20" fmla="*/ 4488069 w 5236526"/>
                <a:gd name="connsiteY20" fmla="*/ 1276698 h 6177659"/>
                <a:gd name="connsiteX21" fmla="*/ 4652910 w 5236526"/>
                <a:gd name="connsiteY21" fmla="*/ 1457499 h 6177659"/>
                <a:gd name="connsiteX22" fmla="*/ 4653133 w 5236526"/>
                <a:gd name="connsiteY22" fmla="*/ 1512918 h 6177659"/>
                <a:gd name="connsiteX23" fmla="*/ 4814397 w 5236526"/>
                <a:gd name="connsiteY23" fmla="*/ 1704828 h 6177659"/>
                <a:gd name="connsiteX24" fmla="*/ 5194385 w 5236526"/>
                <a:gd name="connsiteY24" fmla="*/ 3497350 h 6177659"/>
                <a:gd name="connsiteX25" fmla="*/ 5002306 w 5236526"/>
                <a:gd name="connsiteY25" fmla="*/ 4363507 h 6177659"/>
                <a:gd name="connsiteX26" fmla="*/ 5132522 w 5236526"/>
                <a:gd name="connsiteY26" fmla="*/ 4429994 h 6177659"/>
                <a:gd name="connsiteX27" fmla="*/ 5063073 w 5236526"/>
                <a:gd name="connsiteY27" fmla="*/ 4847915 h 6177659"/>
                <a:gd name="connsiteX28" fmla="*/ 4905544 w 5236526"/>
                <a:gd name="connsiteY28" fmla="*/ 4785630 h 6177659"/>
                <a:gd name="connsiteX29" fmla="*/ 3778281 w 5236526"/>
                <a:gd name="connsiteY29" fmla="*/ 6177659 h 6177659"/>
                <a:gd name="connsiteX30" fmla="*/ 3595980 w 5236526"/>
                <a:gd name="connsiteY30" fmla="*/ 5588772 h 6177659"/>
                <a:gd name="connsiteX31" fmla="*/ 4382946 w 5236526"/>
                <a:gd name="connsiteY31" fmla="*/ 4574791 h 6177659"/>
                <a:gd name="connsiteX32" fmla="*/ 4662995 w 5236526"/>
                <a:gd name="connsiteY32" fmla="*/ 3330617 h 6177659"/>
                <a:gd name="connsiteX33" fmla="*/ 4344179 w 5236526"/>
                <a:gd name="connsiteY33" fmla="*/ 2027325 h 6177659"/>
                <a:gd name="connsiteX34" fmla="*/ 3429000 w 5236526"/>
                <a:gd name="connsiteY34" fmla="*/ 1013460 h 6177659"/>
                <a:gd name="connsiteX35" fmla="*/ 3192780 w 5236526"/>
                <a:gd name="connsiteY35" fmla="*/ 853440 h 6177659"/>
                <a:gd name="connsiteX36" fmla="*/ 2910840 w 5236526"/>
                <a:gd name="connsiteY36" fmla="*/ 739140 h 6177659"/>
                <a:gd name="connsiteX37" fmla="*/ 2514600 w 5236526"/>
                <a:gd name="connsiteY37" fmla="*/ 693420 h 6177659"/>
                <a:gd name="connsiteX38" fmla="*/ 2232660 w 5236526"/>
                <a:gd name="connsiteY38" fmla="*/ 739140 h 6177659"/>
                <a:gd name="connsiteX39" fmla="*/ 1234440 w 5236526"/>
                <a:gd name="connsiteY39" fmla="*/ 1059180 h 6177659"/>
                <a:gd name="connsiteX40" fmla="*/ 960120 w 5236526"/>
                <a:gd name="connsiteY40" fmla="*/ 1165860 h 6177659"/>
                <a:gd name="connsiteX41" fmla="*/ 815340 w 5236526"/>
                <a:gd name="connsiteY41" fmla="*/ 1257300 h 6177659"/>
                <a:gd name="connsiteX42" fmla="*/ 0 w 5236526"/>
                <a:gd name="connsiteY42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3876535 w 5236526"/>
                <a:gd name="connsiteY17" fmla="*/ 658738 h 6177659"/>
                <a:gd name="connsiteX18" fmla="*/ 4426665 w 5236526"/>
                <a:gd name="connsiteY18" fmla="*/ 1269080 h 6177659"/>
                <a:gd name="connsiteX19" fmla="*/ 4488069 w 5236526"/>
                <a:gd name="connsiteY19" fmla="*/ 1276698 h 6177659"/>
                <a:gd name="connsiteX20" fmla="*/ 4652910 w 5236526"/>
                <a:gd name="connsiteY20" fmla="*/ 1457499 h 6177659"/>
                <a:gd name="connsiteX21" fmla="*/ 4653133 w 5236526"/>
                <a:gd name="connsiteY21" fmla="*/ 1512918 h 6177659"/>
                <a:gd name="connsiteX22" fmla="*/ 4814397 w 5236526"/>
                <a:gd name="connsiteY22" fmla="*/ 1704828 h 6177659"/>
                <a:gd name="connsiteX23" fmla="*/ 5194385 w 5236526"/>
                <a:gd name="connsiteY23" fmla="*/ 3497350 h 6177659"/>
                <a:gd name="connsiteX24" fmla="*/ 5002306 w 5236526"/>
                <a:gd name="connsiteY24" fmla="*/ 4363507 h 6177659"/>
                <a:gd name="connsiteX25" fmla="*/ 5132522 w 5236526"/>
                <a:gd name="connsiteY25" fmla="*/ 4429994 h 6177659"/>
                <a:gd name="connsiteX26" fmla="*/ 5063073 w 5236526"/>
                <a:gd name="connsiteY26" fmla="*/ 4847915 h 6177659"/>
                <a:gd name="connsiteX27" fmla="*/ 4905544 w 5236526"/>
                <a:gd name="connsiteY27" fmla="*/ 4785630 h 6177659"/>
                <a:gd name="connsiteX28" fmla="*/ 3778281 w 5236526"/>
                <a:gd name="connsiteY28" fmla="*/ 6177659 h 6177659"/>
                <a:gd name="connsiteX29" fmla="*/ 3595980 w 5236526"/>
                <a:gd name="connsiteY29" fmla="*/ 5588772 h 6177659"/>
                <a:gd name="connsiteX30" fmla="*/ 4382946 w 5236526"/>
                <a:gd name="connsiteY30" fmla="*/ 4574791 h 6177659"/>
                <a:gd name="connsiteX31" fmla="*/ 4662995 w 5236526"/>
                <a:gd name="connsiteY31" fmla="*/ 3330617 h 6177659"/>
                <a:gd name="connsiteX32" fmla="*/ 4344179 w 5236526"/>
                <a:gd name="connsiteY32" fmla="*/ 2027325 h 6177659"/>
                <a:gd name="connsiteX33" fmla="*/ 3429000 w 5236526"/>
                <a:gd name="connsiteY33" fmla="*/ 1013460 h 6177659"/>
                <a:gd name="connsiteX34" fmla="*/ 3192780 w 5236526"/>
                <a:gd name="connsiteY34" fmla="*/ 853440 h 6177659"/>
                <a:gd name="connsiteX35" fmla="*/ 2910840 w 5236526"/>
                <a:gd name="connsiteY35" fmla="*/ 739140 h 6177659"/>
                <a:gd name="connsiteX36" fmla="*/ 2514600 w 5236526"/>
                <a:gd name="connsiteY36" fmla="*/ 693420 h 6177659"/>
                <a:gd name="connsiteX37" fmla="*/ 2232660 w 5236526"/>
                <a:gd name="connsiteY37" fmla="*/ 739140 h 6177659"/>
                <a:gd name="connsiteX38" fmla="*/ 1234440 w 5236526"/>
                <a:gd name="connsiteY38" fmla="*/ 1059180 h 6177659"/>
                <a:gd name="connsiteX39" fmla="*/ 960120 w 5236526"/>
                <a:gd name="connsiteY39" fmla="*/ 1165860 h 6177659"/>
                <a:gd name="connsiteX40" fmla="*/ 815340 w 5236526"/>
                <a:gd name="connsiteY40" fmla="*/ 1257300 h 6177659"/>
                <a:gd name="connsiteX41" fmla="*/ 0 w 5236526"/>
                <a:gd name="connsiteY41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62501 w 5236526"/>
                <a:gd name="connsiteY32" fmla="*/ 1085487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62501 w 5236526"/>
                <a:gd name="connsiteY32" fmla="*/ 1085487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910840 w 5236526"/>
                <a:gd name="connsiteY33" fmla="*/ 739140 h 6177659"/>
                <a:gd name="connsiteX34" fmla="*/ 2514600 w 5236526"/>
                <a:gd name="connsiteY34" fmla="*/ 693420 h 6177659"/>
                <a:gd name="connsiteX35" fmla="*/ 2232660 w 5236526"/>
                <a:gd name="connsiteY35" fmla="*/ 739140 h 6177659"/>
                <a:gd name="connsiteX36" fmla="*/ 1234440 w 5236526"/>
                <a:gd name="connsiteY36" fmla="*/ 1059180 h 6177659"/>
                <a:gd name="connsiteX37" fmla="*/ 960120 w 5236526"/>
                <a:gd name="connsiteY37" fmla="*/ 1165860 h 6177659"/>
                <a:gd name="connsiteX38" fmla="*/ 815340 w 5236526"/>
                <a:gd name="connsiteY38" fmla="*/ 1257300 h 6177659"/>
                <a:gd name="connsiteX39" fmla="*/ 0 w 5236526"/>
                <a:gd name="connsiteY39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514600 w 5236526"/>
                <a:gd name="connsiteY33" fmla="*/ 693420 h 6177659"/>
                <a:gd name="connsiteX34" fmla="*/ 2232660 w 5236526"/>
                <a:gd name="connsiteY34" fmla="*/ 739140 h 6177659"/>
                <a:gd name="connsiteX35" fmla="*/ 1234440 w 5236526"/>
                <a:gd name="connsiteY35" fmla="*/ 1059180 h 6177659"/>
                <a:gd name="connsiteX36" fmla="*/ 960120 w 5236526"/>
                <a:gd name="connsiteY36" fmla="*/ 1165860 h 6177659"/>
                <a:gd name="connsiteX37" fmla="*/ 815340 w 5236526"/>
                <a:gd name="connsiteY37" fmla="*/ 1257300 h 6177659"/>
                <a:gd name="connsiteX38" fmla="*/ 0 w 5236526"/>
                <a:gd name="connsiteY38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232660 w 5236526"/>
                <a:gd name="connsiteY33" fmla="*/ 739140 h 6177659"/>
                <a:gd name="connsiteX34" fmla="*/ 1234440 w 5236526"/>
                <a:gd name="connsiteY34" fmla="*/ 1059180 h 6177659"/>
                <a:gd name="connsiteX35" fmla="*/ 960120 w 5236526"/>
                <a:gd name="connsiteY35" fmla="*/ 1165860 h 6177659"/>
                <a:gd name="connsiteX36" fmla="*/ 815340 w 5236526"/>
                <a:gd name="connsiteY36" fmla="*/ 1257300 h 6177659"/>
                <a:gd name="connsiteX37" fmla="*/ 0 w 5236526"/>
                <a:gd name="connsiteY37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232660 w 5236526"/>
                <a:gd name="connsiteY33" fmla="*/ 739140 h 6177659"/>
                <a:gd name="connsiteX34" fmla="*/ 1234440 w 5236526"/>
                <a:gd name="connsiteY34" fmla="*/ 1059180 h 6177659"/>
                <a:gd name="connsiteX35" fmla="*/ 960120 w 5236526"/>
                <a:gd name="connsiteY35" fmla="*/ 1165860 h 6177659"/>
                <a:gd name="connsiteX36" fmla="*/ 815340 w 5236526"/>
                <a:gd name="connsiteY36" fmla="*/ 1257300 h 6177659"/>
                <a:gd name="connsiteX37" fmla="*/ 0 w 5236526"/>
                <a:gd name="connsiteY37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232660 w 5236526"/>
                <a:gd name="connsiteY33" fmla="*/ 739140 h 6177659"/>
                <a:gd name="connsiteX34" fmla="*/ 1234440 w 5236526"/>
                <a:gd name="connsiteY34" fmla="*/ 1059180 h 6177659"/>
                <a:gd name="connsiteX35" fmla="*/ 960120 w 5236526"/>
                <a:gd name="connsiteY35" fmla="*/ 1165860 h 6177659"/>
                <a:gd name="connsiteX36" fmla="*/ 815340 w 5236526"/>
                <a:gd name="connsiteY36" fmla="*/ 1257300 h 6177659"/>
                <a:gd name="connsiteX37" fmla="*/ 0 w 5236526"/>
                <a:gd name="connsiteY37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232660 w 5236526"/>
                <a:gd name="connsiteY33" fmla="*/ 739140 h 6177659"/>
                <a:gd name="connsiteX34" fmla="*/ 1234440 w 5236526"/>
                <a:gd name="connsiteY34" fmla="*/ 1059180 h 6177659"/>
                <a:gd name="connsiteX35" fmla="*/ 960120 w 5236526"/>
                <a:gd name="connsiteY35" fmla="*/ 1165860 h 6177659"/>
                <a:gd name="connsiteX36" fmla="*/ 815340 w 5236526"/>
                <a:gd name="connsiteY36" fmla="*/ 1257300 h 6177659"/>
                <a:gd name="connsiteX37" fmla="*/ 0 w 5236526"/>
                <a:gd name="connsiteY37" fmla="*/ 1234440 h 6177659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531620 w 5236526"/>
                <a:gd name="connsiteY10" fmla="*/ 319342 h 6199821"/>
                <a:gd name="connsiteX11" fmla="*/ 1584960 w 5236526"/>
                <a:gd name="connsiteY11" fmla="*/ 349822 h 6199821"/>
                <a:gd name="connsiteX12" fmla="*/ 1714500 w 5236526"/>
                <a:gd name="connsiteY12" fmla="*/ 296482 h 6199821"/>
                <a:gd name="connsiteX13" fmla="*/ 1684020 w 5236526"/>
                <a:gd name="connsiteY13" fmla="*/ 136462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531620 w 5236526"/>
                <a:gd name="connsiteY10" fmla="*/ 319342 h 6199821"/>
                <a:gd name="connsiteX11" fmla="*/ 1584960 w 5236526"/>
                <a:gd name="connsiteY11" fmla="*/ 349822 h 6199821"/>
                <a:gd name="connsiteX12" fmla="*/ 1714500 w 5236526"/>
                <a:gd name="connsiteY12" fmla="*/ 296482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531620 w 5236526"/>
                <a:gd name="connsiteY10" fmla="*/ 319342 h 6199821"/>
                <a:gd name="connsiteX11" fmla="*/ 1584960 w 5236526"/>
                <a:gd name="connsiteY11" fmla="*/ 34982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531620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18868 w 5236526"/>
                <a:gd name="connsiteY8" fmla="*/ 442651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091793 w 5236526"/>
                <a:gd name="connsiteY7" fmla="*/ 481442 h 6199821"/>
                <a:gd name="connsiteX8" fmla="*/ 1218868 w 5236526"/>
                <a:gd name="connsiteY8" fmla="*/ 442651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78655 w 5236526"/>
                <a:gd name="connsiteY5" fmla="*/ 432260 h 6199821"/>
                <a:gd name="connsiteX6" fmla="*/ 1074420 w 5236526"/>
                <a:gd name="connsiteY6" fmla="*/ 380302 h 6199821"/>
                <a:gd name="connsiteX7" fmla="*/ 1091793 w 5236526"/>
                <a:gd name="connsiteY7" fmla="*/ 481442 h 6199821"/>
                <a:gd name="connsiteX8" fmla="*/ 1218868 w 5236526"/>
                <a:gd name="connsiteY8" fmla="*/ 442651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898716 w 5236526"/>
                <a:gd name="connsiteY4" fmla="*/ 547251 h 6199821"/>
                <a:gd name="connsiteX5" fmla="*/ 878655 w 5236526"/>
                <a:gd name="connsiteY5" fmla="*/ 432260 h 6199821"/>
                <a:gd name="connsiteX6" fmla="*/ 1074420 w 5236526"/>
                <a:gd name="connsiteY6" fmla="*/ 380302 h 6199821"/>
                <a:gd name="connsiteX7" fmla="*/ 1091793 w 5236526"/>
                <a:gd name="connsiteY7" fmla="*/ 481442 h 6199821"/>
                <a:gd name="connsiteX8" fmla="*/ 1218868 w 5236526"/>
                <a:gd name="connsiteY8" fmla="*/ 442651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75815 w 5312341"/>
                <a:gd name="connsiteY0" fmla="*/ 1256602 h 6199821"/>
                <a:gd name="connsiteX1" fmla="*/ 289175 w 5312341"/>
                <a:gd name="connsiteY1" fmla="*/ 1012762 h 6199821"/>
                <a:gd name="connsiteX2" fmla="*/ 533015 w 5312341"/>
                <a:gd name="connsiteY2" fmla="*/ 814642 h 6199821"/>
                <a:gd name="connsiteX3" fmla="*/ 761615 w 5312341"/>
                <a:gd name="connsiteY3" fmla="*/ 647002 h 6199821"/>
                <a:gd name="connsiteX4" fmla="*/ 974531 w 5312341"/>
                <a:gd name="connsiteY4" fmla="*/ 547251 h 6199821"/>
                <a:gd name="connsiteX5" fmla="*/ 954470 w 5312341"/>
                <a:gd name="connsiteY5" fmla="*/ 432260 h 6199821"/>
                <a:gd name="connsiteX6" fmla="*/ 1150235 w 5312341"/>
                <a:gd name="connsiteY6" fmla="*/ 380302 h 6199821"/>
                <a:gd name="connsiteX7" fmla="*/ 1167608 w 5312341"/>
                <a:gd name="connsiteY7" fmla="*/ 481442 h 6199821"/>
                <a:gd name="connsiteX8" fmla="*/ 1294683 w 5312341"/>
                <a:gd name="connsiteY8" fmla="*/ 442651 h 6199821"/>
                <a:gd name="connsiteX9" fmla="*/ 1325162 w 5312341"/>
                <a:gd name="connsiteY9" fmla="*/ 393463 h 6199821"/>
                <a:gd name="connsiteX10" fmla="*/ 1561049 w 5312341"/>
                <a:gd name="connsiteY10" fmla="*/ 319342 h 6199821"/>
                <a:gd name="connsiteX11" fmla="*/ 1601504 w 5312341"/>
                <a:gd name="connsiteY11" fmla="*/ 352592 h 6199821"/>
                <a:gd name="connsiteX12" fmla="*/ 1798046 w 5312341"/>
                <a:gd name="connsiteY12" fmla="*/ 288171 h 6199821"/>
                <a:gd name="connsiteX13" fmla="*/ 1757258 w 5312341"/>
                <a:gd name="connsiteY13" fmla="*/ 119840 h 6199821"/>
                <a:gd name="connsiteX14" fmla="*/ 2140501 w 5312341"/>
                <a:gd name="connsiteY14" fmla="*/ 0 h 6199821"/>
                <a:gd name="connsiteX15" fmla="*/ 2188799 w 5312341"/>
                <a:gd name="connsiteY15" fmla="*/ 165560 h 6199821"/>
                <a:gd name="connsiteX16" fmla="*/ 3952350 w 5312341"/>
                <a:gd name="connsiteY16" fmla="*/ 680900 h 6199821"/>
                <a:gd name="connsiteX17" fmla="*/ 4502480 w 5312341"/>
                <a:gd name="connsiteY17" fmla="*/ 1291242 h 6199821"/>
                <a:gd name="connsiteX18" fmla="*/ 4563884 w 5312341"/>
                <a:gd name="connsiteY18" fmla="*/ 1298860 h 6199821"/>
                <a:gd name="connsiteX19" fmla="*/ 4728725 w 5312341"/>
                <a:gd name="connsiteY19" fmla="*/ 1479661 h 6199821"/>
                <a:gd name="connsiteX20" fmla="*/ 4728948 w 5312341"/>
                <a:gd name="connsiteY20" fmla="*/ 1535080 h 6199821"/>
                <a:gd name="connsiteX21" fmla="*/ 4890212 w 5312341"/>
                <a:gd name="connsiteY21" fmla="*/ 1726990 h 6199821"/>
                <a:gd name="connsiteX22" fmla="*/ 5270200 w 5312341"/>
                <a:gd name="connsiteY22" fmla="*/ 3519512 h 6199821"/>
                <a:gd name="connsiteX23" fmla="*/ 5078121 w 5312341"/>
                <a:gd name="connsiteY23" fmla="*/ 4385669 h 6199821"/>
                <a:gd name="connsiteX24" fmla="*/ 5208337 w 5312341"/>
                <a:gd name="connsiteY24" fmla="*/ 4452156 h 6199821"/>
                <a:gd name="connsiteX25" fmla="*/ 5138888 w 5312341"/>
                <a:gd name="connsiteY25" fmla="*/ 4870077 h 6199821"/>
                <a:gd name="connsiteX26" fmla="*/ 4981359 w 5312341"/>
                <a:gd name="connsiteY26" fmla="*/ 4807792 h 6199821"/>
                <a:gd name="connsiteX27" fmla="*/ 3854096 w 5312341"/>
                <a:gd name="connsiteY27" fmla="*/ 6199821 h 6199821"/>
                <a:gd name="connsiteX28" fmla="*/ 3671795 w 5312341"/>
                <a:gd name="connsiteY28" fmla="*/ 5610934 h 6199821"/>
                <a:gd name="connsiteX29" fmla="*/ 4458761 w 5312341"/>
                <a:gd name="connsiteY29" fmla="*/ 4596953 h 6199821"/>
                <a:gd name="connsiteX30" fmla="*/ 4738810 w 5312341"/>
                <a:gd name="connsiteY30" fmla="*/ 3352779 h 6199821"/>
                <a:gd name="connsiteX31" fmla="*/ 4419994 w 5312341"/>
                <a:gd name="connsiteY31" fmla="*/ 2049487 h 6199821"/>
                <a:gd name="connsiteX32" fmla="*/ 3602741 w 5312341"/>
                <a:gd name="connsiteY32" fmla="*/ 1163055 h 6199821"/>
                <a:gd name="connsiteX33" fmla="*/ 2308475 w 5312341"/>
                <a:gd name="connsiteY33" fmla="*/ 761302 h 6199821"/>
                <a:gd name="connsiteX34" fmla="*/ 1310255 w 5312341"/>
                <a:gd name="connsiteY34" fmla="*/ 1081342 h 6199821"/>
                <a:gd name="connsiteX35" fmla="*/ 1035935 w 5312341"/>
                <a:gd name="connsiteY35" fmla="*/ 1188022 h 6199821"/>
                <a:gd name="connsiteX36" fmla="*/ 0 w 5312341"/>
                <a:gd name="connsiteY36" fmla="*/ 3464807 h 6199821"/>
                <a:gd name="connsiteX37" fmla="*/ 75815 w 5312341"/>
                <a:gd name="connsiteY37" fmla="*/ 1256602 h 6199821"/>
                <a:gd name="connsiteX0" fmla="*/ 0 w 5842672"/>
                <a:gd name="connsiteY0" fmla="*/ 3281515 h 6199821"/>
                <a:gd name="connsiteX1" fmla="*/ 819506 w 5842672"/>
                <a:gd name="connsiteY1" fmla="*/ 1012762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1566266 w 5842672"/>
                <a:gd name="connsiteY35" fmla="*/ 1188022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819506 w 5842672"/>
                <a:gd name="connsiteY1" fmla="*/ 1012762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819506 w 5842672"/>
                <a:gd name="connsiteY1" fmla="*/ 1012762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819506 w 5842672"/>
                <a:gd name="connsiteY1" fmla="*/ 1012762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84589 w 5842672"/>
                <a:gd name="connsiteY2" fmla="*/ 2050403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84589 w 5842672"/>
                <a:gd name="connsiteY2" fmla="*/ 2050403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84589 w 5842672"/>
                <a:gd name="connsiteY2" fmla="*/ 2050403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84589 w 5842672"/>
                <a:gd name="connsiteY2" fmla="*/ 2050403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24787 w 5842672"/>
                <a:gd name="connsiteY2" fmla="*/ 2266904 h 6199821"/>
                <a:gd name="connsiteX3" fmla="*/ 284589 w 5842672"/>
                <a:gd name="connsiteY3" fmla="*/ 2050403 h 6199821"/>
                <a:gd name="connsiteX4" fmla="*/ 1291946 w 5842672"/>
                <a:gd name="connsiteY4" fmla="*/ 647002 h 6199821"/>
                <a:gd name="connsiteX5" fmla="*/ 1504862 w 5842672"/>
                <a:gd name="connsiteY5" fmla="*/ 547251 h 6199821"/>
                <a:gd name="connsiteX6" fmla="*/ 1484801 w 5842672"/>
                <a:gd name="connsiteY6" fmla="*/ 432260 h 6199821"/>
                <a:gd name="connsiteX7" fmla="*/ 1680566 w 5842672"/>
                <a:gd name="connsiteY7" fmla="*/ 380302 h 6199821"/>
                <a:gd name="connsiteX8" fmla="*/ 1697939 w 5842672"/>
                <a:gd name="connsiteY8" fmla="*/ 481442 h 6199821"/>
                <a:gd name="connsiteX9" fmla="*/ 1825014 w 5842672"/>
                <a:gd name="connsiteY9" fmla="*/ 442651 h 6199821"/>
                <a:gd name="connsiteX10" fmla="*/ 1855493 w 5842672"/>
                <a:gd name="connsiteY10" fmla="*/ 393463 h 6199821"/>
                <a:gd name="connsiteX11" fmla="*/ 2091380 w 5842672"/>
                <a:gd name="connsiteY11" fmla="*/ 319342 h 6199821"/>
                <a:gd name="connsiteX12" fmla="*/ 2131835 w 5842672"/>
                <a:gd name="connsiteY12" fmla="*/ 352592 h 6199821"/>
                <a:gd name="connsiteX13" fmla="*/ 2328377 w 5842672"/>
                <a:gd name="connsiteY13" fmla="*/ 288171 h 6199821"/>
                <a:gd name="connsiteX14" fmla="*/ 2287589 w 5842672"/>
                <a:gd name="connsiteY14" fmla="*/ 119840 h 6199821"/>
                <a:gd name="connsiteX15" fmla="*/ 2670832 w 5842672"/>
                <a:gd name="connsiteY15" fmla="*/ 0 h 6199821"/>
                <a:gd name="connsiteX16" fmla="*/ 2719130 w 5842672"/>
                <a:gd name="connsiteY16" fmla="*/ 165560 h 6199821"/>
                <a:gd name="connsiteX17" fmla="*/ 4482681 w 5842672"/>
                <a:gd name="connsiteY17" fmla="*/ 680900 h 6199821"/>
                <a:gd name="connsiteX18" fmla="*/ 5032811 w 5842672"/>
                <a:gd name="connsiteY18" fmla="*/ 1291242 h 6199821"/>
                <a:gd name="connsiteX19" fmla="*/ 5094215 w 5842672"/>
                <a:gd name="connsiteY19" fmla="*/ 1298860 h 6199821"/>
                <a:gd name="connsiteX20" fmla="*/ 5259056 w 5842672"/>
                <a:gd name="connsiteY20" fmla="*/ 1479661 h 6199821"/>
                <a:gd name="connsiteX21" fmla="*/ 5259279 w 5842672"/>
                <a:gd name="connsiteY21" fmla="*/ 1535080 h 6199821"/>
                <a:gd name="connsiteX22" fmla="*/ 5420543 w 5842672"/>
                <a:gd name="connsiteY22" fmla="*/ 1726990 h 6199821"/>
                <a:gd name="connsiteX23" fmla="*/ 5800531 w 5842672"/>
                <a:gd name="connsiteY23" fmla="*/ 3519512 h 6199821"/>
                <a:gd name="connsiteX24" fmla="*/ 5608452 w 5842672"/>
                <a:gd name="connsiteY24" fmla="*/ 4385669 h 6199821"/>
                <a:gd name="connsiteX25" fmla="*/ 5738668 w 5842672"/>
                <a:gd name="connsiteY25" fmla="*/ 4452156 h 6199821"/>
                <a:gd name="connsiteX26" fmla="*/ 5669219 w 5842672"/>
                <a:gd name="connsiteY26" fmla="*/ 4870077 h 6199821"/>
                <a:gd name="connsiteX27" fmla="*/ 5511690 w 5842672"/>
                <a:gd name="connsiteY27" fmla="*/ 4807792 h 6199821"/>
                <a:gd name="connsiteX28" fmla="*/ 4384427 w 5842672"/>
                <a:gd name="connsiteY28" fmla="*/ 6199821 h 6199821"/>
                <a:gd name="connsiteX29" fmla="*/ 4202126 w 5842672"/>
                <a:gd name="connsiteY29" fmla="*/ 5610934 h 6199821"/>
                <a:gd name="connsiteX30" fmla="*/ 4989092 w 5842672"/>
                <a:gd name="connsiteY30" fmla="*/ 4596953 h 6199821"/>
                <a:gd name="connsiteX31" fmla="*/ 5269141 w 5842672"/>
                <a:gd name="connsiteY31" fmla="*/ 3352779 h 6199821"/>
                <a:gd name="connsiteX32" fmla="*/ 4950325 w 5842672"/>
                <a:gd name="connsiteY32" fmla="*/ 2049487 h 6199821"/>
                <a:gd name="connsiteX33" fmla="*/ 4133072 w 5842672"/>
                <a:gd name="connsiteY33" fmla="*/ 1163055 h 6199821"/>
                <a:gd name="connsiteX34" fmla="*/ 2838806 w 5842672"/>
                <a:gd name="connsiteY34" fmla="*/ 761302 h 6199821"/>
                <a:gd name="connsiteX35" fmla="*/ 1840586 w 5842672"/>
                <a:gd name="connsiteY35" fmla="*/ 1081342 h 6199821"/>
                <a:gd name="connsiteX36" fmla="*/ 831666 w 5842672"/>
                <a:gd name="connsiteY36" fmla="*/ 2111591 h 6199821"/>
                <a:gd name="connsiteX37" fmla="*/ 530331 w 5842672"/>
                <a:gd name="connsiteY37" fmla="*/ 3464807 h 6199821"/>
                <a:gd name="connsiteX38" fmla="*/ 0 w 5842672"/>
                <a:gd name="connsiteY38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24787 w 5842672"/>
                <a:gd name="connsiteY2" fmla="*/ 2266904 h 6199821"/>
                <a:gd name="connsiteX3" fmla="*/ 268944 w 5842672"/>
                <a:gd name="connsiteY3" fmla="*/ 2136824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0 w 5842672"/>
                <a:gd name="connsiteY39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68944 w 5842672"/>
                <a:gd name="connsiteY3" fmla="*/ 2136824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0 w 5842672"/>
                <a:gd name="connsiteY39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0 w 5842672"/>
                <a:gd name="connsiteY39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228802 w 5842672"/>
                <a:gd name="connsiteY39" fmla="*/ 3359577 h 6199821"/>
                <a:gd name="connsiteX40" fmla="*/ 0 w 5842672"/>
                <a:gd name="connsiteY40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481697 w 5842672"/>
                <a:gd name="connsiteY39" fmla="*/ 5189370 h 6199821"/>
                <a:gd name="connsiteX40" fmla="*/ 0 w 5842672"/>
                <a:gd name="connsiteY40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501767 w 5842672"/>
                <a:gd name="connsiteY39" fmla="*/ 4612682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826918 w 5842672"/>
                <a:gd name="connsiteY40" fmla="*/ 5015930 h 6199821"/>
                <a:gd name="connsiteX41" fmla="*/ 481697 w 5842672"/>
                <a:gd name="connsiteY41" fmla="*/ 5189370 h 6199821"/>
                <a:gd name="connsiteX42" fmla="*/ 0 w 5842672"/>
                <a:gd name="connsiteY42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158712 w 5842672"/>
                <a:gd name="connsiteY40" fmla="*/ 5644651 h 6199821"/>
                <a:gd name="connsiteX41" fmla="*/ 481697 w 5842672"/>
                <a:gd name="connsiteY41" fmla="*/ 5189370 h 6199821"/>
                <a:gd name="connsiteX42" fmla="*/ 0 w 5842672"/>
                <a:gd name="connsiteY42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158712 w 5842672"/>
                <a:gd name="connsiteY40" fmla="*/ 5644651 h 6199821"/>
                <a:gd name="connsiteX41" fmla="*/ 943331 w 5842672"/>
                <a:gd name="connsiteY41" fmla="*/ 5241402 h 6199821"/>
                <a:gd name="connsiteX42" fmla="*/ 481697 w 5842672"/>
                <a:gd name="connsiteY42" fmla="*/ 5189370 h 6199821"/>
                <a:gd name="connsiteX43" fmla="*/ 0 w 5842672"/>
                <a:gd name="connsiteY43" fmla="*/ 3281515 h 6199821"/>
                <a:gd name="connsiteX0" fmla="*/ 0 w 5842672"/>
                <a:gd name="connsiteY0" fmla="*/ 3281515 h 6212667"/>
                <a:gd name="connsiteX1" fmla="*/ 209347 w 5842672"/>
                <a:gd name="connsiteY1" fmla="*/ 2374266 h 6212667"/>
                <a:gd name="connsiteX2" fmla="*/ 176616 w 5842672"/>
                <a:gd name="connsiteY2" fmla="*/ 2331944 h 6212667"/>
                <a:gd name="connsiteX3" fmla="*/ 248873 w 5842672"/>
                <a:gd name="connsiteY3" fmla="*/ 2067448 h 6212667"/>
                <a:gd name="connsiteX4" fmla="*/ 284589 w 5842672"/>
                <a:gd name="connsiteY4" fmla="*/ 2050403 h 6212667"/>
                <a:gd name="connsiteX5" fmla="*/ 1291946 w 5842672"/>
                <a:gd name="connsiteY5" fmla="*/ 647002 h 6212667"/>
                <a:gd name="connsiteX6" fmla="*/ 1504862 w 5842672"/>
                <a:gd name="connsiteY6" fmla="*/ 547251 h 6212667"/>
                <a:gd name="connsiteX7" fmla="*/ 1484801 w 5842672"/>
                <a:gd name="connsiteY7" fmla="*/ 432260 h 6212667"/>
                <a:gd name="connsiteX8" fmla="*/ 1680566 w 5842672"/>
                <a:gd name="connsiteY8" fmla="*/ 380302 h 6212667"/>
                <a:gd name="connsiteX9" fmla="*/ 1697939 w 5842672"/>
                <a:gd name="connsiteY9" fmla="*/ 481442 h 6212667"/>
                <a:gd name="connsiteX10" fmla="*/ 1825014 w 5842672"/>
                <a:gd name="connsiteY10" fmla="*/ 442651 h 6212667"/>
                <a:gd name="connsiteX11" fmla="*/ 1855493 w 5842672"/>
                <a:gd name="connsiteY11" fmla="*/ 393463 h 6212667"/>
                <a:gd name="connsiteX12" fmla="*/ 2091380 w 5842672"/>
                <a:gd name="connsiteY12" fmla="*/ 319342 h 6212667"/>
                <a:gd name="connsiteX13" fmla="*/ 2131835 w 5842672"/>
                <a:gd name="connsiteY13" fmla="*/ 352592 h 6212667"/>
                <a:gd name="connsiteX14" fmla="*/ 2328377 w 5842672"/>
                <a:gd name="connsiteY14" fmla="*/ 288171 h 6212667"/>
                <a:gd name="connsiteX15" fmla="*/ 2287589 w 5842672"/>
                <a:gd name="connsiteY15" fmla="*/ 119840 h 6212667"/>
                <a:gd name="connsiteX16" fmla="*/ 2670832 w 5842672"/>
                <a:gd name="connsiteY16" fmla="*/ 0 h 6212667"/>
                <a:gd name="connsiteX17" fmla="*/ 2719130 w 5842672"/>
                <a:gd name="connsiteY17" fmla="*/ 165560 h 6212667"/>
                <a:gd name="connsiteX18" fmla="*/ 4482681 w 5842672"/>
                <a:gd name="connsiteY18" fmla="*/ 680900 h 6212667"/>
                <a:gd name="connsiteX19" fmla="*/ 5032811 w 5842672"/>
                <a:gd name="connsiteY19" fmla="*/ 1291242 h 6212667"/>
                <a:gd name="connsiteX20" fmla="*/ 5094215 w 5842672"/>
                <a:gd name="connsiteY20" fmla="*/ 1298860 h 6212667"/>
                <a:gd name="connsiteX21" fmla="*/ 5259056 w 5842672"/>
                <a:gd name="connsiteY21" fmla="*/ 1479661 h 6212667"/>
                <a:gd name="connsiteX22" fmla="*/ 5259279 w 5842672"/>
                <a:gd name="connsiteY22" fmla="*/ 1535080 h 6212667"/>
                <a:gd name="connsiteX23" fmla="*/ 5420543 w 5842672"/>
                <a:gd name="connsiteY23" fmla="*/ 1726990 h 6212667"/>
                <a:gd name="connsiteX24" fmla="*/ 5800531 w 5842672"/>
                <a:gd name="connsiteY24" fmla="*/ 3519512 h 6212667"/>
                <a:gd name="connsiteX25" fmla="*/ 5608452 w 5842672"/>
                <a:gd name="connsiteY25" fmla="*/ 4385669 h 6212667"/>
                <a:gd name="connsiteX26" fmla="*/ 5738668 w 5842672"/>
                <a:gd name="connsiteY26" fmla="*/ 4452156 h 6212667"/>
                <a:gd name="connsiteX27" fmla="*/ 5669219 w 5842672"/>
                <a:gd name="connsiteY27" fmla="*/ 4870077 h 6212667"/>
                <a:gd name="connsiteX28" fmla="*/ 5511690 w 5842672"/>
                <a:gd name="connsiteY28" fmla="*/ 4807792 h 6212667"/>
                <a:gd name="connsiteX29" fmla="*/ 4384427 w 5842672"/>
                <a:gd name="connsiteY29" fmla="*/ 6199821 h 6212667"/>
                <a:gd name="connsiteX30" fmla="*/ 4202126 w 5842672"/>
                <a:gd name="connsiteY30" fmla="*/ 5610934 h 6212667"/>
                <a:gd name="connsiteX31" fmla="*/ 4989092 w 5842672"/>
                <a:gd name="connsiteY31" fmla="*/ 4596953 h 6212667"/>
                <a:gd name="connsiteX32" fmla="*/ 5269141 w 5842672"/>
                <a:gd name="connsiteY32" fmla="*/ 3352779 h 6212667"/>
                <a:gd name="connsiteX33" fmla="*/ 4950325 w 5842672"/>
                <a:gd name="connsiteY33" fmla="*/ 2049487 h 6212667"/>
                <a:gd name="connsiteX34" fmla="*/ 4133072 w 5842672"/>
                <a:gd name="connsiteY34" fmla="*/ 1163055 h 6212667"/>
                <a:gd name="connsiteX35" fmla="*/ 2838806 w 5842672"/>
                <a:gd name="connsiteY35" fmla="*/ 761302 h 6212667"/>
                <a:gd name="connsiteX36" fmla="*/ 1840586 w 5842672"/>
                <a:gd name="connsiteY36" fmla="*/ 1081342 h 6212667"/>
                <a:gd name="connsiteX37" fmla="*/ 831666 w 5842672"/>
                <a:gd name="connsiteY37" fmla="*/ 2111591 h 6212667"/>
                <a:gd name="connsiteX38" fmla="*/ 530331 w 5842672"/>
                <a:gd name="connsiteY38" fmla="*/ 3464807 h 6212667"/>
                <a:gd name="connsiteX39" fmla="*/ 1035657 w 5842672"/>
                <a:gd name="connsiteY39" fmla="*/ 4933546 h 6212667"/>
                <a:gd name="connsiteX40" fmla="*/ 4158712 w 5842672"/>
                <a:gd name="connsiteY40" fmla="*/ 5644651 h 6212667"/>
                <a:gd name="connsiteX41" fmla="*/ 4355408 w 5842672"/>
                <a:gd name="connsiteY41" fmla="*/ 6212667 h 6212667"/>
                <a:gd name="connsiteX42" fmla="*/ 481697 w 5842672"/>
                <a:gd name="connsiteY42" fmla="*/ 5189370 h 6212667"/>
                <a:gd name="connsiteX43" fmla="*/ 0 w 5842672"/>
                <a:gd name="connsiteY43" fmla="*/ 3281515 h 6212667"/>
                <a:gd name="connsiteX0" fmla="*/ 0 w 5842672"/>
                <a:gd name="connsiteY0" fmla="*/ 3281515 h 6212667"/>
                <a:gd name="connsiteX1" fmla="*/ 209347 w 5842672"/>
                <a:gd name="connsiteY1" fmla="*/ 2374266 h 6212667"/>
                <a:gd name="connsiteX2" fmla="*/ 176616 w 5842672"/>
                <a:gd name="connsiteY2" fmla="*/ 2331944 h 6212667"/>
                <a:gd name="connsiteX3" fmla="*/ 248873 w 5842672"/>
                <a:gd name="connsiteY3" fmla="*/ 2067448 h 6212667"/>
                <a:gd name="connsiteX4" fmla="*/ 284589 w 5842672"/>
                <a:gd name="connsiteY4" fmla="*/ 2050403 h 6212667"/>
                <a:gd name="connsiteX5" fmla="*/ 1291946 w 5842672"/>
                <a:gd name="connsiteY5" fmla="*/ 647002 h 6212667"/>
                <a:gd name="connsiteX6" fmla="*/ 1504862 w 5842672"/>
                <a:gd name="connsiteY6" fmla="*/ 547251 h 6212667"/>
                <a:gd name="connsiteX7" fmla="*/ 1484801 w 5842672"/>
                <a:gd name="connsiteY7" fmla="*/ 432260 h 6212667"/>
                <a:gd name="connsiteX8" fmla="*/ 1680566 w 5842672"/>
                <a:gd name="connsiteY8" fmla="*/ 380302 h 6212667"/>
                <a:gd name="connsiteX9" fmla="*/ 1697939 w 5842672"/>
                <a:gd name="connsiteY9" fmla="*/ 481442 h 6212667"/>
                <a:gd name="connsiteX10" fmla="*/ 1825014 w 5842672"/>
                <a:gd name="connsiteY10" fmla="*/ 442651 h 6212667"/>
                <a:gd name="connsiteX11" fmla="*/ 1855493 w 5842672"/>
                <a:gd name="connsiteY11" fmla="*/ 393463 h 6212667"/>
                <a:gd name="connsiteX12" fmla="*/ 2091380 w 5842672"/>
                <a:gd name="connsiteY12" fmla="*/ 319342 h 6212667"/>
                <a:gd name="connsiteX13" fmla="*/ 2131835 w 5842672"/>
                <a:gd name="connsiteY13" fmla="*/ 352592 h 6212667"/>
                <a:gd name="connsiteX14" fmla="*/ 2328377 w 5842672"/>
                <a:gd name="connsiteY14" fmla="*/ 288171 h 6212667"/>
                <a:gd name="connsiteX15" fmla="*/ 2287589 w 5842672"/>
                <a:gd name="connsiteY15" fmla="*/ 119840 h 6212667"/>
                <a:gd name="connsiteX16" fmla="*/ 2670832 w 5842672"/>
                <a:gd name="connsiteY16" fmla="*/ 0 h 6212667"/>
                <a:gd name="connsiteX17" fmla="*/ 2719130 w 5842672"/>
                <a:gd name="connsiteY17" fmla="*/ 165560 h 6212667"/>
                <a:gd name="connsiteX18" fmla="*/ 4482681 w 5842672"/>
                <a:gd name="connsiteY18" fmla="*/ 680900 h 6212667"/>
                <a:gd name="connsiteX19" fmla="*/ 5032811 w 5842672"/>
                <a:gd name="connsiteY19" fmla="*/ 1291242 h 6212667"/>
                <a:gd name="connsiteX20" fmla="*/ 5094215 w 5842672"/>
                <a:gd name="connsiteY20" fmla="*/ 1298860 h 6212667"/>
                <a:gd name="connsiteX21" fmla="*/ 5259056 w 5842672"/>
                <a:gd name="connsiteY21" fmla="*/ 1479661 h 6212667"/>
                <a:gd name="connsiteX22" fmla="*/ 5259279 w 5842672"/>
                <a:gd name="connsiteY22" fmla="*/ 1535080 h 6212667"/>
                <a:gd name="connsiteX23" fmla="*/ 5420543 w 5842672"/>
                <a:gd name="connsiteY23" fmla="*/ 1726990 h 6212667"/>
                <a:gd name="connsiteX24" fmla="*/ 5800531 w 5842672"/>
                <a:gd name="connsiteY24" fmla="*/ 3519512 h 6212667"/>
                <a:gd name="connsiteX25" fmla="*/ 5608452 w 5842672"/>
                <a:gd name="connsiteY25" fmla="*/ 4385669 h 6212667"/>
                <a:gd name="connsiteX26" fmla="*/ 5738668 w 5842672"/>
                <a:gd name="connsiteY26" fmla="*/ 4452156 h 6212667"/>
                <a:gd name="connsiteX27" fmla="*/ 5669219 w 5842672"/>
                <a:gd name="connsiteY27" fmla="*/ 4870077 h 6212667"/>
                <a:gd name="connsiteX28" fmla="*/ 5511690 w 5842672"/>
                <a:gd name="connsiteY28" fmla="*/ 4807792 h 6212667"/>
                <a:gd name="connsiteX29" fmla="*/ 4384427 w 5842672"/>
                <a:gd name="connsiteY29" fmla="*/ 6199821 h 6212667"/>
                <a:gd name="connsiteX30" fmla="*/ 4202126 w 5842672"/>
                <a:gd name="connsiteY30" fmla="*/ 5610934 h 6212667"/>
                <a:gd name="connsiteX31" fmla="*/ 4989092 w 5842672"/>
                <a:gd name="connsiteY31" fmla="*/ 4596953 h 6212667"/>
                <a:gd name="connsiteX32" fmla="*/ 5269141 w 5842672"/>
                <a:gd name="connsiteY32" fmla="*/ 3352779 h 6212667"/>
                <a:gd name="connsiteX33" fmla="*/ 4950325 w 5842672"/>
                <a:gd name="connsiteY33" fmla="*/ 2049487 h 6212667"/>
                <a:gd name="connsiteX34" fmla="*/ 4133072 w 5842672"/>
                <a:gd name="connsiteY34" fmla="*/ 1163055 h 6212667"/>
                <a:gd name="connsiteX35" fmla="*/ 2838806 w 5842672"/>
                <a:gd name="connsiteY35" fmla="*/ 761302 h 6212667"/>
                <a:gd name="connsiteX36" fmla="*/ 1840586 w 5842672"/>
                <a:gd name="connsiteY36" fmla="*/ 1081342 h 6212667"/>
                <a:gd name="connsiteX37" fmla="*/ 831666 w 5842672"/>
                <a:gd name="connsiteY37" fmla="*/ 2111591 h 6212667"/>
                <a:gd name="connsiteX38" fmla="*/ 530331 w 5842672"/>
                <a:gd name="connsiteY38" fmla="*/ 3464807 h 6212667"/>
                <a:gd name="connsiteX39" fmla="*/ 1035657 w 5842672"/>
                <a:gd name="connsiteY39" fmla="*/ 4933546 h 6212667"/>
                <a:gd name="connsiteX40" fmla="*/ 2340275 w 5842672"/>
                <a:gd name="connsiteY40" fmla="*/ 5224058 h 6212667"/>
                <a:gd name="connsiteX41" fmla="*/ 4158712 w 5842672"/>
                <a:gd name="connsiteY41" fmla="*/ 5644651 h 6212667"/>
                <a:gd name="connsiteX42" fmla="*/ 4355408 w 5842672"/>
                <a:gd name="connsiteY42" fmla="*/ 6212667 h 6212667"/>
                <a:gd name="connsiteX43" fmla="*/ 481697 w 5842672"/>
                <a:gd name="connsiteY43" fmla="*/ 5189370 h 6212667"/>
                <a:gd name="connsiteX44" fmla="*/ 0 w 5842672"/>
                <a:gd name="connsiteY44" fmla="*/ 3281515 h 6212667"/>
                <a:gd name="connsiteX0" fmla="*/ 0 w 5842672"/>
                <a:gd name="connsiteY0" fmla="*/ 3281515 h 6212667"/>
                <a:gd name="connsiteX1" fmla="*/ 209347 w 5842672"/>
                <a:gd name="connsiteY1" fmla="*/ 2374266 h 6212667"/>
                <a:gd name="connsiteX2" fmla="*/ 176616 w 5842672"/>
                <a:gd name="connsiteY2" fmla="*/ 2331944 h 6212667"/>
                <a:gd name="connsiteX3" fmla="*/ 248873 w 5842672"/>
                <a:gd name="connsiteY3" fmla="*/ 2067448 h 6212667"/>
                <a:gd name="connsiteX4" fmla="*/ 284589 w 5842672"/>
                <a:gd name="connsiteY4" fmla="*/ 2050403 h 6212667"/>
                <a:gd name="connsiteX5" fmla="*/ 1291946 w 5842672"/>
                <a:gd name="connsiteY5" fmla="*/ 647002 h 6212667"/>
                <a:gd name="connsiteX6" fmla="*/ 1504862 w 5842672"/>
                <a:gd name="connsiteY6" fmla="*/ 547251 h 6212667"/>
                <a:gd name="connsiteX7" fmla="*/ 1484801 w 5842672"/>
                <a:gd name="connsiteY7" fmla="*/ 432260 h 6212667"/>
                <a:gd name="connsiteX8" fmla="*/ 1680566 w 5842672"/>
                <a:gd name="connsiteY8" fmla="*/ 380302 h 6212667"/>
                <a:gd name="connsiteX9" fmla="*/ 1697939 w 5842672"/>
                <a:gd name="connsiteY9" fmla="*/ 481442 h 6212667"/>
                <a:gd name="connsiteX10" fmla="*/ 1825014 w 5842672"/>
                <a:gd name="connsiteY10" fmla="*/ 442651 h 6212667"/>
                <a:gd name="connsiteX11" fmla="*/ 1855493 w 5842672"/>
                <a:gd name="connsiteY11" fmla="*/ 393463 h 6212667"/>
                <a:gd name="connsiteX12" fmla="*/ 2091380 w 5842672"/>
                <a:gd name="connsiteY12" fmla="*/ 319342 h 6212667"/>
                <a:gd name="connsiteX13" fmla="*/ 2131835 w 5842672"/>
                <a:gd name="connsiteY13" fmla="*/ 352592 h 6212667"/>
                <a:gd name="connsiteX14" fmla="*/ 2328377 w 5842672"/>
                <a:gd name="connsiteY14" fmla="*/ 288171 h 6212667"/>
                <a:gd name="connsiteX15" fmla="*/ 2287589 w 5842672"/>
                <a:gd name="connsiteY15" fmla="*/ 119840 h 6212667"/>
                <a:gd name="connsiteX16" fmla="*/ 2670832 w 5842672"/>
                <a:gd name="connsiteY16" fmla="*/ 0 h 6212667"/>
                <a:gd name="connsiteX17" fmla="*/ 2719130 w 5842672"/>
                <a:gd name="connsiteY17" fmla="*/ 165560 h 6212667"/>
                <a:gd name="connsiteX18" fmla="*/ 4482681 w 5842672"/>
                <a:gd name="connsiteY18" fmla="*/ 680900 h 6212667"/>
                <a:gd name="connsiteX19" fmla="*/ 5032811 w 5842672"/>
                <a:gd name="connsiteY19" fmla="*/ 1291242 h 6212667"/>
                <a:gd name="connsiteX20" fmla="*/ 5094215 w 5842672"/>
                <a:gd name="connsiteY20" fmla="*/ 1298860 h 6212667"/>
                <a:gd name="connsiteX21" fmla="*/ 5259056 w 5842672"/>
                <a:gd name="connsiteY21" fmla="*/ 1479661 h 6212667"/>
                <a:gd name="connsiteX22" fmla="*/ 5259279 w 5842672"/>
                <a:gd name="connsiteY22" fmla="*/ 1535080 h 6212667"/>
                <a:gd name="connsiteX23" fmla="*/ 5420543 w 5842672"/>
                <a:gd name="connsiteY23" fmla="*/ 1726990 h 6212667"/>
                <a:gd name="connsiteX24" fmla="*/ 5800531 w 5842672"/>
                <a:gd name="connsiteY24" fmla="*/ 3519512 h 6212667"/>
                <a:gd name="connsiteX25" fmla="*/ 5608452 w 5842672"/>
                <a:gd name="connsiteY25" fmla="*/ 4385669 h 6212667"/>
                <a:gd name="connsiteX26" fmla="*/ 5738668 w 5842672"/>
                <a:gd name="connsiteY26" fmla="*/ 4452156 h 6212667"/>
                <a:gd name="connsiteX27" fmla="*/ 5669219 w 5842672"/>
                <a:gd name="connsiteY27" fmla="*/ 4870077 h 6212667"/>
                <a:gd name="connsiteX28" fmla="*/ 5511690 w 5842672"/>
                <a:gd name="connsiteY28" fmla="*/ 4807792 h 6212667"/>
                <a:gd name="connsiteX29" fmla="*/ 4384427 w 5842672"/>
                <a:gd name="connsiteY29" fmla="*/ 6199821 h 6212667"/>
                <a:gd name="connsiteX30" fmla="*/ 4202126 w 5842672"/>
                <a:gd name="connsiteY30" fmla="*/ 5610934 h 6212667"/>
                <a:gd name="connsiteX31" fmla="*/ 4989092 w 5842672"/>
                <a:gd name="connsiteY31" fmla="*/ 4596953 h 6212667"/>
                <a:gd name="connsiteX32" fmla="*/ 5269141 w 5842672"/>
                <a:gd name="connsiteY32" fmla="*/ 3352779 h 6212667"/>
                <a:gd name="connsiteX33" fmla="*/ 4950325 w 5842672"/>
                <a:gd name="connsiteY33" fmla="*/ 2049487 h 6212667"/>
                <a:gd name="connsiteX34" fmla="*/ 4133072 w 5842672"/>
                <a:gd name="connsiteY34" fmla="*/ 1163055 h 6212667"/>
                <a:gd name="connsiteX35" fmla="*/ 2838806 w 5842672"/>
                <a:gd name="connsiteY35" fmla="*/ 761302 h 6212667"/>
                <a:gd name="connsiteX36" fmla="*/ 1840586 w 5842672"/>
                <a:gd name="connsiteY36" fmla="*/ 1081342 h 6212667"/>
                <a:gd name="connsiteX37" fmla="*/ 831666 w 5842672"/>
                <a:gd name="connsiteY37" fmla="*/ 2111591 h 6212667"/>
                <a:gd name="connsiteX38" fmla="*/ 530331 w 5842672"/>
                <a:gd name="connsiteY38" fmla="*/ 3464807 h 6212667"/>
                <a:gd name="connsiteX39" fmla="*/ 1035657 w 5842672"/>
                <a:gd name="connsiteY39" fmla="*/ 4933546 h 6212667"/>
                <a:gd name="connsiteX40" fmla="*/ 2340275 w 5842672"/>
                <a:gd name="connsiteY40" fmla="*/ 5224058 h 6212667"/>
                <a:gd name="connsiteX41" fmla="*/ 4158712 w 5842672"/>
                <a:gd name="connsiteY41" fmla="*/ 5644651 h 6212667"/>
                <a:gd name="connsiteX42" fmla="*/ 4355408 w 5842672"/>
                <a:gd name="connsiteY42" fmla="*/ 6212667 h 6212667"/>
                <a:gd name="connsiteX43" fmla="*/ 2135550 w 5842672"/>
                <a:gd name="connsiteY43" fmla="*/ 5618634 h 6212667"/>
                <a:gd name="connsiteX44" fmla="*/ 481697 w 5842672"/>
                <a:gd name="connsiteY44" fmla="*/ 5189370 h 6212667"/>
                <a:gd name="connsiteX45" fmla="*/ 0 w 5842672"/>
                <a:gd name="connsiteY45" fmla="*/ 3281515 h 6212667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2340275 w 5842672"/>
                <a:gd name="connsiteY40" fmla="*/ 5224058 h 6724315"/>
                <a:gd name="connsiteX41" fmla="*/ 4158712 w 5842672"/>
                <a:gd name="connsiteY41" fmla="*/ 5644651 h 6724315"/>
                <a:gd name="connsiteX42" fmla="*/ 4355408 w 5842672"/>
                <a:gd name="connsiteY42" fmla="*/ 6212667 h 6724315"/>
                <a:gd name="connsiteX43" fmla="*/ 1898712 w 5842672"/>
                <a:gd name="connsiteY43" fmla="*/ 6724315 h 6724315"/>
                <a:gd name="connsiteX44" fmla="*/ 481697 w 5842672"/>
                <a:gd name="connsiteY44" fmla="*/ 5189370 h 6724315"/>
                <a:gd name="connsiteX45" fmla="*/ 0 w 5842672"/>
                <a:gd name="connsiteY45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4158712 w 5842672"/>
                <a:gd name="connsiteY41" fmla="*/ 5644651 h 6724315"/>
                <a:gd name="connsiteX42" fmla="*/ 4355408 w 5842672"/>
                <a:gd name="connsiteY42" fmla="*/ 6212667 h 6724315"/>
                <a:gd name="connsiteX43" fmla="*/ 1898712 w 5842672"/>
                <a:gd name="connsiteY43" fmla="*/ 6724315 h 6724315"/>
                <a:gd name="connsiteX44" fmla="*/ 481697 w 5842672"/>
                <a:gd name="connsiteY44" fmla="*/ 5189370 h 6724315"/>
                <a:gd name="connsiteX45" fmla="*/ 0 w 5842672"/>
                <a:gd name="connsiteY45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2886207 w 5842672"/>
                <a:gd name="connsiteY41" fmla="*/ 5696683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42159 w 5842672"/>
                <a:gd name="connsiteY40" fmla="*/ 5692347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42159 w 5842672"/>
                <a:gd name="connsiteY40" fmla="*/ 5692347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42159 w 5842672"/>
                <a:gd name="connsiteY40" fmla="*/ 5692347 h 6724315"/>
                <a:gd name="connsiteX41" fmla="*/ 3042761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42159 w 5842672"/>
                <a:gd name="connsiteY40" fmla="*/ 5692347 h 6724315"/>
                <a:gd name="connsiteX41" fmla="*/ 3042761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26252 w 5868924"/>
                <a:gd name="connsiteY0" fmla="*/ 3281515 h 6724315"/>
                <a:gd name="connsiteX1" fmla="*/ 235599 w 5868924"/>
                <a:gd name="connsiteY1" fmla="*/ 2374266 h 6724315"/>
                <a:gd name="connsiteX2" fmla="*/ 202868 w 5868924"/>
                <a:gd name="connsiteY2" fmla="*/ 2331944 h 6724315"/>
                <a:gd name="connsiteX3" fmla="*/ 275125 w 5868924"/>
                <a:gd name="connsiteY3" fmla="*/ 2067448 h 6724315"/>
                <a:gd name="connsiteX4" fmla="*/ 310841 w 5868924"/>
                <a:gd name="connsiteY4" fmla="*/ 2050403 h 6724315"/>
                <a:gd name="connsiteX5" fmla="*/ 1318198 w 5868924"/>
                <a:gd name="connsiteY5" fmla="*/ 647002 h 6724315"/>
                <a:gd name="connsiteX6" fmla="*/ 1531114 w 5868924"/>
                <a:gd name="connsiteY6" fmla="*/ 547251 h 6724315"/>
                <a:gd name="connsiteX7" fmla="*/ 1511053 w 5868924"/>
                <a:gd name="connsiteY7" fmla="*/ 432260 h 6724315"/>
                <a:gd name="connsiteX8" fmla="*/ 1706818 w 5868924"/>
                <a:gd name="connsiteY8" fmla="*/ 380302 h 6724315"/>
                <a:gd name="connsiteX9" fmla="*/ 1724191 w 5868924"/>
                <a:gd name="connsiteY9" fmla="*/ 481442 h 6724315"/>
                <a:gd name="connsiteX10" fmla="*/ 1851266 w 5868924"/>
                <a:gd name="connsiteY10" fmla="*/ 442651 h 6724315"/>
                <a:gd name="connsiteX11" fmla="*/ 1881745 w 5868924"/>
                <a:gd name="connsiteY11" fmla="*/ 393463 h 6724315"/>
                <a:gd name="connsiteX12" fmla="*/ 2117632 w 5868924"/>
                <a:gd name="connsiteY12" fmla="*/ 319342 h 6724315"/>
                <a:gd name="connsiteX13" fmla="*/ 2158087 w 5868924"/>
                <a:gd name="connsiteY13" fmla="*/ 352592 h 6724315"/>
                <a:gd name="connsiteX14" fmla="*/ 2354629 w 5868924"/>
                <a:gd name="connsiteY14" fmla="*/ 288171 h 6724315"/>
                <a:gd name="connsiteX15" fmla="*/ 2313841 w 5868924"/>
                <a:gd name="connsiteY15" fmla="*/ 119840 h 6724315"/>
                <a:gd name="connsiteX16" fmla="*/ 2697084 w 5868924"/>
                <a:gd name="connsiteY16" fmla="*/ 0 h 6724315"/>
                <a:gd name="connsiteX17" fmla="*/ 2745382 w 5868924"/>
                <a:gd name="connsiteY17" fmla="*/ 165560 h 6724315"/>
                <a:gd name="connsiteX18" fmla="*/ 4508933 w 5868924"/>
                <a:gd name="connsiteY18" fmla="*/ 680900 h 6724315"/>
                <a:gd name="connsiteX19" fmla="*/ 5059063 w 5868924"/>
                <a:gd name="connsiteY19" fmla="*/ 1291242 h 6724315"/>
                <a:gd name="connsiteX20" fmla="*/ 5120467 w 5868924"/>
                <a:gd name="connsiteY20" fmla="*/ 1298860 h 6724315"/>
                <a:gd name="connsiteX21" fmla="*/ 5285308 w 5868924"/>
                <a:gd name="connsiteY21" fmla="*/ 1479661 h 6724315"/>
                <a:gd name="connsiteX22" fmla="*/ 5285531 w 5868924"/>
                <a:gd name="connsiteY22" fmla="*/ 1535080 h 6724315"/>
                <a:gd name="connsiteX23" fmla="*/ 5446795 w 5868924"/>
                <a:gd name="connsiteY23" fmla="*/ 1726990 h 6724315"/>
                <a:gd name="connsiteX24" fmla="*/ 5826783 w 5868924"/>
                <a:gd name="connsiteY24" fmla="*/ 3519512 h 6724315"/>
                <a:gd name="connsiteX25" fmla="*/ 5634704 w 5868924"/>
                <a:gd name="connsiteY25" fmla="*/ 4385669 h 6724315"/>
                <a:gd name="connsiteX26" fmla="*/ 5764920 w 5868924"/>
                <a:gd name="connsiteY26" fmla="*/ 4452156 h 6724315"/>
                <a:gd name="connsiteX27" fmla="*/ 5695471 w 5868924"/>
                <a:gd name="connsiteY27" fmla="*/ 4870077 h 6724315"/>
                <a:gd name="connsiteX28" fmla="*/ 5537942 w 5868924"/>
                <a:gd name="connsiteY28" fmla="*/ 4807792 h 6724315"/>
                <a:gd name="connsiteX29" fmla="*/ 4410679 w 5868924"/>
                <a:gd name="connsiteY29" fmla="*/ 6199821 h 6724315"/>
                <a:gd name="connsiteX30" fmla="*/ 4228378 w 5868924"/>
                <a:gd name="connsiteY30" fmla="*/ 5610934 h 6724315"/>
                <a:gd name="connsiteX31" fmla="*/ 5015344 w 5868924"/>
                <a:gd name="connsiteY31" fmla="*/ 4596953 h 6724315"/>
                <a:gd name="connsiteX32" fmla="*/ 5295393 w 5868924"/>
                <a:gd name="connsiteY32" fmla="*/ 3352779 h 6724315"/>
                <a:gd name="connsiteX33" fmla="*/ 4976577 w 5868924"/>
                <a:gd name="connsiteY33" fmla="*/ 2049487 h 6724315"/>
                <a:gd name="connsiteX34" fmla="*/ 4159324 w 5868924"/>
                <a:gd name="connsiteY34" fmla="*/ 1163055 h 6724315"/>
                <a:gd name="connsiteX35" fmla="*/ 2865058 w 5868924"/>
                <a:gd name="connsiteY35" fmla="*/ 761302 h 6724315"/>
                <a:gd name="connsiteX36" fmla="*/ 1866838 w 5868924"/>
                <a:gd name="connsiteY36" fmla="*/ 1081342 h 6724315"/>
                <a:gd name="connsiteX37" fmla="*/ 857918 w 5868924"/>
                <a:gd name="connsiteY37" fmla="*/ 2111591 h 6724315"/>
                <a:gd name="connsiteX38" fmla="*/ 556583 w 5868924"/>
                <a:gd name="connsiteY38" fmla="*/ 3464807 h 6724315"/>
                <a:gd name="connsiteX39" fmla="*/ 1061909 w 5868924"/>
                <a:gd name="connsiteY39" fmla="*/ 4933546 h 6724315"/>
                <a:gd name="connsiteX40" fmla="*/ 1768411 w 5868924"/>
                <a:gd name="connsiteY40" fmla="*/ 5692347 h 6724315"/>
                <a:gd name="connsiteX41" fmla="*/ 3069013 w 5868924"/>
                <a:gd name="connsiteY41" fmla="*/ 6017548 h 6724315"/>
                <a:gd name="connsiteX42" fmla="*/ 4184964 w 5868924"/>
                <a:gd name="connsiteY42" fmla="*/ 5644651 h 6724315"/>
                <a:gd name="connsiteX43" fmla="*/ 4381660 w 5868924"/>
                <a:gd name="connsiteY43" fmla="*/ 6212667 h 6724315"/>
                <a:gd name="connsiteX44" fmla="*/ 1924964 w 5868924"/>
                <a:gd name="connsiteY44" fmla="*/ 6724315 h 6724315"/>
                <a:gd name="connsiteX45" fmla="*/ 507949 w 5868924"/>
                <a:gd name="connsiteY45" fmla="*/ 5189370 h 6724315"/>
                <a:gd name="connsiteX46" fmla="*/ 26252 w 5868924"/>
                <a:gd name="connsiteY46" fmla="*/ 3281515 h 6724315"/>
                <a:gd name="connsiteX0" fmla="*/ 31901 w 5874573"/>
                <a:gd name="connsiteY0" fmla="*/ 3281515 h 6724315"/>
                <a:gd name="connsiteX1" fmla="*/ 241248 w 5874573"/>
                <a:gd name="connsiteY1" fmla="*/ 2374266 h 6724315"/>
                <a:gd name="connsiteX2" fmla="*/ 208517 w 5874573"/>
                <a:gd name="connsiteY2" fmla="*/ 2331944 h 6724315"/>
                <a:gd name="connsiteX3" fmla="*/ 280774 w 5874573"/>
                <a:gd name="connsiteY3" fmla="*/ 2067448 h 6724315"/>
                <a:gd name="connsiteX4" fmla="*/ 316490 w 5874573"/>
                <a:gd name="connsiteY4" fmla="*/ 2050403 h 6724315"/>
                <a:gd name="connsiteX5" fmla="*/ 1323847 w 5874573"/>
                <a:gd name="connsiteY5" fmla="*/ 647002 h 6724315"/>
                <a:gd name="connsiteX6" fmla="*/ 1536763 w 5874573"/>
                <a:gd name="connsiteY6" fmla="*/ 547251 h 6724315"/>
                <a:gd name="connsiteX7" fmla="*/ 1516702 w 5874573"/>
                <a:gd name="connsiteY7" fmla="*/ 432260 h 6724315"/>
                <a:gd name="connsiteX8" fmla="*/ 1712467 w 5874573"/>
                <a:gd name="connsiteY8" fmla="*/ 380302 h 6724315"/>
                <a:gd name="connsiteX9" fmla="*/ 1729840 w 5874573"/>
                <a:gd name="connsiteY9" fmla="*/ 481442 h 6724315"/>
                <a:gd name="connsiteX10" fmla="*/ 1856915 w 5874573"/>
                <a:gd name="connsiteY10" fmla="*/ 442651 h 6724315"/>
                <a:gd name="connsiteX11" fmla="*/ 1887394 w 5874573"/>
                <a:gd name="connsiteY11" fmla="*/ 393463 h 6724315"/>
                <a:gd name="connsiteX12" fmla="*/ 2123281 w 5874573"/>
                <a:gd name="connsiteY12" fmla="*/ 319342 h 6724315"/>
                <a:gd name="connsiteX13" fmla="*/ 2163736 w 5874573"/>
                <a:gd name="connsiteY13" fmla="*/ 352592 h 6724315"/>
                <a:gd name="connsiteX14" fmla="*/ 2360278 w 5874573"/>
                <a:gd name="connsiteY14" fmla="*/ 288171 h 6724315"/>
                <a:gd name="connsiteX15" fmla="*/ 2319490 w 5874573"/>
                <a:gd name="connsiteY15" fmla="*/ 119840 h 6724315"/>
                <a:gd name="connsiteX16" fmla="*/ 2702733 w 5874573"/>
                <a:gd name="connsiteY16" fmla="*/ 0 h 6724315"/>
                <a:gd name="connsiteX17" fmla="*/ 2751031 w 5874573"/>
                <a:gd name="connsiteY17" fmla="*/ 165560 h 6724315"/>
                <a:gd name="connsiteX18" fmla="*/ 4514582 w 5874573"/>
                <a:gd name="connsiteY18" fmla="*/ 680900 h 6724315"/>
                <a:gd name="connsiteX19" fmla="*/ 5064712 w 5874573"/>
                <a:gd name="connsiteY19" fmla="*/ 1291242 h 6724315"/>
                <a:gd name="connsiteX20" fmla="*/ 5126116 w 5874573"/>
                <a:gd name="connsiteY20" fmla="*/ 1298860 h 6724315"/>
                <a:gd name="connsiteX21" fmla="*/ 5290957 w 5874573"/>
                <a:gd name="connsiteY21" fmla="*/ 1479661 h 6724315"/>
                <a:gd name="connsiteX22" fmla="*/ 5291180 w 5874573"/>
                <a:gd name="connsiteY22" fmla="*/ 1535080 h 6724315"/>
                <a:gd name="connsiteX23" fmla="*/ 5452444 w 5874573"/>
                <a:gd name="connsiteY23" fmla="*/ 1726990 h 6724315"/>
                <a:gd name="connsiteX24" fmla="*/ 5832432 w 5874573"/>
                <a:gd name="connsiteY24" fmla="*/ 3519512 h 6724315"/>
                <a:gd name="connsiteX25" fmla="*/ 5640353 w 5874573"/>
                <a:gd name="connsiteY25" fmla="*/ 4385669 h 6724315"/>
                <a:gd name="connsiteX26" fmla="*/ 5770569 w 5874573"/>
                <a:gd name="connsiteY26" fmla="*/ 4452156 h 6724315"/>
                <a:gd name="connsiteX27" fmla="*/ 5701120 w 5874573"/>
                <a:gd name="connsiteY27" fmla="*/ 4870077 h 6724315"/>
                <a:gd name="connsiteX28" fmla="*/ 5543591 w 5874573"/>
                <a:gd name="connsiteY28" fmla="*/ 4807792 h 6724315"/>
                <a:gd name="connsiteX29" fmla="*/ 4416328 w 5874573"/>
                <a:gd name="connsiteY29" fmla="*/ 6199821 h 6724315"/>
                <a:gd name="connsiteX30" fmla="*/ 4234027 w 5874573"/>
                <a:gd name="connsiteY30" fmla="*/ 5610934 h 6724315"/>
                <a:gd name="connsiteX31" fmla="*/ 5020993 w 5874573"/>
                <a:gd name="connsiteY31" fmla="*/ 4596953 h 6724315"/>
                <a:gd name="connsiteX32" fmla="*/ 5301042 w 5874573"/>
                <a:gd name="connsiteY32" fmla="*/ 3352779 h 6724315"/>
                <a:gd name="connsiteX33" fmla="*/ 4982226 w 5874573"/>
                <a:gd name="connsiteY33" fmla="*/ 2049487 h 6724315"/>
                <a:gd name="connsiteX34" fmla="*/ 4164973 w 5874573"/>
                <a:gd name="connsiteY34" fmla="*/ 1163055 h 6724315"/>
                <a:gd name="connsiteX35" fmla="*/ 2870707 w 5874573"/>
                <a:gd name="connsiteY35" fmla="*/ 761302 h 6724315"/>
                <a:gd name="connsiteX36" fmla="*/ 1872487 w 5874573"/>
                <a:gd name="connsiteY36" fmla="*/ 1081342 h 6724315"/>
                <a:gd name="connsiteX37" fmla="*/ 863567 w 5874573"/>
                <a:gd name="connsiteY37" fmla="*/ 2111591 h 6724315"/>
                <a:gd name="connsiteX38" fmla="*/ 562232 w 5874573"/>
                <a:gd name="connsiteY38" fmla="*/ 3464807 h 6724315"/>
                <a:gd name="connsiteX39" fmla="*/ 1067558 w 5874573"/>
                <a:gd name="connsiteY39" fmla="*/ 4933546 h 6724315"/>
                <a:gd name="connsiteX40" fmla="*/ 1774060 w 5874573"/>
                <a:gd name="connsiteY40" fmla="*/ 5692347 h 6724315"/>
                <a:gd name="connsiteX41" fmla="*/ 3074662 w 5874573"/>
                <a:gd name="connsiteY41" fmla="*/ 6017548 h 6724315"/>
                <a:gd name="connsiteX42" fmla="*/ 4190613 w 5874573"/>
                <a:gd name="connsiteY42" fmla="*/ 5644651 h 6724315"/>
                <a:gd name="connsiteX43" fmla="*/ 4387309 w 5874573"/>
                <a:gd name="connsiteY43" fmla="*/ 6212667 h 6724315"/>
                <a:gd name="connsiteX44" fmla="*/ 1930613 w 5874573"/>
                <a:gd name="connsiteY44" fmla="*/ 6724315 h 6724315"/>
                <a:gd name="connsiteX45" fmla="*/ 513598 w 5874573"/>
                <a:gd name="connsiteY45" fmla="*/ 5189370 h 6724315"/>
                <a:gd name="connsiteX46" fmla="*/ 31901 w 5874573"/>
                <a:gd name="connsiteY46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523257 w 5884232"/>
                <a:gd name="connsiteY45" fmla="*/ 5189370 h 6724315"/>
                <a:gd name="connsiteX46" fmla="*/ 41560 w 5884232"/>
                <a:gd name="connsiteY46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559386 w 5884232"/>
                <a:gd name="connsiteY45" fmla="*/ 5224057 h 6724315"/>
                <a:gd name="connsiteX46" fmla="*/ 523257 w 5884232"/>
                <a:gd name="connsiteY46" fmla="*/ 5189370 h 6724315"/>
                <a:gd name="connsiteX47" fmla="*/ 41560 w 5884232"/>
                <a:gd name="connsiteY47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430931 w 5884232"/>
                <a:gd name="connsiteY45" fmla="*/ 5323785 h 6724315"/>
                <a:gd name="connsiteX46" fmla="*/ 523257 w 5884232"/>
                <a:gd name="connsiteY46" fmla="*/ 5189370 h 6724315"/>
                <a:gd name="connsiteX47" fmla="*/ 41560 w 5884232"/>
                <a:gd name="connsiteY47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824904 w 5884232"/>
                <a:gd name="connsiteY45" fmla="*/ 5685517 h 6724315"/>
                <a:gd name="connsiteX46" fmla="*/ 430931 w 5884232"/>
                <a:gd name="connsiteY46" fmla="*/ 5323785 h 6724315"/>
                <a:gd name="connsiteX47" fmla="*/ 523257 w 5884232"/>
                <a:gd name="connsiteY47" fmla="*/ 5189370 h 6724315"/>
                <a:gd name="connsiteX48" fmla="*/ 41560 w 5884232"/>
                <a:gd name="connsiteY4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732703 w 5884232"/>
                <a:gd name="connsiteY45" fmla="*/ 5638146 h 6724315"/>
                <a:gd name="connsiteX46" fmla="*/ 430931 w 5884232"/>
                <a:gd name="connsiteY46" fmla="*/ 5323785 h 6724315"/>
                <a:gd name="connsiteX47" fmla="*/ 523257 w 5884232"/>
                <a:gd name="connsiteY47" fmla="*/ 5189370 h 6724315"/>
                <a:gd name="connsiteX48" fmla="*/ 41560 w 5884232"/>
                <a:gd name="connsiteY4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884834 w 5884232"/>
                <a:gd name="connsiteY45" fmla="*/ 5775272 h 6724315"/>
                <a:gd name="connsiteX46" fmla="*/ 732703 w 5884232"/>
                <a:gd name="connsiteY46" fmla="*/ 5638146 h 6724315"/>
                <a:gd name="connsiteX47" fmla="*/ 430931 w 5884232"/>
                <a:gd name="connsiteY47" fmla="*/ 5323785 h 6724315"/>
                <a:gd name="connsiteX48" fmla="*/ 523257 w 5884232"/>
                <a:gd name="connsiteY48" fmla="*/ 5189370 h 6724315"/>
                <a:gd name="connsiteX49" fmla="*/ 41560 w 5884232"/>
                <a:gd name="connsiteY4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817988 w 5884232"/>
                <a:gd name="connsiteY45" fmla="*/ 5548391 h 6724315"/>
                <a:gd name="connsiteX46" fmla="*/ 732703 w 5884232"/>
                <a:gd name="connsiteY46" fmla="*/ 5638146 h 6724315"/>
                <a:gd name="connsiteX47" fmla="*/ 430931 w 5884232"/>
                <a:gd name="connsiteY47" fmla="*/ 5323785 h 6724315"/>
                <a:gd name="connsiteX48" fmla="*/ 523257 w 5884232"/>
                <a:gd name="connsiteY48" fmla="*/ 5189370 h 6724315"/>
                <a:gd name="connsiteX49" fmla="*/ 41560 w 5884232"/>
                <a:gd name="connsiteY4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283604 w 5884232"/>
                <a:gd name="connsiteY40" fmla="*/ 5151972 h 6724315"/>
                <a:gd name="connsiteX41" fmla="*/ 1783719 w 5884232"/>
                <a:gd name="connsiteY41" fmla="*/ 5692347 h 6724315"/>
                <a:gd name="connsiteX42" fmla="*/ 3084321 w 5884232"/>
                <a:gd name="connsiteY42" fmla="*/ 6017548 h 6724315"/>
                <a:gd name="connsiteX43" fmla="*/ 4200272 w 5884232"/>
                <a:gd name="connsiteY43" fmla="*/ 5644651 h 6724315"/>
                <a:gd name="connsiteX44" fmla="*/ 4396968 w 5884232"/>
                <a:gd name="connsiteY44" fmla="*/ 6212667 h 6724315"/>
                <a:gd name="connsiteX45" fmla="*/ 1940272 w 5884232"/>
                <a:gd name="connsiteY45" fmla="*/ 6724315 h 6724315"/>
                <a:gd name="connsiteX46" fmla="*/ 817988 w 5884232"/>
                <a:gd name="connsiteY46" fmla="*/ 5548391 h 6724315"/>
                <a:gd name="connsiteX47" fmla="*/ 732703 w 5884232"/>
                <a:gd name="connsiteY47" fmla="*/ 5638146 h 6724315"/>
                <a:gd name="connsiteX48" fmla="*/ 430931 w 5884232"/>
                <a:gd name="connsiteY48" fmla="*/ 5323785 h 6724315"/>
                <a:gd name="connsiteX49" fmla="*/ 523257 w 5884232"/>
                <a:gd name="connsiteY49" fmla="*/ 5189370 h 6724315"/>
                <a:gd name="connsiteX50" fmla="*/ 41560 w 5884232"/>
                <a:gd name="connsiteY50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783719 w 5884232"/>
                <a:gd name="connsiteY41" fmla="*/ 5692347 h 6724315"/>
                <a:gd name="connsiteX42" fmla="*/ 3084321 w 5884232"/>
                <a:gd name="connsiteY42" fmla="*/ 6017548 h 6724315"/>
                <a:gd name="connsiteX43" fmla="*/ 4200272 w 5884232"/>
                <a:gd name="connsiteY43" fmla="*/ 5644651 h 6724315"/>
                <a:gd name="connsiteX44" fmla="*/ 4396968 w 5884232"/>
                <a:gd name="connsiteY44" fmla="*/ 6212667 h 6724315"/>
                <a:gd name="connsiteX45" fmla="*/ 1940272 w 5884232"/>
                <a:gd name="connsiteY45" fmla="*/ 6724315 h 6724315"/>
                <a:gd name="connsiteX46" fmla="*/ 817988 w 5884232"/>
                <a:gd name="connsiteY46" fmla="*/ 5548391 h 6724315"/>
                <a:gd name="connsiteX47" fmla="*/ 732703 w 5884232"/>
                <a:gd name="connsiteY47" fmla="*/ 5638146 h 6724315"/>
                <a:gd name="connsiteX48" fmla="*/ 430931 w 5884232"/>
                <a:gd name="connsiteY48" fmla="*/ 5323785 h 6724315"/>
                <a:gd name="connsiteX49" fmla="*/ 523257 w 5884232"/>
                <a:gd name="connsiteY49" fmla="*/ 5189370 h 6724315"/>
                <a:gd name="connsiteX50" fmla="*/ 41560 w 5884232"/>
                <a:gd name="connsiteY50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86983 w 5884232"/>
                <a:gd name="connsiteY41" fmla="*/ 5580802 h 6724315"/>
                <a:gd name="connsiteX42" fmla="*/ 1783719 w 5884232"/>
                <a:gd name="connsiteY42" fmla="*/ 5692347 h 6724315"/>
                <a:gd name="connsiteX43" fmla="*/ 3084321 w 5884232"/>
                <a:gd name="connsiteY43" fmla="*/ 6017548 h 6724315"/>
                <a:gd name="connsiteX44" fmla="*/ 4200272 w 5884232"/>
                <a:gd name="connsiteY44" fmla="*/ 5644651 h 6724315"/>
                <a:gd name="connsiteX45" fmla="*/ 4396968 w 5884232"/>
                <a:gd name="connsiteY45" fmla="*/ 6212667 h 6724315"/>
                <a:gd name="connsiteX46" fmla="*/ 1940272 w 5884232"/>
                <a:gd name="connsiteY46" fmla="*/ 6724315 h 6724315"/>
                <a:gd name="connsiteX47" fmla="*/ 817988 w 5884232"/>
                <a:gd name="connsiteY47" fmla="*/ 5548391 h 6724315"/>
                <a:gd name="connsiteX48" fmla="*/ 732703 w 5884232"/>
                <a:gd name="connsiteY48" fmla="*/ 5638146 h 6724315"/>
                <a:gd name="connsiteX49" fmla="*/ 430931 w 5884232"/>
                <a:gd name="connsiteY49" fmla="*/ 5323785 h 6724315"/>
                <a:gd name="connsiteX50" fmla="*/ 523257 w 5884232"/>
                <a:gd name="connsiteY50" fmla="*/ 5189370 h 6724315"/>
                <a:gd name="connsiteX51" fmla="*/ 41560 w 5884232"/>
                <a:gd name="connsiteY5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83719 w 5884232"/>
                <a:gd name="connsiteY42" fmla="*/ 5692347 h 6724315"/>
                <a:gd name="connsiteX43" fmla="*/ 3084321 w 5884232"/>
                <a:gd name="connsiteY43" fmla="*/ 6017548 h 6724315"/>
                <a:gd name="connsiteX44" fmla="*/ 4200272 w 5884232"/>
                <a:gd name="connsiteY44" fmla="*/ 5644651 h 6724315"/>
                <a:gd name="connsiteX45" fmla="*/ 4396968 w 5884232"/>
                <a:gd name="connsiteY45" fmla="*/ 6212667 h 6724315"/>
                <a:gd name="connsiteX46" fmla="*/ 1940272 w 5884232"/>
                <a:gd name="connsiteY46" fmla="*/ 6724315 h 6724315"/>
                <a:gd name="connsiteX47" fmla="*/ 817988 w 5884232"/>
                <a:gd name="connsiteY47" fmla="*/ 5548391 h 6724315"/>
                <a:gd name="connsiteX48" fmla="*/ 732703 w 5884232"/>
                <a:gd name="connsiteY48" fmla="*/ 5638146 h 6724315"/>
                <a:gd name="connsiteX49" fmla="*/ 430931 w 5884232"/>
                <a:gd name="connsiteY49" fmla="*/ 5323785 h 6724315"/>
                <a:gd name="connsiteX50" fmla="*/ 523257 w 5884232"/>
                <a:gd name="connsiteY50" fmla="*/ 5189370 h 6724315"/>
                <a:gd name="connsiteX51" fmla="*/ 41560 w 5884232"/>
                <a:gd name="connsiteY5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35389 w 5884232"/>
                <a:gd name="connsiteY42" fmla="*/ 5605735 h 6724315"/>
                <a:gd name="connsiteX43" fmla="*/ 1783719 w 5884232"/>
                <a:gd name="connsiteY43" fmla="*/ 5692347 h 6724315"/>
                <a:gd name="connsiteX44" fmla="*/ 3084321 w 5884232"/>
                <a:gd name="connsiteY44" fmla="*/ 6017548 h 6724315"/>
                <a:gd name="connsiteX45" fmla="*/ 4200272 w 5884232"/>
                <a:gd name="connsiteY45" fmla="*/ 5644651 h 6724315"/>
                <a:gd name="connsiteX46" fmla="*/ 4396968 w 5884232"/>
                <a:gd name="connsiteY46" fmla="*/ 6212667 h 6724315"/>
                <a:gd name="connsiteX47" fmla="*/ 1940272 w 5884232"/>
                <a:gd name="connsiteY47" fmla="*/ 6724315 h 6724315"/>
                <a:gd name="connsiteX48" fmla="*/ 817988 w 5884232"/>
                <a:gd name="connsiteY48" fmla="*/ 5548391 h 6724315"/>
                <a:gd name="connsiteX49" fmla="*/ 732703 w 5884232"/>
                <a:gd name="connsiteY49" fmla="*/ 5638146 h 6724315"/>
                <a:gd name="connsiteX50" fmla="*/ 430931 w 5884232"/>
                <a:gd name="connsiteY50" fmla="*/ 5323785 h 6724315"/>
                <a:gd name="connsiteX51" fmla="*/ 523257 w 5884232"/>
                <a:gd name="connsiteY51" fmla="*/ 5189370 h 6724315"/>
                <a:gd name="connsiteX52" fmla="*/ 41560 w 5884232"/>
                <a:gd name="connsiteY52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783719 w 5884232"/>
                <a:gd name="connsiteY43" fmla="*/ 5692347 h 6724315"/>
                <a:gd name="connsiteX44" fmla="*/ 3084321 w 5884232"/>
                <a:gd name="connsiteY44" fmla="*/ 6017548 h 6724315"/>
                <a:gd name="connsiteX45" fmla="*/ 4200272 w 5884232"/>
                <a:gd name="connsiteY45" fmla="*/ 5644651 h 6724315"/>
                <a:gd name="connsiteX46" fmla="*/ 4396968 w 5884232"/>
                <a:gd name="connsiteY46" fmla="*/ 6212667 h 6724315"/>
                <a:gd name="connsiteX47" fmla="*/ 1940272 w 5884232"/>
                <a:gd name="connsiteY47" fmla="*/ 6724315 h 6724315"/>
                <a:gd name="connsiteX48" fmla="*/ 817988 w 5884232"/>
                <a:gd name="connsiteY48" fmla="*/ 5548391 h 6724315"/>
                <a:gd name="connsiteX49" fmla="*/ 732703 w 5884232"/>
                <a:gd name="connsiteY49" fmla="*/ 5638146 h 6724315"/>
                <a:gd name="connsiteX50" fmla="*/ 430931 w 5884232"/>
                <a:gd name="connsiteY50" fmla="*/ 5323785 h 6724315"/>
                <a:gd name="connsiteX51" fmla="*/ 523257 w 5884232"/>
                <a:gd name="connsiteY51" fmla="*/ 5189370 h 6724315"/>
                <a:gd name="connsiteX52" fmla="*/ 41560 w 5884232"/>
                <a:gd name="connsiteY52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744609 w 5884232"/>
                <a:gd name="connsiteY43" fmla="*/ 5618200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817988 w 5884232"/>
                <a:gd name="connsiteY49" fmla="*/ 5548391 h 6724315"/>
                <a:gd name="connsiteX50" fmla="*/ 732703 w 5884232"/>
                <a:gd name="connsiteY50" fmla="*/ 5638146 h 6724315"/>
                <a:gd name="connsiteX51" fmla="*/ 430931 w 5884232"/>
                <a:gd name="connsiteY51" fmla="*/ 5323785 h 6724315"/>
                <a:gd name="connsiteX52" fmla="*/ 523257 w 5884232"/>
                <a:gd name="connsiteY52" fmla="*/ 5189370 h 6724315"/>
                <a:gd name="connsiteX53" fmla="*/ 41560 w 5884232"/>
                <a:gd name="connsiteY53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817988 w 5884232"/>
                <a:gd name="connsiteY49" fmla="*/ 5548391 h 6724315"/>
                <a:gd name="connsiteX50" fmla="*/ 732703 w 5884232"/>
                <a:gd name="connsiteY50" fmla="*/ 5638146 h 6724315"/>
                <a:gd name="connsiteX51" fmla="*/ 430931 w 5884232"/>
                <a:gd name="connsiteY51" fmla="*/ 5323785 h 6724315"/>
                <a:gd name="connsiteX52" fmla="*/ 523257 w 5884232"/>
                <a:gd name="connsiteY52" fmla="*/ 5189370 h 6724315"/>
                <a:gd name="connsiteX53" fmla="*/ 41560 w 5884232"/>
                <a:gd name="connsiteY53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013916 w 5884232"/>
                <a:gd name="connsiteY49" fmla="*/ 5755327 h 6724315"/>
                <a:gd name="connsiteX50" fmla="*/ 817988 w 5884232"/>
                <a:gd name="connsiteY50" fmla="*/ 5548391 h 6724315"/>
                <a:gd name="connsiteX51" fmla="*/ 732703 w 5884232"/>
                <a:gd name="connsiteY51" fmla="*/ 5638146 h 6724315"/>
                <a:gd name="connsiteX52" fmla="*/ 430931 w 5884232"/>
                <a:gd name="connsiteY52" fmla="*/ 5323785 h 6724315"/>
                <a:gd name="connsiteX53" fmla="*/ 523257 w 5884232"/>
                <a:gd name="connsiteY53" fmla="*/ 5189370 h 6724315"/>
                <a:gd name="connsiteX54" fmla="*/ 41560 w 5884232"/>
                <a:gd name="connsiteY54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013916 w 5884232"/>
                <a:gd name="connsiteY50" fmla="*/ 5755327 h 6724315"/>
                <a:gd name="connsiteX51" fmla="*/ 817988 w 5884232"/>
                <a:gd name="connsiteY51" fmla="*/ 5548391 h 6724315"/>
                <a:gd name="connsiteX52" fmla="*/ 732703 w 5884232"/>
                <a:gd name="connsiteY52" fmla="*/ 5638146 h 6724315"/>
                <a:gd name="connsiteX53" fmla="*/ 430931 w 5884232"/>
                <a:gd name="connsiteY53" fmla="*/ 5323785 h 6724315"/>
                <a:gd name="connsiteX54" fmla="*/ 523257 w 5884232"/>
                <a:gd name="connsiteY54" fmla="*/ 5189370 h 6724315"/>
                <a:gd name="connsiteX55" fmla="*/ 41560 w 5884232"/>
                <a:gd name="connsiteY55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30588 w 5884232"/>
                <a:gd name="connsiteY50" fmla="*/ 5977221 h 6724315"/>
                <a:gd name="connsiteX51" fmla="*/ 1013916 w 5884232"/>
                <a:gd name="connsiteY51" fmla="*/ 5755327 h 6724315"/>
                <a:gd name="connsiteX52" fmla="*/ 817988 w 5884232"/>
                <a:gd name="connsiteY52" fmla="*/ 5548391 h 6724315"/>
                <a:gd name="connsiteX53" fmla="*/ 732703 w 5884232"/>
                <a:gd name="connsiteY53" fmla="*/ 5638146 h 6724315"/>
                <a:gd name="connsiteX54" fmla="*/ 430931 w 5884232"/>
                <a:gd name="connsiteY54" fmla="*/ 5323785 h 6724315"/>
                <a:gd name="connsiteX55" fmla="*/ 523257 w 5884232"/>
                <a:gd name="connsiteY55" fmla="*/ 5189370 h 6724315"/>
                <a:gd name="connsiteX56" fmla="*/ 41560 w 5884232"/>
                <a:gd name="connsiteY56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32893 w 5884232"/>
                <a:gd name="connsiteY50" fmla="*/ 6032071 h 6724315"/>
                <a:gd name="connsiteX51" fmla="*/ 1013916 w 5884232"/>
                <a:gd name="connsiteY51" fmla="*/ 5755327 h 6724315"/>
                <a:gd name="connsiteX52" fmla="*/ 817988 w 5884232"/>
                <a:gd name="connsiteY52" fmla="*/ 5548391 h 6724315"/>
                <a:gd name="connsiteX53" fmla="*/ 732703 w 5884232"/>
                <a:gd name="connsiteY53" fmla="*/ 5638146 h 6724315"/>
                <a:gd name="connsiteX54" fmla="*/ 430931 w 5884232"/>
                <a:gd name="connsiteY54" fmla="*/ 5323785 h 6724315"/>
                <a:gd name="connsiteX55" fmla="*/ 523257 w 5884232"/>
                <a:gd name="connsiteY55" fmla="*/ 5189370 h 6724315"/>
                <a:gd name="connsiteX56" fmla="*/ 41560 w 5884232"/>
                <a:gd name="connsiteY56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32893 w 5884232"/>
                <a:gd name="connsiteY50" fmla="*/ 6032071 h 6724315"/>
                <a:gd name="connsiteX51" fmla="*/ 1039271 w 5884232"/>
                <a:gd name="connsiteY51" fmla="*/ 5790231 h 6724315"/>
                <a:gd name="connsiteX52" fmla="*/ 1013916 w 5884232"/>
                <a:gd name="connsiteY52" fmla="*/ 5755327 h 6724315"/>
                <a:gd name="connsiteX53" fmla="*/ 817988 w 5884232"/>
                <a:gd name="connsiteY53" fmla="*/ 5548391 h 6724315"/>
                <a:gd name="connsiteX54" fmla="*/ 732703 w 5884232"/>
                <a:gd name="connsiteY54" fmla="*/ 5638146 h 6724315"/>
                <a:gd name="connsiteX55" fmla="*/ 430931 w 5884232"/>
                <a:gd name="connsiteY55" fmla="*/ 5323785 h 6724315"/>
                <a:gd name="connsiteX56" fmla="*/ 523257 w 5884232"/>
                <a:gd name="connsiteY56" fmla="*/ 5189370 h 6724315"/>
                <a:gd name="connsiteX57" fmla="*/ 41560 w 5884232"/>
                <a:gd name="connsiteY57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32893 w 5884232"/>
                <a:gd name="connsiteY50" fmla="*/ 6032071 h 6724315"/>
                <a:gd name="connsiteX51" fmla="*/ 1000086 w 5884232"/>
                <a:gd name="connsiteY51" fmla="*/ 5782751 h 6724315"/>
                <a:gd name="connsiteX52" fmla="*/ 1013916 w 5884232"/>
                <a:gd name="connsiteY52" fmla="*/ 5755327 h 6724315"/>
                <a:gd name="connsiteX53" fmla="*/ 817988 w 5884232"/>
                <a:gd name="connsiteY53" fmla="*/ 5548391 h 6724315"/>
                <a:gd name="connsiteX54" fmla="*/ 732703 w 5884232"/>
                <a:gd name="connsiteY54" fmla="*/ 5638146 h 6724315"/>
                <a:gd name="connsiteX55" fmla="*/ 430931 w 5884232"/>
                <a:gd name="connsiteY55" fmla="*/ 5323785 h 6724315"/>
                <a:gd name="connsiteX56" fmla="*/ 523257 w 5884232"/>
                <a:gd name="connsiteY56" fmla="*/ 5189370 h 6724315"/>
                <a:gd name="connsiteX57" fmla="*/ 41560 w 5884232"/>
                <a:gd name="connsiteY57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22789 w 5884232"/>
                <a:gd name="connsiteY50" fmla="*/ 6089415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66585 w 5884232"/>
                <a:gd name="connsiteY50" fmla="*/ 6176678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66585 w 5884232"/>
                <a:gd name="connsiteY50" fmla="*/ 6176678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189098 w 5884232"/>
                <a:gd name="connsiteY50" fmla="*/ 6081936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189098 w 5884232"/>
                <a:gd name="connsiteY50" fmla="*/ 6081936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81298 w 5884232"/>
                <a:gd name="connsiteY50" fmla="*/ 6114348 h 6724315"/>
                <a:gd name="connsiteX51" fmla="*/ 1189098 w 5884232"/>
                <a:gd name="connsiteY51" fmla="*/ 6081936 h 6724315"/>
                <a:gd name="connsiteX52" fmla="*/ 1232893 w 5884232"/>
                <a:gd name="connsiteY52" fmla="*/ 6032071 h 6724315"/>
                <a:gd name="connsiteX53" fmla="*/ 1000086 w 5884232"/>
                <a:gd name="connsiteY53" fmla="*/ 5782751 h 6724315"/>
                <a:gd name="connsiteX54" fmla="*/ 1013916 w 5884232"/>
                <a:gd name="connsiteY54" fmla="*/ 5755327 h 6724315"/>
                <a:gd name="connsiteX55" fmla="*/ 817988 w 5884232"/>
                <a:gd name="connsiteY55" fmla="*/ 5548391 h 6724315"/>
                <a:gd name="connsiteX56" fmla="*/ 732703 w 5884232"/>
                <a:gd name="connsiteY56" fmla="*/ 5638146 h 6724315"/>
                <a:gd name="connsiteX57" fmla="*/ 430931 w 5884232"/>
                <a:gd name="connsiteY57" fmla="*/ 5323785 h 6724315"/>
                <a:gd name="connsiteX58" fmla="*/ 523257 w 5884232"/>
                <a:gd name="connsiteY58" fmla="*/ 5189370 h 6724315"/>
                <a:gd name="connsiteX59" fmla="*/ 41560 w 5884232"/>
                <a:gd name="connsiteY5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99739 w 5884232"/>
                <a:gd name="connsiteY50" fmla="*/ 6201610 h 6724315"/>
                <a:gd name="connsiteX51" fmla="*/ 1189098 w 5884232"/>
                <a:gd name="connsiteY51" fmla="*/ 6081936 h 6724315"/>
                <a:gd name="connsiteX52" fmla="*/ 1232893 w 5884232"/>
                <a:gd name="connsiteY52" fmla="*/ 6032071 h 6724315"/>
                <a:gd name="connsiteX53" fmla="*/ 1000086 w 5884232"/>
                <a:gd name="connsiteY53" fmla="*/ 5782751 h 6724315"/>
                <a:gd name="connsiteX54" fmla="*/ 1013916 w 5884232"/>
                <a:gd name="connsiteY54" fmla="*/ 5755327 h 6724315"/>
                <a:gd name="connsiteX55" fmla="*/ 817988 w 5884232"/>
                <a:gd name="connsiteY55" fmla="*/ 5548391 h 6724315"/>
                <a:gd name="connsiteX56" fmla="*/ 732703 w 5884232"/>
                <a:gd name="connsiteY56" fmla="*/ 5638146 h 6724315"/>
                <a:gd name="connsiteX57" fmla="*/ 430931 w 5884232"/>
                <a:gd name="connsiteY57" fmla="*/ 5323785 h 6724315"/>
                <a:gd name="connsiteX58" fmla="*/ 523257 w 5884232"/>
                <a:gd name="connsiteY58" fmla="*/ 5189370 h 6724315"/>
                <a:gd name="connsiteX59" fmla="*/ 41560 w 5884232"/>
                <a:gd name="connsiteY5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99739 w 5884232"/>
                <a:gd name="connsiteY50" fmla="*/ 6201610 h 6724315"/>
                <a:gd name="connsiteX51" fmla="*/ 1189098 w 5884232"/>
                <a:gd name="connsiteY51" fmla="*/ 6081936 h 6724315"/>
                <a:gd name="connsiteX52" fmla="*/ 1232893 w 5884232"/>
                <a:gd name="connsiteY52" fmla="*/ 6032071 h 6724315"/>
                <a:gd name="connsiteX53" fmla="*/ 1000086 w 5884232"/>
                <a:gd name="connsiteY53" fmla="*/ 5782751 h 6724315"/>
                <a:gd name="connsiteX54" fmla="*/ 1013916 w 5884232"/>
                <a:gd name="connsiteY54" fmla="*/ 5755327 h 6724315"/>
                <a:gd name="connsiteX55" fmla="*/ 817988 w 5884232"/>
                <a:gd name="connsiteY55" fmla="*/ 5548391 h 6724315"/>
                <a:gd name="connsiteX56" fmla="*/ 732703 w 5884232"/>
                <a:gd name="connsiteY56" fmla="*/ 5638146 h 6724315"/>
                <a:gd name="connsiteX57" fmla="*/ 430931 w 5884232"/>
                <a:gd name="connsiteY57" fmla="*/ 5323785 h 6724315"/>
                <a:gd name="connsiteX58" fmla="*/ 523257 w 5884232"/>
                <a:gd name="connsiteY58" fmla="*/ 5189370 h 6724315"/>
                <a:gd name="connsiteX59" fmla="*/ 41560 w 5884232"/>
                <a:gd name="connsiteY5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48145 w 5884232"/>
                <a:gd name="connsiteY50" fmla="*/ 6174185 h 6724315"/>
                <a:gd name="connsiteX51" fmla="*/ 1299739 w 5884232"/>
                <a:gd name="connsiteY51" fmla="*/ 6201610 h 6724315"/>
                <a:gd name="connsiteX52" fmla="*/ 1189098 w 5884232"/>
                <a:gd name="connsiteY52" fmla="*/ 6081936 h 6724315"/>
                <a:gd name="connsiteX53" fmla="*/ 1232893 w 5884232"/>
                <a:gd name="connsiteY53" fmla="*/ 6032071 h 6724315"/>
                <a:gd name="connsiteX54" fmla="*/ 1000086 w 5884232"/>
                <a:gd name="connsiteY54" fmla="*/ 5782751 h 6724315"/>
                <a:gd name="connsiteX55" fmla="*/ 1013916 w 5884232"/>
                <a:gd name="connsiteY55" fmla="*/ 5755327 h 6724315"/>
                <a:gd name="connsiteX56" fmla="*/ 817988 w 5884232"/>
                <a:gd name="connsiteY56" fmla="*/ 5548391 h 6724315"/>
                <a:gd name="connsiteX57" fmla="*/ 732703 w 5884232"/>
                <a:gd name="connsiteY57" fmla="*/ 5638146 h 6724315"/>
                <a:gd name="connsiteX58" fmla="*/ 430931 w 5884232"/>
                <a:gd name="connsiteY58" fmla="*/ 5323785 h 6724315"/>
                <a:gd name="connsiteX59" fmla="*/ 523257 w 5884232"/>
                <a:gd name="connsiteY59" fmla="*/ 5189370 h 6724315"/>
                <a:gd name="connsiteX60" fmla="*/ 41560 w 5884232"/>
                <a:gd name="connsiteY60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45840 w 5884232"/>
                <a:gd name="connsiteY50" fmla="*/ 6151747 h 6724315"/>
                <a:gd name="connsiteX51" fmla="*/ 1299739 w 5884232"/>
                <a:gd name="connsiteY51" fmla="*/ 6201610 h 6724315"/>
                <a:gd name="connsiteX52" fmla="*/ 1189098 w 5884232"/>
                <a:gd name="connsiteY52" fmla="*/ 6081936 h 6724315"/>
                <a:gd name="connsiteX53" fmla="*/ 1232893 w 5884232"/>
                <a:gd name="connsiteY53" fmla="*/ 6032071 h 6724315"/>
                <a:gd name="connsiteX54" fmla="*/ 1000086 w 5884232"/>
                <a:gd name="connsiteY54" fmla="*/ 5782751 h 6724315"/>
                <a:gd name="connsiteX55" fmla="*/ 1013916 w 5884232"/>
                <a:gd name="connsiteY55" fmla="*/ 5755327 h 6724315"/>
                <a:gd name="connsiteX56" fmla="*/ 817988 w 5884232"/>
                <a:gd name="connsiteY56" fmla="*/ 5548391 h 6724315"/>
                <a:gd name="connsiteX57" fmla="*/ 732703 w 5884232"/>
                <a:gd name="connsiteY57" fmla="*/ 5638146 h 6724315"/>
                <a:gd name="connsiteX58" fmla="*/ 430931 w 5884232"/>
                <a:gd name="connsiteY58" fmla="*/ 5323785 h 6724315"/>
                <a:gd name="connsiteX59" fmla="*/ 523257 w 5884232"/>
                <a:gd name="connsiteY59" fmla="*/ 5189370 h 6724315"/>
                <a:gd name="connsiteX60" fmla="*/ 41560 w 5884232"/>
                <a:gd name="connsiteY60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80415 w 5884232"/>
                <a:gd name="connsiteY50" fmla="*/ 6151746 h 6724315"/>
                <a:gd name="connsiteX51" fmla="*/ 1345840 w 5884232"/>
                <a:gd name="connsiteY51" fmla="*/ 6151747 h 6724315"/>
                <a:gd name="connsiteX52" fmla="*/ 1299739 w 5884232"/>
                <a:gd name="connsiteY52" fmla="*/ 6201610 h 6724315"/>
                <a:gd name="connsiteX53" fmla="*/ 1189098 w 5884232"/>
                <a:gd name="connsiteY53" fmla="*/ 6081936 h 6724315"/>
                <a:gd name="connsiteX54" fmla="*/ 1232893 w 5884232"/>
                <a:gd name="connsiteY54" fmla="*/ 6032071 h 6724315"/>
                <a:gd name="connsiteX55" fmla="*/ 1000086 w 5884232"/>
                <a:gd name="connsiteY55" fmla="*/ 5782751 h 6724315"/>
                <a:gd name="connsiteX56" fmla="*/ 1013916 w 5884232"/>
                <a:gd name="connsiteY56" fmla="*/ 5755327 h 6724315"/>
                <a:gd name="connsiteX57" fmla="*/ 817988 w 5884232"/>
                <a:gd name="connsiteY57" fmla="*/ 5548391 h 6724315"/>
                <a:gd name="connsiteX58" fmla="*/ 732703 w 5884232"/>
                <a:gd name="connsiteY58" fmla="*/ 5638146 h 6724315"/>
                <a:gd name="connsiteX59" fmla="*/ 430931 w 5884232"/>
                <a:gd name="connsiteY59" fmla="*/ 5323785 h 6724315"/>
                <a:gd name="connsiteX60" fmla="*/ 523257 w 5884232"/>
                <a:gd name="connsiteY60" fmla="*/ 5189370 h 6724315"/>
                <a:gd name="connsiteX61" fmla="*/ 41560 w 5884232"/>
                <a:gd name="connsiteY6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71195 w 5884232"/>
                <a:gd name="connsiteY50" fmla="*/ 6184157 h 6724315"/>
                <a:gd name="connsiteX51" fmla="*/ 1345840 w 5884232"/>
                <a:gd name="connsiteY51" fmla="*/ 6151747 h 6724315"/>
                <a:gd name="connsiteX52" fmla="*/ 1299739 w 5884232"/>
                <a:gd name="connsiteY52" fmla="*/ 6201610 h 6724315"/>
                <a:gd name="connsiteX53" fmla="*/ 1189098 w 5884232"/>
                <a:gd name="connsiteY53" fmla="*/ 6081936 h 6724315"/>
                <a:gd name="connsiteX54" fmla="*/ 1232893 w 5884232"/>
                <a:gd name="connsiteY54" fmla="*/ 6032071 h 6724315"/>
                <a:gd name="connsiteX55" fmla="*/ 1000086 w 5884232"/>
                <a:gd name="connsiteY55" fmla="*/ 5782751 h 6724315"/>
                <a:gd name="connsiteX56" fmla="*/ 1013916 w 5884232"/>
                <a:gd name="connsiteY56" fmla="*/ 5755327 h 6724315"/>
                <a:gd name="connsiteX57" fmla="*/ 817988 w 5884232"/>
                <a:gd name="connsiteY57" fmla="*/ 5548391 h 6724315"/>
                <a:gd name="connsiteX58" fmla="*/ 732703 w 5884232"/>
                <a:gd name="connsiteY58" fmla="*/ 5638146 h 6724315"/>
                <a:gd name="connsiteX59" fmla="*/ 430931 w 5884232"/>
                <a:gd name="connsiteY59" fmla="*/ 5323785 h 6724315"/>
                <a:gd name="connsiteX60" fmla="*/ 523257 w 5884232"/>
                <a:gd name="connsiteY60" fmla="*/ 5189370 h 6724315"/>
                <a:gd name="connsiteX61" fmla="*/ 41560 w 5884232"/>
                <a:gd name="connsiteY6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71195 w 5884232"/>
                <a:gd name="connsiteY50" fmla="*/ 6184157 h 6724315"/>
                <a:gd name="connsiteX51" fmla="*/ 1345840 w 5884232"/>
                <a:gd name="connsiteY51" fmla="*/ 6151747 h 6724315"/>
                <a:gd name="connsiteX52" fmla="*/ 1304349 w 5884232"/>
                <a:gd name="connsiteY52" fmla="*/ 6209090 h 6724315"/>
                <a:gd name="connsiteX53" fmla="*/ 1189098 w 5884232"/>
                <a:gd name="connsiteY53" fmla="*/ 6081936 h 6724315"/>
                <a:gd name="connsiteX54" fmla="*/ 1232893 w 5884232"/>
                <a:gd name="connsiteY54" fmla="*/ 6032071 h 6724315"/>
                <a:gd name="connsiteX55" fmla="*/ 1000086 w 5884232"/>
                <a:gd name="connsiteY55" fmla="*/ 5782751 h 6724315"/>
                <a:gd name="connsiteX56" fmla="*/ 1013916 w 5884232"/>
                <a:gd name="connsiteY56" fmla="*/ 5755327 h 6724315"/>
                <a:gd name="connsiteX57" fmla="*/ 817988 w 5884232"/>
                <a:gd name="connsiteY57" fmla="*/ 5548391 h 6724315"/>
                <a:gd name="connsiteX58" fmla="*/ 732703 w 5884232"/>
                <a:gd name="connsiteY58" fmla="*/ 5638146 h 6724315"/>
                <a:gd name="connsiteX59" fmla="*/ 430931 w 5884232"/>
                <a:gd name="connsiteY59" fmla="*/ 5323785 h 6724315"/>
                <a:gd name="connsiteX60" fmla="*/ 523257 w 5884232"/>
                <a:gd name="connsiteY60" fmla="*/ 5189370 h 6724315"/>
                <a:gd name="connsiteX61" fmla="*/ 41560 w 5884232"/>
                <a:gd name="connsiteY6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85024 w 5884232"/>
                <a:gd name="connsiteY49" fmla="*/ 6164212 h 6724315"/>
                <a:gd name="connsiteX50" fmla="*/ 1371195 w 5884232"/>
                <a:gd name="connsiteY50" fmla="*/ 6184157 h 6724315"/>
                <a:gd name="connsiteX51" fmla="*/ 1345840 w 5884232"/>
                <a:gd name="connsiteY51" fmla="*/ 6151747 h 6724315"/>
                <a:gd name="connsiteX52" fmla="*/ 1304349 w 5884232"/>
                <a:gd name="connsiteY52" fmla="*/ 6209090 h 6724315"/>
                <a:gd name="connsiteX53" fmla="*/ 1189098 w 5884232"/>
                <a:gd name="connsiteY53" fmla="*/ 6081936 h 6724315"/>
                <a:gd name="connsiteX54" fmla="*/ 1232893 w 5884232"/>
                <a:gd name="connsiteY54" fmla="*/ 6032071 h 6724315"/>
                <a:gd name="connsiteX55" fmla="*/ 1000086 w 5884232"/>
                <a:gd name="connsiteY55" fmla="*/ 5782751 h 6724315"/>
                <a:gd name="connsiteX56" fmla="*/ 1013916 w 5884232"/>
                <a:gd name="connsiteY56" fmla="*/ 5755327 h 6724315"/>
                <a:gd name="connsiteX57" fmla="*/ 817988 w 5884232"/>
                <a:gd name="connsiteY57" fmla="*/ 5548391 h 6724315"/>
                <a:gd name="connsiteX58" fmla="*/ 732703 w 5884232"/>
                <a:gd name="connsiteY58" fmla="*/ 5638146 h 6724315"/>
                <a:gd name="connsiteX59" fmla="*/ 430931 w 5884232"/>
                <a:gd name="connsiteY59" fmla="*/ 5323785 h 6724315"/>
                <a:gd name="connsiteX60" fmla="*/ 523257 w 5884232"/>
                <a:gd name="connsiteY60" fmla="*/ 5189370 h 6724315"/>
                <a:gd name="connsiteX61" fmla="*/ 41560 w 5884232"/>
                <a:gd name="connsiteY6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509496 w 5884232"/>
                <a:gd name="connsiteY49" fmla="*/ 6283886 h 6724315"/>
                <a:gd name="connsiteX50" fmla="*/ 1385024 w 5884232"/>
                <a:gd name="connsiteY50" fmla="*/ 6164212 h 6724315"/>
                <a:gd name="connsiteX51" fmla="*/ 1371195 w 5884232"/>
                <a:gd name="connsiteY51" fmla="*/ 6184157 h 6724315"/>
                <a:gd name="connsiteX52" fmla="*/ 1345840 w 5884232"/>
                <a:gd name="connsiteY52" fmla="*/ 6151747 h 6724315"/>
                <a:gd name="connsiteX53" fmla="*/ 1304349 w 5884232"/>
                <a:gd name="connsiteY53" fmla="*/ 6209090 h 6724315"/>
                <a:gd name="connsiteX54" fmla="*/ 1189098 w 5884232"/>
                <a:gd name="connsiteY54" fmla="*/ 6081936 h 6724315"/>
                <a:gd name="connsiteX55" fmla="*/ 1232893 w 5884232"/>
                <a:gd name="connsiteY55" fmla="*/ 6032071 h 6724315"/>
                <a:gd name="connsiteX56" fmla="*/ 1000086 w 5884232"/>
                <a:gd name="connsiteY56" fmla="*/ 5782751 h 6724315"/>
                <a:gd name="connsiteX57" fmla="*/ 1013916 w 5884232"/>
                <a:gd name="connsiteY57" fmla="*/ 5755327 h 6724315"/>
                <a:gd name="connsiteX58" fmla="*/ 817988 w 5884232"/>
                <a:gd name="connsiteY58" fmla="*/ 5548391 h 6724315"/>
                <a:gd name="connsiteX59" fmla="*/ 732703 w 5884232"/>
                <a:gd name="connsiteY59" fmla="*/ 5638146 h 6724315"/>
                <a:gd name="connsiteX60" fmla="*/ 430931 w 5884232"/>
                <a:gd name="connsiteY60" fmla="*/ 5323785 h 6724315"/>
                <a:gd name="connsiteX61" fmla="*/ 523257 w 5884232"/>
                <a:gd name="connsiteY61" fmla="*/ 5189370 h 6724315"/>
                <a:gd name="connsiteX62" fmla="*/ 41560 w 5884232"/>
                <a:gd name="connsiteY62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541767 w 5884232"/>
                <a:gd name="connsiteY49" fmla="*/ 6338736 h 6724315"/>
                <a:gd name="connsiteX50" fmla="*/ 1385024 w 5884232"/>
                <a:gd name="connsiteY50" fmla="*/ 6164212 h 6724315"/>
                <a:gd name="connsiteX51" fmla="*/ 1371195 w 5884232"/>
                <a:gd name="connsiteY51" fmla="*/ 6184157 h 6724315"/>
                <a:gd name="connsiteX52" fmla="*/ 1345840 w 5884232"/>
                <a:gd name="connsiteY52" fmla="*/ 6151747 h 6724315"/>
                <a:gd name="connsiteX53" fmla="*/ 1304349 w 5884232"/>
                <a:gd name="connsiteY53" fmla="*/ 6209090 h 6724315"/>
                <a:gd name="connsiteX54" fmla="*/ 1189098 w 5884232"/>
                <a:gd name="connsiteY54" fmla="*/ 6081936 h 6724315"/>
                <a:gd name="connsiteX55" fmla="*/ 1232893 w 5884232"/>
                <a:gd name="connsiteY55" fmla="*/ 6032071 h 6724315"/>
                <a:gd name="connsiteX56" fmla="*/ 1000086 w 5884232"/>
                <a:gd name="connsiteY56" fmla="*/ 5782751 h 6724315"/>
                <a:gd name="connsiteX57" fmla="*/ 1013916 w 5884232"/>
                <a:gd name="connsiteY57" fmla="*/ 5755327 h 6724315"/>
                <a:gd name="connsiteX58" fmla="*/ 817988 w 5884232"/>
                <a:gd name="connsiteY58" fmla="*/ 5548391 h 6724315"/>
                <a:gd name="connsiteX59" fmla="*/ 732703 w 5884232"/>
                <a:gd name="connsiteY59" fmla="*/ 5638146 h 6724315"/>
                <a:gd name="connsiteX60" fmla="*/ 430931 w 5884232"/>
                <a:gd name="connsiteY60" fmla="*/ 5323785 h 6724315"/>
                <a:gd name="connsiteX61" fmla="*/ 523257 w 5884232"/>
                <a:gd name="connsiteY61" fmla="*/ 5189370 h 6724315"/>
                <a:gd name="connsiteX62" fmla="*/ 41560 w 5884232"/>
                <a:gd name="connsiteY62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620137 w 5884232"/>
                <a:gd name="connsiteY49" fmla="*/ 6413532 h 6724315"/>
                <a:gd name="connsiteX50" fmla="*/ 1541767 w 5884232"/>
                <a:gd name="connsiteY50" fmla="*/ 6338736 h 6724315"/>
                <a:gd name="connsiteX51" fmla="*/ 1385024 w 5884232"/>
                <a:gd name="connsiteY51" fmla="*/ 6164212 h 6724315"/>
                <a:gd name="connsiteX52" fmla="*/ 1371195 w 5884232"/>
                <a:gd name="connsiteY52" fmla="*/ 6184157 h 6724315"/>
                <a:gd name="connsiteX53" fmla="*/ 1345840 w 5884232"/>
                <a:gd name="connsiteY53" fmla="*/ 6151747 h 6724315"/>
                <a:gd name="connsiteX54" fmla="*/ 1304349 w 5884232"/>
                <a:gd name="connsiteY54" fmla="*/ 6209090 h 6724315"/>
                <a:gd name="connsiteX55" fmla="*/ 1189098 w 5884232"/>
                <a:gd name="connsiteY55" fmla="*/ 6081936 h 6724315"/>
                <a:gd name="connsiteX56" fmla="*/ 1232893 w 5884232"/>
                <a:gd name="connsiteY56" fmla="*/ 6032071 h 6724315"/>
                <a:gd name="connsiteX57" fmla="*/ 1000086 w 5884232"/>
                <a:gd name="connsiteY57" fmla="*/ 5782751 h 6724315"/>
                <a:gd name="connsiteX58" fmla="*/ 1013916 w 5884232"/>
                <a:gd name="connsiteY58" fmla="*/ 5755327 h 6724315"/>
                <a:gd name="connsiteX59" fmla="*/ 817988 w 5884232"/>
                <a:gd name="connsiteY59" fmla="*/ 5548391 h 6724315"/>
                <a:gd name="connsiteX60" fmla="*/ 732703 w 5884232"/>
                <a:gd name="connsiteY60" fmla="*/ 5638146 h 6724315"/>
                <a:gd name="connsiteX61" fmla="*/ 430931 w 5884232"/>
                <a:gd name="connsiteY61" fmla="*/ 5323785 h 6724315"/>
                <a:gd name="connsiteX62" fmla="*/ 523257 w 5884232"/>
                <a:gd name="connsiteY62" fmla="*/ 5189370 h 6724315"/>
                <a:gd name="connsiteX63" fmla="*/ 41560 w 5884232"/>
                <a:gd name="connsiteY63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578647 w 5884232"/>
                <a:gd name="connsiteY49" fmla="*/ 6346215 h 6724315"/>
                <a:gd name="connsiteX50" fmla="*/ 1541767 w 5884232"/>
                <a:gd name="connsiteY50" fmla="*/ 6338736 h 6724315"/>
                <a:gd name="connsiteX51" fmla="*/ 1385024 w 5884232"/>
                <a:gd name="connsiteY51" fmla="*/ 6164212 h 6724315"/>
                <a:gd name="connsiteX52" fmla="*/ 1371195 w 5884232"/>
                <a:gd name="connsiteY52" fmla="*/ 6184157 h 6724315"/>
                <a:gd name="connsiteX53" fmla="*/ 1345840 w 5884232"/>
                <a:gd name="connsiteY53" fmla="*/ 6151747 h 6724315"/>
                <a:gd name="connsiteX54" fmla="*/ 1304349 w 5884232"/>
                <a:gd name="connsiteY54" fmla="*/ 6209090 h 6724315"/>
                <a:gd name="connsiteX55" fmla="*/ 1189098 w 5884232"/>
                <a:gd name="connsiteY55" fmla="*/ 6081936 h 6724315"/>
                <a:gd name="connsiteX56" fmla="*/ 1232893 w 5884232"/>
                <a:gd name="connsiteY56" fmla="*/ 6032071 h 6724315"/>
                <a:gd name="connsiteX57" fmla="*/ 1000086 w 5884232"/>
                <a:gd name="connsiteY57" fmla="*/ 5782751 h 6724315"/>
                <a:gd name="connsiteX58" fmla="*/ 1013916 w 5884232"/>
                <a:gd name="connsiteY58" fmla="*/ 5755327 h 6724315"/>
                <a:gd name="connsiteX59" fmla="*/ 817988 w 5884232"/>
                <a:gd name="connsiteY59" fmla="*/ 5548391 h 6724315"/>
                <a:gd name="connsiteX60" fmla="*/ 732703 w 5884232"/>
                <a:gd name="connsiteY60" fmla="*/ 5638146 h 6724315"/>
                <a:gd name="connsiteX61" fmla="*/ 430931 w 5884232"/>
                <a:gd name="connsiteY61" fmla="*/ 5323785 h 6724315"/>
                <a:gd name="connsiteX62" fmla="*/ 523257 w 5884232"/>
                <a:gd name="connsiteY62" fmla="*/ 5189370 h 6724315"/>
                <a:gd name="connsiteX63" fmla="*/ 41560 w 5884232"/>
                <a:gd name="connsiteY63" fmla="*/ 3281515 h 6724315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1928747 w 5884232"/>
                <a:gd name="connsiteY48" fmla="*/ 6734288 h 6734288"/>
                <a:gd name="connsiteX49" fmla="*/ 1578647 w 5884232"/>
                <a:gd name="connsiteY49" fmla="*/ 6346215 h 6734288"/>
                <a:gd name="connsiteX50" fmla="*/ 1541767 w 5884232"/>
                <a:gd name="connsiteY50" fmla="*/ 6338736 h 6734288"/>
                <a:gd name="connsiteX51" fmla="*/ 1385024 w 5884232"/>
                <a:gd name="connsiteY51" fmla="*/ 6164212 h 6734288"/>
                <a:gd name="connsiteX52" fmla="*/ 1371195 w 5884232"/>
                <a:gd name="connsiteY52" fmla="*/ 6184157 h 6734288"/>
                <a:gd name="connsiteX53" fmla="*/ 1345840 w 5884232"/>
                <a:gd name="connsiteY53" fmla="*/ 6151747 h 6734288"/>
                <a:gd name="connsiteX54" fmla="*/ 1304349 w 5884232"/>
                <a:gd name="connsiteY54" fmla="*/ 6209090 h 6734288"/>
                <a:gd name="connsiteX55" fmla="*/ 1189098 w 5884232"/>
                <a:gd name="connsiteY55" fmla="*/ 6081936 h 6734288"/>
                <a:gd name="connsiteX56" fmla="*/ 1232893 w 5884232"/>
                <a:gd name="connsiteY56" fmla="*/ 6032071 h 6734288"/>
                <a:gd name="connsiteX57" fmla="*/ 1000086 w 5884232"/>
                <a:gd name="connsiteY57" fmla="*/ 5782751 h 6734288"/>
                <a:gd name="connsiteX58" fmla="*/ 1013916 w 5884232"/>
                <a:gd name="connsiteY58" fmla="*/ 5755327 h 6734288"/>
                <a:gd name="connsiteX59" fmla="*/ 817988 w 5884232"/>
                <a:gd name="connsiteY59" fmla="*/ 5548391 h 6734288"/>
                <a:gd name="connsiteX60" fmla="*/ 732703 w 5884232"/>
                <a:gd name="connsiteY60" fmla="*/ 5638146 h 6734288"/>
                <a:gd name="connsiteX61" fmla="*/ 430931 w 5884232"/>
                <a:gd name="connsiteY61" fmla="*/ 5323785 h 6734288"/>
                <a:gd name="connsiteX62" fmla="*/ 523257 w 5884232"/>
                <a:gd name="connsiteY62" fmla="*/ 5189370 h 6734288"/>
                <a:gd name="connsiteX63" fmla="*/ 41560 w 5884232"/>
                <a:gd name="connsiteY63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800310 w 5884232"/>
                <a:gd name="connsiteY48" fmla="*/ 6545671 h 6734288"/>
                <a:gd name="connsiteX49" fmla="*/ 1928747 w 5884232"/>
                <a:gd name="connsiteY49" fmla="*/ 6734288 h 6734288"/>
                <a:gd name="connsiteX50" fmla="*/ 1578647 w 5884232"/>
                <a:gd name="connsiteY50" fmla="*/ 6346215 h 6734288"/>
                <a:gd name="connsiteX51" fmla="*/ 1541767 w 5884232"/>
                <a:gd name="connsiteY51" fmla="*/ 6338736 h 6734288"/>
                <a:gd name="connsiteX52" fmla="*/ 1385024 w 5884232"/>
                <a:gd name="connsiteY52" fmla="*/ 6164212 h 6734288"/>
                <a:gd name="connsiteX53" fmla="*/ 1371195 w 5884232"/>
                <a:gd name="connsiteY53" fmla="*/ 6184157 h 6734288"/>
                <a:gd name="connsiteX54" fmla="*/ 1345840 w 5884232"/>
                <a:gd name="connsiteY54" fmla="*/ 6151747 h 6734288"/>
                <a:gd name="connsiteX55" fmla="*/ 1304349 w 5884232"/>
                <a:gd name="connsiteY55" fmla="*/ 6209090 h 6734288"/>
                <a:gd name="connsiteX56" fmla="*/ 1189098 w 5884232"/>
                <a:gd name="connsiteY56" fmla="*/ 6081936 h 6734288"/>
                <a:gd name="connsiteX57" fmla="*/ 1232893 w 5884232"/>
                <a:gd name="connsiteY57" fmla="*/ 6032071 h 6734288"/>
                <a:gd name="connsiteX58" fmla="*/ 1000086 w 5884232"/>
                <a:gd name="connsiteY58" fmla="*/ 5782751 h 6734288"/>
                <a:gd name="connsiteX59" fmla="*/ 1013916 w 5884232"/>
                <a:gd name="connsiteY59" fmla="*/ 5755327 h 6734288"/>
                <a:gd name="connsiteX60" fmla="*/ 817988 w 5884232"/>
                <a:gd name="connsiteY60" fmla="*/ 5548391 h 6734288"/>
                <a:gd name="connsiteX61" fmla="*/ 732703 w 5884232"/>
                <a:gd name="connsiteY61" fmla="*/ 5638146 h 6734288"/>
                <a:gd name="connsiteX62" fmla="*/ 430931 w 5884232"/>
                <a:gd name="connsiteY62" fmla="*/ 5323785 h 6734288"/>
                <a:gd name="connsiteX63" fmla="*/ 523257 w 5884232"/>
                <a:gd name="connsiteY63" fmla="*/ 5189370 h 6734288"/>
                <a:gd name="connsiteX64" fmla="*/ 41560 w 5884232"/>
                <a:gd name="connsiteY64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615908 w 5884232"/>
                <a:gd name="connsiteY48" fmla="*/ 6593043 h 6734288"/>
                <a:gd name="connsiteX49" fmla="*/ 1928747 w 5884232"/>
                <a:gd name="connsiteY49" fmla="*/ 6734288 h 6734288"/>
                <a:gd name="connsiteX50" fmla="*/ 1578647 w 5884232"/>
                <a:gd name="connsiteY50" fmla="*/ 6346215 h 6734288"/>
                <a:gd name="connsiteX51" fmla="*/ 1541767 w 5884232"/>
                <a:gd name="connsiteY51" fmla="*/ 6338736 h 6734288"/>
                <a:gd name="connsiteX52" fmla="*/ 1385024 w 5884232"/>
                <a:gd name="connsiteY52" fmla="*/ 6164212 h 6734288"/>
                <a:gd name="connsiteX53" fmla="*/ 1371195 w 5884232"/>
                <a:gd name="connsiteY53" fmla="*/ 6184157 h 6734288"/>
                <a:gd name="connsiteX54" fmla="*/ 1345840 w 5884232"/>
                <a:gd name="connsiteY54" fmla="*/ 6151747 h 6734288"/>
                <a:gd name="connsiteX55" fmla="*/ 1304349 w 5884232"/>
                <a:gd name="connsiteY55" fmla="*/ 6209090 h 6734288"/>
                <a:gd name="connsiteX56" fmla="*/ 1189098 w 5884232"/>
                <a:gd name="connsiteY56" fmla="*/ 6081936 h 6734288"/>
                <a:gd name="connsiteX57" fmla="*/ 1232893 w 5884232"/>
                <a:gd name="connsiteY57" fmla="*/ 6032071 h 6734288"/>
                <a:gd name="connsiteX58" fmla="*/ 1000086 w 5884232"/>
                <a:gd name="connsiteY58" fmla="*/ 5782751 h 6734288"/>
                <a:gd name="connsiteX59" fmla="*/ 1013916 w 5884232"/>
                <a:gd name="connsiteY59" fmla="*/ 5755327 h 6734288"/>
                <a:gd name="connsiteX60" fmla="*/ 817988 w 5884232"/>
                <a:gd name="connsiteY60" fmla="*/ 5548391 h 6734288"/>
                <a:gd name="connsiteX61" fmla="*/ 732703 w 5884232"/>
                <a:gd name="connsiteY61" fmla="*/ 5638146 h 6734288"/>
                <a:gd name="connsiteX62" fmla="*/ 430931 w 5884232"/>
                <a:gd name="connsiteY62" fmla="*/ 5323785 h 6734288"/>
                <a:gd name="connsiteX63" fmla="*/ 523257 w 5884232"/>
                <a:gd name="connsiteY63" fmla="*/ 5189370 h 6734288"/>
                <a:gd name="connsiteX64" fmla="*/ 41560 w 5884232"/>
                <a:gd name="connsiteY64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611297 w 5884232"/>
                <a:gd name="connsiteY48" fmla="*/ 6590550 h 6734288"/>
                <a:gd name="connsiteX49" fmla="*/ 1928747 w 5884232"/>
                <a:gd name="connsiteY49" fmla="*/ 6734288 h 6734288"/>
                <a:gd name="connsiteX50" fmla="*/ 1578647 w 5884232"/>
                <a:gd name="connsiteY50" fmla="*/ 6346215 h 6734288"/>
                <a:gd name="connsiteX51" fmla="*/ 1541767 w 5884232"/>
                <a:gd name="connsiteY51" fmla="*/ 6338736 h 6734288"/>
                <a:gd name="connsiteX52" fmla="*/ 1385024 w 5884232"/>
                <a:gd name="connsiteY52" fmla="*/ 6164212 h 6734288"/>
                <a:gd name="connsiteX53" fmla="*/ 1371195 w 5884232"/>
                <a:gd name="connsiteY53" fmla="*/ 6184157 h 6734288"/>
                <a:gd name="connsiteX54" fmla="*/ 1345840 w 5884232"/>
                <a:gd name="connsiteY54" fmla="*/ 6151747 h 6734288"/>
                <a:gd name="connsiteX55" fmla="*/ 1304349 w 5884232"/>
                <a:gd name="connsiteY55" fmla="*/ 6209090 h 6734288"/>
                <a:gd name="connsiteX56" fmla="*/ 1189098 w 5884232"/>
                <a:gd name="connsiteY56" fmla="*/ 6081936 h 6734288"/>
                <a:gd name="connsiteX57" fmla="*/ 1232893 w 5884232"/>
                <a:gd name="connsiteY57" fmla="*/ 6032071 h 6734288"/>
                <a:gd name="connsiteX58" fmla="*/ 1000086 w 5884232"/>
                <a:gd name="connsiteY58" fmla="*/ 5782751 h 6734288"/>
                <a:gd name="connsiteX59" fmla="*/ 1013916 w 5884232"/>
                <a:gd name="connsiteY59" fmla="*/ 5755327 h 6734288"/>
                <a:gd name="connsiteX60" fmla="*/ 817988 w 5884232"/>
                <a:gd name="connsiteY60" fmla="*/ 5548391 h 6734288"/>
                <a:gd name="connsiteX61" fmla="*/ 732703 w 5884232"/>
                <a:gd name="connsiteY61" fmla="*/ 5638146 h 6734288"/>
                <a:gd name="connsiteX62" fmla="*/ 430931 w 5884232"/>
                <a:gd name="connsiteY62" fmla="*/ 5323785 h 6734288"/>
                <a:gd name="connsiteX63" fmla="*/ 523257 w 5884232"/>
                <a:gd name="connsiteY63" fmla="*/ 5189370 h 6734288"/>
                <a:gd name="connsiteX64" fmla="*/ 41560 w 5884232"/>
                <a:gd name="connsiteY64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779565 w 5884232"/>
                <a:gd name="connsiteY48" fmla="*/ 6555643 h 6734288"/>
                <a:gd name="connsiteX49" fmla="*/ 2611297 w 5884232"/>
                <a:gd name="connsiteY49" fmla="*/ 6590550 h 6734288"/>
                <a:gd name="connsiteX50" fmla="*/ 1928747 w 5884232"/>
                <a:gd name="connsiteY50" fmla="*/ 6734288 h 6734288"/>
                <a:gd name="connsiteX51" fmla="*/ 1578647 w 5884232"/>
                <a:gd name="connsiteY51" fmla="*/ 6346215 h 6734288"/>
                <a:gd name="connsiteX52" fmla="*/ 1541767 w 5884232"/>
                <a:gd name="connsiteY52" fmla="*/ 6338736 h 6734288"/>
                <a:gd name="connsiteX53" fmla="*/ 1385024 w 5884232"/>
                <a:gd name="connsiteY53" fmla="*/ 6164212 h 6734288"/>
                <a:gd name="connsiteX54" fmla="*/ 1371195 w 5884232"/>
                <a:gd name="connsiteY54" fmla="*/ 6184157 h 6734288"/>
                <a:gd name="connsiteX55" fmla="*/ 1345840 w 5884232"/>
                <a:gd name="connsiteY55" fmla="*/ 6151747 h 6734288"/>
                <a:gd name="connsiteX56" fmla="*/ 1304349 w 5884232"/>
                <a:gd name="connsiteY56" fmla="*/ 6209090 h 6734288"/>
                <a:gd name="connsiteX57" fmla="*/ 1189098 w 5884232"/>
                <a:gd name="connsiteY57" fmla="*/ 6081936 h 6734288"/>
                <a:gd name="connsiteX58" fmla="*/ 1232893 w 5884232"/>
                <a:gd name="connsiteY58" fmla="*/ 6032071 h 6734288"/>
                <a:gd name="connsiteX59" fmla="*/ 1000086 w 5884232"/>
                <a:gd name="connsiteY59" fmla="*/ 5782751 h 6734288"/>
                <a:gd name="connsiteX60" fmla="*/ 1013916 w 5884232"/>
                <a:gd name="connsiteY60" fmla="*/ 5755327 h 6734288"/>
                <a:gd name="connsiteX61" fmla="*/ 817988 w 5884232"/>
                <a:gd name="connsiteY61" fmla="*/ 5548391 h 6734288"/>
                <a:gd name="connsiteX62" fmla="*/ 732703 w 5884232"/>
                <a:gd name="connsiteY62" fmla="*/ 5638146 h 6734288"/>
                <a:gd name="connsiteX63" fmla="*/ 430931 w 5884232"/>
                <a:gd name="connsiteY63" fmla="*/ 5323785 h 6734288"/>
                <a:gd name="connsiteX64" fmla="*/ 523257 w 5884232"/>
                <a:gd name="connsiteY64" fmla="*/ 5189370 h 6734288"/>
                <a:gd name="connsiteX65" fmla="*/ 41560 w 5884232"/>
                <a:gd name="connsiteY65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689669 w 5884232"/>
                <a:gd name="connsiteY48" fmla="*/ 6682796 h 6734288"/>
                <a:gd name="connsiteX49" fmla="*/ 2611297 w 5884232"/>
                <a:gd name="connsiteY49" fmla="*/ 6590550 h 6734288"/>
                <a:gd name="connsiteX50" fmla="*/ 1928747 w 5884232"/>
                <a:gd name="connsiteY50" fmla="*/ 6734288 h 6734288"/>
                <a:gd name="connsiteX51" fmla="*/ 1578647 w 5884232"/>
                <a:gd name="connsiteY51" fmla="*/ 6346215 h 6734288"/>
                <a:gd name="connsiteX52" fmla="*/ 1541767 w 5884232"/>
                <a:gd name="connsiteY52" fmla="*/ 6338736 h 6734288"/>
                <a:gd name="connsiteX53" fmla="*/ 1385024 w 5884232"/>
                <a:gd name="connsiteY53" fmla="*/ 6164212 h 6734288"/>
                <a:gd name="connsiteX54" fmla="*/ 1371195 w 5884232"/>
                <a:gd name="connsiteY54" fmla="*/ 6184157 h 6734288"/>
                <a:gd name="connsiteX55" fmla="*/ 1345840 w 5884232"/>
                <a:gd name="connsiteY55" fmla="*/ 6151747 h 6734288"/>
                <a:gd name="connsiteX56" fmla="*/ 1304349 w 5884232"/>
                <a:gd name="connsiteY56" fmla="*/ 6209090 h 6734288"/>
                <a:gd name="connsiteX57" fmla="*/ 1189098 w 5884232"/>
                <a:gd name="connsiteY57" fmla="*/ 6081936 h 6734288"/>
                <a:gd name="connsiteX58" fmla="*/ 1232893 w 5884232"/>
                <a:gd name="connsiteY58" fmla="*/ 6032071 h 6734288"/>
                <a:gd name="connsiteX59" fmla="*/ 1000086 w 5884232"/>
                <a:gd name="connsiteY59" fmla="*/ 5782751 h 6734288"/>
                <a:gd name="connsiteX60" fmla="*/ 1013916 w 5884232"/>
                <a:gd name="connsiteY60" fmla="*/ 5755327 h 6734288"/>
                <a:gd name="connsiteX61" fmla="*/ 817988 w 5884232"/>
                <a:gd name="connsiteY61" fmla="*/ 5548391 h 6734288"/>
                <a:gd name="connsiteX62" fmla="*/ 732703 w 5884232"/>
                <a:gd name="connsiteY62" fmla="*/ 5638146 h 6734288"/>
                <a:gd name="connsiteX63" fmla="*/ 430931 w 5884232"/>
                <a:gd name="connsiteY63" fmla="*/ 5323785 h 6734288"/>
                <a:gd name="connsiteX64" fmla="*/ 523257 w 5884232"/>
                <a:gd name="connsiteY64" fmla="*/ 5189370 h 6734288"/>
                <a:gd name="connsiteX65" fmla="*/ 41560 w 5884232"/>
                <a:gd name="connsiteY65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344296 w 5884232"/>
                <a:gd name="connsiteY48" fmla="*/ 6500793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76913 w 5884232"/>
                <a:gd name="connsiteY48" fmla="*/ 6657865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949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206546 w 5884232"/>
                <a:gd name="connsiteY40" fmla="*/ 5094818 h 6734288"/>
                <a:gd name="connsiteX41" fmla="*/ 1548682 w 5884232"/>
                <a:gd name="connsiteY41" fmla="*/ 5436198 h 6734288"/>
                <a:gd name="connsiteX42" fmla="*/ 1610916 w 5884232"/>
                <a:gd name="connsiteY42" fmla="*/ 5418743 h 6734288"/>
                <a:gd name="connsiteX43" fmla="*/ 1714643 w 5884232"/>
                <a:gd name="connsiteY43" fmla="*/ 5533432 h 6734288"/>
                <a:gd name="connsiteX44" fmla="*/ 1693898 w 5884232"/>
                <a:gd name="connsiteY44" fmla="*/ 5598255 h 6734288"/>
                <a:gd name="connsiteX45" fmla="*/ 1783719 w 5884232"/>
                <a:gd name="connsiteY45" fmla="*/ 5692347 h 6734288"/>
                <a:gd name="connsiteX46" fmla="*/ 3084321 w 5884232"/>
                <a:gd name="connsiteY46" fmla="*/ 6017548 h 6734288"/>
                <a:gd name="connsiteX47" fmla="*/ 4209492 w 5884232"/>
                <a:gd name="connsiteY47" fmla="*/ 5644651 h 6734288"/>
                <a:gd name="connsiteX48" fmla="*/ 4406189 w 5884232"/>
                <a:gd name="connsiteY48" fmla="*/ 6217653 h 6734288"/>
                <a:gd name="connsiteX49" fmla="*/ 3067693 w 5884232"/>
                <a:gd name="connsiteY49" fmla="*/ 6660358 h 6734288"/>
                <a:gd name="connsiteX50" fmla="*/ 2689669 w 5884232"/>
                <a:gd name="connsiteY50" fmla="*/ 6682796 h 6734288"/>
                <a:gd name="connsiteX51" fmla="*/ 2611297 w 5884232"/>
                <a:gd name="connsiteY51" fmla="*/ 6590550 h 6734288"/>
                <a:gd name="connsiteX52" fmla="*/ 1928747 w 5884232"/>
                <a:gd name="connsiteY52" fmla="*/ 6734288 h 6734288"/>
                <a:gd name="connsiteX53" fmla="*/ 1578647 w 5884232"/>
                <a:gd name="connsiteY53" fmla="*/ 6346215 h 6734288"/>
                <a:gd name="connsiteX54" fmla="*/ 1541767 w 5884232"/>
                <a:gd name="connsiteY54" fmla="*/ 6338736 h 6734288"/>
                <a:gd name="connsiteX55" fmla="*/ 1385024 w 5884232"/>
                <a:gd name="connsiteY55" fmla="*/ 6164212 h 6734288"/>
                <a:gd name="connsiteX56" fmla="*/ 1371195 w 5884232"/>
                <a:gd name="connsiteY56" fmla="*/ 6184157 h 6734288"/>
                <a:gd name="connsiteX57" fmla="*/ 1345840 w 5884232"/>
                <a:gd name="connsiteY57" fmla="*/ 6151747 h 6734288"/>
                <a:gd name="connsiteX58" fmla="*/ 1304349 w 5884232"/>
                <a:gd name="connsiteY58" fmla="*/ 6209090 h 6734288"/>
                <a:gd name="connsiteX59" fmla="*/ 1189098 w 5884232"/>
                <a:gd name="connsiteY59" fmla="*/ 6081936 h 6734288"/>
                <a:gd name="connsiteX60" fmla="*/ 1232893 w 5884232"/>
                <a:gd name="connsiteY60" fmla="*/ 6032071 h 6734288"/>
                <a:gd name="connsiteX61" fmla="*/ 1000086 w 5884232"/>
                <a:gd name="connsiteY61" fmla="*/ 5782751 h 6734288"/>
                <a:gd name="connsiteX62" fmla="*/ 1013916 w 5884232"/>
                <a:gd name="connsiteY62" fmla="*/ 5755327 h 6734288"/>
                <a:gd name="connsiteX63" fmla="*/ 817988 w 5884232"/>
                <a:gd name="connsiteY63" fmla="*/ 5548391 h 6734288"/>
                <a:gd name="connsiteX64" fmla="*/ 732703 w 5884232"/>
                <a:gd name="connsiteY64" fmla="*/ 5638146 h 6734288"/>
                <a:gd name="connsiteX65" fmla="*/ 430931 w 5884232"/>
                <a:gd name="connsiteY65" fmla="*/ 5323785 h 6734288"/>
                <a:gd name="connsiteX66" fmla="*/ 523257 w 5884232"/>
                <a:gd name="connsiteY66" fmla="*/ 5189370 h 6734288"/>
                <a:gd name="connsiteX67" fmla="*/ 41560 w 5884232"/>
                <a:gd name="connsiteY67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206546 w 5884232"/>
                <a:gd name="connsiteY40" fmla="*/ 5094818 h 6734288"/>
                <a:gd name="connsiteX41" fmla="*/ 1548682 w 5884232"/>
                <a:gd name="connsiteY41" fmla="*/ 5436198 h 6734288"/>
                <a:gd name="connsiteX42" fmla="*/ 1610916 w 5884232"/>
                <a:gd name="connsiteY42" fmla="*/ 5418743 h 6734288"/>
                <a:gd name="connsiteX43" fmla="*/ 1714643 w 5884232"/>
                <a:gd name="connsiteY43" fmla="*/ 5533432 h 6734288"/>
                <a:gd name="connsiteX44" fmla="*/ 1693898 w 5884232"/>
                <a:gd name="connsiteY44" fmla="*/ 5598255 h 6734288"/>
                <a:gd name="connsiteX45" fmla="*/ 1783719 w 5884232"/>
                <a:gd name="connsiteY45" fmla="*/ 5692347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206546 w 5884232"/>
                <a:gd name="connsiteY40" fmla="*/ 5094818 h 6734288"/>
                <a:gd name="connsiteX41" fmla="*/ 1548682 w 5884232"/>
                <a:gd name="connsiteY41" fmla="*/ 5436198 h 6734288"/>
                <a:gd name="connsiteX42" fmla="*/ 1610916 w 5884232"/>
                <a:gd name="connsiteY42" fmla="*/ 5418743 h 6734288"/>
                <a:gd name="connsiteX43" fmla="*/ 1714643 w 5884232"/>
                <a:gd name="connsiteY43" fmla="*/ 5533432 h 6734288"/>
                <a:gd name="connsiteX44" fmla="*/ 1693898 w 5884232"/>
                <a:gd name="connsiteY44" fmla="*/ 5598255 h 6734288"/>
                <a:gd name="connsiteX45" fmla="*/ 1783719 w 5884232"/>
                <a:gd name="connsiteY45" fmla="*/ 5692347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2689669 w 5884232"/>
                <a:gd name="connsiteY48" fmla="*/ 6682796 h 6734288"/>
                <a:gd name="connsiteX49" fmla="*/ 2611297 w 5884232"/>
                <a:gd name="connsiteY49" fmla="*/ 6590550 h 6734288"/>
                <a:gd name="connsiteX50" fmla="*/ 1928747 w 5884232"/>
                <a:gd name="connsiteY50" fmla="*/ 6734288 h 6734288"/>
                <a:gd name="connsiteX51" fmla="*/ 1578647 w 5884232"/>
                <a:gd name="connsiteY51" fmla="*/ 6346215 h 6734288"/>
                <a:gd name="connsiteX52" fmla="*/ 1541767 w 5884232"/>
                <a:gd name="connsiteY52" fmla="*/ 6338736 h 6734288"/>
                <a:gd name="connsiteX53" fmla="*/ 1385024 w 5884232"/>
                <a:gd name="connsiteY53" fmla="*/ 6164212 h 6734288"/>
                <a:gd name="connsiteX54" fmla="*/ 1371195 w 5884232"/>
                <a:gd name="connsiteY54" fmla="*/ 6184157 h 6734288"/>
                <a:gd name="connsiteX55" fmla="*/ 1345840 w 5884232"/>
                <a:gd name="connsiteY55" fmla="*/ 6151747 h 6734288"/>
                <a:gd name="connsiteX56" fmla="*/ 1304349 w 5884232"/>
                <a:gd name="connsiteY56" fmla="*/ 6209090 h 6734288"/>
                <a:gd name="connsiteX57" fmla="*/ 1189098 w 5884232"/>
                <a:gd name="connsiteY57" fmla="*/ 6081936 h 6734288"/>
                <a:gd name="connsiteX58" fmla="*/ 1232893 w 5884232"/>
                <a:gd name="connsiteY58" fmla="*/ 6032071 h 6734288"/>
                <a:gd name="connsiteX59" fmla="*/ 1000086 w 5884232"/>
                <a:gd name="connsiteY59" fmla="*/ 5782751 h 6734288"/>
                <a:gd name="connsiteX60" fmla="*/ 1013916 w 5884232"/>
                <a:gd name="connsiteY60" fmla="*/ 5755327 h 6734288"/>
                <a:gd name="connsiteX61" fmla="*/ 817988 w 5884232"/>
                <a:gd name="connsiteY61" fmla="*/ 5548391 h 6734288"/>
                <a:gd name="connsiteX62" fmla="*/ 732703 w 5884232"/>
                <a:gd name="connsiteY62" fmla="*/ 5638146 h 6734288"/>
                <a:gd name="connsiteX63" fmla="*/ 430931 w 5884232"/>
                <a:gd name="connsiteY63" fmla="*/ 5323785 h 6734288"/>
                <a:gd name="connsiteX64" fmla="*/ 523257 w 5884232"/>
                <a:gd name="connsiteY64" fmla="*/ 5189370 h 6734288"/>
                <a:gd name="connsiteX65" fmla="*/ 41560 w 5884232"/>
                <a:gd name="connsiteY65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206546 w 5884232"/>
                <a:gd name="connsiteY40" fmla="*/ 5094818 h 6734288"/>
                <a:gd name="connsiteX41" fmla="*/ 1548682 w 5884232"/>
                <a:gd name="connsiteY41" fmla="*/ 5436198 h 6734288"/>
                <a:gd name="connsiteX42" fmla="*/ 1610916 w 5884232"/>
                <a:gd name="connsiteY42" fmla="*/ 5418743 h 6734288"/>
                <a:gd name="connsiteX43" fmla="*/ 1714643 w 5884232"/>
                <a:gd name="connsiteY43" fmla="*/ 5533432 h 6734288"/>
                <a:gd name="connsiteX44" fmla="*/ 1693898 w 5884232"/>
                <a:gd name="connsiteY44" fmla="*/ 5598255 h 6734288"/>
                <a:gd name="connsiteX45" fmla="*/ 1783719 w 5884232"/>
                <a:gd name="connsiteY45" fmla="*/ 5692347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2611297 w 5884232"/>
                <a:gd name="connsiteY48" fmla="*/ 6590550 h 6734288"/>
                <a:gd name="connsiteX49" fmla="*/ 1928747 w 5884232"/>
                <a:gd name="connsiteY49" fmla="*/ 6734288 h 6734288"/>
                <a:gd name="connsiteX50" fmla="*/ 1578647 w 5884232"/>
                <a:gd name="connsiteY50" fmla="*/ 6346215 h 6734288"/>
                <a:gd name="connsiteX51" fmla="*/ 1541767 w 5884232"/>
                <a:gd name="connsiteY51" fmla="*/ 6338736 h 6734288"/>
                <a:gd name="connsiteX52" fmla="*/ 1385024 w 5884232"/>
                <a:gd name="connsiteY52" fmla="*/ 6164212 h 6734288"/>
                <a:gd name="connsiteX53" fmla="*/ 1371195 w 5884232"/>
                <a:gd name="connsiteY53" fmla="*/ 6184157 h 6734288"/>
                <a:gd name="connsiteX54" fmla="*/ 1345840 w 5884232"/>
                <a:gd name="connsiteY54" fmla="*/ 6151747 h 6734288"/>
                <a:gd name="connsiteX55" fmla="*/ 1304349 w 5884232"/>
                <a:gd name="connsiteY55" fmla="*/ 6209090 h 6734288"/>
                <a:gd name="connsiteX56" fmla="*/ 1189098 w 5884232"/>
                <a:gd name="connsiteY56" fmla="*/ 6081936 h 6734288"/>
                <a:gd name="connsiteX57" fmla="*/ 1232893 w 5884232"/>
                <a:gd name="connsiteY57" fmla="*/ 6032071 h 6734288"/>
                <a:gd name="connsiteX58" fmla="*/ 1000086 w 5884232"/>
                <a:gd name="connsiteY58" fmla="*/ 5782751 h 6734288"/>
                <a:gd name="connsiteX59" fmla="*/ 1013916 w 5884232"/>
                <a:gd name="connsiteY59" fmla="*/ 5755327 h 6734288"/>
                <a:gd name="connsiteX60" fmla="*/ 817988 w 5884232"/>
                <a:gd name="connsiteY60" fmla="*/ 5548391 h 6734288"/>
                <a:gd name="connsiteX61" fmla="*/ 732703 w 5884232"/>
                <a:gd name="connsiteY61" fmla="*/ 5638146 h 6734288"/>
                <a:gd name="connsiteX62" fmla="*/ 430931 w 5884232"/>
                <a:gd name="connsiteY62" fmla="*/ 5323785 h 6734288"/>
                <a:gd name="connsiteX63" fmla="*/ 523257 w 5884232"/>
                <a:gd name="connsiteY63" fmla="*/ 5189370 h 6734288"/>
                <a:gd name="connsiteX64" fmla="*/ 41560 w 5884232"/>
                <a:gd name="connsiteY64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206546 w 5884232"/>
                <a:gd name="connsiteY40" fmla="*/ 5094818 h 6734288"/>
                <a:gd name="connsiteX41" fmla="*/ 1548682 w 5884232"/>
                <a:gd name="connsiteY41" fmla="*/ 5436198 h 6734288"/>
                <a:gd name="connsiteX42" fmla="*/ 1610916 w 5884232"/>
                <a:gd name="connsiteY42" fmla="*/ 5418743 h 6734288"/>
                <a:gd name="connsiteX43" fmla="*/ 1714643 w 5884232"/>
                <a:gd name="connsiteY43" fmla="*/ 5533432 h 6734288"/>
                <a:gd name="connsiteX44" fmla="*/ 1693898 w 5884232"/>
                <a:gd name="connsiteY44" fmla="*/ 5598255 h 6734288"/>
                <a:gd name="connsiteX45" fmla="*/ 1783719 w 5884232"/>
                <a:gd name="connsiteY45" fmla="*/ 5692347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1928747 w 5884232"/>
                <a:gd name="connsiteY48" fmla="*/ 6734288 h 6734288"/>
                <a:gd name="connsiteX49" fmla="*/ 1578647 w 5884232"/>
                <a:gd name="connsiteY49" fmla="*/ 6346215 h 6734288"/>
                <a:gd name="connsiteX50" fmla="*/ 1541767 w 5884232"/>
                <a:gd name="connsiteY50" fmla="*/ 6338736 h 6734288"/>
                <a:gd name="connsiteX51" fmla="*/ 1385024 w 5884232"/>
                <a:gd name="connsiteY51" fmla="*/ 6164212 h 6734288"/>
                <a:gd name="connsiteX52" fmla="*/ 1371195 w 5884232"/>
                <a:gd name="connsiteY52" fmla="*/ 6184157 h 6734288"/>
                <a:gd name="connsiteX53" fmla="*/ 1345840 w 5884232"/>
                <a:gd name="connsiteY53" fmla="*/ 6151747 h 6734288"/>
                <a:gd name="connsiteX54" fmla="*/ 1304349 w 5884232"/>
                <a:gd name="connsiteY54" fmla="*/ 6209090 h 6734288"/>
                <a:gd name="connsiteX55" fmla="*/ 1189098 w 5884232"/>
                <a:gd name="connsiteY55" fmla="*/ 6081936 h 6734288"/>
                <a:gd name="connsiteX56" fmla="*/ 1232893 w 5884232"/>
                <a:gd name="connsiteY56" fmla="*/ 6032071 h 6734288"/>
                <a:gd name="connsiteX57" fmla="*/ 1000086 w 5884232"/>
                <a:gd name="connsiteY57" fmla="*/ 5782751 h 6734288"/>
                <a:gd name="connsiteX58" fmla="*/ 1013916 w 5884232"/>
                <a:gd name="connsiteY58" fmla="*/ 5755327 h 6734288"/>
                <a:gd name="connsiteX59" fmla="*/ 817988 w 5884232"/>
                <a:gd name="connsiteY59" fmla="*/ 5548391 h 6734288"/>
                <a:gd name="connsiteX60" fmla="*/ 732703 w 5884232"/>
                <a:gd name="connsiteY60" fmla="*/ 5638146 h 6734288"/>
                <a:gd name="connsiteX61" fmla="*/ 430931 w 5884232"/>
                <a:gd name="connsiteY61" fmla="*/ 5323785 h 6734288"/>
                <a:gd name="connsiteX62" fmla="*/ 523257 w 5884232"/>
                <a:gd name="connsiteY62" fmla="*/ 5189370 h 6734288"/>
                <a:gd name="connsiteX63" fmla="*/ 41560 w 5884232"/>
                <a:gd name="connsiteY63" fmla="*/ 3281515 h 6734288"/>
                <a:gd name="connsiteX0" fmla="*/ 41560 w 5884232"/>
                <a:gd name="connsiteY0" fmla="*/ 3281515 h 6346215"/>
                <a:gd name="connsiteX1" fmla="*/ 250907 w 5884232"/>
                <a:gd name="connsiteY1" fmla="*/ 2374266 h 6346215"/>
                <a:gd name="connsiteX2" fmla="*/ 218176 w 5884232"/>
                <a:gd name="connsiteY2" fmla="*/ 2331944 h 6346215"/>
                <a:gd name="connsiteX3" fmla="*/ 290433 w 5884232"/>
                <a:gd name="connsiteY3" fmla="*/ 2067448 h 6346215"/>
                <a:gd name="connsiteX4" fmla="*/ 326149 w 5884232"/>
                <a:gd name="connsiteY4" fmla="*/ 2050403 h 6346215"/>
                <a:gd name="connsiteX5" fmla="*/ 1333506 w 5884232"/>
                <a:gd name="connsiteY5" fmla="*/ 647002 h 6346215"/>
                <a:gd name="connsiteX6" fmla="*/ 1546422 w 5884232"/>
                <a:gd name="connsiteY6" fmla="*/ 547251 h 6346215"/>
                <a:gd name="connsiteX7" fmla="*/ 1526361 w 5884232"/>
                <a:gd name="connsiteY7" fmla="*/ 432260 h 6346215"/>
                <a:gd name="connsiteX8" fmla="*/ 1722126 w 5884232"/>
                <a:gd name="connsiteY8" fmla="*/ 380302 h 6346215"/>
                <a:gd name="connsiteX9" fmla="*/ 1739499 w 5884232"/>
                <a:gd name="connsiteY9" fmla="*/ 481442 h 6346215"/>
                <a:gd name="connsiteX10" fmla="*/ 1866574 w 5884232"/>
                <a:gd name="connsiteY10" fmla="*/ 442651 h 6346215"/>
                <a:gd name="connsiteX11" fmla="*/ 1897053 w 5884232"/>
                <a:gd name="connsiteY11" fmla="*/ 393463 h 6346215"/>
                <a:gd name="connsiteX12" fmla="*/ 2132940 w 5884232"/>
                <a:gd name="connsiteY12" fmla="*/ 319342 h 6346215"/>
                <a:gd name="connsiteX13" fmla="*/ 2173395 w 5884232"/>
                <a:gd name="connsiteY13" fmla="*/ 352592 h 6346215"/>
                <a:gd name="connsiteX14" fmla="*/ 2369937 w 5884232"/>
                <a:gd name="connsiteY14" fmla="*/ 288171 h 6346215"/>
                <a:gd name="connsiteX15" fmla="*/ 2329149 w 5884232"/>
                <a:gd name="connsiteY15" fmla="*/ 119840 h 6346215"/>
                <a:gd name="connsiteX16" fmla="*/ 2712392 w 5884232"/>
                <a:gd name="connsiteY16" fmla="*/ 0 h 6346215"/>
                <a:gd name="connsiteX17" fmla="*/ 2760690 w 5884232"/>
                <a:gd name="connsiteY17" fmla="*/ 165560 h 6346215"/>
                <a:gd name="connsiteX18" fmla="*/ 4524241 w 5884232"/>
                <a:gd name="connsiteY18" fmla="*/ 680900 h 6346215"/>
                <a:gd name="connsiteX19" fmla="*/ 5074371 w 5884232"/>
                <a:gd name="connsiteY19" fmla="*/ 1291242 h 6346215"/>
                <a:gd name="connsiteX20" fmla="*/ 5135775 w 5884232"/>
                <a:gd name="connsiteY20" fmla="*/ 1298860 h 6346215"/>
                <a:gd name="connsiteX21" fmla="*/ 5300616 w 5884232"/>
                <a:gd name="connsiteY21" fmla="*/ 1479661 h 6346215"/>
                <a:gd name="connsiteX22" fmla="*/ 5300839 w 5884232"/>
                <a:gd name="connsiteY22" fmla="*/ 1535080 h 6346215"/>
                <a:gd name="connsiteX23" fmla="*/ 5462103 w 5884232"/>
                <a:gd name="connsiteY23" fmla="*/ 1726990 h 6346215"/>
                <a:gd name="connsiteX24" fmla="*/ 5842091 w 5884232"/>
                <a:gd name="connsiteY24" fmla="*/ 3519512 h 6346215"/>
                <a:gd name="connsiteX25" fmla="*/ 5650012 w 5884232"/>
                <a:gd name="connsiteY25" fmla="*/ 4385669 h 6346215"/>
                <a:gd name="connsiteX26" fmla="*/ 5780228 w 5884232"/>
                <a:gd name="connsiteY26" fmla="*/ 4452156 h 6346215"/>
                <a:gd name="connsiteX27" fmla="*/ 5710779 w 5884232"/>
                <a:gd name="connsiteY27" fmla="*/ 4870077 h 6346215"/>
                <a:gd name="connsiteX28" fmla="*/ 5553250 w 5884232"/>
                <a:gd name="connsiteY28" fmla="*/ 4807792 h 6346215"/>
                <a:gd name="connsiteX29" fmla="*/ 4409852 w 5884232"/>
                <a:gd name="connsiteY29" fmla="*/ 6212288 h 6346215"/>
                <a:gd name="connsiteX30" fmla="*/ 4213721 w 5884232"/>
                <a:gd name="connsiteY30" fmla="*/ 5643346 h 6346215"/>
                <a:gd name="connsiteX31" fmla="*/ 5030652 w 5884232"/>
                <a:gd name="connsiteY31" fmla="*/ 4596953 h 6346215"/>
                <a:gd name="connsiteX32" fmla="*/ 5310701 w 5884232"/>
                <a:gd name="connsiteY32" fmla="*/ 3352779 h 6346215"/>
                <a:gd name="connsiteX33" fmla="*/ 4991885 w 5884232"/>
                <a:gd name="connsiteY33" fmla="*/ 2049487 h 6346215"/>
                <a:gd name="connsiteX34" fmla="*/ 4174632 w 5884232"/>
                <a:gd name="connsiteY34" fmla="*/ 1163055 h 6346215"/>
                <a:gd name="connsiteX35" fmla="*/ 2880366 w 5884232"/>
                <a:gd name="connsiteY35" fmla="*/ 761302 h 6346215"/>
                <a:gd name="connsiteX36" fmla="*/ 1882146 w 5884232"/>
                <a:gd name="connsiteY36" fmla="*/ 1081342 h 6346215"/>
                <a:gd name="connsiteX37" fmla="*/ 873226 w 5884232"/>
                <a:gd name="connsiteY37" fmla="*/ 2111591 h 6346215"/>
                <a:gd name="connsiteX38" fmla="*/ 571891 w 5884232"/>
                <a:gd name="connsiteY38" fmla="*/ 3464807 h 6346215"/>
                <a:gd name="connsiteX39" fmla="*/ 1077217 w 5884232"/>
                <a:gd name="connsiteY39" fmla="*/ 4933546 h 6346215"/>
                <a:gd name="connsiteX40" fmla="*/ 1206546 w 5884232"/>
                <a:gd name="connsiteY40" fmla="*/ 5094818 h 6346215"/>
                <a:gd name="connsiteX41" fmla="*/ 1548682 w 5884232"/>
                <a:gd name="connsiteY41" fmla="*/ 5436198 h 6346215"/>
                <a:gd name="connsiteX42" fmla="*/ 1610916 w 5884232"/>
                <a:gd name="connsiteY42" fmla="*/ 5418743 h 6346215"/>
                <a:gd name="connsiteX43" fmla="*/ 1714643 w 5884232"/>
                <a:gd name="connsiteY43" fmla="*/ 5533432 h 6346215"/>
                <a:gd name="connsiteX44" fmla="*/ 1693898 w 5884232"/>
                <a:gd name="connsiteY44" fmla="*/ 5598255 h 6346215"/>
                <a:gd name="connsiteX45" fmla="*/ 1783719 w 5884232"/>
                <a:gd name="connsiteY45" fmla="*/ 5692347 h 6346215"/>
                <a:gd name="connsiteX46" fmla="*/ 4209492 w 5884232"/>
                <a:gd name="connsiteY46" fmla="*/ 5644651 h 6346215"/>
                <a:gd name="connsiteX47" fmla="*/ 4406189 w 5884232"/>
                <a:gd name="connsiteY47" fmla="*/ 6217653 h 6346215"/>
                <a:gd name="connsiteX48" fmla="*/ 1578647 w 5884232"/>
                <a:gd name="connsiteY48" fmla="*/ 6346215 h 6346215"/>
                <a:gd name="connsiteX49" fmla="*/ 1541767 w 5884232"/>
                <a:gd name="connsiteY49" fmla="*/ 6338736 h 6346215"/>
                <a:gd name="connsiteX50" fmla="*/ 1385024 w 5884232"/>
                <a:gd name="connsiteY50" fmla="*/ 6164212 h 6346215"/>
                <a:gd name="connsiteX51" fmla="*/ 1371195 w 5884232"/>
                <a:gd name="connsiteY51" fmla="*/ 6184157 h 6346215"/>
                <a:gd name="connsiteX52" fmla="*/ 1345840 w 5884232"/>
                <a:gd name="connsiteY52" fmla="*/ 6151747 h 6346215"/>
                <a:gd name="connsiteX53" fmla="*/ 1304349 w 5884232"/>
                <a:gd name="connsiteY53" fmla="*/ 6209090 h 6346215"/>
                <a:gd name="connsiteX54" fmla="*/ 1189098 w 5884232"/>
                <a:gd name="connsiteY54" fmla="*/ 6081936 h 6346215"/>
                <a:gd name="connsiteX55" fmla="*/ 1232893 w 5884232"/>
                <a:gd name="connsiteY55" fmla="*/ 6032071 h 6346215"/>
                <a:gd name="connsiteX56" fmla="*/ 1000086 w 5884232"/>
                <a:gd name="connsiteY56" fmla="*/ 5782751 h 6346215"/>
                <a:gd name="connsiteX57" fmla="*/ 1013916 w 5884232"/>
                <a:gd name="connsiteY57" fmla="*/ 5755327 h 6346215"/>
                <a:gd name="connsiteX58" fmla="*/ 817988 w 5884232"/>
                <a:gd name="connsiteY58" fmla="*/ 5548391 h 6346215"/>
                <a:gd name="connsiteX59" fmla="*/ 732703 w 5884232"/>
                <a:gd name="connsiteY59" fmla="*/ 5638146 h 6346215"/>
                <a:gd name="connsiteX60" fmla="*/ 430931 w 5884232"/>
                <a:gd name="connsiteY60" fmla="*/ 5323785 h 6346215"/>
                <a:gd name="connsiteX61" fmla="*/ 523257 w 5884232"/>
                <a:gd name="connsiteY61" fmla="*/ 5189370 h 6346215"/>
                <a:gd name="connsiteX62" fmla="*/ 41560 w 5884232"/>
                <a:gd name="connsiteY62" fmla="*/ 3281515 h 6346215"/>
                <a:gd name="connsiteX0" fmla="*/ 41560 w 5884232"/>
                <a:gd name="connsiteY0" fmla="*/ 3281515 h 6346215"/>
                <a:gd name="connsiteX1" fmla="*/ 250907 w 5884232"/>
                <a:gd name="connsiteY1" fmla="*/ 2374266 h 6346215"/>
                <a:gd name="connsiteX2" fmla="*/ 218176 w 5884232"/>
                <a:gd name="connsiteY2" fmla="*/ 2331944 h 6346215"/>
                <a:gd name="connsiteX3" fmla="*/ 290433 w 5884232"/>
                <a:gd name="connsiteY3" fmla="*/ 2067448 h 6346215"/>
                <a:gd name="connsiteX4" fmla="*/ 326149 w 5884232"/>
                <a:gd name="connsiteY4" fmla="*/ 2050403 h 6346215"/>
                <a:gd name="connsiteX5" fmla="*/ 1333506 w 5884232"/>
                <a:gd name="connsiteY5" fmla="*/ 647002 h 6346215"/>
                <a:gd name="connsiteX6" fmla="*/ 1546422 w 5884232"/>
                <a:gd name="connsiteY6" fmla="*/ 547251 h 6346215"/>
                <a:gd name="connsiteX7" fmla="*/ 1526361 w 5884232"/>
                <a:gd name="connsiteY7" fmla="*/ 432260 h 6346215"/>
                <a:gd name="connsiteX8" fmla="*/ 1722126 w 5884232"/>
                <a:gd name="connsiteY8" fmla="*/ 380302 h 6346215"/>
                <a:gd name="connsiteX9" fmla="*/ 1739499 w 5884232"/>
                <a:gd name="connsiteY9" fmla="*/ 481442 h 6346215"/>
                <a:gd name="connsiteX10" fmla="*/ 1866574 w 5884232"/>
                <a:gd name="connsiteY10" fmla="*/ 442651 h 6346215"/>
                <a:gd name="connsiteX11" fmla="*/ 1897053 w 5884232"/>
                <a:gd name="connsiteY11" fmla="*/ 393463 h 6346215"/>
                <a:gd name="connsiteX12" fmla="*/ 2132940 w 5884232"/>
                <a:gd name="connsiteY12" fmla="*/ 319342 h 6346215"/>
                <a:gd name="connsiteX13" fmla="*/ 2173395 w 5884232"/>
                <a:gd name="connsiteY13" fmla="*/ 352592 h 6346215"/>
                <a:gd name="connsiteX14" fmla="*/ 2369937 w 5884232"/>
                <a:gd name="connsiteY14" fmla="*/ 288171 h 6346215"/>
                <a:gd name="connsiteX15" fmla="*/ 2329149 w 5884232"/>
                <a:gd name="connsiteY15" fmla="*/ 119840 h 6346215"/>
                <a:gd name="connsiteX16" fmla="*/ 2712392 w 5884232"/>
                <a:gd name="connsiteY16" fmla="*/ 0 h 6346215"/>
                <a:gd name="connsiteX17" fmla="*/ 2760690 w 5884232"/>
                <a:gd name="connsiteY17" fmla="*/ 165560 h 6346215"/>
                <a:gd name="connsiteX18" fmla="*/ 4524241 w 5884232"/>
                <a:gd name="connsiteY18" fmla="*/ 680900 h 6346215"/>
                <a:gd name="connsiteX19" fmla="*/ 5074371 w 5884232"/>
                <a:gd name="connsiteY19" fmla="*/ 1291242 h 6346215"/>
                <a:gd name="connsiteX20" fmla="*/ 5135775 w 5884232"/>
                <a:gd name="connsiteY20" fmla="*/ 1298860 h 6346215"/>
                <a:gd name="connsiteX21" fmla="*/ 5300616 w 5884232"/>
                <a:gd name="connsiteY21" fmla="*/ 1479661 h 6346215"/>
                <a:gd name="connsiteX22" fmla="*/ 5300839 w 5884232"/>
                <a:gd name="connsiteY22" fmla="*/ 1535080 h 6346215"/>
                <a:gd name="connsiteX23" fmla="*/ 5462103 w 5884232"/>
                <a:gd name="connsiteY23" fmla="*/ 1726990 h 6346215"/>
                <a:gd name="connsiteX24" fmla="*/ 5842091 w 5884232"/>
                <a:gd name="connsiteY24" fmla="*/ 3519512 h 6346215"/>
                <a:gd name="connsiteX25" fmla="*/ 5650012 w 5884232"/>
                <a:gd name="connsiteY25" fmla="*/ 4385669 h 6346215"/>
                <a:gd name="connsiteX26" fmla="*/ 5780228 w 5884232"/>
                <a:gd name="connsiteY26" fmla="*/ 4452156 h 6346215"/>
                <a:gd name="connsiteX27" fmla="*/ 5710779 w 5884232"/>
                <a:gd name="connsiteY27" fmla="*/ 4870077 h 6346215"/>
                <a:gd name="connsiteX28" fmla="*/ 5553250 w 5884232"/>
                <a:gd name="connsiteY28" fmla="*/ 4807792 h 6346215"/>
                <a:gd name="connsiteX29" fmla="*/ 4409852 w 5884232"/>
                <a:gd name="connsiteY29" fmla="*/ 6212288 h 6346215"/>
                <a:gd name="connsiteX30" fmla="*/ 4213721 w 5884232"/>
                <a:gd name="connsiteY30" fmla="*/ 5643346 h 6346215"/>
                <a:gd name="connsiteX31" fmla="*/ 5030652 w 5884232"/>
                <a:gd name="connsiteY31" fmla="*/ 4596953 h 6346215"/>
                <a:gd name="connsiteX32" fmla="*/ 5310701 w 5884232"/>
                <a:gd name="connsiteY32" fmla="*/ 3352779 h 6346215"/>
                <a:gd name="connsiteX33" fmla="*/ 4991885 w 5884232"/>
                <a:gd name="connsiteY33" fmla="*/ 2049487 h 6346215"/>
                <a:gd name="connsiteX34" fmla="*/ 4174632 w 5884232"/>
                <a:gd name="connsiteY34" fmla="*/ 1163055 h 6346215"/>
                <a:gd name="connsiteX35" fmla="*/ 2880366 w 5884232"/>
                <a:gd name="connsiteY35" fmla="*/ 761302 h 6346215"/>
                <a:gd name="connsiteX36" fmla="*/ 1882146 w 5884232"/>
                <a:gd name="connsiteY36" fmla="*/ 1081342 h 6346215"/>
                <a:gd name="connsiteX37" fmla="*/ 873226 w 5884232"/>
                <a:gd name="connsiteY37" fmla="*/ 2111591 h 6346215"/>
                <a:gd name="connsiteX38" fmla="*/ 571891 w 5884232"/>
                <a:gd name="connsiteY38" fmla="*/ 3464807 h 6346215"/>
                <a:gd name="connsiteX39" fmla="*/ 1077217 w 5884232"/>
                <a:gd name="connsiteY39" fmla="*/ 4933546 h 6346215"/>
                <a:gd name="connsiteX40" fmla="*/ 1206546 w 5884232"/>
                <a:gd name="connsiteY40" fmla="*/ 5094818 h 6346215"/>
                <a:gd name="connsiteX41" fmla="*/ 1548682 w 5884232"/>
                <a:gd name="connsiteY41" fmla="*/ 5436198 h 6346215"/>
                <a:gd name="connsiteX42" fmla="*/ 1610916 w 5884232"/>
                <a:gd name="connsiteY42" fmla="*/ 5418743 h 6346215"/>
                <a:gd name="connsiteX43" fmla="*/ 1714643 w 5884232"/>
                <a:gd name="connsiteY43" fmla="*/ 5533432 h 6346215"/>
                <a:gd name="connsiteX44" fmla="*/ 1693898 w 5884232"/>
                <a:gd name="connsiteY44" fmla="*/ 5598255 h 6346215"/>
                <a:gd name="connsiteX45" fmla="*/ 1783719 w 5884232"/>
                <a:gd name="connsiteY45" fmla="*/ 5692347 h 6346215"/>
                <a:gd name="connsiteX46" fmla="*/ 4209492 w 5884232"/>
                <a:gd name="connsiteY46" fmla="*/ 5644651 h 6346215"/>
                <a:gd name="connsiteX47" fmla="*/ 4406189 w 5884232"/>
                <a:gd name="connsiteY47" fmla="*/ 6217653 h 6346215"/>
                <a:gd name="connsiteX48" fmla="*/ 1578647 w 5884232"/>
                <a:gd name="connsiteY48" fmla="*/ 6346215 h 6346215"/>
                <a:gd name="connsiteX49" fmla="*/ 1385024 w 5884232"/>
                <a:gd name="connsiteY49" fmla="*/ 6164212 h 6346215"/>
                <a:gd name="connsiteX50" fmla="*/ 1371195 w 5884232"/>
                <a:gd name="connsiteY50" fmla="*/ 6184157 h 6346215"/>
                <a:gd name="connsiteX51" fmla="*/ 1345840 w 5884232"/>
                <a:gd name="connsiteY51" fmla="*/ 6151747 h 6346215"/>
                <a:gd name="connsiteX52" fmla="*/ 1304349 w 5884232"/>
                <a:gd name="connsiteY52" fmla="*/ 6209090 h 6346215"/>
                <a:gd name="connsiteX53" fmla="*/ 1189098 w 5884232"/>
                <a:gd name="connsiteY53" fmla="*/ 6081936 h 6346215"/>
                <a:gd name="connsiteX54" fmla="*/ 1232893 w 5884232"/>
                <a:gd name="connsiteY54" fmla="*/ 6032071 h 6346215"/>
                <a:gd name="connsiteX55" fmla="*/ 1000086 w 5884232"/>
                <a:gd name="connsiteY55" fmla="*/ 5782751 h 6346215"/>
                <a:gd name="connsiteX56" fmla="*/ 1013916 w 5884232"/>
                <a:gd name="connsiteY56" fmla="*/ 5755327 h 6346215"/>
                <a:gd name="connsiteX57" fmla="*/ 817988 w 5884232"/>
                <a:gd name="connsiteY57" fmla="*/ 5548391 h 6346215"/>
                <a:gd name="connsiteX58" fmla="*/ 732703 w 5884232"/>
                <a:gd name="connsiteY58" fmla="*/ 5638146 h 6346215"/>
                <a:gd name="connsiteX59" fmla="*/ 430931 w 5884232"/>
                <a:gd name="connsiteY59" fmla="*/ 5323785 h 6346215"/>
                <a:gd name="connsiteX60" fmla="*/ 523257 w 5884232"/>
                <a:gd name="connsiteY60" fmla="*/ 5189370 h 6346215"/>
                <a:gd name="connsiteX61" fmla="*/ 41560 w 5884232"/>
                <a:gd name="connsiteY61" fmla="*/ 3281515 h 6346215"/>
                <a:gd name="connsiteX0" fmla="*/ 41560 w 5884232"/>
                <a:gd name="connsiteY0" fmla="*/ 3281515 h 6346215"/>
                <a:gd name="connsiteX1" fmla="*/ 250907 w 5884232"/>
                <a:gd name="connsiteY1" fmla="*/ 2374266 h 6346215"/>
                <a:gd name="connsiteX2" fmla="*/ 218176 w 5884232"/>
                <a:gd name="connsiteY2" fmla="*/ 2331944 h 6346215"/>
                <a:gd name="connsiteX3" fmla="*/ 290433 w 5884232"/>
                <a:gd name="connsiteY3" fmla="*/ 2067448 h 6346215"/>
                <a:gd name="connsiteX4" fmla="*/ 326149 w 5884232"/>
                <a:gd name="connsiteY4" fmla="*/ 2050403 h 6346215"/>
                <a:gd name="connsiteX5" fmla="*/ 1333506 w 5884232"/>
                <a:gd name="connsiteY5" fmla="*/ 647002 h 6346215"/>
                <a:gd name="connsiteX6" fmla="*/ 1546422 w 5884232"/>
                <a:gd name="connsiteY6" fmla="*/ 547251 h 6346215"/>
                <a:gd name="connsiteX7" fmla="*/ 1526361 w 5884232"/>
                <a:gd name="connsiteY7" fmla="*/ 432260 h 6346215"/>
                <a:gd name="connsiteX8" fmla="*/ 1722126 w 5884232"/>
                <a:gd name="connsiteY8" fmla="*/ 380302 h 6346215"/>
                <a:gd name="connsiteX9" fmla="*/ 1739499 w 5884232"/>
                <a:gd name="connsiteY9" fmla="*/ 481442 h 6346215"/>
                <a:gd name="connsiteX10" fmla="*/ 1866574 w 5884232"/>
                <a:gd name="connsiteY10" fmla="*/ 442651 h 6346215"/>
                <a:gd name="connsiteX11" fmla="*/ 1897053 w 5884232"/>
                <a:gd name="connsiteY11" fmla="*/ 393463 h 6346215"/>
                <a:gd name="connsiteX12" fmla="*/ 2132940 w 5884232"/>
                <a:gd name="connsiteY12" fmla="*/ 319342 h 6346215"/>
                <a:gd name="connsiteX13" fmla="*/ 2173395 w 5884232"/>
                <a:gd name="connsiteY13" fmla="*/ 352592 h 6346215"/>
                <a:gd name="connsiteX14" fmla="*/ 2369937 w 5884232"/>
                <a:gd name="connsiteY14" fmla="*/ 288171 h 6346215"/>
                <a:gd name="connsiteX15" fmla="*/ 2329149 w 5884232"/>
                <a:gd name="connsiteY15" fmla="*/ 119840 h 6346215"/>
                <a:gd name="connsiteX16" fmla="*/ 2712392 w 5884232"/>
                <a:gd name="connsiteY16" fmla="*/ 0 h 6346215"/>
                <a:gd name="connsiteX17" fmla="*/ 2760690 w 5884232"/>
                <a:gd name="connsiteY17" fmla="*/ 165560 h 6346215"/>
                <a:gd name="connsiteX18" fmla="*/ 4524241 w 5884232"/>
                <a:gd name="connsiteY18" fmla="*/ 680900 h 6346215"/>
                <a:gd name="connsiteX19" fmla="*/ 5074371 w 5884232"/>
                <a:gd name="connsiteY19" fmla="*/ 1291242 h 6346215"/>
                <a:gd name="connsiteX20" fmla="*/ 5135775 w 5884232"/>
                <a:gd name="connsiteY20" fmla="*/ 1298860 h 6346215"/>
                <a:gd name="connsiteX21" fmla="*/ 5300616 w 5884232"/>
                <a:gd name="connsiteY21" fmla="*/ 1479661 h 6346215"/>
                <a:gd name="connsiteX22" fmla="*/ 5300839 w 5884232"/>
                <a:gd name="connsiteY22" fmla="*/ 1535080 h 6346215"/>
                <a:gd name="connsiteX23" fmla="*/ 5462103 w 5884232"/>
                <a:gd name="connsiteY23" fmla="*/ 1726990 h 6346215"/>
                <a:gd name="connsiteX24" fmla="*/ 5842091 w 5884232"/>
                <a:gd name="connsiteY24" fmla="*/ 3519512 h 6346215"/>
                <a:gd name="connsiteX25" fmla="*/ 5650012 w 5884232"/>
                <a:gd name="connsiteY25" fmla="*/ 4385669 h 6346215"/>
                <a:gd name="connsiteX26" fmla="*/ 5780228 w 5884232"/>
                <a:gd name="connsiteY26" fmla="*/ 4452156 h 6346215"/>
                <a:gd name="connsiteX27" fmla="*/ 5710779 w 5884232"/>
                <a:gd name="connsiteY27" fmla="*/ 4870077 h 6346215"/>
                <a:gd name="connsiteX28" fmla="*/ 5553250 w 5884232"/>
                <a:gd name="connsiteY28" fmla="*/ 4807792 h 6346215"/>
                <a:gd name="connsiteX29" fmla="*/ 4409852 w 5884232"/>
                <a:gd name="connsiteY29" fmla="*/ 6212288 h 6346215"/>
                <a:gd name="connsiteX30" fmla="*/ 4213721 w 5884232"/>
                <a:gd name="connsiteY30" fmla="*/ 5643346 h 6346215"/>
                <a:gd name="connsiteX31" fmla="*/ 5030652 w 5884232"/>
                <a:gd name="connsiteY31" fmla="*/ 4596953 h 6346215"/>
                <a:gd name="connsiteX32" fmla="*/ 5310701 w 5884232"/>
                <a:gd name="connsiteY32" fmla="*/ 3352779 h 6346215"/>
                <a:gd name="connsiteX33" fmla="*/ 4991885 w 5884232"/>
                <a:gd name="connsiteY33" fmla="*/ 2049487 h 6346215"/>
                <a:gd name="connsiteX34" fmla="*/ 4174632 w 5884232"/>
                <a:gd name="connsiteY34" fmla="*/ 1163055 h 6346215"/>
                <a:gd name="connsiteX35" fmla="*/ 2880366 w 5884232"/>
                <a:gd name="connsiteY35" fmla="*/ 761302 h 6346215"/>
                <a:gd name="connsiteX36" fmla="*/ 1882146 w 5884232"/>
                <a:gd name="connsiteY36" fmla="*/ 1081342 h 6346215"/>
                <a:gd name="connsiteX37" fmla="*/ 873226 w 5884232"/>
                <a:gd name="connsiteY37" fmla="*/ 2111591 h 6346215"/>
                <a:gd name="connsiteX38" fmla="*/ 571891 w 5884232"/>
                <a:gd name="connsiteY38" fmla="*/ 3464807 h 6346215"/>
                <a:gd name="connsiteX39" fmla="*/ 1077217 w 5884232"/>
                <a:gd name="connsiteY39" fmla="*/ 4933546 h 6346215"/>
                <a:gd name="connsiteX40" fmla="*/ 1206546 w 5884232"/>
                <a:gd name="connsiteY40" fmla="*/ 5094818 h 6346215"/>
                <a:gd name="connsiteX41" fmla="*/ 1548682 w 5884232"/>
                <a:gd name="connsiteY41" fmla="*/ 5436198 h 6346215"/>
                <a:gd name="connsiteX42" fmla="*/ 1610916 w 5884232"/>
                <a:gd name="connsiteY42" fmla="*/ 5418743 h 6346215"/>
                <a:gd name="connsiteX43" fmla="*/ 1714643 w 5884232"/>
                <a:gd name="connsiteY43" fmla="*/ 5533432 h 6346215"/>
                <a:gd name="connsiteX44" fmla="*/ 1693898 w 5884232"/>
                <a:gd name="connsiteY44" fmla="*/ 5598255 h 6346215"/>
                <a:gd name="connsiteX45" fmla="*/ 1783719 w 5884232"/>
                <a:gd name="connsiteY45" fmla="*/ 5692347 h 6346215"/>
                <a:gd name="connsiteX46" fmla="*/ 4209492 w 5884232"/>
                <a:gd name="connsiteY46" fmla="*/ 5644651 h 6346215"/>
                <a:gd name="connsiteX47" fmla="*/ 4406189 w 5884232"/>
                <a:gd name="connsiteY47" fmla="*/ 6217653 h 6346215"/>
                <a:gd name="connsiteX48" fmla="*/ 1578647 w 5884232"/>
                <a:gd name="connsiteY48" fmla="*/ 6346215 h 6346215"/>
                <a:gd name="connsiteX49" fmla="*/ 1533584 w 5884232"/>
                <a:gd name="connsiteY49" fmla="*/ 6322242 h 6346215"/>
                <a:gd name="connsiteX50" fmla="*/ 1385024 w 5884232"/>
                <a:gd name="connsiteY50" fmla="*/ 6164212 h 6346215"/>
                <a:gd name="connsiteX51" fmla="*/ 1371195 w 5884232"/>
                <a:gd name="connsiteY51" fmla="*/ 6184157 h 6346215"/>
                <a:gd name="connsiteX52" fmla="*/ 1345840 w 5884232"/>
                <a:gd name="connsiteY52" fmla="*/ 6151747 h 6346215"/>
                <a:gd name="connsiteX53" fmla="*/ 1304349 w 5884232"/>
                <a:gd name="connsiteY53" fmla="*/ 6209090 h 6346215"/>
                <a:gd name="connsiteX54" fmla="*/ 1189098 w 5884232"/>
                <a:gd name="connsiteY54" fmla="*/ 6081936 h 6346215"/>
                <a:gd name="connsiteX55" fmla="*/ 1232893 w 5884232"/>
                <a:gd name="connsiteY55" fmla="*/ 6032071 h 6346215"/>
                <a:gd name="connsiteX56" fmla="*/ 1000086 w 5884232"/>
                <a:gd name="connsiteY56" fmla="*/ 5782751 h 6346215"/>
                <a:gd name="connsiteX57" fmla="*/ 1013916 w 5884232"/>
                <a:gd name="connsiteY57" fmla="*/ 5755327 h 6346215"/>
                <a:gd name="connsiteX58" fmla="*/ 817988 w 5884232"/>
                <a:gd name="connsiteY58" fmla="*/ 5548391 h 6346215"/>
                <a:gd name="connsiteX59" fmla="*/ 732703 w 5884232"/>
                <a:gd name="connsiteY59" fmla="*/ 5638146 h 6346215"/>
                <a:gd name="connsiteX60" fmla="*/ 430931 w 5884232"/>
                <a:gd name="connsiteY60" fmla="*/ 5323785 h 6346215"/>
                <a:gd name="connsiteX61" fmla="*/ 523257 w 5884232"/>
                <a:gd name="connsiteY61" fmla="*/ 5189370 h 6346215"/>
                <a:gd name="connsiteX62" fmla="*/ 41560 w 5884232"/>
                <a:gd name="connsiteY62" fmla="*/ 3281515 h 6346215"/>
                <a:gd name="connsiteX0" fmla="*/ 41560 w 5884232"/>
                <a:gd name="connsiteY0" fmla="*/ 3281515 h 6322242"/>
                <a:gd name="connsiteX1" fmla="*/ 250907 w 5884232"/>
                <a:gd name="connsiteY1" fmla="*/ 2374266 h 6322242"/>
                <a:gd name="connsiteX2" fmla="*/ 218176 w 5884232"/>
                <a:gd name="connsiteY2" fmla="*/ 2331944 h 6322242"/>
                <a:gd name="connsiteX3" fmla="*/ 290433 w 5884232"/>
                <a:gd name="connsiteY3" fmla="*/ 2067448 h 6322242"/>
                <a:gd name="connsiteX4" fmla="*/ 326149 w 5884232"/>
                <a:gd name="connsiteY4" fmla="*/ 2050403 h 6322242"/>
                <a:gd name="connsiteX5" fmla="*/ 1333506 w 5884232"/>
                <a:gd name="connsiteY5" fmla="*/ 647002 h 6322242"/>
                <a:gd name="connsiteX6" fmla="*/ 1546422 w 5884232"/>
                <a:gd name="connsiteY6" fmla="*/ 547251 h 6322242"/>
                <a:gd name="connsiteX7" fmla="*/ 1526361 w 5884232"/>
                <a:gd name="connsiteY7" fmla="*/ 432260 h 6322242"/>
                <a:gd name="connsiteX8" fmla="*/ 1722126 w 5884232"/>
                <a:gd name="connsiteY8" fmla="*/ 380302 h 6322242"/>
                <a:gd name="connsiteX9" fmla="*/ 1739499 w 5884232"/>
                <a:gd name="connsiteY9" fmla="*/ 481442 h 6322242"/>
                <a:gd name="connsiteX10" fmla="*/ 1866574 w 5884232"/>
                <a:gd name="connsiteY10" fmla="*/ 442651 h 6322242"/>
                <a:gd name="connsiteX11" fmla="*/ 1897053 w 5884232"/>
                <a:gd name="connsiteY11" fmla="*/ 393463 h 6322242"/>
                <a:gd name="connsiteX12" fmla="*/ 2132940 w 5884232"/>
                <a:gd name="connsiteY12" fmla="*/ 319342 h 6322242"/>
                <a:gd name="connsiteX13" fmla="*/ 2173395 w 5884232"/>
                <a:gd name="connsiteY13" fmla="*/ 352592 h 6322242"/>
                <a:gd name="connsiteX14" fmla="*/ 2369937 w 5884232"/>
                <a:gd name="connsiteY14" fmla="*/ 288171 h 6322242"/>
                <a:gd name="connsiteX15" fmla="*/ 2329149 w 5884232"/>
                <a:gd name="connsiteY15" fmla="*/ 119840 h 6322242"/>
                <a:gd name="connsiteX16" fmla="*/ 2712392 w 5884232"/>
                <a:gd name="connsiteY16" fmla="*/ 0 h 6322242"/>
                <a:gd name="connsiteX17" fmla="*/ 2760690 w 5884232"/>
                <a:gd name="connsiteY17" fmla="*/ 165560 h 6322242"/>
                <a:gd name="connsiteX18" fmla="*/ 4524241 w 5884232"/>
                <a:gd name="connsiteY18" fmla="*/ 680900 h 6322242"/>
                <a:gd name="connsiteX19" fmla="*/ 5074371 w 5884232"/>
                <a:gd name="connsiteY19" fmla="*/ 1291242 h 6322242"/>
                <a:gd name="connsiteX20" fmla="*/ 5135775 w 5884232"/>
                <a:gd name="connsiteY20" fmla="*/ 1298860 h 6322242"/>
                <a:gd name="connsiteX21" fmla="*/ 5300616 w 5884232"/>
                <a:gd name="connsiteY21" fmla="*/ 1479661 h 6322242"/>
                <a:gd name="connsiteX22" fmla="*/ 5300839 w 5884232"/>
                <a:gd name="connsiteY22" fmla="*/ 1535080 h 6322242"/>
                <a:gd name="connsiteX23" fmla="*/ 5462103 w 5884232"/>
                <a:gd name="connsiteY23" fmla="*/ 1726990 h 6322242"/>
                <a:gd name="connsiteX24" fmla="*/ 5842091 w 5884232"/>
                <a:gd name="connsiteY24" fmla="*/ 3519512 h 6322242"/>
                <a:gd name="connsiteX25" fmla="*/ 5650012 w 5884232"/>
                <a:gd name="connsiteY25" fmla="*/ 4385669 h 6322242"/>
                <a:gd name="connsiteX26" fmla="*/ 5780228 w 5884232"/>
                <a:gd name="connsiteY26" fmla="*/ 4452156 h 6322242"/>
                <a:gd name="connsiteX27" fmla="*/ 5710779 w 5884232"/>
                <a:gd name="connsiteY27" fmla="*/ 4870077 h 6322242"/>
                <a:gd name="connsiteX28" fmla="*/ 5553250 w 5884232"/>
                <a:gd name="connsiteY28" fmla="*/ 4807792 h 6322242"/>
                <a:gd name="connsiteX29" fmla="*/ 4409852 w 5884232"/>
                <a:gd name="connsiteY29" fmla="*/ 6212288 h 6322242"/>
                <a:gd name="connsiteX30" fmla="*/ 4213721 w 5884232"/>
                <a:gd name="connsiteY30" fmla="*/ 5643346 h 6322242"/>
                <a:gd name="connsiteX31" fmla="*/ 5030652 w 5884232"/>
                <a:gd name="connsiteY31" fmla="*/ 4596953 h 6322242"/>
                <a:gd name="connsiteX32" fmla="*/ 5310701 w 5884232"/>
                <a:gd name="connsiteY32" fmla="*/ 3352779 h 6322242"/>
                <a:gd name="connsiteX33" fmla="*/ 4991885 w 5884232"/>
                <a:gd name="connsiteY33" fmla="*/ 2049487 h 6322242"/>
                <a:gd name="connsiteX34" fmla="*/ 4174632 w 5884232"/>
                <a:gd name="connsiteY34" fmla="*/ 1163055 h 6322242"/>
                <a:gd name="connsiteX35" fmla="*/ 2880366 w 5884232"/>
                <a:gd name="connsiteY35" fmla="*/ 761302 h 6322242"/>
                <a:gd name="connsiteX36" fmla="*/ 1882146 w 5884232"/>
                <a:gd name="connsiteY36" fmla="*/ 1081342 h 6322242"/>
                <a:gd name="connsiteX37" fmla="*/ 873226 w 5884232"/>
                <a:gd name="connsiteY37" fmla="*/ 2111591 h 6322242"/>
                <a:gd name="connsiteX38" fmla="*/ 571891 w 5884232"/>
                <a:gd name="connsiteY38" fmla="*/ 3464807 h 6322242"/>
                <a:gd name="connsiteX39" fmla="*/ 1077217 w 5884232"/>
                <a:gd name="connsiteY39" fmla="*/ 4933546 h 6322242"/>
                <a:gd name="connsiteX40" fmla="*/ 1206546 w 5884232"/>
                <a:gd name="connsiteY40" fmla="*/ 5094818 h 6322242"/>
                <a:gd name="connsiteX41" fmla="*/ 1548682 w 5884232"/>
                <a:gd name="connsiteY41" fmla="*/ 5436198 h 6322242"/>
                <a:gd name="connsiteX42" fmla="*/ 1610916 w 5884232"/>
                <a:gd name="connsiteY42" fmla="*/ 5418743 h 6322242"/>
                <a:gd name="connsiteX43" fmla="*/ 1714643 w 5884232"/>
                <a:gd name="connsiteY43" fmla="*/ 5533432 h 6322242"/>
                <a:gd name="connsiteX44" fmla="*/ 1693898 w 5884232"/>
                <a:gd name="connsiteY44" fmla="*/ 5598255 h 6322242"/>
                <a:gd name="connsiteX45" fmla="*/ 1783719 w 5884232"/>
                <a:gd name="connsiteY45" fmla="*/ 5692347 h 6322242"/>
                <a:gd name="connsiteX46" fmla="*/ 4209492 w 5884232"/>
                <a:gd name="connsiteY46" fmla="*/ 5644651 h 6322242"/>
                <a:gd name="connsiteX47" fmla="*/ 4406189 w 5884232"/>
                <a:gd name="connsiteY47" fmla="*/ 6217653 h 6322242"/>
                <a:gd name="connsiteX48" fmla="*/ 1533584 w 5884232"/>
                <a:gd name="connsiteY48" fmla="*/ 6322242 h 6322242"/>
                <a:gd name="connsiteX49" fmla="*/ 1385024 w 5884232"/>
                <a:gd name="connsiteY49" fmla="*/ 6164212 h 6322242"/>
                <a:gd name="connsiteX50" fmla="*/ 1371195 w 5884232"/>
                <a:gd name="connsiteY50" fmla="*/ 6184157 h 6322242"/>
                <a:gd name="connsiteX51" fmla="*/ 1345840 w 5884232"/>
                <a:gd name="connsiteY51" fmla="*/ 6151747 h 6322242"/>
                <a:gd name="connsiteX52" fmla="*/ 1304349 w 5884232"/>
                <a:gd name="connsiteY52" fmla="*/ 6209090 h 6322242"/>
                <a:gd name="connsiteX53" fmla="*/ 1189098 w 5884232"/>
                <a:gd name="connsiteY53" fmla="*/ 6081936 h 6322242"/>
                <a:gd name="connsiteX54" fmla="*/ 1232893 w 5884232"/>
                <a:gd name="connsiteY54" fmla="*/ 6032071 h 6322242"/>
                <a:gd name="connsiteX55" fmla="*/ 1000086 w 5884232"/>
                <a:gd name="connsiteY55" fmla="*/ 5782751 h 6322242"/>
                <a:gd name="connsiteX56" fmla="*/ 1013916 w 5884232"/>
                <a:gd name="connsiteY56" fmla="*/ 5755327 h 6322242"/>
                <a:gd name="connsiteX57" fmla="*/ 817988 w 5884232"/>
                <a:gd name="connsiteY57" fmla="*/ 5548391 h 6322242"/>
                <a:gd name="connsiteX58" fmla="*/ 732703 w 5884232"/>
                <a:gd name="connsiteY58" fmla="*/ 5638146 h 6322242"/>
                <a:gd name="connsiteX59" fmla="*/ 430931 w 5884232"/>
                <a:gd name="connsiteY59" fmla="*/ 5323785 h 6322242"/>
                <a:gd name="connsiteX60" fmla="*/ 523257 w 5884232"/>
                <a:gd name="connsiteY60" fmla="*/ 5189370 h 6322242"/>
                <a:gd name="connsiteX61" fmla="*/ 41560 w 5884232"/>
                <a:gd name="connsiteY61" fmla="*/ 3281515 h 6322242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385024 w 5884232"/>
                <a:gd name="connsiteY48" fmla="*/ 6164212 h 6217653"/>
                <a:gd name="connsiteX49" fmla="*/ 1371195 w 5884232"/>
                <a:gd name="connsiteY49" fmla="*/ 6184157 h 6217653"/>
                <a:gd name="connsiteX50" fmla="*/ 1345840 w 5884232"/>
                <a:gd name="connsiteY50" fmla="*/ 6151747 h 6217653"/>
                <a:gd name="connsiteX51" fmla="*/ 1304349 w 5884232"/>
                <a:gd name="connsiteY51" fmla="*/ 6209090 h 6217653"/>
                <a:gd name="connsiteX52" fmla="*/ 1189098 w 5884232"/>
                <a:gd name="connsiteY52" fmla="*/ 6081936 h 6217653"/>
                <a:gd name="connsiteX53" fmla="*/ 1232893 w 5884232"/>
                <a:gd name="connsiteY53" fmla="*/ 6032071 h 6217653"/>
                <a:gd name="connsiteX54" fmla="*/ 1000086 w 5884232"/>
                <a:gd name="connsiteY54" fmla="*/ 5782751 h 6217653"/>
                <a:gd name="connsiteX55" fmla="*/ 1013916 w 5884232"/>
                <a:gd name="connsiteY55" fmla="*/ 5755327 h 6217653"/>
                <a:gd name="connsiteX56" fmla="*/ 817988 w 5884232"/>
                <a:gd name="connsiteY56" fmla="*/ 5548391 h 6217653"/>
                <a:gd name="connsiteX57" fmla="*/ 732703 w 5884232"/>
                <a:gd name="connsiteY57" fmla="*/ 5638146 h 6217653"/>
                <a:gd name="connsiteX58" fmla="*/ 430931 w 5884232"/>
                <a:gd name="connsiteY58" fmla="*/ 5323785 h 6217653"/>
                <a:gd name="connsiteX59" fmla="*/ 523257 w 5884232"/>
                <a:gd name="connsiteY59" fmla="*/ 5189370 h 6217653"/>
                <a:gd name="connsiteX60" fmla="*/ 41560 w 5884232"/>
                <a:gd name="connsiteY60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385024 w 5884232"/>
                <a:gd name="connsiteY48" fmla="*/ 6164212 h 6217653"/>
                <a:gd name="connsiteX49" fmla="*/ 1345840 w 5884232"/>
                <a:gd name="connsiteY49" fmla="*/ 6151747 h 6217653"/>
                <a:gd name="connsiteX50" fmla="*/ 1304349 w 5884232"/>
                <a:gd name="connsiteY50" fmla="*/ 6209090 h 6217653"/>
                <a:gd name="connsiteX51" fmla="*/ 1189098 w 5884232"/>
                <a:gd name="connsiteY51" fmla="*/ 6081936 h 6217653"/>
                <a:gd name="connsiteX52" fmla="*/ 1232893 w 5884232"/>
                <a:gd name="connsiteY52" fmla="*/ 6032071 h 6217653"/>
                <a:gd name="connsiteX53" fmla="*/ 1000086 w 5884232"/>
                <a:gd name="connsiteY53" fmla="*/ 5782751 h 6217653"/>
                <a:gd name="connsiteX54" fmla="*/ 1013916 w 5884232"/>
                <a:gd name="connsiteY54" fmla="*/ 5755327 h 6217653"/>
                <a:gd name="connsiteX55" fmla="*/ 817988 w 5884232"/>
                <a:gd name="connsiteY55" fmla="*/ 5548391 h 6217653"/>
                <a:gd name="connsiteX56" fmla="*/ 732703 w 5884232"/>
                <a:gd name="connsiteY56" fmla="*/ 5638146 h 6217653"/>
                <a:gd name="connsiteX57" fmla="*/ 430931 w 5884232"/>
                <a:gd name="connsiteY57" fmla="*/ 5323785 h 6217653"/>
                <a:gd name="connsiteX58" fmla="*/ 523257 w 5884232"/>
                <a:gd name="connsiteY58" fmla="*/ 5189370 h 6217653"/>
                <a:gd name="connsiteX59" fmla="*/ 41560 w 5884232"/>
                <a:gd name="connsiteY5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385024 w 5884232"/>
                <a:gd name="connsiteY48" fmla="*/ 6164212 h 6217653"/>
                <a:gd name="connsiteX49" fmla="*/ 1304349 w 5884232"/>
                <a:gd name="connsiteY49" fmla="*/ 6209090 h 6217653"/>
                <a:gd name="connsiteX50" fmla="*/ 1189098 w 5884232"/>
                <a:gd name="connsiteY50" fmla="*/ 6081936 h 6217653"/>
                <a:gd name="connsiteX51" fmla="*/ 1232893 w 5884232"/>
                <a:gd name="connsiteY51" fmla="*/ 6032071 h 6217653"/>
                <a:gd name="connsiteX52" fmla="*/ 1000086 w 5884232"/>
                <a:gd name="connsiteY52" fmla="*/ 5782751 h 6217653"/>
                <a:gd name="connsiteX53" fmla="*/ 1013916 w 5884232"/>
                <a:gd name="connsiteY53" fmla="*/ 5755327 h 6217653"/>
                <a:gd name="connsiteX54" fmla="*/ 817988 w 5884232"/>
                <a:gd name="connsiteY54" fmla="*/ 5548391 h 6217653"/>
                <a:gd name="connsiteX55" fmla="*/ 732703 w 5884232"/>
                <a:gd name="connsiteY55" fmla="*/ 5638146 h 6217653"/>
                <a:gd name="connsiteX56" fmla="*/ 430931 w 5884232"/>
                <a:gd name="connsiteY56" fmla="*/ 5323785 h 6217653"/>
                <a:gd name="connsiteX57" fmla="*/ 523257 w 5884232"/>
                <a:gd name="connsiteY57" fmla="*/ 5189370 h 6217653"/>
                <a:gd name="connsiteX58" fmla="*/ 41560 w 5884232"/>
                <a:gd name="connsiteY58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304349 w 5884232"/>
                <a:gd name="connsiteY48" fmla="*/ 6209090 h 6217653"/>
                <a:gd name="connsiteX49" fmla="*/ 1189098 w 5884232"/>
                <a:gd name="connsiteY49" fmla="*/ 6081936 h 6217653"/>
                <a:gd name="connsiteX50" fmla="*/ 1232893 w 5884232"/>
                <a:gd name="connsiteY50" fmla="*/ 6032071 h 6217653"/>
                <a:gd name="connsiteX51" fmla="*/ 1000086 w 5884232"/>
                <a:gd name="connsiteY51" fmla="*/ 5782751 h 6217653"/>
                <a:gd name="connsiteX52" fmla="*/ 1013916 w 5884232"/>
                <a:gd name="connsiteY52" fmla="*/ 5755327 h 6217653"/>
                <a:gd name="connsiteX53" fmla="*/ 817988 w 5884232"/>
                <a:gd name="connsiteY53" fmla="*/ 5548391 h 6217653"/>
                <a:gd name="connsiteX54" fmla="*/ 732703 w 5884232"/>
                <a:gd name="connsiteY54" fmla="*/ 5638146 h 6217653"/>
                <a:gd name="connsiteX55" fmla="*/ 430931 w 5884232"/>
                <a:gd name="connsiteY55" fmla="*/ 5323785 h 6217653"/>
                <a:gd name="connsiteX56" fmla="*/ 523257 w 5884232"/>
                <a:gd name="connsiteY56" fmla="*/ 5189370 h 6217653"/>
                <a:gd name="connsiteX57" fmla="*/ 41560 w 5884232"/>
                <a:gd name="connsiteY57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189098 w 5884232"/>
                <a:gd name="connsiteY48" fmla="*/ 6081936 h 6217653"/>
                <a:gd name="connsiteX49" fmla="*/ 1232893 w 5884232"/>
                <a:gd name="connsiteY49" fmla="*/ 6032071 h 6217653"/>
                <a:gd name="connsiteX50" fmla="*/ 1000086 w 5884232"/>
                <a:gd name="connsiteY50" fmla="*/ 5782751 h 6217653"/>
                <a:gd name="connsiteX51" fmla="*/ 1013916 w 5884232"/>
                <a:gd name="connsiteY51" fmla="*/ 5755327 h 6217653"/>
                <a:gd name="connsiteX52" fmla="*/ 817988 w 5884232"/>
                <a:gd name="connsiteY52" fmla="*/ 5548391 h 6217653"/>
                <a:gd name="connsiteX53" fmla="*/ 732703 w 5884232"/>
                <a:gd name="connsiteY53" fmla="*/ 5638146 h 6217653"/>
                <a:gd name="connsiteX54" fmla="*/ 430931 w 5884232"/>
                <a:gd name="connsiteY54" fmla="*/ 5323785 h 6217653"/>
                <a:gd name="connsiteX55" fmla="*/ 523257 w 5884232"/>
                <a:gd name="connsiteY55" fmla="*/ 5189370 h 6217653"/>
                <a:gd name="connsiteX56" fmla="*/ 41560 w 5884232"/>
                <a:gd name="connsiteY56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232893 w 5884232"/>
                <a:gd name="connsiteY48" fmla="*/ 6032071 h 6217653"/>
                <a:gd name="connsiteX49" fmla="*/ 1000086 w 5884232"/>
                <a:gd name="connsiteY49" fmla="*/ 5782751 h 6217653"/>
                <a:gd name="connsiteX50" fmla="*/ 1013916 w 5884232"/>
                <a:gd name="connsiteY50" fmla="*/ 5755327 h 6217653"/>
                <a:gd name="connsiteX51" fmla="*/ 817988 w 5884232"/>
                <a:gd name="connsiteY51" fmla="*/ 5548391 h 6217653"/>
                <a:gd name="connsiteX52" fmla="*/ 732703 w 5884232"/>
                <a:gd name="connsiteY52" fmla="*/ 5638146 h 6217653"/>
                <a:gd name="connsiteX53" fmla="*/ 430931 w 5884232"/>
                <a:gd name="connsiteY53" fmla="*/ 5323785 h 6217653"/>
                <a:gd name="connsiteX54" fmla="*/ 523257 w 5884232"/>
                <a:gd name="connsiteY54" fmla="*/ 5189370 h 6217653"/>
                <a:gd name="connsiteX55" fmla="*/ 41560 w 5884232"/>
                <a:gd name="connsiteY55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000086 w 5884232"/>
                <a:gd name="connsiteY48" fmla="*/ 5782751 h 6217653"/>
                <a:gd name="connsiteX49" fmla="*/ 1013916 w 5884232"/>
                <a:gd name="connsiteY49" fmla="*/ 5755327 h 6217653"/>
                <a:gd name="connsiteX50" fmla="*/ 817988 w 5884232"/>
                <a:gd name="connsiteY50" fmla="*/ 5548391 h 6217653"/>
                <a:gd name="connsiteX51" fmla="*/ 732703 w 5884232"/>
                <a:gd name="connsiteY51" fmla="*/ 5638146 h 6217653"/>
                <a:gd name="connsiteX52" fmla="*/ 430931 w 5884232"/>
                <a:gd name="connsiteY52" fmla="*/ 5323785 h 6217653"/>
                <a:gd name="connsiteX53" fmla="*/ 523257 w 5884232"/>
                <a:gd name="connsiteY53" fmla="*/ 5189370 h 6217653"/>
                <a:gd name="connsiteX54" fmla="*/ 41560 w 5884232"/>
                <a:gd name="connsiteY54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000086 w 5884232"/>
                <a:gd name="connsiteY48" fmla="*/ 5782751 h 6217653"/>
                <a:gd name="connsiteX49" fmla="*/ 817988 w 5884232"/>
                <a:gd name="connsiteY49" fmla="*/ 5548391 h 6217653"/>
                <a:gd name="connsiteX50" fmla="*/ 732703 w 5884232"/>
                <a:gd name="connsiteY50" fmla="*/ 5638146 h 6217653"/>
                <a:gd name="connsiteX51" fmla="*/ 430931 w 5884232"/>
                <a:gd name="connsiteY51" fmla="*/ 5323785 h 6217653"/>
                <a:gd name="connsiteX52" fmla="*/ 523257 w 5884232"/>
                <a:gd name="connsiteY52" fmla="*/ 5189370 h 6217653"/>
                <a:gd name="connsiteX53" fmla="*/ 41560 w 5884232"/>
                <a:gd name="connsiteY53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817988 w 5884232"/>
                <a:gd name="connsiteY48" fmla="*/ 5548391 h 6217653"/>
                <a:gd name="connsiteX49" fmla="*/ 732703 w 5884232"/>
                <a:gd name="connsiteY49" fmla="*/ 5638146 h 6217653"/>
                <a:gd name="connsiteX50" fmla="*/ 430931 w 5884232"/>
                <a:gd name="connsiteY50" fmla="*/ 5323785 h 6217653"/>
                <a:gd name="connsiteX51" fmla="*/ 523257 w 5884232"/>
                <a:gd name="connsiteY51" fmla="*/ 5189370 h 6217653"/>
                <a:gd name="connsiteX52" fmla="*/ 41560 w 5884232"/>
                <a:gd name="connsiteY52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4209492 w 5884232"/>
                <a:gd name="connsiteY45" fmla="*/ 5644651 h 6217653"/>
                <a:gd name="connsiteX46" fmla="*/ 4406189 w 5884232"/>
                <a:gd name="connsiteY46" fmla="*/ 6217653 h 6217653"/>
                <a:gd name="connsiteX47" fmla="*/ 817988 w 5884232"/>
                <a:gd name="connsiteY47" fmla="*/ 5548391 h 6217653"/>
                <a:gd name="connsiteX48" fmla="*/ 732703 w 5884232"/>
                <a:gd name="connsiteY48" fmla="*/ 5638146 h 6217653"/>
                <a:gd name="connsiteX49" fmla="*/ 430931 w 5884232"/>
                <a:gd name="connsiteY49" fmla="*/ 5323785 h 6217653"/>
                <a:gd name="connsiteX50" fmla="*/ 523257 w 5884232"/>
                <a:gd name="connsiteY50" fmla="*/ 5189370 h 6217653"/>
                <a:gd name="connsiteX51" fmla="*/ 41560 w 5884232"/>
                <a:gd name="connsiteY51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4209492 w 5884232"/>
                <a:gd name="connsiteY44" fmla="*/ 5644651 h 6217653"/>
                <a:gd name="connsiteX45" fmla="*/ 4406189 w 5884232"/>
                <a:gd name="connsiteY45" fmla="*/ 6217653 h 6217653"/>
                <a:gd name="connsiteX46" fmla="*/ 817988 w 5884232"/>
                <a:gd name="connsiteY46" fmla="*/ 5548391 h 6217653"/>
                <a:gd name="connsiteX47" fmla="*/ 732703 w 5884232"/>
                <a:gd name="connsiteY47" fmla="*/ 5638146 h 6217653"/>
                <a:gd name="connsiteX48" fmla="*/ 430931 w 5884232"/>
                <a:gd name="connsiteY48" fmla="*/ 5323785 h 6217653"/>
                <a:gd name="connsiteX49" fmla="*/ 523257 w 5884232"/>
                <a:gd name="connsiteY49" fmla="*/ 5189370 h 6217653"/>
                <a:gd name="connsiteX50" fmla="*/ 41560 w 5884232"/>
                <a:gd name="connsiteY50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4209492 w 5884232"/>
                <a:gd name="connsiteY43" fmla="*/ 5644651 h 6217653"/>
                <a:gd name="connsiteX44" fmla="*/ 4406189 w 5884232"/>
                <a:gd name="connsiteY44" fmla="*/ 6217653 h 6217653"/>
                <a:gd name="connsiteX45" fmla="*/ 817988 w 5884232"/>
                <a:gd name="connsiteY45" fmla="*/ 5548391 h 6217653"/>
                <a:gd name="connsiteX46" fmla="*/ 732703 w 5884232"/>
                <a:gd name="connsiteY46" fmla="*/ 5638146 h 6217653"/>
                <a:gd name="connsiteX47" fmla="*/ 430931 w 5884232"/>
                <a:gd name="connsiteY47" fmla="*/ 5323785 h 6217653"/>
                <a:gd name="connsiteX48" fmla="*/ 523257 w 5884232"/>
                <a:gd name="connsiteY48" fmla="*/ 5189370 h 6217653"/>
                <a:gd name="connsiteX49" fmla="*/ 41560 w 5884232"/>
                <a:gd name="connsiteY4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4209492 w 5884232"/>
                <a:gd name="connsiteY42" fmla="*/ 5644651 h 6217653"/>
                <a:gd name="connsiteX43" fmla="*/ 4406189 w 5884232"/>
                <a:gd name="connsiteY43" fmla="*/ 6217653 h 6217653"/>
                <a:gd name="connsiteX44" fmla="*/ 817988 w 5884232"/>
                <a:gd name="connsiteY44" fmla="*/ 5548391 h 6217653"/>
                <a:gd name="connsiteX45" fmla="*/ 732703 w 5884232"/>
                <a:gd name="connsiteY45" fmla="*/ 5638146 h 6217653"/>
                <a:gd name="connsiteX46" fmla="*/ 430931 w 5884232"/>
                <a:gd name="connsiteY46" fmla="*/ 5323785 h 6217653"/>
                <a:gd name="connsiteX47" fmla="*/ 523257 w 5884232"/>
                <a:gd name="connsiteY47" fmla="*/ 5189370 h 6217653"/>
                <a:gd name="connsiteX48" fmla="*/ 41560 w 5884232"/>
                <a:gd name="connsiteY48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209492 w 5884232"/>
                <a:gd name="connsiteY41" fmla="*/ 5644651 h 6217653"/>
                <a:gd name="connsiteX42" fmla="*/ 4406189 w 5884232"/>
                <a:gd name="connsiteY42" fmla="*/ 6217653 h 6217653"/>
                <a:gd name="connsiteX43" fmla="*/ 817988 w 5884232"/>
                <a:gd name="connsiteY43" fmla="*/ 5548391 h 6217653"/>
                <a:gd name="connsiteX44" fmla="*/ 732703 w 5884232"/>
                <a:gd name="connsiteY44" fmla="*/ 5638146 h 6217653"/>
                <a:gd name="connsiteX45" fmla="*/ 430931 w 5884232"/>
                <a:gd name="connsiteY45" fmla="*/ 5323785 h 6217653"/>
                <a:gd name="connsiteX46" fmla="*/ 523257 w 5884232"/>
                <a:gd name="connsiteY46" fmla="*/ 5189370 h 6217653"/>
                <a:gd name="connsiteX47" fmla="*/ 41560 w 5884232"/>
                <a:gd name="connsiteY47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209492 w 5884232"/>
                <a:gd name="connsiteY41" fmla="*/ 5644651 h 6217653"/>
                <a:gd name="connsiteX42" fmla="*/ 4406189 w 5884232"/>
                <a:gd name="connsiteY42" fmla="*/ 6217653 h 6217653"/>
                <a:gd name="connsiteX43" fmla="*/ 4356065 w 5884232"/>
                <a:gd name="connsiteY43" fmla="*/ 6207172 h 6217653"/>
                <a:gd name="connsiteX44" fmla="*/ 817988 w 5884232"/>
                <a:gd name="connsiteY44" fmla="*/ 5548391 h 6217653"/>
                <a:gd name="connsiteX45" fmla="*/ 732703 w 5884232"/>
                <a:gd name="connsiteY45" fmla="*/ 5638146 h 6217653"/>
                <a:gd name="connsiteX46" fmla="*/ 430931 w 5884232"/>
                <a:gd name="connsiteY46" fmla="*/ 5323785 h 6217653"/>
                <a:gd name="connsiteX47" fmla="*/ 523257 w 5884232"/>
                <a:gd name="connsiteY47" fmla="*/ 5189370 h 6217653"/>
                <a:gd name="connsiteX48" fmla="*/ 41560 w 5884232"/>
                <a:gd name="connsiteY48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4209492 w 5884232"/>
                <a:gd name="connsiteY42" fmla="*/ 5644651 h 6217653"/>
                <a:gd name="connsiteX43" fmla="*/ 4406189 w 5884232"/>
                <a:gd name="connsiteY43" fmla="*/ 6217653 h 6217653"/>
                <a:gd name="connsiteX44" fmla="*/ 4356065 w 5884232"/>
                <a:gd name="connsiteY44" fmla="*/ 6207172 h 6217653"/>
                <a:gd name="connsiteX45" fmla="*/ 817988 w 5884232"/>
                <a:gd name="connsiteY45" fmla="*/ 5548391 h 6217653"/>
                <a:gd name="connsiteX46" fmla="*/ 732703 w 5884232"/>
                <a:gd name="connsiteY46" fmla="*/ 5638146 h 6217653"/>
                <a:gd name="connsiteX47" fmla="*/ 430931 w 5884232"/>
                <a:gd name="connsiteY47" fmla="*/ 5323785 h 6217653"/>
                <a:gd name="connsiteX48" fmla="*/ 523257 w 5884232"/>
                <a:gd name="connsiteY48" fmla="*/ 5189370 h 6217653"/>
                <a:gd name="connsiteX49" fmla="*/ 41560 w 5884232"/>
                <a:gd name="connsiteY4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3370570 w 5884232"/>
                <a:gd name="connsiteY42" fmla="*/ 5698352 h 6217653"/>
                <a:gd name="connsiteX43" fmla="*/ 4406189 w 5884232"/>
                <a:gd name="connsiteY43" fmla="*/ 6217653 h 6217653"/>
                <a:gd name="connsiteX44" fmla="*/ 4356065 w 5884232"/>
                <a:gd name="connsiteY44" fmla="*/ 6207172 h 6217653"/>
                <a:gd name="connsiteX45" fmla="*/ 817988 w 5884232"/>
                <a:gd name="connsiteY45" fmla="*/ 5548391 h 6217653"/>
                <a:gd name="connsiteX46" fmla="*/ 732703 w 5884232"/>
                <a:gd name="connsiteY46" fmla="*/ 5638146 h 6217653"/>
                <a:gd name="connsiteX47" fmla="*/ 430931 w 5884232"/>
                <a:gd name="connsiteY47" fmla="*/ 5323785 h 6217653"/>
                <a:gd name="connsiteX48" fmla="*/ 523257 w 5884232"/>
                <a:gd name="connsiteY48" fmla="*/ 5189370 h 6217653"/>
                <a:gd name="connsiteX49" fmla="*/ 41560 w 5884232"/>
                <a:gd name="connsiteY4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3370570 w 5884232"/>
                <a:gd name="connsiteY42" fmla="*/ 5698352 h 6217653"/>
                <a:gd name="connsiteX43" fmla="*/ 4406189 w 5884232"/>
                <a:gd name="connsiteY43" fmla="*/ 6217653 h 6217653"/>
                <a:gd name="connsiteX44" fmla="*/ 3154556 w 5884232"/>
                <a:gd name="connsiteY44" fmla="*/ 6122786 h 6217653"/>
                <a:gd name="connsiteX45" fmla="*/ 817988 w 5884232"/>
                <a:gd name="connsiteY45" fmla="*/ 5548391 h 6217653"/>
                <a:gd name="connsiteX46" fmla="*/ 732703 w 5884232"/>
                <a:gd name="connsiteY46" fmla="*/ 5638146 h 6217653"/>
                <a:gd name="connsiteX47" fmla="*/ 430931 w 5884232"/>
                <a:gd name="connsiteY47" fmla="*/ 5323785 h 6217653"/>
                <a:gd name="connsiteX48" fmla="*/ 523257 w 5884232"/>
                <a:gd name="connsiteY48" fmla="*/ 5189370 h 6217653"/>
                <a:gd name="connsiteX49" fmla="*/ 41560 w 5884232"/>
                <a:gd name="connsiteY4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3370570 w 5884232"/>
                <a:gd name="connsiteY42" fmla="*/ 5698352 h 6217653"/>
                <a:gd name="connsiteX43" fmla="*/ 4406189 w 5884232"/>
                <a:gd name="connsiteY43" fmla="*/ 6217653 h 6217653"/>
                <a:gd name="connsiteX44" fmla="*/ 817988 w 5884232"/>
                <a:gd name="connsiteY44" fmla="*/ 5548391 h 6217653"/>
                <a:gd name="connsiteX45" fmla="*/ 732703 w 5884232"/>
                <a:gd name="connsiteY45" fmla="*/ 5638146 h 6217653"/>
                <a:gd name="connsiteX46" fmla="*/ 430931 w 5884232"/>
                <a:gd name="connsiteY46" fmla="*/ 5323785 h 6217653"/>
                <a:gd name="connsiteX47" fmla="*/ 523257 w 5884232"/>
                <a:gd name="connsiteY47" fmla="*/ 5189370 h 6217653"/>
                <a:gd name="connsiteX48" fmla="*/ 41560 w 5884232"/>
                <a:gd name="connsiteY48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3370570 w 5884232"/>
                <a:gd name="connsiteY42" fmla="*/ 5698352 h 6217653"/>
                <a:gd name="connsiteX43" fmla="*/ 4406189 w 5884232"/>
                <a:gd name="connsiteY43" fmla="*/ 6217653 h 6217653"/>
                <a:gd name="connsiteX44" fmla="*/ 3232760 w 5884232"/>
                <a:gd name="connsiteY44" fmla="*/ 6099773 h 6217653"/>
                <a:gd name="connsiteX45" fmla="*/ 817988 w 5884232"/>
                <a:gd name="connsiteY45" fmla="*/ 5548391 h 6217653"/>
                <a:gd name="connsiteX46" fmla="*/ 732703 w 5884232"/>
                <a:gd name="connsiteY46" fmla="*/ 5638146 h 6217653"/>
                <a:gd name="connsiteX47" fmla="*/ 430931 w 5884232"/>
                <a:gd name="connsiteY47" fmla="*/ 5323785 h 6217653"/>
                <a:gd name="connsiteX48" fmla="*/ 523257 w 5884232"/>
                <a:gd name="connsiteY48" fmla="*/ 5189370 h 6217653"/>
                <a:gd name="connsiteX49" fmla="*/ 41560 w 5884232"/>
                <a:gd name="connsiteY4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3370570 w 5884232"/>
                <a:gd name="connsiteY42" fmla="*/ 5698352 h 6217653"/>
                <a:gd name="connsiteX43" fmla="*/ 4406189 w 5884232"/>
                <a:gd name="connsiteY43" fmla="*/ 6217653 h 6217653"/>
                <a:gd name="connsiteX44" fmla="*/ 817988 w 5884232"/>
                <a:gd name="connsiteY44" fmla="*/ 5548391 h 6217653"/>
                <a:gd name="connsiteX45" fmla="*/ 732703 w 5884232"/>
                <a:gd name="connsiteY45" fmla="*/ 5638146 h 6217653"/>
                <a:gd name="connsiteX46" fmla="*/ 430931 w 5884232"/>
                <a:gd name="connsiteY46" fmla="*/ 5323785 h 6217653"/>
                <a:gd name="connsiteX47" fmla="*/ 523257 w 5884232"/>
                <a:gd name="connsiteY47" fmla="*/ 5189370 h 6217653"/>
                <a:gd name="connsiteX48" fmla="*/ 41560 w 5884232"/>
                <a:gd name="connsiteY48" fmla="*/ 3281515 h 6217653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710779 w 5884232"/>
                <a:gd name="connsiteY27" fmla="*/ 4870077 h 6212288"/>
                <a:gd name="connsiteX28" fmla="*/ 5553250 w 5884232"/>
                <a:gd name="connsiteY28" fmla="*/ 4807792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4149888 w 5884232"/>
                <a:gd name="connsiteY41" fmla="*/ 5639490 h 6212288"/>
                <a:gd name="connsiteX42" fmla="*/ 3370570 w 5884232"/>
                <a:gd name="connsiteY42" fmla="*/ 5698352 h 6212288"/>
                <a:gd name="connsiteX43" fmla="*/ 3545936 w 5884232"/>
                <a:gd name="connsiteY43" fmla="*/ 6125596 h 6212288"/>
                <a:gd name="connsiteX44" fmla="*/ 817988 w 5884232"/>
                <a:gd name="connsiteY44" fmla="*/ 5548391 h 6212288"/>
                <a:gd name="connsiteX45" fmla="*/ 732703 w 5884232"/>
                <a:gd name="connsiteY45" fmla="*/ 5638146 h 6212288"/>
                <a:gd name="connsiteX46" fmla="*/ 430931 w 5884232"/>
                <a:gd name="connsiteY46" fmla="*/ 5323785 h 6212288"/>
                <a:gd name="connsiteX47" fmla="*/ 523257 w 5884232"/>
                <a:gd name="connsiteY47" fmla="*/ 5189370 h 6212288"/>
                <a:gd name="connsiteX48" fmla="*/ 41560 w 5884232"/>
                <a:gd name="connsiteY48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710779 w 5884232"/>
                <a:gd name="connsiteY27" fmla="*/ 4870077 h 6212288"/>
                <a:gd name="connsiteX28" fmla="*/ 5553250 w 5884232"/>
                <a:gd name="connsiteY28" fmla="*/ 4807792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4149888 w 5884232"/>
                <a:gd name="connsiteY41" fmla="*/ 5639490 h 6212288"/>
                <a:gd name="connsiteX42" fmla="*/ 3370570 w 5884232"/>
                <a:gd name="connsiteY42" fmla="*/ 5698352 h 6212288"/>
                <a:gd name="connsiteX43" fmla="*/ 817988 w 5884232"/>
                <a:gd name="connsiteY43" fmla="*/ 5548391 h 6212288"/>
                <a:gd name="connsiteX44" fmla="*/ 732703 w 5884232"/>
                <a:gd name="connsiteY44" fmla="*/ 5638146 h 6212288"/>
                <a:gd name="connsiteX45" fmla="*/ 430931 w 5884232"/>
                <a:gd name="connsiteY45" fmla="*/ 5323785 h 6212288"/>
                <a:gd name="connsiteX46" fmla="*/ 523257 w 5884232"/>
                <a:gd name="connsiteY46" fmla="*/ 5189370 h 6212288"/>
                <a:gd name="connsiteX47" fmla="*/ 41560 w 5884232"/>
                <a:gd name="connsiteY47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710779 w 5884232"/>
                <a:gd name="connsiteY27" fmla="*/ 4870077 h 6212288"/>
                <a:gd name="connsiteX28" fmla="*/ 5553250 w 5884232"/>
                <a:gd name="connsiteY28" fmla="*/ 4807792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3370570 w 5884232"/>
                <a:gd name="connsiteY41" fmla="*/ 5698352 h 6212288"/>
                <a:gd name="connsiteX42" fmla="*/ 817988 w 5884232"/>
                <a:gd name="connsiteY42" fmla="*/ 5548391 h 6212288"/>
                <a:gd name="connsiteX43" fmla="*/ 732703 w 5884232"/>
                <a:gd name="connsiteY43" fmla="*/ 5638146 h 6212288"/>
                <a:gd name="connsiteX44" fmla="*/ 430931 w 5884232"/>
                <a:gd name="connsiteY44" fmla="*/ 5323785 h 6212288"/>
                <a:gd name="connsiteX45" fmla="*/ 523257 w 5884232"/>
                <a:gd name="connsiteY45" fmla="*/ 5189370 h 6212288"/>
                <a:gd name="connsiteX46" fmla="*/ 41560 w 5884232"/>
                <a:gd name="connsiteY46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710779 w 5884232"/>
                <a:gd name="connsiteY27" fmla="*/ 4870077 h 6212288"/>
                <a:gd name="connsiteX28" fmla="*/ 5553250 w 5884232"/>
                <a:gd name="connsiteY28" fmla="*/ 4807792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710779 w 5884232"/>
                <a:gd name="connsiteY27" fmla="*/ 4870077 h 6212288"/>
                <a:gd name="connsiteX28" fmla="*/ 5544633 w 5884232"/>
                <a:gd name="connsiteY28" fmla="*/ 4835624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693545 w 5884232"/>
                <a:gd name="connsiteY27" fmla="*/ 4865439 h 6212288"/>
                <a:gd name="connsiteX28" fmla="*/ 5544633 w 5884232"/>
                <a:gd name="connsiteY28" fmla="*/ 4835624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693545 w 5884232"/>
                <a:gd name="connsiteY27" fmla="*/ 4865439 h 6212288"/>
                <a:gd name="connsiteX28" fmla="*/ 5557557 w 5884232"/>
                <a:gd name="connsiteY28" fmla="*/ 4817071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693545 w 5884232"/>
                <a:gd name="connsiteY27" fmla="*/ 4865439 h 6212288"/>
                <a:gd name="connsiteX28" fmla="*/ 5557557 w 5884232"/>
                <a:gd name="connsiteY28" fmla="*/ 4817071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693545 w 5884232"/>
                <a:gd name="connsiteY27" fmla="*/ 4865439 h 6212288"/>
                <a:gd name="connsiteX28" fmla="*/ 5557557 w 5884232"/>
                <a:gd name="connsiteY28" fmla="*/ 4817071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8845 w 5884232"/>
                <a:gd name="connsiteY26" fmla="*/ 4428963 h 6212288"/>
                <a:gd name="connsiteX27" fmla="*/ 5693545 w 5884232"/>
                <a:gd name="connsiteY27" fmla="*/ 4865439 h 6212288"/>
                <a:gd name="connsiteX28" fmla="*/ 5557557 w 5884232"/>
                <a:gd name="connsiteY28" fmla="*/ 4817071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57557 w 5884232"/>
                <a:gd name="connsiteY28" fmla="*/ 4817071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48942 w 5884232"/>
                <a:gd name="connsiteY28" fmla="*/ 4835626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48942 w 5884232"/>
                <a:gd name="connsiteY28" fmla="*/ 4835626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48942 w 5884232"/>
                <a:gd name="connsiteY28" fmla="*/ 4835626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76264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48942 w 5884232"/>
                <a:gd name="connsiteY28" fmla="*/ 4835626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6234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48942 w 5884232"/>
                <a:gd name="connsiteY28" fmla="*/ 4835626 h 6212288"/>
                <a:gd name="connsiteX29" fmla="*/ 4409852 w 5884232"/>
                <a:gd name="connsiteY29" fmla="*/ 6212288 h 6212288"/>
                <a:gd name="connsiteX30" fmla="*/ 4244517 w 5884232"/>
                <a:gd name="connsiteY30" fmla="*/ 5626725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6234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35626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1077217 w 5884232"/>
                <a:gd name="connsiteY39" fmla="*/ 4933546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732703 w 5884232"/>
                <a:gd name="connsiteY42" fmla="*/ 5638146 h 6198437"/>
                <a:gd name="connsiteX43" fmla="*/ 430931 w 5884232"/>
                <a:gd name="connsiteY43" fmla="*/ 5323785 h 6198437"/>
                <a:gd name="connsiteX44" fmla="*/ 523257 w 5884232"/>
                <a:gd name="connsiteY44" fmla="*/ 5189370 h 6198437"/>
                <a:gd name="connsiteX45" fmla="*/ 41560 w 5884232"/>
                <a:gd name="connsiteY45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35626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1077217 w 5884232"/>
                <a:gd name="connsiteY39" fmla="*/ 4933546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732703 w 5884232"/>
                <a:gd name="connsiteY42" fmla="*/ 5638146 h 6198437"/>
                <a:gd name="connsiteX43" fmla="*/ 430931 w 5884232"/>
                <a:gd name="connsiteY43" fmla="*/ 5323785 h 6198437"/>
                <a:gd name="connsiteX44" fmla="*/ 523257 w 5884232"/>
                <a:gd name="connsiteY44" fmla="*/ 5189370 h 6198437"/>
                <a:gd name="connsiteX45" fmla="*/ 41560 w 5884232"/>
                <a:gd name="connsiteY45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1077217 w 5884232"/>
                <a:gd name="connsiteY39" fmla="*/ 4933546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732703 w 5884232"/>
                <a:gd name="connsiteY42" fmla="*/ 5638146 h 6198437"/>
                <a:gd name="connsiteX43" fmla="*/ 430931 w 5884232"/>
                <a:gd name="connsiteY43" fmla="*/ 5323785 h 6198437"/>
                <a:gd name="connsiteX44" fmla="*/ 523257 w 5884232"/>
                <a:gd name="connsiteY44" fmla="*/ 5189370 h 6198437"/>
                <a:gd name="connsiteX45" fmla="*/ 41560 w 5884232"/>
                <a:gd name="connsiteY45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732703 w 5884232"/>
                <a:gd name="connsiteY42" fmla="*/ 5638146 h 6198437"/>
                <a:gd name="connsiteX43" fmla="*/ 430931 w 5884232"/>
                <a:gd name="connsiteY43" fmla="*/ 5323785 h 6198437"/>
                <a:gd name="connsiteX44" fmla="*/ 523257 w 5884232"/>
                <a:gd name="connsiteY44" fmla="*/ 5189370 h 6198437"/>
                <a:gd name="connsiteX45" fmla="*/ 41560 w 5884232"/>
                <a:gd name="connsiteY45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732703 w 5884232"/>
                <a:gd name="connsiteY42" fmla="*/ 5638146 h 6198437"/>
                <a:gd name="connsiteX43" fmla="*/ 430931 w 5884232"/>
                <a:gd name="connsiteY43" fmla="*/ 5323785 h 6198437"/>
                <a:gd name="connsiteX44" fmla="*/ 523257 w 5884232"/>
                <a:gd name="connsiteY44" fmla="*/ 5189370 h 6198437"/>
                <a:gd name="connsiteX45" fmla="*/ 41560 w 5884232"/>
                <a:gd name="connsiteY45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430931 w 5884232"/>
                <a:gd name="connsiteY42" fmla="*/ 5323785 h 6198437"/>
                <a:gd name="connsiteX43" fmla="*/ 523257 w 5884232"/>
                <a:gd name="connsiteY43" fmla="*/ 5189370 h 6198437"/>
                <a:gd name="connsiteX44" fmla="*/ 41560 w 5884232"/>
                <a:gd name="connsiteY44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523257 w 5884232"/>
                <a:gd name="connsiteY42" fmla="*/ 5189370 h 6198437"/>
                <a:gd name="connsiteX43" fmla="*/ 41560 w 5884232"/>
                <a:gd name="connsiteY43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1206546 w 5884232"/>
                <a:gd name="connsiteY40" fmla="*/ 5062348 h 6198437"/>
                <a:gd name="connsiteX41" fmla="*/ 523257 w 5884232"/>
                <a:gd name="connsiteY41" fmla="*/ 5189370 h 6198437"/>
                <a:gd name="connsiteX42" fmla="*/ 41560 w 5884232"/>
                <a:gd name="connsiteY42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523257 w 5884232"/>
                <a:gd name="connsiteY40" fmla="*/ 5189370 h 6198437"/>
                <a:gd name="connsiteX41" fmla="*/ 41560 w 5884232"/>
                <a:gd name="connsiteY41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32548 w 5884232"/>
                <a:gd name="connsiteY39" fmla="*/ 4771487 h 6198437"/>
                <a:gd name="connsiteX40" fmla="*/ 523257 w 5884232"/>
                <a:gd name="connsiteY40" fmla="*/ 5189370 h 6198437"/>
                <a:gd name="connsiteX41" fmla="*/ 41560 w 5884232"/>
                <a:gd name="connsiteY41" fmla="*/ 3281515 h 6198437"/>
                <a:gd name="connsiteX0" fmla="*/ 41560 w 5884232"/>
                <a:gd name="connsiteY0" fmla="*/ 3281515 h 6198437"/>
                <a:gd name="connsiteX1" fmla="*/ 93455 w 5884232"/>
                <a:gd name="connsiteY1" fmla="*/ 3106020 h 6198437"/>
                <a:gd name="connsiteX2" fmla="*/ 250907 w 5884232"/>
                <a:gd name="connsiteY2" fmla="*/ 2374266 h 6198437"/>
                <a:gd name="connsiteX3" fmla="*/ 218176 w 5884232"/>
                <a:gd name="connsiteY3" fmla="*/ 2331944 h 6198437"/>
                <a:gd name="connsiteX4" fmla="*/ 290433 w 5884232"/>
                <a:gd name="connsiteY4" fmla="*/ 2067448 h 6198437"/>
                <a:gd name="connsiteX5" fmla="*/ 326149 w 5884232"/>
                <a:gd name="connsiteY5" fmla="*/ 2050403 h 6198437"/>
                <a:gd name="connsiteX6" fmla="*/ 1333506 w 5884232"/>
                <a:gd name="connsiteY6" fmla="*/ 647002 h 6198437"/>
                <a:gd name="connsiteX7" fmla="*/ 1546422 w 5884232"/>
                <a:gd name="connsiteY7" fmla="*/ 547251 h 6198437"/>
                <a:gd name="connsiteX8" fmla="*/ 1526361 w 5884232"/>
                <a:gd name="connsiteY8" fmla="*/ 432260 h 6198437"/>
                <a:gd name="connsiteX9" fmla="*/ 1722126 w 5884232"/>
                <a:gd name="connsiteY9" fmla="*/ 380302 h 6198437"/>
                <a:gd name="connsiteX10" fmla="*/ 1739499 w 5884232"/>
                <a:gd name="connsiteY10" fmla="*/ 481442 h 6198437"/>
                <a:gd name="connsiteX11" fmla="*/ 1866574 w 5884232"/>
                <a:gd name="connsiteY11" fmla="*/ 442651 h 6198437"/>
                <a:gd name="connsiteX12" fmla="*/ 1897053 w 5884232"/>
                <a:gd name="connsiteY12" fmla="*/ 393463 h 6198437"/>
                <a:gd name="connsiteX13" fmla="*/ 2132940 w 5884232"/>
                <a:gd name="connsiteY13" fmla="*/ 319342 h 6198437"/>
                <a:gd name="connsiteX14" fmla="*/ 2173395 w 5884232"/>
                <a:gd name="connsiteY14" fmla="*/ 352592 h 6198437"/>
                <a:gd name="connsiteX15" fmla="*/ 2369937 w 5884232"/>
                <a:gd name="connsiteY15" fmla="*/ 288171 h 6198437"/>
                <a:gd name="connsiteX16" fmla="*/ 2329149 w 5884232"/>
                <a:gd name="connsiteY16" fmla="*/ 119840 h 6198437"/>
                <a:gd name="connsiteX17" fmla="*/ 2712392 w 5884232"/>
                <a:gd name="connsiteY17" fmla="*/ 0 h 6198437"/>
                <a:gd name="connsiteX18" fmla="*/ 2760690 w 5884232"/>
                <a:gd name="connsiteY18" fmla="*/ 165560 h 6198437"/>
                <a:gd name="connsiteX19" fmla="*/ 4524241 w 5884232"/>
                <a:gd name="connsiteY19" fmla="*/ 680900 h 6198437"/>
                <a:gd name="connsiteX20" fmla="*/ 5074371 w 5884232"/>
                <a:gd name="connsiteY20" fmla="*/ 1291242 h 6198437"/>
                <a:gd name="connsiteX21" fmla="*/ 5135775 w 5884232"/>
                <a:gd name="connsiteY21" fmla="*/ 1298860 h 6198437"/>
                <a:gd name="connsiteX22" fmla="*/ 5300616 w 5884232"/>
                <a:gd name="connsiteY22" fmla="*/ 1479661 h 6198437"/>
                <a:gd name="connsiteX23" fmla="*/ 5300839 w 5884232"/>
                <a:gd name="connsiteY23" fmla="*/ 1535080 h 6198437"/>
                <a:gd name="connsiteX24" fmla="*/ 5462103 w 5884232"/>
                <a:gd name="connsiteY24" fmla="*/ 1726990 h 6198437"/>
                <a:gd name="connsiteX25" fmla="*/ 5842091 w 5884232"/>
                <a:gd name="connsiteY25" fmla="*/ 3519512 h 6198437"/>
                <a:gd name="connsiteX26" fmla="*/ 5650012 w 5884232"/>
                <a:gd name="connsiteY26" fmla="*/ 4385669 h 6198437"/>
                <a:gd name="connsiteX27" fmla="*/ 5797462 w 5884232"/>
                <a:gd name="connsiteY27" fmla="*/ 4428964 h 6198437"/>
                <a:gd name="connsiteX28" fmla="*/ 5693545 w 5884232"/>
                <a:gd name="connsiteY28" fmla="*/ 4865439 h 6198437"/>
                <a:gd name="connsiteX29" fmla="*/ 5548942 w 5884232"/>
                <a:gd name="connsiteY29" fmla="*/ 4824545 h 6198437"/>
                <a:gd name="connsiteX30" fmla="*/ 4435515 w 5884232"/>
                <a:gd name="connsiteY30" fmla="*/ 6198437 h 6198437"/>
                <a:gd name="connsiteX31" fmla="*/ 4244517 w 5884232"/>
                <a:gd name="connsiteY31" fmla="*/ 5626725 h 6198437"/>
                <a:gd name="connsiteX32" fmla="*/ 5030652 w 5884232"/>
                <a:gd name="connsiteY32" fmla="*/ 4596953 h 6198437"/>
                <a:gd name="connsiteX33" fmla="*/ 5310701 w 5884232"/>
                <a:gd name="connsiteY33" fmla="*/ 3352779 h 6198437"/>
                <a:gd name="connsiteX34" fmla="*/ 4991885 w 5884232"/>
                <a:gd name="connsiteY34" fmla="*/ 2049487 h 6198437"/>
                <a:gd name="connsiteX35" fmla="*/ 4174632 w 5884232"/>
                <a:gd name="connsiteY35" fmla="*/ 1163055 h 6198437"/>
                <a:gd name="connsiteX36" fmla="*/ 2880366 w 5884232"/>
                <a:gd name="connsiteY36" fmla="*/ 761302 h 6198437"/>
                <a:gd name="connsiteX37" fmla="*/ 1882146 w 5884232"/>
                <a:gd name="connsiteY37" fmla="*/ 1081342 h 6198437"/>
                <a:gd name="connsiteX38" fmla="*/ 873226 w 5884232"/>
                <a:gd name="connsiteY38" fmla="*/ 2111591 h 6198437"/>
                <a:gd name="connsiteX39" fmla="*/ 571891 w 5884232"/>
                <a:gd name="connsiteY39" fmla="*/ 3464807 h 6198437"/>
                <a:gd name="connsiteX40" fmla="*/ 932548 w 5884232"/>
                <a:gd name="connsiteY40" fmla="*/ 4771487 h 6198437"/>
                <a:gd name="connsiteX41" fmla="*/ 523257 w 5884232"/>
                <a:gd name="connsiteY41" fmla="*/ 5189370 h 6198437"/>
                <a:gd name="connsiteX42" fmla="*/ 41560 w 5884232"/>
                <a:gd name="connsiteY42" fmla="*/ 3281515 h 6198437"/>
                <a:gd name="connsiteX0" fmla="*/ 41560 w 5884232"/>
                <a:gd name="connsiteY0" fmla="*/ 3281515 h 6198437"/>
                <a:gd name="connsiteX1" fmla="*/ 93455 w 5884232"/>
                <a:gd name="connsiteY1" fmla="*/ 3106020 h 6198437"/>
                <a:gd name="connsiteX2" fmla="*/ 250907 w 5884232"/>
                <a:gd name="connsiteY2" fmla="*/ 2374266 h 6198437"/>
                <a:gd name="connsiteX3" fmla="*/ 218176 w 5884232"/>
                <a:gd name="connsiteY3" fmla="*/ 2331944 h 6198437"/>
                <a:gd name="connsiteX4" fmla="*/ 290433 w 5884232"/>
                <a:gd name="connsiteY4" fmla="*/ 2067448 h 6198437"/>
                <a:gd name="connsiteX5" fmla="*/ 326149 w 5884232"/>
                <a:gd name="connsiteY5" fmla="*/ 2050403 h 6198437"/>
                <a:gd name="connsiteX6" fmla="*/ 1333506 w 5884232"/>
                <a:gd name="connsiteY6" fmla="*/ 647002 h 6198437"/>
                <a:gd name="connsiteX7" fmla="*/ 1546422 w 5884232"/>
                <a:gd name="connsiteY7" fmla="*/ 547251 h 6198437"/>
                <a:gd name="connsiteX8" fmla="*/ 1526361 w 5884232"/>
                <a:gd name="connsiteY8" fmla="*/ 432260 h 6198437"/>
                <a:gd name="connsiteX9" fmla="*/ 1722126 w 5884232"/>
                <a:gd name="connsiteY9" fmla="*/ 380302 h 6198437"/>
                <a:gd name="connsiteX10" fmla="*/ 1739499 w 5884232"/>
                <a:gd name="connsiteY10" fmla="*/ 481442 h 6198437"/>
                <a:gd name="connsiteX11" fmla="*/ 1866574 w 5884232"/>
                <a:gd name="connsiteY11" fmla="*/ 442651 h 6198437"/>
                <a:gd name="connsiteX12" fmla="*/ 1897053 w 5884232"/>
                <a:gd name="connsiteY12" fmla="*/ 393463 h 6198437"/>
                <a:gd name="connsiteX13" fmla="*/ 2132940 w 5884232"/>
                <a:gd name="connsiteY13" fmla="*/ 319342 h 6198437"/>
                <a:gd name="connsiteX14" fmla="*/ 2173395 w 5884232"/>
                <a:gd name="connsiteY14" fmla="*/ 352592 h 6198437"/>
                <a:gd name="connsiteX15" fmla="*/ 2369937 w 5884232"/>
                <a:gd name="connsiteY15" fmla="*/ 288171 h 6198437"/>
                <a:gd name="connsiteX16" fmla="*/ 2329149 w 5884232"/>
                <a:gd name="connsiteY16" fmla="*/ 119840 h 6198437"/>
                <a:gd name="connsiteX17" fmla="*/ 2712392 w 5884232"/>
                <a:gd name="connsiteY17" fmla="*/ 0 h 6198437"/>
                <a:gd name="connsiteX18" fmla="*/ 2760690 w 5884232"/>
                <a:gd name="connsiteY18" fmla="*/ 165560 h 6198437"/>
                <a:gd name="connsiteX19" fmla="*/ 4524241 w 5884232"/>
                <a:gd name="connsiteY19" fmla="*/ 680900 h 6198437"/>
                <a:gd name="connsiteX20" fmla="*/ 5074371 w 5884232"/>
                <a:gd name="connsiteY20" fmla="*/ 1291242 h 6198437"/>
                <a:gd name="connsiteX21" fmla="*/ 5135775 w 5884232"/>
                <a:gd name="connsiteY21" fmla="*/ 1298860 h 6198437"/>
                <a:gd name="connsiteX22" fmla="*/ 5300616 w 5884232"/>
                <a:gd name="connsiteY22" fmla="*/ 1479661 h 6198437"/>
                <a:gd name="connsiteX23" fmla="*/ 5300839 w 5884232"/>
                <a:gd name="connsiteY23" fmla="*/ 1535080 h 6198437"/>
                <a:gd name="connsiteX24" fmla="*/ 5462103 w 5884232"/>
                <a:gd name="connsiteY24" fmla="*/ 1726990 h 6198437"/>
                <a:gd name="connsiteX25" fmla="*/ 5842091 w 5884232"/>
                <a:gd name="connsiteY25" fmla="*/ 3519512 h 6198437"/>
                <a:gd name="connsiteX26" fmla="*/ 5650012 w 5884232"/>
                <a:gd name="connsiteY26" fmla="*/ 4385669 h 6198437"/>
                <a:gd name="connsiteX27" fmla="*/ 5797462 w 5884232"/>
                <a:gd name="connsiteY27" fmla="*/ 4428964 h 6198437"/>
                <a:gd name="connsiteX28" fmla="*/ 5693545 w 5884232"/>
                <a:gd name="connsiteY28" fmla="*/ 4865439 h 6198437"/>
                <a:gd name="connsiteX29" fmla="*/ 5548942 w 5884232"/>
                <a:gd name="connsiteY29" fmla="*/ 4824545 h 6198437"/>
                <a:gd name="connsiteX30" fmla="*/ 4435515 w 5884232"/>
                <a:gd name="connsiteY30" fmla="*/ 6198437 h 6198437"/>
                <a:gd name="connsiteX31" fmla="*/ 4244517 w 5884232"/>
                <a:gd name="connsiteY31" fmla="*/ 5626725 h 6198437"/>
                <a:gd name="connsiteX32" fmla="*/ 5030652 w 5884232"/>
                <a:gd name="connsiteY32" fmla="*/ 4596953 h 6198437"/>
                <a:gd name="connsiteX33" fmla="*/ 5310701 w 5884232"/>
                <a:gd name="connsiteY33" fmla="*/ 3352779 h 6198437"/>
                <a:gd name="connsiteX34" fmla="*/ 4991885 w 5884232"/>
                <a:gd name="connsiteY34" fmla="*/ 2049487 h 6198437"/>
                <a:gd name="connsiteX35" fmla="*/ 4174632 w 5884232"/>
                <a:gd name="connsiteY35" fmla="*/ 1163055 h 6198437"/>
                <a:gd name="connsiteX36" fmla="*/ 2880366 w 5884232"/>
                <a:gd name="connsiteY36" fmla="*/ 761302 h 6198437"/>
                <a:gd name="connsiteX37" fmla="*/ 1882146 w 5884232"/>
                <a:gd name="connsiteY37" fmla="*/ 1081342 h 6198437"/>
                <a:gd name="connsiteX38" fmla="*/ 873226 w 5884232"/>
                <a:gd name="connsiteY38" fmla="*/ 2111591 h 6198437"/>
                <a:gd name="connsiteX39" fmla="*/ 634507 w 5884232"/>
                <a:gd name="connsiteY39" fmla="*/ 3178546 h 6198437"/>
                <a:gd name="connsiteX40" fmla="*/ 571891 w 5884232"/>
                <a:gd name="connsiteY40" fmla="*/ 3464807 h 6198437"/>
                <a:gd name="connsiteX41" fmla="*/ 932548 w 5884232"/>
                <a:gd name="connsiteY41" fmla="*/ 4771487 h 6198437"/>
                <a:gd name="connsiteX42" fmla="*/ 523257 w 5884232"/>
                <a:gd name="connsiteY42" fmla="*/ 5189370 h 6198437"/>
                <a:gd name="connsiteX43" fmla="*/ 41560 w 5884232"/>
                <a:gd name="connsiteY43" fmla="*/ 3281515 h 6198437"/>
                <a:gd name="connsiteX0" fmla="*/ 41560 w 5884232"/>
                <a:gd name="connsiteY0" fmla="*/ 3281515 h 6198437"/>
                <a:gd name="connsiteX1" fmla="*/ 93455 w 5884232"/>
                <a:gd name="connsiteY1" fmla="*/ 3106020 h 6198437"/>
                <a:gd name="connsiteX2" fmla="*/ 250907 w 5884232"/>
                <a:gd name="connsiteY2" fmla="*/ 2374266 h 6198437"/>
                <a:gd name="connsiteX3" fmla="*/ 218176 w 5884232"/>
                <a:gd name="connsiteY3" fmla="*/ 2331944 h 6198437"/>
                <a:gd name="connsiteX4" fmla="*/ 290433 w 5884232"/>
                <a:gd name="connsiteY4" fmla="*/ 2067448 h 6198437"/>
                <a:gd name="connsiteX5" fmla="*/ 326149 w 5884232"/>
                <a:gd name="connsiteY5" fmla="*/ 2050403 h 6198437"/>
                <a:gd name="connsiteX6" fmla="*/ 1333506 w 5884232"/>
                <a:gd name="connsiteY6" fmla="*/ 647002 h 6198437"/>
                <a:gd name="connsiteX7" fmla="*/ 1546422 w 5884232"/>
                <a:gd name="connsiteY7" fmla="*/ 547251 h 6198437"/>
                <a:gd name="connsiteX8" fmla="*/ 1526361 w 5884232"/>
                <a:gd name="connsiteY8" fmla="*/ 432260 h 6198437"/>
                <a:gd name="connsiteX9" fmla="*/ 1722126 w 5884232"/>
                <a:gd name="connsiteY9" fmla="*/ 380302 h 6198437"/>
                <a:gd name="connsiteX10" fmla="*/ 1739499 w 5884232"/>
                <a:gd name="connsiteY10" fmla="*/ 481442 h 6198437"/>
                <a:gd name="connsiteX11" fmla="*/ 1866574 w 5884232"/>
                <a:gd name="connsiteY11" fmla="*/ 442651 h 6198437"/>
                <a:gd name="connsiteX12" fmla="*/ 1897053 w 5884232"/>
                <a:gd name="connsiteY12" fmla="*/ 393463 h 6198437"/>
                <a:gd name="connsiteX13" fmla="*/ 2132940 w 5884232"/>
                <a:gd name="connsiteY13" fmla="*/ 319342 h 6198437"/>
                <a:gd name="connsiteX14" fmla="*/ 2173395 w 5884232"/>
                <a:gd name="connsiteY14" fmla="*/ 352592 h 6198437"/>
                <a:gd name="connsiteX15" fmla="*/ 2369937 w 5884232"/>
                <a:gd name="connsiteY15" fmla="*/ 288171 h 6198437"/>
                <a:gd name="connsiteX16" fmla="*/ 2329149 w 5884232"/>
                <a:gd name="connsiteY16" fmla="*/ 119840 h 6198437"/>
                <a:gd name="connsiteX17" fmla="*/ 2712392 w 5884232"/>
                <a:gd name="connsiteY17" fmla="*/ 0 h 6198437"/>
                <a:gd name="connsiteX18" fmla="*/ 2760690 w 5884232"/>
                <a:gd name="connsiteY18" fmla="*/ 165560 h 6198437"/>
                <a:gd name="connsiteX19" fmla="*/ 4524241 w 5884232"/>
                <a:gd name="connsiteY19" fmla="*/ 680900 h 6198437"/>
                <a:gd name="connsiteX20" fmla="*/ 5074371 w 5884232"/>
                <a:gd name="connsiteY20" fmla="*/ 1291242 h 6198437"/>
                <a:gd name="connsiteX21" fmla="*/ 5135775 w 5884232"/>
                <a:gd name="connsiteY21" fmla="*/ 1298860 h 6198437"/>
                <a:gd name="connsiteX22" fmla="*/ 5300616 w 5884232"/>
                <a:gd name="connsiteY22" fmla="*/ 1479661 h 6198437"/>
                <a:gd name="connsiteX23" fmla="*/ 5300839 w 5884232"/>
                <a:gd name="connsiteY23" fmla="*/ 1535080 h 6198437"/>
                <a:gd name="connsiteX24" fmla="*/ 5462103 w 5884232"/>
                <a:gd name="connsiteY24" fmla="*/ 1726990 h 6198437"/>
                <a:gd name="connsiteX25" fmla="*/ 5842091 w 5884232"/>
                <a:gd name="connsiteY25" fmla="*/ 3519512 h 6198437"/>
                <a:gd name="connsiteX26" fmla="*/ 5650012 w 5884232"/>
                <a:gd name="connsiteY26" fmla="*/ 4385669 h 6198437"/>
                <a:gd name="connsiteX27" fmla="*/ 5797462 w 5884232"/>
                <a:gd name="connsiteY27" fmla="*/ 4428964 h 6198437"/>
                <a:gd name="connsiteX28" fmla="*/ 5693545 w 5884232"/>
                <a:gd name="connsiteY28" fmla="*/ 4865439 h 6198437"/>
                <a:gd name="connsiteX29" fmla="*/ 5548942 w 5884232"/>
                <a:gd name="connsiteY29" fmla="*/ 4824545 h 6198437"/>
                <a:gd name="connsiteX30" fmla="*/ 4435515 w 5884232"/>
                <a:gd name="connsiteY30" fmla="*/ 6198437 h 6198437"/>
                <a:gd name="connsiteX31" fmla="*/ 4244517 w 5884232"/>
                <a:gd name="connsiteY31" fmla="*/ 5626725 h 6198437"/>
                <a:gd name="connsiteX32" fmla="*/ 5030652 w 5884232"/>
                <a:gd name="connsiteY32" fmla="*/ 4596953 h 6198437"/>
                <a:gd name="connsiteX33" fmla="*/ 5310701 w 5884232"/>
                <a:gd name="connsiteY33" fmla="*/ 3352779 h 6198437"/>
                <a:gd name="connsiteX34" fmla="*/ 4991885 w 5884232"/>
                <a:gd name="connsiteY34" fmla="*/ 2049487 h 6198437"/>
                <a:gd name="connsiteX35" fmla="*/ 4174632 w 5884232"/>
                <a:gd name="connsiteY35" fmla="*/ 1163055 h 6198437"/>
                <a:gd name="connsiteX36" fmla="*/ 2880366 w 5884232"/>
                <a:gd name="connsiteY36" fmla="*/ 761302 h 6198437"/>
                <a:gd name="connsiteX37" fmla="*/ 1882146 w 5884232"/>
                <a:gd name="connsiteY37" fmla="*/ 1081342 h 6198437"/>
                <a:gd name="connsiteX38" fmla="*/ 873226 w 5884232"/>
                <a:gd name="connsiteY38" fmla="*/ 2111591 h 6198437"/>
                <a:gd name="connsiteX39" fmla="*/ 634507 w 5884232"/>
                <a:gd name="connsiteY39" fmla="*/ 3178546 h 6198437"/>
                <a:gd name="connsiteX40" fmla="*/ 932548 w 5884232"/>
                <a:gd name="connsiteY40" fmla="*/ 4771487 h 6198437"/>
                <a:gd name="connsiteX41" fmla="*/ 523257 w 5884232"/>
                <a:gd name="connsiteY41" fmla="*/ 5189370 h 6198437"/>
                <a:gd name="connsiteX42" fmla="*/ 41560 w 5884232"/>
                <a:gd name="connsiteY42" fmla="*/ 3281515 h 6198437"/>
                <a:gd name="connsiteX0" fmla="*/ 429802 w 5790777"/>
                <a:gd name="connsiteY0" fmla="*/ 5189370 h 6198437"/>
                <a:gd name="connsiteX1" fmla="*/ 0 w 5790777"/>
                <a:gd name="connsiteY1" fmla="*/ 3106020 h 6198437"/>
                <a:gd name="connsiteX2" fmla="*/ 157452 w 5790777"/>
                <a:gd name="connsiteY2" fmla="*/ 2374266 h 6198437"/>
                <a:gd name="connsiteX3" fmla="*/ 124721 w 5790777"/>
                <a:gd name="connsiteY3" fmla="*/ 2331944 h 6198437"/>
                <a:gd name="connsiteX4" fmla="*/ 196978 w 5790777"/>
                <a:gd name="connsiteY4" fmla="*/ 2067448 h 6198437"/>
                <a:gd name="connsiteX5" fmla="*/ 232694 w 5790777"/>
                <a:gd name="connsiteY5" fmla="*/ 2050403 h 6198437"/>
                <a:gd name="connsiteX6" fmla="*/ 1240051 w 5790777"/>
                <a:gd name="connsiteY6" fmla="*/ 647002 h 6198437"/>
                <a:gd name="connsiteX7" fmla="*/ 1452967 w 5790777"/>
                <a:gd name="connsiteY7" fmla="*/ 547251 h 6198437"/>
                <a:gd name="connsiteX8" fmla="*/ 1432906 w 5790777"/>
                <a:gd name="connsiteY8" fmla="*/ 432260 h 6198437"/>
                <a:gd name="connsiteX9" fmla="*/ 1628671 w 5790777"/>
                <a:gd name="connsiteY9" fmla="*/ 380302 h 6198437"/>
                <a:gd name="connsiteX10" fmla="*/ 1646044 w 5790777"/>
                <a:gd name="connsiteY10" fmla="*/ 481442 h 6198437"/>
                <a:gd name="connsiteX11" fmla="*/ 1773119 w 5790777"/>
                <a:gd name="connsiteY11" fmla="*/ 442651 h 6198437"/>
                <a:gd name="connsiteX12" fmla="*/ 1803598 w 5790777"/>
                <a:gd name="connsiteY12" fmla="*/ 393463 h 6198437"/>
                <a:gd name="connsiteX13" fmla="*/ 2039485 w 5790777"/>
                <a:gd name="connsiteY13" fmla="*/ 319342 h 6198437"/>
                <a:gd name="connsiteX14" fmla="*/ 2079940 w 5790777"/>
                <a:gd name="connsiteY14" fmla="*/ 352592 h 6198437"/>
                <a:gd name="connsiteX15" fmla="*/ 2276482 w 5790777"/>
                <a:gd name="connsiteY15" fmla="*/ 288171 h 6198437"/>
                <a:gd name="connsiteX16" fmla="*/ 2235694 w 5790777"/>
                <a:gd name="connsiteY16" fmla="*/ 119840 h 6198437"/>
                <a:gd name="connsiteX17" fmla="*/ 2618937 w 5790777"/>
                <a:gd name="connsiteY17" fmla="*/ 0 h 6198437"/>
                <a:gd name="connsiteX18" fmla="*/ 2667235 w 5790777"/>
                <a:gd name="connsiteY18" fmla="*/ 165560 h 6198437"/>
                <a:gd name="connsiteX19" fmla="*/ 4430786 w 5790777"/>
                <a:gd name="connsiteY19" fmla="*/ 680900 h 6198437"/>
                <a:gd name="connsiteX20" fmla="*/ 4980916 w 5790777"/>
                <a:gd name="connsiteY20" fmla="*/ 1291242 h 6198437"/>
                <a:gd name="connsiteX21" fmla="*/ 5042320 w 5790777"/>
                <a:gd name="connsiteY21" fmla="*/ 1298860 h 6198437"/>
                <a:gd name="connsiteX22" fmla="*/ 5207161 w 5790777"/>
                <a:gd name="connsiteY22" fmla="*/ 1479661 h 6198437"/>
                <a:gd name="connsiteX23" fmla="*/ 5207384 w 5790777"/>
                <a:gd name="connsiteY23" fmla="*/ 1535080 h 6198437"/>
                <a:gd name="connsiteX24" fmla="*/ 5368648 w 5790777"/>
                <a:gd name="connsiteY24" fmla="*/ 1726990 h 6198437"/>
                <a:gd name="connsiteX25" fmla="*/ 5748636 w 5790777"/>
                <a:gd name="connsiteY25" fmla="*/ 3519512 h 6198437"/>
                <a:gd name="connsiteX26" fmla="*/ 5556557 w 5790777"/>
                <a:gd name="connsiteY26" fmla="*/ 4385669 h 6198437"/>
                <a:gd name="connsiteX27" fmla="*/ 5704007 w 5790777"/>
                <a:gd name="connsiteY27" fmla="*/ 4428964 h 6198437"/>
                <a:gd name="connsiteX28" fmla="*/ 5600090 w 5790777"/>
                <a:gd name="connsiteY28" fmla="*/ 4865439 h 6198437"/>
                <a:gd name="connsiteX29" fmla="*/ 5455487 w 5790777"/>
                <a:gd name="connsiteY29" fmla="*/ 4824545 h 6198437"/>
                <a:gd name="connsiteX30" fmla="*/ 4342060 w 5790777"/>
                <a:gd name="connsiteY30" fmla="*/ 6198437 h 6198437"/>
                <a:gd name="connsiteX31" fmla="*/ 4151062 w 5790777"/>
                <a:gd name="connsiteY31" fmla="*/ 5626725 h 6198437"/>
                <a:gd name="connsiteX32" fmla="*/ 4937197 w 5790777"/>
                <a:gd name="connsiteY32" fmla="*/ 4596953 h 6198437"/>
                <a:gd name="connsiteX33" fmla="*/ 5217246 w 5790777"/>
                <a:gd name="connsiteY33" fmla="*/ 3352779 h 6198437"/>
                <a:gd name="connsiteX34" fmla="*/ 4898430 w 5790777"/>
                <a:gd name="connsiteY34" fmla="*/ 2049487 h 6198437"/>
                <a:gd name="connsiteX35" fmla="*/ 4081177 w 5790777"/>
                <a:gd name="connsiteY35" fmla="*/ 1163055 h 6198437"/>
                <a:gd name="connsiteX36" fmla="*/ 2786911 w 5790777"/>
                <a:gd name="connsiteY36" fmla="*/ 761302 h 6198437"/>
                <a:gd name="connsiteX37" fmla="*/ 1788691 w 5790777"/>
                <a:gd name="connsiteY37" fmla="*/ 1081342 h 6198437"/>
                <a:gd name="connsiteX38" fmla="*/ 779771 w 5790777"/>
                <a:gd name="connsiteY38" fmla="*/ 2111591 h 6198437"/>
                <a:gd name="connsiteX39" fmla="*/ 541052 w 5790777"/>
                <a:gd name="connsiteY39" fmla="*/ 3178546 h 6198437"/>
                <a:gd name="connsiteX40" fmla="*/ 839093 w 5790777"/>
                <a:gd name="connsiteY40" fmla="*/ 4771487 h 6198437"/>
                <a:gd name="connsiteX41" fmla="*/ 429802 w 5790777"/>
                <a:gd name="connsiteY41" fmla="*/ 5189370 h 6198437"/>
                <a:gd name="connsiteX0" fmla="*/ 429802 w 5790777"/>
                <a:gd name="connsiteY0" fmla="*/ 5189370 h 6198437"/>
                <a:gd name="connsiteX1" fmla="*/ 0 w 5790777"/>
                <a:gd name="connsiteY1" fmla="*/ 3106020 h 6198437"/>
                <a:gd name="connsiteX2" fmla="*/ 157452 w 5790777"/>
                <a:gd name="connsiteY2" fmla="*/ 2374266 h 6198437"/>
                <a:gd name="connsiteX3" fmla="*/ 124721 w 5790777"/>
                <a:gd name="connsiteY3" fmla="*/ 2331944 h 6198437"/>
                <a:gd name="connsiteX4" fmla="*/ 196978 w 5790777"/>
                <a:gd name="connsiteY4" fmla="*/ 2067448 h 6198437"/>
                <a:gd name="connsiteX5" fmla="*/ 232694 w 5790777"/>
                <a:gd name="connsiteY5" fmla="*/ 2050403 h 6198437"/>
                <a:gd name="connsiteX6" fmla="*/ 1240051 w 5790777"/>
                <a:gd name="connsiteY6" fmla="*/ 647002 h 6198437"/>
                <a:gd name="connsiteX7" fmla="*/ 1452967 w 5790777"/>
                <a:gd name="connsiteY7" fmla="*/ 547251 h 6198437"/>
                <a:gd name="connsiteX8" fmla="*/ 1432906 w 5790777"/>
                <a:gd name="connsiteY8" fmla="*/ 432260 h 6198437"/>
                <a:gd name="connsiteX9" fmla="*/ 1628671 w 5790777"/>
                <a:gd name="connsiteY9" fmla="*/ 380302 h 6198437"/>
                <a:gd name="connsiteX10" fmla="*/ 1646044 w 5790777"/>
                <a:gd name="connsiteY10" fmla="*/ 481442 h 6198437"/>
                <a:gd name="connsiteX11" fmla="*/ 1773119 w 5790777"/>
                <a:gd name="connsiteY11" fmla="*/ 442651 h 6198437"/>
                <a:gd name="connsiteX12" fmla="*/ 1803598 w 5790777"/>
                <a:gd name="connsiteY12" fmla="*/ 393463 h 6198437"/>
                <a:gd name="connsiteX13" fmla="*/ 2039485 w 5790777"/>
                <a:gd name="connsiteY13" fmla="*/ 319342 h 6198437"/>
                <a:gd name="connsiteX14" fmla="*/ 2079940 w 5790777"/>
                <a:gd name="connsiteY14" fmla="*/ 352592 h 6198437"/>
                <a:gd name="connsiteX15" fmla="*/ 2276482 w 5790777"/>
                <a:gd name="connsiteY15" fmla="*/ 288171 h 6198437"/>
                <a:gd name="connsiteX16" fmla="*/ 2235694 w 5790777"/>
                <a:gd name="connsiteY16" fmla="*/ 119840 h 6198437"/>
                <a:gd name="connsiteX17" fmla="*/ 2618937 w 5790777"/>
                <a:gd name="connsiteY17" fmla="*/ 0 h 6198437"/>
                <a:gd name="connsiteX18" fmla="*/ 2667235 w 5790777"/>
                <a:gd name="connsiteY18" fmla="*/ 165560 h 6198437"/>
                <a:gd name="connsiteX19" fmla="*/ 4430786 w 5790777"/>
                <a:gd name="connsiteY19" fmla="*/ 680900 h 6198437"/>
                <a:gd name="connsiteX20" fmla="*/ 4980916 w 5790777"/>
                <a:gd name="connsiteY20" fmla="*/ 1291242 h 6198437"/>
                <a:gd name="connsiteX21" fmla="*/ 5042320 w 5790777"/>
                <a:gd name="connsiteY21" fmla="*/ 1298860 h 6198437"/>
                <a:gd name="connsiteX22" fmla="*/ 5207161 w 5790777"/>
                <a:gd name="connsiteY22" fmla="*/ 1479661 h 6198437"/>
                <a:gd name="connsiteX23" fmla="*/ 5207384 w 5790777"/>
                <a:gd name="connsiteY23" fmla="*/ 1535080 h 6198437"/>
                <a:gd name="connsiteX24" fmla="*/ 5368648 w 5790777"/>
                <a:gd name="connsiteY24" fmla="*/ 1726990 h 6198437"/>
                <a:gd name="connsiteX25" fmla="*/ 5748636 w 5790777"/>
                <a:gd name="connsiteY25" fmla="*/ 3519512 h 6198437"/>
                <a:gd name="connsiteX26" fmla="*/ 5556557 w 5790777"/>
                <a:gd name="connsiteY26" fmla="*/ 4385669 h 6198437"/>
                <a:gd name="connsiteX27" fmla="*/ 5704007 w 5790777"/>
                <a:gd name="connsiteY27" fmla="*/ 4428964 h 6198437"/>
                <a:gd name="connsiteX28" fmla="*/ 5600090 w 5790777"/>
                <a:gd name="connsiteY28" fmla="*/ 4865439 h 6198437"/>
                <a:gd name="connsiteX29" fmla="*/ 5455487 w 5790777"/>
                <a:gd name="connsiteY29" fmla="*/ 4824545 h 6198437"/>
                <a:gd name="connsiteX30" fmla="*/ 4342060 w 5790777"/>
                <a:gd name="connsiteY30" fmla="*/ 6198437 h 6198437"/>
                <a:gd name="connsiteX31" fmla="*/ 4151062 w 5790777"/>
                <a:gd name="connsiteY31" fmla="*/ 5626725 h 6198437"/>
                <a:gd name="connsiteX32" fmla="*/ 4937197 w 5790777"/>
                <a:gd name="connsiteY32" fmla="*/ 4596953 h 6198437"/>
                <a:gd name="connsiteX33" fmla="*/ 5217246 w 5790777"/>
                <a:gd name="connsiteY33" fmla="*/ 3352779 h 6198437"/>
                <a:gd name="connsiteX34" fmla="*/ 4898430 w 5790777"/>
                <a:gd name="connsiteY34" fmla="*/ 2049487 h 6198437"/>
                <a:gd name="connsiteX35" fmla="*/ 4081177 w 5790777"/>
                <a:gd name="connsiteY35" fmla="*/ 1163055 h 6198437"/>
                <a:gd name="connsiteX36" fmla="*/ 2786911 w 5790777"/>
                <a:gd name="connsiteY36" fmla="*/ 761302 h 6198437"/>
                <a:gd name="connsiteX37" fmla="*/ 1788691 w 5790777"/>
                <a:gd name="connsiteY37" fmla="*/ 1081342 h 6198437"/>
                <a:gd name="connsiteX38" fmla="*/ 779771 w 5790777"/>
                <a:gd name="connsiteY38" fmla="*/ 2111591 h 6198437"/>
                <a:gd name="connsiteX39" fmla="*/ 541052 w 5790777"/>
                <a:gd name="connsiteY39" fmla="*/ 3178546 h 6198437"/>
                <a:gd name="connsiteX40" fmla="*/ 429802 w 5790777"/>
                <a:gd name="connsiteY40" fmla="*/ 5189370 h 6198437"/>
                <a:gd name="connsiteX0" fmla="*/ 541052 w 5790777"/>
                <a:gd name="connsiteY0" fmla="*/ 3178546 h 6198437"/>
                <a:gd name="connsiteX1" fmla="*/ 0 w 5790777"/>
                <a:gd name="connsiteY1" fmla="*/ 3106020 h 6198437"/>
                <a:gd name="connsiteX2" fmla="*/ 157452 w 5790777"/>
                <a:gd name="connsiteY2" fmla="*/ 2374266 h 6198437"/>
                <a:gd name="connsiteX3" fmla="*/ 124721 w 5790777"/>
                <a:gd name="connsiteY3" fmla="*/ 2331944 h 6198437"/>
                <a:gd name="connsiteX4" fmla="*/ 196978 w 5790777"/>
                <a:gd name="connsiteY4" fmla="*/ 2067448 h 6198437"/>
                <a:gd name="connsiteX5" fmla="*/ 232694 w 5790777"/>
                <a:gd name="connsiteY5" fmla="*/ 2050403 h 6198437"/>
                <a:gd name="connsiteX6" fmla="*/ 1240051 w 5790777"/>
                <a:gd name="connsiteY6" fmla="*/ 647002 h 6198437"/>
                <a:gd name="connsiteX7" fmla="*/ 1452967 w 5790777"/>
                <a:gd name="connsiteY7" fmla="*/ 547251 h 6198437"/>
                <a:gd name="connsiteX8" fmla="*/ 1432906 w 5790777"/>
                <a:gd name="connsiteY8" fmla="*/ 432260 h 6198437"/>
                <a:gd name="connsiteX9" fmla="*/ 1628671 w 5790777"/>
                <a:gd name="connsiteY9" fmla="*/ 380302 h 6198437"/>
                <a:gd name="connsiteX10" fmla="*/ 1646044 w 5790777"/>
                <a:gd name="connsiteY10" fmla="*/ 481442 h 6198437"/>
                <a:gd name="connsiteX11" fmla="*/ 1773119 w 5790777"/>
                <a:gd name="connsiteY11" fmla="*/ 442651 h 6198437"/>
                <a:gd name="connsiteX12" fmla="*/ 1803598 w 5790777"/>
                <a:gd name="connsiteY12" fmla="*/ 393463 h 6198437"/>
                <a:gd name="connsiteX13" fmla="*/ 2039485 w 5790777"/>
                <a:gd name="connsiteY13" fmla="*/ 319342 h 6198437"/>
                <a:gd name="connsiteX14" fmla="*/ 2079940 w 5790777"/>
                <a:gd name="connsiteY14" fmla="*/ 352592 h 6198437"/>
                <a:gd name="connsiteX15" fmla="*/ 2276482 w 5790777"/>
                <a:gd name="connsiteY15" fmla="*/ 288171 h 6198437"/>
                <a:gd name="connsiteX16" fmla="*/ 2235694 w 5790777"/>
                <a:gd name="connsiteY16" fmla="*/ 119840 h 6198437"/>
                <a:gd name="connsiteX17" fmla="*/ 2618937 w 5790777"/>
                <a:gd name="connsiteY17" fmla="*/ 0 h 6198437"/>
                <a:gd name="connsiteX18" fmla="*/ 2667235 w 5790777"/>
                <a:gd name="connsiteY18" fmla="*/ 165560 h 6198437"/>
                <a:gd name="connsiteX19" fmla="*/ 4430786 w 5790777"/>
                <a:gd name="connsiteY19" fmla="*/ 680900 h 6198437"/>
                <a:gd name="connsiteX20" fmla="*/ 4980916 w 5790777"/>
                <a:gd name="connsiteY20" fmla="*/ 1291242 h 6198437"/>
                <a:gd name="connsiteX21" fmla="*/ 5042320 w 5790777"/>
                <a:gd name="connsiteY21" fmla="*/ 1298860 h 6198437"/>
                <a:gd name="connsiteX22" fmla="*/ 5207161 w 5790777"/>
                <a:gd name="connsiteY22" fmla="*/ 1479661 h 6198437"/>
                <a:gd name="connsiteX23" fmla="*/ 5207384 w 5790777"/>
                <a:gd name="connsiteY23" fmla="*/ 1535080 h 6198437"/>
                <a:gd name="connsiteX24" fmla="*/ 5368648 w 5790777"/>
                <a:gd name="connsiteY24" fmla="*/ 1726990 h 6198437"/>
                <a:gd name="connsiteX25" fmla="*/ 5748636 w 5790777"/>
                <a:gd name="connsiteY25" fmla="*/ 3519512 h 6198437"/>
                <a:gd name="connsiteX26" fmla="*/ 5556557 w 5790777"/>
                <a:gd name="connsiteY26" fmla="*/ 4385669 h 6198437"/>
                <a:gd name="connsiteX27" fmla="*/ 5704007 w 5790777"/>
                <a:gd name="connsiteY27" fmla="*/ 4428964 h 6198437"/>
                <a:gd name="connsiteX28" fmla="*/ 5600090 w 5790777"/>
                <a:gd name="connsiteY28" fmla="*/ 4865439 h 6198437"/>
                <a:gd name="connsiteX29" fmla="*/ 5455487 w 5790777"/>
                <a:gd name="connsiteY29" fmla="*/ 4824545 h 6198437"/>
                <a:gd name="connsiteX30" fmla="*/ 4342060 w 5790777"/>
                <a:gd name="connsiteY30" fmla="*/ 6198437 h 6198437"/>
                <a:gd name="connsiteX31" fmla="*/ 4151062 w 5790777"/>
                <a:gd name="connsiteY31" fmla="*/ 5626725 h 6198437"/>
                <a:gd name="connsiteX32" fmla="*/ 4937197 w 5790777"/>
                <a:gd name="connsiteY32" fmla="*/ 4596953 h 6198437"/>
                <a:gd name="connsiteX33" fmla="*/ 5217246 w 5790777"/>
                <a:gd name="connsiteY33" fmla="*/ 3352779 h 6198437"/>
                <a:gd name="connsiteX34" fmla="*/ 4898430 w 5790777"/>
                <a:gd name="connsiteY34" fmla="*/ 2049487 h 6198437"/>
                <a:gd name="connsiteX35" fmla="*/ 4081177 w 5790777"/>
                <a:gd name="connsiteY35" fmla="*/ 1163055 h 6198437"/>
                <a:gd name="connsiteX36" fmla="*/ 2786911 w 5790777"/>
                <a:gd name="connsiteY36" fmla="*/ 761302 h 6198437"/>
                <a:gd name="connsiteX37" fmla="*/ 1788691 w 5790777"/>
                <a:gd name="connsiteY37" fmla="*/ 1081342 h 6198437"/>
                <a:gd name="connsiteX38" fmla="*/ 779771 w 5790777"/>
                <a:gd name="connsiteY38" fmla="*/ 2111591 h 6198437"/>
                <a:gd name="connsiteX39" fmla="*/ 541052 w 5790777"/>
                <a:gd name="connsiteY39" fmla="*/ 3178546 h 6198437"/>
                <a:gd name="connsiteX0" fmla="*/ 573843 w 5823568"/>
                <a:gd name="connsiteY0" fmla="*/ 3178546 h 6198437"/>
                <a:gd name="connsiteX1" fmla="*/ 0 w 5823568"/>
                <a:gd name="connsiteY1" fmla="*/ 3178546 h 6198437"/>
                <a:gd name="connsiteX2" fmla="*/ 190243 w 5823568"/>
                <a:gd name="connsiteY2" fmla="*/ 2374266 h 6198437"/>
                <a:gd name="connsiteX3" fmla="*/ 157512 w 5823568"/>
                <a:gd name="connsiteY3" fmla="*/ 2331944 h 6198437"/>
                <a:gd name="connsiteX4" fmla="*/ 229769 w 5823568"/>
                <a:gd name="connsiteY4" fmla="*/ 2067448 h 6198437"/>
                <a:gd name="connsiteX5" fmla="*/ 265485 w 5823568"/>
                <a:gd name="connsiteY5" fmla="*/ 2050403 h 6198437"/>
                <a:gd name="connsiteX6" fmla="*/ 1272842 w 5823568"/>
                <a:gd name="connsiteY6" fmla="*/ 647002 h 6198437"/>
                <a:gd name="connsiteX7" fmla="*/ 1485758 w 5823568"/>
                <a:gd name="connsiteY7" fmla="*/ 547251 h 6198437"/>
                <a:gd name="connsiteX8" fmla="*/ 1465697 w 5823568"/>
                <a:gd name="connsiteY8" fmla="*/ 432260 h 6198437"/>
                <a:gd name="connsiteX9" fmla="*/ 1661462 w 5823568"/>
                <a:gd name="connsiteY9" fmla="*/ 380302 h 6198437"/>
                <a:gd name="connsiteX10" fmla="*/ 1678835 w 5823568"/>
                <a:gd name="connsiteY10" fmla="*/ 481442 h 6198437"/>
                <a:gd name="connsiteX11" fmla="*/ 1805910 w 5823568"/>
                <a:gd name="connsiteY11" fmla="*/ 442651 h 6198437"/>
                <a:gd name="connsiteX12" fmla="*/ 1836389 w 5823568"/>
                <a:gd name="connsiteY12" fmla="*/ 393463 h 6198437"/>
                <a:gd name="connsiteX13" fmla="*/ 2072276 w 5823568"/>
                <a:gd name="connsiteY13" fmla="*/ 319342 h 6198437"/>
                <a:gd name="connsiteX14" fmla="*/ 2112731 w 5823568"/>
                <a:gd name="connsiteY14" fmla="*/ 352592 h 6198437"/>
                <a:gd name="connsiteX15" fmla="*/ 2309273 w 5823568"/>
                <a:gd name="connsiteY15" fmla="*/ 288171 h 6198437"/>
                <a:gd name="connsiteX16" fmla="*/ 2268485 w 5823568"/>
                <a:gd name="connsiteY16" fmla="*/ 119840 h 6198437"/>
                <a:gd name="connsiteX17" fmla="*/ 2651728 w 5823568"/>
                <a:gd name="connsiteY17" fmla="*/ 0 h 6198437"/>
                <a:gd name="connsiteX18" fmla="*/ 2700026 w 5823568"/>
                <a:gd name="connsiteY18" fmla="*/ 165560 h 6198437"/>
                <a:gd name="connsiteX19" fmla="*/ 4463577 w 5823568"/>
                <a:gd name="connsiteY19" fmla="*/ 680900 h 6198437"/>
                <a:gd name="connsiteX20" fmla="*/ 5013707 w 5823568"/>
                <a:gd name="connsiteY20" fmla="*/ 1291242 h 6198437"/>
                <a:gd name="connsiteX21" fmla="*/ 5075111 w 5823568"/>
                <a:gd name="connsiteY21" fmla="*/ 1298860 h 6198437"/>
                <a:gd name="connsiteX22" fmla="*/ 5239952 w 5823568"/>
                <a:gd name="connsiteY22" fmla="*/ 1479661 h 6198437"/>
                <a:gd name="connsiteX23" fmla="*/ 5240175 w 5823568"/>
                <a:gd name="connsiteY23" fmla="*/ 1535080 h 6198437"/>
                <a:gd name="connsiteX24" fmla="*/ 5401439 w 5823568"/>
                <a:gd name="connsiteY24" fmla="*/ 1726990 h 6198437"/>
                <a:gd name="connsiteX25" fmla="*/ 5781427 w 5823568"/>
                <a:gd name="connsiteY25" fmla="*/ 3519512 h 6198437"/>
                <a:gd name="connsiteX26" fmla="*/ 5589348 w 5823568"/>
                <a:gd name="connsiteY26" fmla="*/ 4385669 h 6198437"/>
                <a:gd name="connsiteX27" fmla="*/ 5736798 w 5823568"/>
                <a:gd name="connsiteY27" fmla="*/ 4428964 h 6198437"/>
                <a:gd name="connsiteX28" fmla="*/ 5632881 w 5823568"/>
                <a:gd name="connsiteY28" fmla="*/ 4865439 h 6198437"/>
                <a:gd name="connsiteX29" fmla="*/ 5488278 w 5823568"/>
                <a:gd name="connsiteY29" fmla="*/ 4824545 h 6198437"/>
                <a:gd name="connsiteX30" fmla="*/ 4374851 w 5823568"/>
                <a:gd name="connsiteY30" fmla="*/ 6198437 h 6198437"/>
                <a:gd name="connsiteX31" fmla="*/ 4183853 w 5823568"/>
                <a:gd name="connsiteY31" fmla="*/ 5626725 h 6198437"/>
                <a:gd name="connsiteX32" fmla="*/ 4969988 w 5823568"/>
                <a:gd name="connsiteY32" fmla="*/ 4596953 h 6198437"/>
                <a:gd name="connsiteX33" fmla="*/ 5250037 w 5823568"/>
                <a:gd name="connsiteY33" fmla="*/ 3352779 h 6198437"/>
                <a:gd name="connsiteX34" fmla="*/ 4931221 w 5823568"/>
                <a:gd name="connsiteY34" fmla="*/ 2049487 h 6198437"/>
                <a:gd name="connsiteX35" fmla="*/ 4113968 w 5823568"/>
                <a:gd name="connsiteY35" fmla="*/ 1163055 h 6198437"/>
                <a:gd name="connsiteX36" fmla="*/ 2819702 w 5823568"/>
                <a:gd name="connsiteY36" fmla="*/ 761302 h 6198437"/>
                <a:gd name="connsiteX37" fmla="*/ 1821482 w 5823568"/>
                <a:gd name="connsiteY37" fmla="*/ 1081342 h 6198437"/>
                <a:gd name="connsiteX38" fmla="*/ 812562 w 5823568"/>
                <a:gd name="connsiteY38" fmla="*/ 2111591 h 6198437"/>
                <a:gd name="connsiteX39" fmla="*/ 573843 w 5823568"/>
                <a:gd name="connsiteY39" fmla="*/ 3178546 h 6198437"/>
                <a:gd name="connsiteX0" fmla="*/ 518530 w 5768255"/>
                <a:gd name="connsiteY0" fmla="*/ 3178546 h 6198437"/>
                <a:gd name="connsiteX1" fmla="*/ 0 w 5768255"/>
                <a:gd name="connsiteY1" fmla="*/ 3111230 h 6198437"/>
                <a:gd name="connsiteX2" fmla="*/ 134930 w 5768255"/>
                <a:gd name="connsiteY2" fmla="*/ 2374266 h 6198437"/>
                <a:gd name="connsiteX3" fmla="*/ 102199 w 5768255"/>
                <a:gd name="connsiteY3" fmla="*/ 2331944 h 6198437"/>
                <a:gd name="connsiteX4" fmla="*/ 174456 w 5768255"/>
                <a:gd name="connsiteY4" fmla="*/ 2067448 h 6198437"/>
                <a:gd name="connsiteX5" fmla="*/ 210172 w 5768255"/>
                <a:gd name="connsiteY5" fmla="*/ 2050403 h 6198437"/>
                <a:gd name="connsiteX6" fmla="*/ 1217529 w 5768255"/>
                <a:gd name="connsiteY6" fmla="*/ 647002 h 6198437"/>
                <a:gd name="connsiteX7" fmla="*/ 1430445 w 5768255"/>
                <a:gd name="connsiteY7" fmla="*/ 547251 h 6198437"/>
                <a:gd name="connsiteX8" fmla="*/ 1410384 w 5768255"/>
                <a:gd name="connsiteY8" fmla="*/ 432260 h 6198437"/>
                <a:gd name="connsiteX9" fmla="*/ 1606149 w 5768255"/>
                <a:gd name="connsiteY9" fmla="*/ 380302 h 6198437"/>
                <a:gd name="connsiteX10" fmla="*/ 1623522 w 5768255"/>
                <a:gd name="connsiteY10" fmla="*/ 481442 h 6198437"/>
                <a:gd name="connsiteX11" fmla="*/ 1750597 w 5768255"/>
                <a:gd name="connsiteY11" fmla="*/ 442651 h 6198437"/>
                <a:gd name="connsiteX12" fmla="*/ 1781076 w 5768255"/>
                <a:gd name="connsiteY12" fmla="*/ 393463 h 6198437"/>
                <a:gd name="connsiteX13" fmla="*/ 2016963 w 5768255"/>
                <a:gd name="connsiteY13" fmla="*/ 319342 h 6198437"/>
                <a:gd name="connsiteX14" fmla="*/ 2057418 w 5768255"/>
                <a:gd name="connsiteY14" fmla="*/ 352592 h 6198437"/>
                <a:gd name="connsiteX15" fmla="*/ 2253960 w 5768255"/>
                <a:gd name="connsiteY15" fmla="*/ 288171 h 6198437"/>
                <a:gd name="connsiteX16" fmla="*/ 2213172 w 5768255"/>
                <a:gd name="connsiteY16" fmla="*/ 119840 h 6198437"/>
                <a:gd name="connsiteX17" fmla="*/ 2596415 w 5768255"/>
                <a:gd name="connsiteY17" fmla="*/ 0 h 6198437"/>
                <a:gd name="connsiteX18" fmla="*/ 2644713 w 5768255"/>
                <a:gd name="connsiteY18" fmla="*/ 165560 h 6198437"/>
                <a:gd name="connsiteX19" fmla="*/ 4408264 w 5768255"/>
                <a:gd name="connsiteY19" fmla="*/ 680900 h 6198437"/>
                <a:gd name="connsiteX20" fmla="*/ 4958394 w 5768255"/>
                <a:gd name="connsiteY20" fmla="*/ 1291242 h 6198437"/>
                <a:gd name="connsiteX21" fmla="*/ 5019798 w 5768255"/>
                <a:gd name="connsiteY21" fmla="*/ 1298860 h 6198437"/>
                <a:gd name="connsiteX22" fmla="*/ 5184639 w 5768255"/>
                <a:gd name="connsiteY22" fmla="*/ 1479661 h 6198437"/>
                <a:gd name="connsiteX23" fmla="*/ 5184862 w 5768255"/>
                <a:gd name="connsiteY23" fmla="*/ 1535080 h 6198437"/>
                <a:gd name="connsiteX24" fmla="*/ 5346126 w 5768255"/>
                <a:gd name="connsiteY24" fmla="*/ 1726990 h 6198437"/>
                <a:gd name="connsiteX25" fmla="*/ 5726114 w 5768255"/>
                <a:gd name="connsiteY25" fmla="*/ 3519512 h 6198437"/>
                <a:gd name="connsiteX26" fmla="*/ 5534035 w 5768255"/>
                <a:gd name="connsiteY26" fmla="*/ 4385669 h 6198437"/>
                <a:gd name="connsiteX27" fmla="*/ 5681485 w 5768255"/>
                <a:gd name="connsiteY27" fmla="*/ 4428964 h 6198437"/>
                <a:gd name="connsiteX28" fmla="*/ 5577568 w 5768255"/>
                <a:gd name="connsiteY28" fmla="*/ 4865439 h 6198437"/>
                <a:gd name="connsiteX29" fmla="*/ 5432965 w 5768255"/>
                <a:gd name="connsiteY29" fmla="*/ 4824545 h 6198437"/>
                <a:gd name="connsiteX30" fmla="*/ 4319538 w 5768255"/>
                <a:gd name="connsiteY30" fmla="*/ 6198437 h 6198437"/>
                <a:gd name="connsiteX31" fmla="*/ 4128540 w 5768255"/>
                <a:gd name="connsiteY31" fmla="*/ 5626725 h 6198437"/>
                <a:gd name="connsiteX32" fmla="*/ 4914675 w 5768255"/>
                <a:gd name="connsiteY32" fmla="*/ 4596953 h 6198437"/>
                <a:gd name="connsiteX33" fmla="*/ 5194724 w 5768255"/>
                <a:gd name="connsiteY33" fmla="*/ 3352779 h 6198437"/>
                <a:gd name="connsiteX34" fmla="*/ 4875908 w 5768255"/>
                <a:gd name="connsiteY34" fmla="*/ 2049487 h 6198437"/>
                <a:gd name="connsiteX35" fmla="*/ 4058655 w 5768255"/>
                <a:gd name="connsiteY35" fmla="*/ 1163055 h 6198437"/>
                <a:gd name="connsiteX36" fmla="*/ 2764389 w 5768255"/>
                <a:gd name="connsiteY36" fmla="*/ 761302 h 6198437"/>
                <a:gd name="connsiteX37" fmla="*/ 1766169 w 5768255"/>
                <a:gd name="connsiteY37" fmla="*/ 1081342 h 6198437"/>
                <a:gd name="connsiteX38" fmla="*/ 757249 w 5768255"/>
                <a:gd name="connsiteY38" fmla="*/ 2111591 h 6198437"/>
                <a:gd name="connsiteX39" fmla="*/ 518530 w 5768255"/>
                <a:gd name="connsiteY39" fmla="*/ 3178546 h 6198437"/>
                <a:gd name="connsiteX0" fmla="*/ 566929 w 5816654"/>
                <a:gd name="connsiteY0" fmla="*/ 3178546 h 6198437"/>
                <a:gd name="connsiteX1" fmla="*/ 0 w 5816654"/>
                <a:gd name="connsiteY1" fmla="*/ 3186025 h 6198437"/>
                <a:gd name="connsiteX2" fmla="*/ 183329 w 5816654"/>
                <a:gd name="connsiteY2" fmla="*/ 2374266 h 6198437"/>
                <a:gd name="connsiteX3" fmla="*/ 150598 w 5816654"/>
                <a:gd name="connsiteY3" fmla="*/ 2331944 h 6198437"/>
                <a:gd name="connsiteX4" fmla="*/ 222855 w 5816654"/>
                <a:gd name="connsiteY4" fmla="*/ 2067448 h 6198437"/>
                <a:gd name="connsiteX5" fmla="*/ 258571 w 5816654"/>
                <a:gd name="connsiteY5" fmla="*/ 2050403 h 6198437"/>
                <a:gd name="connsiteX6" fmla="*/ 1265928 w 5816654"/>
                <a:gd name="connsiteY6" fmla="*/ 647002 h 6198437"/>
                <a:gd name="connsiteX7" fmla="*/ 1478844 w 5816654"/>
                <a:gd name="connsiteY7" fmla="*/ 547251 h 6198437"/>
                <a:gd name="connsiteX8" fmla="*/ 1458783 w 5816654"/>
                <a:gd name="connsiteY8" fmla="*/ 432260 h 6198437"/>
                <a:gd name="connsiteX9" fmla="*/ 1654548 w 5816654"/>
                <a:gd name="connsiteY9" fmla="*/ 380302 h 6198437"/>
                <a:gd name="connsiteX10" fmla="*/ 1671921 w 5816654"/>
                <a:gd name="connsiteY10" fmla="*/ 481442 h 6198437"/>
                <a:gd name="connsiteX11" fmla="*/ 1798996 w 5816654"/>
                <a:gd name="connsiteY11" fmla="*/ 442651 h 6198437"/>
                <a:gd name="connsiteX12" fmla="*/ 1829475 w 5816654"/>
                <a:gd name="connsiteY12" fmla="*/ 393463 h 6198437"/>
                <a:gd name="connsiteX13" fmla="*/ 2065362 w 5816654"/>
                <a:gd name="connsiteY13" fmla="*/ 319342 h 6198437"/>
                <a:gd name="connsiteX14" fmla="*/ 2105817 w 5816654"/>
                <a:gd name="connsiteY14" fmla="*/ 352592 h 6198437"/>
                <a:gd name="connsiteX15" fmla="*/ 2302359 w 5816654"/>
                <a:gd name="connsiteY15" fmla="*/ 288171 h 6198437"/>
                <a:gd name="connsiteX16" fmla="*/ 2261571 w 5816654"/>
                <a:gd name="connsiteY16" fmla="*/ 119840 h 6198437"/>
                <a:gd name="connsiteX17" fmla="*/ 2644814 w 5816654"/>
                <a:gd name="connsiteY17" fmla="*/ 0 h 6198437"/>
                <a:gd name="connsiteX18" fmla="*/ 2693112 w 5816654"/>
                <a:gd name="connsiteY18" fmla="*/ 165560 h 6198437"/>
                <a:gd name="connsiteX19" fmla="*/ 4456663 w 5816654"/>
                <a:gd name="connsiteY19" fmla="*/ 680900 h 6198437"/>
                <a:gd name="connsiteX20" fmla="*/ 5006793 w 5816654"/>
                <a:gd name="connsiteY20" fmla="*/ 1291242 h 6198437"/>
                <a:gd name="connsiteX21" fmla="*/ 5068197 w 5816654"/>
                <a:gd name="connsiteY21" fmla="*/ 1298860 h 6198437"/>
                <a:gd name="connsiteX22" fmla="*/ 5233038 w 5816654"/>
                <a:gd name="connsiteY22" fmla="*/ 1479661 h 6198437"/>
                <a:gd name="connsiteX23" fmla="*/ 5233261 w 5816654"/>
                <a:gd name="connsiteY23" fmla="*/ 1535080 h 6198437"/>
                <a:gd name="connsiteX24" fmla="*/ 5394525 w 5816654"/>
                <a:gd name="connsiteY24" fmla="*/ 1726990 h 6198437"/>
                <a:gd name="connsiteX25" fmla="*/ 5774513 w 5816654"/>
                <a:gd name="connsiteY25" fmla="*/ 3519512 h 6198437"/>
                <a:gd name="connsiteX26" fmla="*/ 5582434 w 5816654"/>
                <a:gd name="connsiteY26" fmla="*/ 4385669 h 6198437"/>
                <a:gd name="connsiteX27" fmla="*/ 5729884 w 5816654"/>
                <a:gd name="connsiteY27" fmla="*/ 4428964 h 6198437"/>
                <a:gd name="connsiteX28" fmla="*/ 5625967 w 5816654"/>
                <a:gd name="connsiteY28" fmla="*/ 4865439 h 6198437"/>
                <a:gd name="connsiteX29" fmla="*/ 5481364 w 5816654"/>
                <a:gd name="connsiteY29" fmla="*/ 4824545 h 6198437"/>
                <a:gd name="connsiteX30" fmla="*/ 4367937 w 5816654"/>
                <a:gd name="connsiteY30" fmla="*/ 6198437 h 6198437"/>
                <a:gd name="connsiteX31" fmla="*/ 4176939 w 5816654"/>
                <a:gd name="connsiteY31" fmla="*/ 5626725 h 6198437"/>
                <a:gd name="connsiteX32" fmla="*/ 4963074 w 5816654"/>
                <a:gd name="connsiteY32" fmla="*/ 4596953 h 6198437"/>
                <a:gd name="connsiteX33" fmla="*/ 5243123 w 5816654"/>
                <a:gd name="connsiteY33" fmla="*/ 3352779 h 6198437"/>
                <a:gd name="connsiteX34" fmla="*/ 4924307 w 5816654"/>
                <a:gd name="connsiteY34" fmla="*/ 2049487 h 6198437"/>
                <a:gd name="connsiteX35" fmla="*/ 4107054 w 5816654"/>
                <a:gd name="connsiteY35" fmla="*/ 1163055 h 6198437"/>
                <a:gd name="connsiteX36" fmla="*/ 2812788 w 5816654"/>
                <a:gd name="connsiteY36" fmla="*/ 761302 h 6198437"/>
                <a:gd name="connsiteX37" fmla="*/ 1814568 w 5816654"/>
                <a:gd name="connsiteY37" fmla="*/ 1081342 h 6198437"/>
                <a:gd name="connsiteX38" fmla="*/ 805648 w 5816654"/>
                <a:gd name="connsiteY38" fmla="*/ 2111591 h 6198437"/>
                <a:gd name="connsiteX39" fmla="*/ 566929 w 5816654"/>
                <a:gd name="connsiteY39" fmla="*/ 3178546 h 6198437"/>
                <a:gd name="connsiteX0" fmla="*/ 541577 w 5816654"/>
                <a:gd name="connsiteY0" fmla="*/ 3288247 h 6198437"/>
                <a:gd name="connsiteX1" fmla="*/ 0 w 5816654"/>
                <a:gd name="connsiteY1" fmla="*/ 3186025 h 6198437"/>
                <a:gd name="connsiteX2" fmla="*/ 183329 w 5816654"/>
                <a:gd name="connsiteY2" fmla="*/ 2374266 h 6198437"/>
                <a:gd name="connsiteX3" fmla="*/ 150598 w 5816654"/>
                <a:gd name="connsiteY3" fmla="*/ 2331944 h 6198437"/>
                <a:gd name="connsiteX4" fmla="*/ 222855 w 5816654"/>
                <a:gd name="connsiteY4" fmla="*/ 2067448 h 6198437"/>
                <a:gd name="connsiteX5" fmla="*/ 258571 w 5816654"/>
                <a:gd name="connsiteY5" fmla="*/ 2050403 h 6198437"/>
                <a:gd name="connsiteX6" fmla="*/ 1265928 w 5816654"/>
                <a:gd name="connsiteY6" fmla="*/ 647002 h 6198437"/>
                <a:gd name="connsiteX7" fmla="*/ 1478844 w 5816654"/>
                <a:gd name="connsiteY7" fmla="*/ 547251 h 6198437"/>
                <a:gd name="connsiteX8" fmla="*/ 1458783 w 5816654"/>
                <a:gd name="connsiteY8" fmla="*/ 432260 h 6198437"/>
                <a:gd name="connsiteX9" fmla="*/ 1654548 w 5816654"/>
                <a:gd name="connsiteY9" fmla="*/ 380302 h 6198437"/>
                <a:gd name="connsiteX10" fmla="*/ 1671921 w 5816654"/>
                <a:gd name="connsiteY10" fmla="*/ 481442 h 6198437"/>
                <a:gd name="connsiteX11" fmla="*/ 1798996 w 5816654"/>
                <a:gd name="connsiteY11" fmla="*/ 442651 h 6198437"/>
                <a:gd name="connsiteX12" fmla="*/ 1829475 w 5816654"/>
                <a:gd name="connsiteY12" fmla="*/ 393463 h 6198437"/>
                <a:gd name="connsiteX13" fmla="*/ 2065362 w 5816654"/>
                <a:gd name="connsiteY13" fmla="*/ 319342 h 6198437"/>
                <a:gd name="connsiteX14" fmla="*/ 2105817 w 5816654"/>
                <a:gd name="connsiteY14" fmla="*/ 352592 h 6198437"/>
                <a:gd name="connsiteX15" fmla="*/ 2302359 w 5816654"/>
                <a:gd name="connsiteY15" fmla="*/ 288171 h 6198437"/>
                <a:gd name="connsiteX16" fmla="*/ 2261571 w 5816654"/>
                <a:gd name="connsiteY16" fmla="*/ 119840 h 6198437"/>
                <a:gd name="connsiteX17" fmla="*/ 2644814 w 5816654"/>
                <a:gd name="connsiteY17" fmla="*/ 0 h 6198437"/>
                <a:gd name="connsiteX18" fmla="*/ 2693112 w 5816654"/>
                <a:gd name="connsiteY18" fmla="*/ 165560 h 6198437"/>
                <a:gd name="connsiteX19" fmla="*/ 4456663 w 5816654"/>
                <a:gd name="connsiteY19" fmla="*/ 680900 h 6198437"/>
                <a:gd name="connsiteX20" fmla="*/ 5006793 w 5816654"/>
                <a:gd name="connsiteY20" fmla="*/ 1291242 h 6198437"/>
                <a:gd name="connsiteX21" fmla="*/ 5068197 w 5816654"/>
                <a:gd name="connsiteY21" fmla="*/ 1298860 h 6198437"/>
                <a:gd name="connsiteX22" fmla="*/ 5233038 w 5816654"/>
                <a:gd name="connsiteY22" fmla="*/ 1479661 h 6198437"/>
                <a:gd name="connsiteX23" fmla="*/ 5233261 w 5816654"/>
                <a:gd name="connsiteY23" fmla="*/ 1535080 h 6198437"/>
                <a:gd name="connsiteX24" fmla="*/ 5394525 w 5816654"/>
                <a:gd name="connsiteY24" fmla="*/ 1726990 h 6198437"/>
                <a:gd name="connsiteX25" fmla="*/ 5774513 w 5816654"/>
                <a:gd name="connsiteY25" fmla="*/ 3519512 h 6198437"/>
                <a:gd name="connsiteX26" fmla="*/ 5582434 w 5816654"/>
                <a:gd name="connsiteY26" fmla="*/ 4385669 h 6198437"/>
                <a:gd name="connsiteX27" fmla="*/ 5729884 w 5816654"/>
                <a:gd name="connsiteY27" fmla="*/ 4428964 h 6198437"/>
                <a:gd name="connsiteX28" fmla="*/ 5625967 w 5816654"/>
                <a:gd name="connsiteY28" fmla="*/ 4865439 h 6198437"/>
                <a:gd name="connsiteX29" fmla="*/ 5481364 w 5816654"/>
                <a:gd name="connsiteY29" fmla="*/ 4824545 h 6198437"/>
                <a:gd name="connsiteX30" fmla="*/ 4367937 w 5816654"/>
                <a:gd name="connsiteY30" fmla="*/ 6198437 h 6198437"/>
                <a:gd name="connsiteX31" fmla="*/ 4176939 w 5816654"/>
                <a:gd name="connsiteY31" fmla="*/ 5626725 h 6198437"/>
                <a:gd name="connsiteX32" fmla="*/ 4963074 w 5816654"/>
                <a:gd name="connsiteY32" fmla="*/ 4596953 h 6198437"/>
                <a:gd name="connsiteX33" fmla="*/ 5243123 w 5816654"/>
                <a:gd name="connsiteY33" fmla="*/ 3352779 h 6198437"/>
                <a:gd name="connsiteX34" fmla="*/ 4924307 w 5816654"/>
                <a:gd name="connsiteY34" fmla="*/ 2049487 h 6198437"/>
                <a:gd name="connsiteX35" fmla="*/ 4107054 w 5816654"/>
                <a:gd name="connsiteY35" fmla="*/ 1163055 h 6198437"/>
                <a:gd name="connsiteX36" fmla="*/ 2812788 w 5816654"/>
                <a:gd name="connsiteY36" fmla="*/ 761302 h 6198437"/>
                <a:gd name="connsiteX37" fmla="*/ 1814568 w 5816654"/>
                <a:gd name="connsiteY37" fmla="*/ 1081342 h 6198437"/>
                <a:gd name="connsiteX38" fmla="*/ 805648 w 5816654"/>
                <a:gd name="connsiteY38" fmla="*/ 2111591 h 6198437"/>
                <a:gd name="connsiteX39" fmla="*/ 541577 w 5816654"/>
                <a:gd name="connsiteY39" fmla="*/ 3288247 h 6198437"/>
                <a:gd name="connsiteX0" fmla="*/ 543881 w 5818958"/>
                <a:gd name="connsiteY0" fmla="*/ 3288247 h 6198437"/>
                <a:gd name="connsiteX1" fmla="*/ 0 w 5818958"/>
                <a:gd name="connsiteY1" fmla="*/ 3193505 h 6198437"/>
                <a:gd name="connsiteX2" fmla="*/ 185633 w 5818958"/>
                <a:gd name="connsiteY2" fmla="*/ 2374266 h 6198437"/>
                <a:gd name="connsiteX3" fmla="*/ 152902 w 5818958"/>
                <a:gd name="connsiteY3" fmla="*/ 2331944 h 6198437"/>
                <a:gd name="connsiteX4" fmla="*/ 225159 w 5818958"/>
                <a:gd name="connsiteY4" fmla="*/ 2067448 h 6198437"/>
                <a:gd name="connsiteX5" fmla="*/ 260875 w 5818958"/>
                <a:gd name="connsiteY5" fmla="*/ 2050403 h 6198437"/>
                <a:gd name="connsiteX6" fmla="*/ 1268232 w 5818958"/>
                <a:gd name="connsiteY6" fmla="*/ 647002 h 6198437"/>
                <a:gd name="connsiteX7" fmla="*/ 1481148 w 5818958"/>
                <a:gd name="connsiteY7" fmla="*/ 547251 h 6198437"/>
                <a:gd name="connsiteX8" fmla="*/ 1461087 w 5818958"/>
                <a:gd name="connsiteY8" fmla="*/ 432260 h 6198437"/>
                <a:gd name="connsiteX9" fmla="*/ 1656852 w 5818958"/>
                <a:gd name="connsiteY9" fmla="*/ 380302 h 6198437"/>
                <a:gd name="connsiteX10" fmla="*/ 1674225 w 5818958"/>
                <a:gd name="connsiteY10" fmla="*/ 481442 h 6198437"/>
                <a:gd name="connsiteX11" fmla="*/ 1801300 w 5818958"/>
                <a:gd name="connsiteY11" fmla="*/ 442651 h 6198437"/>
                <a:gd name="connsiteX12" fmla="*/ 1831779 w 5818958"/>
                <a:gd name="connsiteY12" fmla="*/ 393463 h 6198437"/>
                <a:gd name="connsiteX13" fmla="*/ 2067666 w 5818958"/>
                <a:gd name="connsiteY13" fmla="*/ 319342 h 6198437"/>
                <a:gd name="connsiteX14" fmla="*/ 2108121 w 5818958"/>
                <a:gd name="connsiteY14" fmla="*/ 352592 h 6198437"/>
                <a:gd name="connsiteX15" fmla="*/ 2304663 w 5818958"/>
                <a:gd name="connsiteY15" fmla="*/ 288171 h 6198437"/>
                <a:gd name="connsiteX16" fmla="*/ 2263875 w 5818958"/>
                <a:gd name="connsiteY16" fmla="*/ 119840 h 6198437"/>
                <a:gd name="connsiteX17" fmla="*/ 2647118 w 5818958"/>
                <a:gd name="connsiteY17" fmla="*/ 0 h 6198437"/>
                <a:gd name="connsiteX18" fmla="*/ 2695416 w 5818958"/>
                <a:gd name="connsiteY18" fmla="*/ 165560 h 6198437"/>
                <a:gd name="connsiteX19" fmla="*/ 4458967 w 5818958"/>
                <a:gd name="connsiteY19" fmla="*/ 680900 h 6198437"/>
                <a:gd name="connsiteX20" fmla="*/ 5009097 w 5818958"/>
                <a:gd name="connsiteY20" fmla="*/ 1291242 h 6198437"/>
                <a:gd name="connsiteX21" fmla="*/ 5070501 w 5818958"/>
                <a:gd name="connsiteY21" fmla="*/ 1298860 h 6198437"/>
                <a:gd name="connsiteX22" fmla="*/ 5235342 w 5818958"/>
                <a:gd name="connsiteY22" fmla="*/ 1479661 h 6198437"/>
                <a:gd name="connsiteX23" fmla="*/ 5235565 w 5818958"/>
                <a:gd name="connsiteY23" fmla="*/ 1535080 h 6198437"/>
                <a:gd name="connsiteX24" fmla="*/ 5396829 w 5818958"/>
                <a:gd name="connsiteY24" fmla="*/ 1726990 h 6198437"/>
                <a:gd name="connsiteX25" fmla="*/ 5776817 w 5818958"/>
                <a:gd name="connsiteY25" fmla="*/ 3519512 h 6198437"/>
                <a:gd name="connsiteX26" fmla="*/ 5584738 w 5818958"/>
                <a:gd name="connsiteY26" fmla="*/ 4385669 h 6198437"/>
                <a:gd name="connsiteX27" fmla="*/ 5732188 w 5818958"/>
                <a:gd name="connsiteY27" fmla="*/ 4428964 h 6198437"/>
                <a:gd name="connsiteX28" fmla="*/ 5628271 w 5818958"/>
                <a:gd name="connsiteY28" fmla="*/ 4865439 h 6198437"/>
                <a:gd name="connsiteX29" fmla="*/ 5483668 w 5818958"/>
                <a:gd name="connsiteY29" fmla="*/ 4824545 h 6198437"/>
                <a:gd name="connsiteX30" fmla="*/ 4370241 w 5818958"/>
                <a:gd name="connsiteY30" fmla="*/ 6198437 h 6198437"/>
                <a:gd name="connsiteX31" fmla="*/ 4179243 w 5818958"/>
                <a:gd name="connsiteY31" fmla="*/ 5626725 h 6198437"/>
                <a:gd name="connsiteX32" fmla="*/ 4965378 w 5818958"/>
                <a:gd name="connsiteY32" fmla="*/ 4596953 h 6198437"/>
                <a:gd name="connsiteX33" fmla="*/ 5245427 w 5818958"/>
                <a:gd name="connsiteY33" fmla="*/ 3352779 h 6198437"/>
                <a:gd name="connsiteX34" fmla="*/ 4926611 w 5818958"/>
                <a:gd name="connsiteY34" fmla="*/ 2049487 h 6198437"/>
                <a:gd name="connsiteX35" fmla="*/ 4109358 w 5818958"/>
                <a:gd name="connsiteY35" fmla="*/ 1163055 h 6198437"/>
                <a:gd name="connsiteX36" fmla="*/ 2815092 w 5818958"/>
                <a:gd name="connsiteY36" fmla="*/ 761302 h 6198437"/>
                <a:gd name="connsiteX37" fmla="*/ 1816872 w 5818958"/>
                <a:gd name="connsiteY37" fmla="*/ 1081342 h 6198437"/>
                <a:gd name="connsiteX38" fmla="*/ 807952 w 5818958"/>
                <a:gd name="connsiteY38" fmla="*/ 2111591 h 6198437"/>
                <a:gd name="connsiteX39" fmla="*/ 543881 w 5818958"/>
                <a:gd name="connsiteY39" fmla="*/ 3288247 h 6198437"/>
                <a:gd name="connsiteX0" fmla="*/ 543881 w 5818958"/>
                <a:gd name="connsiteY0" fmla="*/ 3288247 h 6198437"/>
                <a:gd name="connsiteX1" fmla="*/ 0 w 5818958"/>
                <a:gd name="connsiteY1" fmla="*/ 3193505 h 6198437"/>
                <a:gd name="connsiteX2" fmla="*/ 185633 w 5818958"/>
                <a:gd name="connsiteY2" fmla="*/ 2374266 h 6198437"/>
                <a:gd name="connsiteX3" fmla="*/ 152902 w 5818958"/>
                <a:gd name="connsiteY3" fmla="*/ 2331944 h 6198437"/>
                <a:gd name="connsiteX4" fmla="*/ 225159 w 5818958"/>
                <a:gd name="connsiteY4" fmla="*/ 2067448 h 6198437"/>
                <a:gd name="connsiteX5" fmla="*/ 260875 w 5818958"/>
                <a:gd name="connsiteY5" fmla="*/ 2050403 h 6198437"/>
                <a:gd name="connsiteX6" fmla="*/ 1268232 w 5818958"/>
                <a:gd name="connsiteY6" fmla="*/ 647002 h 6198437"/>
                <a:gd name="connsiteX7" fmla="*/ 1481148 w 5818958"/>
                <a:gd name="connsiteY7" fmla="*/ 547251 h 6198437"/>
                <a:gd name="connsiteX8" fmla="*/ 1461087 w 5818958"/>
                <a:gd name="connsiteY8" fmla="*/ 432260 h 6198437"/>
                <a:gd name="connsiteX9" fmla="*/ 1656852 w 5818958"/>
                <a:gd name="connsiteY9" fmla="*/ 380302 h 6198437"/>
                <a:gd name="connsiteX10" fmla="*/ 1674225 w 5818958"/>
                <a:gd name="connsiteY10" fmla="*/ 481442 h 6198437"/>
                <a:gd name="connsiteX11" fmla="*/ 1801300 w 5818958"/>
                <a:gd name="connsiteY11" fmla="*/ 442651 h 6198437"/>
                <a:gd name="connsiteX12" fmla="*/ 1831779 w 5818958"/>
                <a:gd name="connsiteY12" fmla="*/ 393463 h 6198437"/>
                <a:gd name="connsiteX13" fmla="*/ 2067666 w 5818958"/>
                <a:gd name="connsiteY13" fmla="*/ 319342 h 6198437"/>
                <a:gd name="connsiteX14" fmla="*/ 2108121 w 5818958"/>
                <a:gd name="connsiteY14" fmla="*/ 352592 h 6198437"/>
                <a:gd name="connsiteX15" fmla="*/ 2304663 w 5818958"/>
                <a:gd name="connsiteY15" fmla="*/ 288171 h 6198437"/>
                <a:gd name="connsiteX16" fmla="*/ 2263875 w 5818958"/>
                <a:gd name="connsiteY16" fmla="*/ 119840 h 6198437"/>
                <a:gd name="connsiteX17" fmla="*/ 2647118 w 5818958"/>
                <a:gd name="connsiteY17" fmla="*/ 0 h 6198437"/>
                <a:gd name="connsiteX18" fmla="*/ 2695416 w 5818958"/>
                <a:gd name="connsiteY18" fmla="*/ 165560 h 6198437"/>
                <a:gd name="connsiteX19" fmla="*/ 4458967 w 5818958"/>
                <a:gd name="connsiteY19" fmla="*/ 680900 h 6198437"/>
                <a:gd name="connsiteX20" fmla="*/ 5009097 w 5818958"/>
                <a:gd name="connsiteY20" fmla="*/ 1291242 h 6198437"/>
                <a:gd name="connsiteX21" fmla="*/ 5070501 w 5818958"/>
                <a:gd name="connsiteY21" fmla="*/ 1298860 h 6198437"/>
                <a:gd name="connsiteX22" fmla="*/ 5235342 w 5818958"/>
                <a:gd name="connsiteY22" fmla="*/ 1479661 h 6198437"/>
                <a:gd name="connsiteX23" fmla="*/ 5235565 w 5818958"/>
                <a:gd name="connsiteY23" fmla="*/ 1535080 h 6198437"/>
                <a:gd name="connsiteX24" fmla="*/ 5396829 w 5818958"/>
                <a:gd name="connsiteY24" fmla="*/ 1726990 h 6198437"/>
                <a:gd name="connsiteX25" fmla="*/ 5776817 w 5818958"/>
                <a:gd name="connsiteY25" fmla="*/ 3519512 h 6198437"/>
                <a:gd name="connsiteX26" fmla="*/ 5584738 w 5818958"/>
                <a:gd name="connsiteY26" fmla="*/ 4385669 h 6198437"/>
                <a:gd name="connsiteX27" fmla="*/ 5732188 w 5818958"/>
                <a:gd name="connsiteY27" fmla="*/ 4428964 h 6198437"/>
                <a:gd name="connsiteX28" fmla="*/ 5628271 w 5818958"/>
                <a:gd name="connsiteY28" fmla="*/ 4865439 h 6198437"/>
                <a:gd name="connsiteX29" fmla="*/ 5483668 w 5818958"/>
                <a:gd name="connsiteY29" fmla="*/ 4824545 h 6198437"/>
                <a:gd name="connsiteX30" fmla="*/ 4370241 w 5818958"/>
                <a:gd name="connsiteY30" fmla="*/ 6198437 h 6198437"/>
                <a:gd name="connsiteX31" fmla="*/ 4965378 w 5818958"/>
                <a:gd name="connsiteY31" fmla="*/ 4596953 h 6198437"/>
                <a:gd name="connsiteX32" fmla="*/ 5245427 w 5818958"/>
                <a:gd name="connsiteY32" fmla="*/ 3352779 h 6198437"/>
                <a:gd name="connsiteX33" fmla="*/ 4926611 w 5818958"/>
                <a:gd name="connsiteY33" fmla="*/ 2049487 h 6198437"/>
                <a:gd name="connsiteX34" fmla="*/ 4109358 w 5818958"/>
                <a:gd name="connsiteY34" fmla="*/ 1163055 h 6198437"/>
                <a:gd name="connsiteX35" fmla="*/ 2815092 w 5818958"/>
                <a:gd name="connsiteY35" fmla="*/ 761302 h 6198437"/>
                <a:gd name="connsiteX36" fmla="*/ 1816872 w 5818958"/>
                <a:gd name="connsiteY36" fmla="*/ 1081342 h 6198437"/>
                <a:gd name="connsiteX37" fmla="*/ 807952 w 5818958"/>
                <a:gd name="connsiteY37" fmla="*/ 2111591 h 6198437"/>
                <a:gd name="connsiteX38" fmla="*/ 543881 w 5818958"/>
                <a:gd name="connsiteY38" fmla="*/ 3288247 h 6198437"/>
                <a:gd name="connsiteX0" fmla="*/ 543881 w 5818958"/>
                <a:gd name="connsiteY0" fmla="*/ 3288247 h 4865439"/>
                <a:gd name="connsiteX1" fmla="*/ 0 w 5818958"/>
                <a:gd name="connsiteY1" fmla="*/ 3193505 h 4865439"/>
                <a:gd name="connsiteX2" fmla="*/ 185633 w 5818958"/>
                <a:gd name="connsiteY2" fmla="*/ 2374266 h 4865439"/>
                <a:gd name="connsiteX3" fmla="*/ 152902 w 5818958"/>
                <a:gd name="connsiteY3" fmla="*/ 2331944 h 4865439"/>
                <a:gd name="connsiteX4" fmla="*/ 225159 w 5818958"/>
                <a:gd name="connsiteY4" fmla="*/ 2067448 h 4865439"/>
                <a:gd name="connsiteX5" fmla="*/ 260875 w 5818958"/>
                <a:gd name="connsiteY5" fmla="*/ 2050403 h 4865439"/>
                <a:gd name="connsiteX6" fmla="*/ 1268232 w 5818958"/>
                <a:gd name="connsiteY6" fmla="*/ 647002 h 4865439"/>
                <a:gd name="connsiteX7" fmla="*/ 1481148 w 5818958"/>
                <a:gd name="connsiteY7" fmla="*/ 547251 h 4865439"/>
                <a:gd name="connsiteX8" fmla="*/ 1461087 w 5818958"/>
                <a:gd name="connsiteY8" fmla="*/ 432260 h 4865439"/>
                <a:gd name="connsiteX9" fmla="*/ 1656852 w 5818958"/>
                <a:gd name="connsiteY9" fmla="*/ 380302 h 4865439"/>
                <a:gd name="connsiteX10" fmla="*/ 1674225 w 5818958"/>
                <a:gd name="connsiteY10" fmla="*/ 481442 h 4865439"/>
                <a:gd name="connsiteX11" fmla="*/ 1801300 w 5818958"/>
                <a:gd name="connsiteY11" fmla="*/ 442651 h 4865439"/>
                <a:gd name="connsiteX12" fmla="*/ 1831779 w 5818958"/>
                <a:gd name="connsiteY12" fmla="*/ 393463 h 4865439"/>
                <a:gd name="connsiteX13" fmla="*/ 2067666 w 5818958"/>
                <a:gd name="connsiteY13" fmla="*/ 319342 h 4865439"/>
                <a:gd name="connsiteX14" fmla="*/ 2108121 w 5818958"/>
                <a:gd name="connsiteY14" fmla="*/ 352592 h 4865439"/>
                <a:gd name="connsiteX15" fmla="*/ 2304663 w 5818958"/>
                <a:gd name="connsiteY15" fmla="*/ 288171 h 4865439"/>
                <a:gd name="connsiteX16" fmla="*/ 2263875 w 5818958"/>
                <a:gd name="connsiteY16" fmla="*/ 119840 h 4865439"/>
                <a:gd name="connsiteX17" fmla="*/ 2647118 w 5818958"/>
                <a:gd name="connsiteY17" fmla="*/ 0 h 4865439"/>
                <a:gd name="connsiteX18" fmla="*/ 2695416 w 5818958"/>
                <a:gd name="connsiteY18" fmla="*/ 165560 h 4865439"/>
                <a:gd name="connsiteX19" fmla="*/ 4458967 w 5818958"/>
                <a:gd name="connsiteY19" fmla="*/ 680900 h 4865439"/>
                <a:gd name="connsiteX20" fmla="*/ 5009097 w 5818958"/>
                <a:gd name="connsiteY20" fmla="*/ 1291242 h 4865439"/>
                <a:gd name="connsiteX21" fmla="*/ 5070501 w 5818958"/>
                <a:gd name="connsiteY21" fmla="*/ 1298860 h 4865439"/>
                <a:gd name="connsiteX22" fmla="*/ 5235342 w 5818958"/>
                <a:gd name="connsiteY22" fmla="*/ 1479661 h 4865439"/>
                <a:gd name="connsiteX23" fmla="*/ 5235565 w 5818958"/>
                <a:gd name="connsiteY23" fmla="*/ 1535080 h 4865439"/>
                <a:gd name="connsiteX24" fmla="*/ 5396829 w 5818958"/>
                <a:gd name="connsiteY24" fmla="*/ 1726990 h 4865439"/>
                <a:gd name="connsiteX25" fmla="*/ 5776817 w 5818958"/>
                <a:gd name="connsiteY25" fmla="*/ 3519512 h 4865439"/>
                <a:gd name="connsiteX26" fmla="*/ 5584738 w 5818958"/>
                <a:gd name="connsiteY26" fmla="*/ 4385669 h 4865439"/>
                <a:gd name="connsiteX27" fmla="*/ 5732188 w 5818958"/>
                <a:gd name="connsiteY27" fmla="*/ 4428964 h 4865439"/>
                <a:gd name="connsiteX28" fmla="*/ 5628271 w 5818958"/>
                <a:gd name="connsiteY28" fmla="*/ 4865439 h 4865439"/>
                <a:gd name="connsiteX29" fmla="*/ 5483668 w 5818958"/>
                <a:gd name="connsiteY29" fmla="*/ 4824545 h 4865439"/>
                <a:gd name="connsiteX30" fmla="*/ 4965378 w 5818958"/>
                <a:gd name="connsiteY30" fmla="*/ 4596953 h 4865439"/>
                <a:gd name="connsiteX31" fmla="*/ 5245427 w 5818958"/>
                <a:gd name="connsiteY31" fmla="*/ 3352779 h 4865439"/>
                <a:gd name="connsiteX32" fmla="*/ 4926611 w 5818958"/>
                <a:gd name="connsiteY32" fmla="*/ 2049487 h 4865439"/>
                <a:gd name="connsiteX33" fmla="*/ 4109358 w 5818958"/>
                <a:gd name="connsiteY33" fmla="*/ 1163055 h 4865439"/>
                <a:gd name="connsiteX34" fmla="*/ 2815092 w 5818958"/>
                <a:gd name="connsiteY34" fmla="*/ 761302 h 4865439"/>
                <a:gd name="connsiteX35" fmla="*/ 1816872 w 5818958"/>
                <a:gd name="connsiteY35" fmla="*/ 1081342 h 4865439"/>
                <a:gd name="connsiteX36" fmla="*/ 807952 w 5818958"/>
                <a:gd name="connsiteY36" fmla="*/ 2111591 h 4865439"/>
                <a:gd name="connsiteX37" fmla="*/ 543881 w 5818958"/>
                <a:gd name="connsiteY37" fmla="*/ 3288247 h 4865439"/>
                <a:gd name="connsiteX0" fmla="*/ 543881 w 5818958"/>
                <a:gd name="connsiteY0" fmla="*/ 3288247 h 4865439"/>
                <a:gd name="connsiteX1" fmla="*/ 0 w 5818958"/>
                <a:gd name="connsiteY1" fmla="*/ 3193505 h 4865439"/>
                <a:gd name="connsiteX2" fmla="*/ 185633 w 5818958"/>
                <a:gd name="connsiteY2" fmla="*/ 2374266 h 4865439"/>
                <a:gd name="connsiteX3" fmla="*/ 152902 w 5818958"/>
                <a:gd name="connsiteY3" fmla="*/ 2331944 h 4865439"/>
                <a:gd name="connsiteX4" fmla="*/ 225159 w 5818958"/>
                <a:gd name="connsiteY4" fmla="*/ 2067448 h 4865439"/>
                <a:gd name="connsiteX5" fmla="*/ 260875 w 5818958"/>
                <a:gd name="connsiteY5" fmla="*/ 2050403 h 4865439"/>
                <a:gd name="connsiteX6" fmla="*/ 1268232 w 5818958"/>
                <a:gd name="connsiteY6" fmla="*/ 647002 h 4865439"/>
                <a:gd name="connsiteX7" fmla="*/ 1481148 w 5818958"/>
                <a:gd name="connsiteY7" fmla="*/ 547251 h 4865439"/>
                <a:gd name="connsiteX8" fmla="*/ 1461087 w 5818958"/>
                <a:gd name="connsiteY8" fmla="*/ 432260 h 4865439"/>
                <a:gd name="connsiteX9" fmla="*/ 1656852 w 5818958"/>
                <a:gd name="connsiteY9" fmla="*/ 380302 h 4865439"/>
                <a:gd name="connsiteX10" fmla="*/ 1674225 w 5818958"/>
                <a:gd name="connsiteY10" fmla="*/ 481442 h 4865439"/>
                <a:gd name="connsiteX11" fmla="*/ 1801300 w 5818958"/>
                <a:gd name="connsiteY11" fmla="*/ 442651 h 4865439"/>
                <a:gd name="connsiteX12" fmla="*/ 1831779 w 5818958"/>
                <a:gd name="connsiteY12" fmla="*/ 393463 h 4865439"/>
                <a:gd name="connsiteX13" fmla="*/ 2067666 w 5818958"/>
                <a:gd name="connsiteY13" fmla="*/ 319342 h 4865439"/>
                <a:gd name="connsiteX14" fmla="*/ 2108121 w 5818958"/>
                <a:gd name="connsiteY14" fmla="*/ 352592 h 4865439"/>
                <a:gd name="connsiteX15" fmla="*/ 2304663 w 5818958"/>
                <a:gd name="connsiteY15" fmla="*/ 288171 h 4865439"/>
                <a:gd name="connsiteX16" fmla="*/ 2263875 w 5818958"/>
                <a:gd name="connsiteY16" fmla="*/ 119840 h 4865439"/>
                <a:gd name="connsiteX17" fmla="*/ 2647118 w 5818958"/>
                <a:gd name="connsiteY17" fmla="*/ 0 h 4865439"/>
                <a:gd name="connsiteX18" fmla="*/ 2695416 w 5818958"/>
                <a:gd name="connsiteY18" fmla="*/ 165560 h 4865439"/>
                <a:gd name="connsiteX19" fmla="*/ 4458967 w 5818958"/>
                <a:gd name="connsiteY19" fmla="*/ 680900 h 4865439"/>
                <a:gd name="connsiteX20" fmla="*/ 5009097 w 5818958"/>
                <a:gd name="connsiteY20" fmla="*/ 1291242 h 4865439"/>
                <a:gd name="connsiteX21" fmla="*/ 5070501 w 5818958"/>
                <a:gd name="connsiteY21" fmla="*/ 1298860 h 4865439"/>
                <a:gd name="connsiteX22" fmla="*/ 5235342 w 5818958"/>
                <a:gd name="connsiteY22" fmla="*/ 1479661 h 4865439"/>
                <a:gd name="connsiteX23" fmla="*/ 5235565 w 5818958"/>
                <a:gd name="connsiteY23" fmla="*/ 1535080 h 4865439"/>
                <a:gd name="connsiteX24" fmla="*/ 5396829 w 5818958"/>
                <a:gd name="connsiteY24" fmla="*/ 1726990 h 4865439"/>
                <a:gd name="connsiteX25" fmla="*/ 5776817 w 5818958"/>
                <a:gd name="connsiteY25" fmla="*/ 3519512 h 4865439"/>
                <a:gd name="connsiteX26" fmla="*/ 5584738 w 5818958"/>
                <a:gd name="connsiteY26" fmla="*/ 4385669 h 4865439"/>
                <a:gd name="connsiteX27" fmla="*/ 5732188 w 5818958"/>
                <a:gd name="connsiteY27" fmla="*/ 4428964 h 4865439"/>
                <a:gd name="connsiteX28" fmla="*/ 5628271 w 5818958"/>
                <a:gd name="connsiteY28" fmla="*/ 4865439 h 4865439"/>
                <a:gd name="connsiteX29" fmla="*/ 5483668 w 5818958"/>
                <a:gd name="connsiteY29" fmla="*/ 4824545 h 4865439"/>
                <a:gd name="connsiteX30" fmla="*/ 5245427 w 5818958"/>
                <a:gd name="connsiteY30" fmla="*/ 3352779 h 4865439"/>
                <a:gd name="connsiteX31" fmla="*/ 4926611 w 5818958"/>
                <a:gd name="connsiteY31" fmla="*/ 2049487 h 4865439"/>
                <a:gd name="connsiteX32" fmla="*/ 4109358 w 5818958"/>
                <a:gd name="connsiteY32" fmla="*/ 1163055 h 4865439"/>
                <a:gd name="connsiteX33" fmla="*/ 2815092 w 5818958"/>
                <a:gd name="connsiteY33" fmla="*/ 761302 h 4865439"/>
                <a:gd name="connsiteX34" fmla="*/ 1816872 w 5818958"/>
                <a:gd name="connsiteY34" fmla="*/ 1081342 h 4865439"/>
                <a:gd name="connsiteX35" fmla="*/ 807952 w 5818958"/>
                <a:gd name="connsiteY35" fmla="*/ 2111591 h 4865439"/>
                <a:gd name="connsiteX36" fmla="*/ 543881 w 5818958"/>
                <a:gd name="connsiteY36" fmla="*/ 3288247 h 4865439"/>
                <a:gd name="connsiteX0" fmla="*/ 543881 w 5818958"/>
                <a:gd name="connsiteY0" fmla="*/ 3288247 h 4865439"/>
                <a:gd name="connsiteX1" fmla="*/ 0 w 5818958"/>
                <a:gd name="connsiteY1" fmla="*/ 3193505 h 4865439"/>
                <a:gd name="connsiteX2" fmla="*/ 185633 w 5818958"/>
                <a:gd name="connsiteY2" fmla="*/ 2374266 h 4865439"/>
                <a:gd name="connsiteX3" fmla="*/ 152902 w 5818958"/>
                <a:gd name="connsiteY3" fmla="*/ 2331944 h 4865439"/>
                <a:gd name="connsiteX4" fmla="*/ 225159 w 5818958"/>
                <a:gd name="connsiteY4" fmla="*/ 2067448 h 4865439"/>
                <a:gd name="connsiteX5" fmla="*/ 260875 w 5818958"/>
                <a:gd name="connsiteY5" fmla="*/ 2050403 h 4865439"/>
                <a:gd name="connsiteX6" fmla="*/ 1268232 w 5818958"/>
                <a:gd name="connsiteY6" fmla="*/ 647002 h 4865439"/>
                <a:gd name="connsiteX7" fmla="*/ 1481148 w 5818958"/>
                <a:gd name="connsiteY7" fmla="*/ 547251 h 4865439"/>
                <a:gd name="connsiteX8" fmla="*/ 1461087 w 5818958"/>
                <a:gd name="connsiteY8" fmla="*/ 432260 h 4865439"/>
                <a:gd name="connsiteX9" fmla="*/ 1656852 w 5818958"/>
                <a:gd name="connsiteY9" fmla="*/ 380302 h 4865439"/>
                <a:gd name="connsiteX10" fmla="*/ 1674225 w 5818958"/>
                <a:gd name="connsiteY10" fmla="*/ 481442 h 4865439"/>
                <a:gd name="connsiteX11" fmla="*/ 1801300 w 5818958"/>
                <a:gd name="connsiteY11" fmla="*/ 442651 h 4865439"/>
                <a:gd name="connsiteX12" fmla="*/ 1831779 w 5818958"/>
                <a:gd name="connsiteY12" fmla="*/ 393463 h 4865439"/>
                <a:gd name="connsiteX13" fmla="*/ 2067666 w 5818958"/>
                <a:gd name="connsiteY13" fmla="*/ 319342 h 4865439"/>
                <a:gd name="connsiteX14" fmla="*/ 2108121 w 5818958"/>
                <a:gd name="connsiteY14" fmla="*/ 352592 h 4865439"/>
                <a:gd name="connsiteX15" fmla="*/ 2304663 w 5818958"/>
                <a:gd name="connsiteY15" fmla="*/ 288171 h 4865439"/>
                <a:gd name="connsiteX16" fmla="*/ 2263875 w 5818958"/>
                <a:gd name="connsiteY16" fmla="*/ 119840 h 4865439"/>
                <a:gd name="connsiteX17" fmla="*/ 2647118 w 5818958"/>
                <a:gd name="connsiteY17" fmla="*/ 0 h 4865439"/>
                <a:gd name="connsiteX18" fmla="*/ 2695416 w 5818958"/>
                <a:gd name="connsiteY18" fmla="*/ 165560 h 4865439"/>
                <a:gd name="connsiteX19" fmla="*/ 4458967 w 5818958"/>
                <a:gd name="connsiteY19" fmla="*/ 680900 h 4865439"/>
                <a:gd name="connsiteX20" fmla="*/ 5009097 w 5818958"/>
                <a:gd name="connsiteY20" fmla="*/ 1291242 h 4865439"/>
                <a:gd name="connsiteX21" fmla="*/ 5070501 w 5818958"/>
                <a:gd name="connsiteY21" fmla="*/ 1298860 h 4865439"/>
                <a:gd name="connsiteX22" fmla="*/ 5235342 w 5818958"/>
                <a:gd name="connsiteY22" fmla="*/ 1479661 h 4865439"/>
                <a:gd name="connsiteX23" fmla="*/ 5235565 w 5818958"/>
                <a:gd name="connsiteY23" fmla="*/ 1535080 h 4865439"/>
                <a:gd name="connsiteX24" fmla="*/ 5396829 w 5818958"/>
                <a:gd name="connsiteY24" fmla="*/ 1726990 h 4865439"/>
                <a:gd name="connsiteX25" fmla="*/ 5776817 w 5818958"/>
                <a:gd name="connsiteY25" fmla="*/ 3519512 h 4865439"/>
                <a:gd name="connsiteX26" fmla="*/ 5584738 w 5818958"/>
                <a:gd name="connsiteY26" fmla="*/ 4385669 h 4865439"/>
                <a:gd name="connsiteX27" fmla="*/ 5732188 w 5818958"/>
                <a:gd name="connsiteY27" fmla="*/ 4428964 h 4865439"/>
                <a:gd name="connsiteX28" fmla="*/ 5628271 w 5818958"/>
                <a:gd name="connsiteY28" fmla="*/ 4865439 h 4865439"/>
                <a:gd name="connsiteX29" fmla="*/ 5245427 w 5818958"/>
                <a:gd name="connsiteY29" fmla="*/ 3352779 h 4865439"/>
                <a:gd name="connsiteX30" fmla="*/ 4926611 w 5818958"/>
                <a:gd name="connsiteY30" fmla="*/ 2049487 h 4865439"/>
                <a:gd name="connsiteX31" fmla="*/ 4109358 w 5818958"/>
                <a:gd name="connsiteY31" fmla="*/ 1163055 h 4865439"/>
                <a:gd name="connsiteX32" fmla="*/ 2815092 w 5818958"/>
                <a:gd name="connsiteY32" fmla="*/ 761302 h 4865439"/>
                <a:gd name="connsiteX33" fmla="*/ 1816872 w 5818958"/>
                <a:gd name="connsiteY33" fmla="*/ 1081342 h 4865439"/>
                <a:gd name="connsiteX34" fmla="*/ 807952 w 5818958"/>
                <a:gd name="connsiteY34" fmla="*/ 2111591 h 4865439"/>
                <a:gd name="connsiteX35" fmla="*/ 543881 w 5818958"/>
                <a:gd name="connsiteY35" fmla="*/ 3288247 h 4865439"/>
                <a:gd name="connsiteX0" fmla="*/ 543881 w 5818958"/>
                <a:gd name="connsiteY0" fmla="*/ 3288247 h 4428964"/>
                <a:gd name="connsiteX1" fmla="*/ 0 w 5818958"/>
                <a:gd name="connsiteY1" fmla="*/ 3193505 h 4428964"/>
                <a:gd name="connsiteX2" fmla="*/ 185633 w 5818958"/>
                <a:gd name="connsiteY2" fmla="*/ 2374266 h 4428964"/>
                <a:gd name="connsiteX3" fmla="*/ 152902 w 5818958"/>
                <a:gd name="connsiteY3" fmla="*/ 2331944 h 4428964"/>
                <a:gd name="connsiteX4" fmla="*/ 225159 w 5818958"/>
                <a:gd name="connsiteY4" fmla="*/ 2067448 h 4428964"/>
                <a:gd name="connsiteX5" fmla="*/ 260875 w 5818958"/>
                <a:gd name="connsiteY5" fmla="*/ 2050403 h 4428964"/>
                <a:gd name="connsiteX6" fmla="*/ 1268232 w 5818958"/>
                <a:gd name="connsiteY6" fmla="*/ 647002 h 4428964"/>
                <a:gd name="connsiteX7" fmla="*/ 1481148 w 5818958"/>
                <a:gd name="connsiteY7" fmla="*/ 547251 h 4428964"/>
                <a:gd name="connsiteX8" fmla="*/ 1461087 w 5818958"/>
                <a:gd name="connsiteY8" fmla="*/ 432260 h 4428964"/>
                <a:gd name="connsiteX9" fmla="*/ 1656852 w 5818958"/>
                <a:gd name="connsiteY9" fmla="*/ 380302 h 4428964"/>
                <a:gd name="connsiteX10" fmla="*/ 1674225 w 5818958"/>
                <a:gd name="connsiteY10" fmla="*/ 481442 h 4428964"/>
                <a:gd name="connsiteX11" fmla="*/ 1801300 w 5818958"/>
                <a:gd name="connsiteY11" fmla="*/ 442651 h 4428964"/>
                <a:gd name="connsiteX12" fmla="*/ 1831779 w 5818958"/>
                <a:gd name="connsiteY12" fmla="*/ 393463 h 4428964"/>
                <a:gd name="connsiteX13" fmla="*/ 2067666 w 5818958"/>
                <a:gd name="connsiteY13" fmla="*/ 319342 h 4428964"/>
                <a:gd name="connsiteX14" fmla="*/ 2108121 w 5818958"/>
                <a:gd name="connsiteY14" fmla="*/ 352592 h 4428964"/>
                <a:gd name="connsiteX15" fmla="*/ 2304663 w 5818958"/>
                <a:gd name="connsiteY15" fmla="*/ 288171 h 4428964"/>
                <a:gd name="connsiteX16" fmla="*/ 2263875 w 5818958"/>
                <a:gd name="connsiteY16" fmla="*/ 119840 h 4428964"/>
                <a:gd name="connsiteX17" fmla="*/ 2647118 w 5818958"/>
                <a:gd name="connsiteY17" fmla="*/ 0 h 4428964"/>
                <a:gd name="connsiteX18" fmla="*/ 2695416 w 5818958"/>
                <a:gd name="connsiteY18" fmla="*/ 165560 h 4428964"/>
                <a:gd name="connsiteX19" fmla="*/ 4458967 w 5818958"/>
                <a:gd name="connsiteY19" fmla="*/ 680900 h 4428964"/>
                <a:gd name="connsiteX20" fmla="*/ 5009097 w 5818958"/>
                <a:gd name="connsiteY20" fmla="*/ 1291242 h 4428964"/>
                <a:gd name="connsiteX21" fmla="*/ 5070501 w 5818958"/>
                <a:gd name="connsiteY21" fmla="*/ 1298860 h 4428964"/>
                <a:gd name="connsiteX22" fmla="*/ 5235342 w 5818958"/>
                <a:gd name="connsiteY22" fmla="*/ 1479661 h 4428964"/>
                <a:gd name="connsiteX23" fmla="*/ 5235565 w 5818958"/>
                <a:gd name="connsiteY23" fmla="*/ 1535080 h 4428964"/>
                <a:gd name="connsiteX24" fmla="*/ 5396829 w 5818958"/>
                <a:gd name="connsiteY24" fmla="*/ 1726990 h 4428964"/>
                <a:gd name="connsiteX25" fmla="*/ 5776817 w 5818958"/>
                <a:gd name="connsiteY25" fmla="*/ 3519512 h 4428964"/>
                <a:gd name="connsiteX26" fmla="*/ 5584738 w 5818958"/>
                <a:gd name="connsiteY26" fmla="*/ 4385669 h 4428964"/>
                <a:gd name="connsiteX27" fmla="*/ 5732188 w 5818958"/>
                <a:gd name="connsiteY27" fmla="*/ 4428964 h 4428964"/>
                <a:gd name="connsiteX28" fmla="*/ 5245427 w 5818958"/>
                <a:gd name="connsiteY28" fmla="*/ 3352779 h 4428964"/>
                <a:gd name="connsiteX29" fmla="*/ 4926611 w 5818958"/>
                <a:gd name="connsiteY29" fmla="*/ 2049487 h 4428964"/>
                <a:gd name="connsiteX30" fmla="*/ 4109358 w 5818958"/>
                <a:gd name="connsiteY30" fmla="*/ 1163055 h 4428964"/>
                <a:gd name="connsiteX31" fmla="*/ 2815092 w 5818958"/>
                <a:gd name="connsiteY31" fmla="*/ 761302 h 4428964"/>
                <a:gd name="connsiteX32" fmla="*/ 1816872 w 5818958"/>
                <a:gd name="connsiteY32" fmla="*/ 1081342 h 4428964"/>
                <a:gd name="connsiteX33" fmla="*/ 807952 w 5818958"/>
                <a:gd name="connsiteY33" fmla="*/ 2111591 h 4428964"/>
                <a:gd name="connsiteX34" fmla="*/ 543881 w 5818958"/>
                <a:gd name="connsiteY34" fmla="*/ 3288247 h 4428964"/>
                <a:gd name="connsiteX0" fmla="*/ 543881 w 5818958"/>
                <a:gd name="connsiteY0" fmla="*/ 3288247 h 4385669"/>
                <a:gd name="connsiteX1" fmla="*/ 0 w 5818958"/>
                <a:gd name="connsiteY1" fmla="*/ 3193505 h 4385669"/>
                <a:gd name="connsiteX2" fmla="*/ 185633 w 5818958"/>
                <a:gd name="connsiteY2" fmla="*/ 2374266 h 4385669"/>
                <a:gd name="connsiteX3" fmla="*/ 152902 w 5818958"/>
                <a:gd name="connsiteY3" fmla="*/ 2331944 h 4385669"/>
                <a:gd name="connsiteX4" fmla="*/ 225159 w 5818958"/>
                <a:gd name="connsiteY4" fmla="*/ 2067448 h 4385669"/>
                <a:gd name="connsiteX5" fmla="*/ 260875 w 5818958"/>
                <a:gd name="connsiteY5" fmla="*/ 2050403 h 4385669"/>
                <a:gd name="connsiteX6" fmla="*/ 1268232 w 5818958"/>
                <a:gd name="connsiteY6" fmla="*/ 647002 h 4385669"/>
                <a:gd name="connsiteX7" fmla="*/ 1481148 w 5818958"/>
                <a:gd name="connsiteY7" fmla="*/ 547251 h 4385669"/>
                <a:gd name="connsiteX8" fmla="*/ 1461087 w 5818958"/>
                <a:gd name="connsiteY8" fmla="*/ 432260 h 4385669"/>
                <a:gd name="connsiteX9" fmla="*/ 1656852 w 5818958"/>
                <a:gd name="connsiteY9" fmla="*/ 380302 h 4385669"/>
                <a:gd name="connsiteX10" fmla="*/ 1674225 w 5818958"/>
                <a:gd name="connsiteY10" fmla="*/ 481442 h 4385669"/>
                <a:gd name="connsiteX11" fmla="*/ 1801300 w 5818958"/>
                <a:gd name="connsiteY11" fmla="*/ 442651 h 4385669"/>
                <a:gd name="connsiteX12" fmla="*/ 1831779 w 5818958"/>
                <a:gd name="connsiteY12" fmla="*/ 393463 h 4385669"/>
                <a:gd name="connsiteX13" fmla="*/ 2067666 w 5818958"/>
                <a:gd name="connsiteY13" fmla="*/ 319342 h 4385669"/>
                <a:gd name="connsiteX14" fmla="*/ 2108121 w 5818958"/>
                <a:gd name="connsiteY14" fmla="*/ 352592 h 4385669"/>
                <a:gd name="connsiteX15" fmla="*/ 2304663 w 5818958"/>
                <a:gd name="connsiteY15" fmla="*/ 288171 h 4385669"/>
                <a:gd name="connsiteX16" fmla="*/ 2263875 w 5818958"/>
                <a:gd name="connsiteY16" fmla="*/ 119840 h 4385669"/>
                <a:gd name="connsiteX17" fmla="*/ 2647118 w 5818958"/>
                <a:gd name="connsiteY17" fmla="*/ 0 h 4385669"/>
                <a:gd name="connsiteX18" fmla="*/ 2695416 w 5818958"/>
                <a:gd name="connsiteY18" fmla="*/ 165560 h 4385669"/>
                <a:gd name="connsiteX19" fmla="*/ 4458967 w 5818958"/>
                <a:gd name="connsiteY19" fmla="*/ 680900 h 4385669"/>
                <a:gd name="connsiteX20" fmla="*/ 5009097 w 5818958"/>
                <a:gd name="connsiteY20" fmla="*/ 1291242 h 4385669"/>
                <a:gd name="connsiteX21" fmla="*/ 5070501 w 5818958"/>
                <a:gd name="connsiteY21" fmla="*/ 1298860 h 4385669"/>
                <a:gd name="connsiteX22" fmla="*/ 5235342 w 5818958"/>
                <a:gd name="connsiteY22" fmla="*/ 1479661 h 4385669"/>
                <a:gd name="connsiteX23" fmla="*/ 5235565 w 5818958"/>
                <a:gd name="connsiteY23" fmla="*/ 1535080 h 4385669"/>
                <a:gd name="connsiteX24" fmla="*/ 5396829 w 5818958"/>
                <a:gd name="connsiteY24" fmla="*/ 1726990 h 4385669"/>
                <a:gd name="connsiteX25" fmla="*/ 5776817 w 5818958"/>
                <a:gd name="connsiteY25" fmla="*/ 3519512 h 4385669"/>
                <a:gd name="connsiteX26" fmla="*/ 5584738 w 5818958"/>
                <a:gd name="connsiteY26" fmla="*/ 4385669 h 4385669"/>
                <a:gd name="connsiteX27" fmla="*/ 5245427 w 5818958"/>
                <a:gd name="connsiteY27" fmla="*/ 3352779 h 4385669"/>
                <a:gd name="connsiteX28" fmla="*/ 4926611 w 5818958"/>
                <a:gd name="connsiteY28" fmla="*/ 2049487 h 4385669"/>
                <a:gd name="connsiteX29" fmla="*/ 4109358 w 5818958"/>
                <a:gd name="connsiteY29" fmla="*/ 1163055 h 4385669"/>
                <a:gd name="connsiteX30" fmla="*/ 2815092 w 5818958"/>
                <a:gd name="connsiteY30" fmla="*/ 761302 h 4385669"/>
                <a:gd name="connsiteX31" fmla="*/ 1816872 w 5818958"/>
                <a:gd name="connsiteY31" fmla="*/ 1081342 h 4385669"/>
                <a:gd name="connsiteX32" fmla="*/ 807952 w 5818958"/>
                <a:gd name="connsiteY32" fmla="*/ 2111591 h 4385669"/>
                <a:gd name="connsiteX33" fmla="*/ 543881 w 5818958"/>
                <a:gd name="connsiteY33" fmla="*/ 3288247 h 4385669"/>
                <a:gd name="connsiteX0" fmla="*/ 543881 w 5818958"/>
                <a:gd name="connsiteY0" fmla="*/ 3288247 h 3519512"/>
                <a:gd name="connsiteX1" fmla="*/ 0 w 5818958"/>
                <a:gd name="connsiteY1" fmla="*/ 3193505 h 3519512"/>
                <a:gd name="connsiteX2" fmla="*/ 185633 w 5818958"/>
                <a:gd name="connsiteY2" fmla="*/ 2374266 h 3519512"/>
                <a:gd name="connsiteX3" fmla="*/ 152902 w 5818958"/>
                <a:gd name="connsiteY3" fmla="*/ 2331944 h 3519512"/>
                <a:gd name="connsiteX4" fmla="*/ 225159 w 5818958"/>
                <a:gd name="connsiteY4" fmla="*/ 2067448 h 3519512"/>
                <a:gd name="connsiteX5" fmla="*/ 260875 w 5818958"/>
                <a:gd name="connsiteY5" fmla="*/ 2050403 h 3519512"/>
                <a:gd name="connsiteX6" fmla="*/ 1268232 w 5818958"/>
                <a:gd name="connsiteY6" fmla="*/ 647002 h 3519512"/>
                <a:gd name="connsiteX7" fmla="*/ 1481148 w 5818958"/>
                <a:gd name="connsiteY7" fmla="*/ 547251 h 3519512"/>
                <a:gd name="connsiteX8" fmla="*/ 1461087 w 5818958"/>
                <a:gd name="connsiteY8" fmla="*/ 432260 h 3519512"/>
                <a:gd name="connsiteX9" fmla="*/ 1656852 w 5818958"/>
                <a:gd name="connsiteY9" fmla="*/ 380302 h 3519512"/>
                <a:gd name="connsiteX10" fmla="*/ 1674225 w 5818958"/>
                <a:gd name="connsiteY10" fmla="*/ 481442 h 3519512"/>
                <a:gd name="connsiteX11" fmla="*/ 1801300 w 5818958"/>
                <a:gd name="connsiteY11" fmla="*/ 442651 h 3519512"/>
                <a:gd name="connsiteX12" fmla="*/ 1831779 w 5818958"/>
                <a:gd name="connsiteY12" fmla="*/ 393463 h 3519512"/>
                <a:gd name="connsiteX13" fmla="*/ 2067666 w 5818958"/>
                <a:gd name="connsiteY13" fmla="*/ 319342 h 3519512"/>
                <a:gd name="connsiteX14" fmla="*/ 2108121 w 5818958"/>
                <a:gd name="connsiteY14" fmla="*/ 352592 h 3519512"/>
                <a:gd name="connsiteX15" fmla="*/ 2304663 w 5818958"/>
                <a:gd name="connsiteY15" fmla="*/ 288171 h 3519512"/>
                <a:gd name="connsiteX16" fmla="*/ 2263875 w 5818958"/>
                <a:gd name="connsiteY16" fmla="*/ 119840 h 3519512"/>
                <a:gd name="connsiteX17" fmla="*/ 2647118 w 5818958"/>
                <a:gd name="connsiteY17" fmla="*/ 0 h 3519512"/>
                <a:gd name="connsiteX18" fmla="*/ 2695416 w 5818958"/>
                <a:gd name="connsiteY18" fmla="*/ 165560 h 3519512"/>
                <a:gd name="connsiteX19" fmla="*/ 4458967 w 5818958"/>
                <a:gd name="connsiteY19" fmla="*/ 680900 h 3519512"/>
                <a:gd name="connsiteX20" fmla="*/ 5009097 w 5818958"/>
                <a:gd name="connsiteY20" fmla="*/ 1291242 h 3519512"/>
                <a:gd name="connsiteX21" fmla="*/ 5070501 w 5818958"/>
                <a:gd name="connsiteY21" fmla="*/ 1298860 h 3519512"/>
                <a:gd name="connsiteX22" fmla="*/ 5235342 w 5818958"/>
                <a:gd name="connsiteY22" fmla="*/ 1479661 h 3519512"/>
                <a:gd name="connsiteX23" fmla="*/ 5235565 w 5818958"/>
                <a:gd name="connsiteY23" fmla="*/ 1535080 h 3519512"/>
                <a:gd name="connsiteX24" fmla="*/ 5396829 w 5818958"/>
                <a:gd name="connsiteY24" fmla="*/ 1726990 h 3519512"/>
                <a:gd name="connsiteX25" fmla="*/ 5776817 w 5818958"/>
                <a:gd name="connsiteY25" fmla="*/ 3519512 h 3519512"/>
                <a:gd name="connsiteX26" fmla="*/ 5245427 w 5818958"/>
                <a:gd name="connsiteY26" fmla="*/ 3352779 h 3519512"/>
                <a:gd name="connsiteX27" fmla="*/ 4926611 w 5818958"/>
                <a:gd name="connsiteY27" fmla="*/ 2049487 h 3519512"/>
                <a:gd name="connsiteX28" fmla="*/ 4109358 w 5818958"/>
                <a:gd name="connsiteY28" fmla="*/ 1163055 h 3519512"/>
                <a:gd name="connsiteX29" fmla="*/ 2815092 w 5818958"/>
                <a:gd name="connsiteY29" fmla="*/ 761302 h 3519512"/>
                <a:gd name="connsiteX30" fmla="*/ 1816872 w 5818958"/>
                <a:gd name="connsiteY30" fmla="*/ 1081342 h 3519512"/>
                <a:gd name="connsiteX31" fmla="*/ 807952 w 5818958"/>
                <a:gd name="connsiteY31" fmla="*/ 2111591 h 3519512"/>
                <a:gd name="connsiteX32" fmla="*/ 543881 w 5818958"/>
                <a:gd name="connsiteY32" fmla="*/ 3288247 h 3519512"/>
                <a:gd name="connsiteX0" fmla="*/ 543881 w 5396855"/>
                <a:gd name="connsiteY0" fmla="*/ 3288247 h 3352779"/>
                <a:gd name="connsiteX1" fmla="*/ 0 w 5396855"/>
                <a:gd name="connsiteY1" fmla="*/ 3193505 h 3352779"/>
                <a:gd name="connsiteX2" fmla="*/ 185633 w 5396855"/>
                <a:gd name="connsiteY2" fmla="*/ 2374266 h 3352779"/>
                <a:gd name="connsiteX3" fmla="*/ 152902 w 5396855"/>
                <a:gd name="connsiteY3" fmla="*/ 2331944 h 3352779"/>
                <a:gd name="connsiteX4" fmla="*/ 225159 w 5396855"/>
                <a:gd name="connsiteY4" fmla="*/ 2067448 h 3352779"/>
                <a:gd name="connsiteX5" fmla="*/ 260875 w 5396855"/>
                <a:gd name="connsiteY5" fmla="*/ 2050403 h 3352779"/>
                <a:gd name="connsiteX6" fmla="*/ 1268232 w 5396855"/>
                <a:gd name="connsiteY6" fmla="*/ 647002 h 3352779"/>
                <a:gd name="connsiteX7" fmla="*/ 1481148 w 5396855"/>
                <a:gd name="connsiteY7" fmla="*/ 547251 h 3352779"/>
                <a:gd name="connsiteX8" fmla="*/ 1461087 w 5396855"/>
                <a:gd name="connsiteY8" fmla="*/ 432260 h 3352779"/>
                <a:gd name="connsiteX9" fmla="*/ 1656852 w 5396855"/>
                <a:gd name="connsiteY9" fmla="*/ 380302 h 3352779"/>
                <a:gd name="connsiteX10" fmla="*/ 1674225 w 5396855"/>
                <a:gd name="connsiteY10" fmla="*/ 481442 h 3352779"/>
                <a:gd name="connsiteX11" fmla="*/ 1801300 w 5396855"/>
                <a:gd name="connsiteY11" fmla="*/ 442651 h 3352779"/>
                <a:gd name="connsiteX12" fmla="*/ 1831779 w 5396855"/>
                <a:gd name="connsiteY12" fmla="*/ 393463 h 3352779"/>
                <a:gd name="connsiteX13" fmla="*/ 2067666 w 5396855"/>
                <a:gd name="connsiteY13" fmla="*/ 319342 h 3352779"/>
                <a:gd name="connsiteX14" fmla="*/ 2108121 w 5396855"/>
                <a:gd name="connsiteY14" fmla="*/ 352592 h 3352779"/>
                <a:gd name="connsiteX15" fmla="*/ 2304663 w 5396855"/>
                <a:gd name="connsiteY15" fmla="*/ 288171 h 3352779"/>
                <a:gd name="connsiteX16" fmla="*/ 2263875 w 5396855"/>
                <a:gd name="connsiteY16" fmla="*/ 119840 h 3352779"/>
                <a:gd name="connsiteX17" fmla="*/ 2647118 w 5396855"/>
                <a:gd name="connsiteY17" fmla="*/ 0 h 3352779"/>
                <a:gd name="connsiteX18" fmla="*/ 2695416 w 5396855"/>
                <a:gd name="connsiteY18" fmla="*/ 165560 h 3352779"/>
                <a:gd name="connsiteX19" fmla="*/ 4458967 w 5396855"/>
                <a:gd name="connsiteY19" fmla="*/ 680900 h 3352779"/>
                <a:gd name="connsiteX20" fmla="*/ 5009097 w 5396855"/>
                <a:gd name="connsiteY20" fmla="*/ 1291242 h 3352779"/>
                <a:gd name="connsiteX21" fmla="*/ 5070501 w 5396855"/>
                <a:gd name="connsiteY21" fmla="*/ 1298860 h 3352779"/>
                <a:gd name="connsiteX22" fmla="*/ 5235342 w 5396855"/>
                <a:gd name="connsiteY22" fmla="*/ 1479661 h 3352779"/>
                <a:gd name="connsiteX23" fmla="*/ 5235565 w 5396855"/>
                <a:gd name="connsiteY23" fmla="*/ 1535080 h 3352779"/>
                <a:gd name="connsiteX24" fmla="*/ 5396829 w 5396855"/>
                <a:gd name="connsiteY24" fmla="*/ 1726990 h 3352779"/>
                <a:gd name="connsiteX25" fmla="*/ 5245427 w 5396855"/>
                <a:gd name="connsiteY25" fmla="*/ 3352779 h 3352779"/>
                <a:gd name="connsiteX26" fmla="*/ 4926611 w 5396855"/>
                <a:gd name="connsiteY26" fmla="*/ 2049487 h 3352779"/>
                <a:gd name="connsiteX27" fmla="*/ 4109358 w 5396855"/>
                <a:gd name="connsiteY27" fmla="*/ 1163055 h 3352779"/>
                <a:gd name="connsiteX28" fmla="*/ 2815092 w 5396855"/>
                <a:gd name="connsiteY28" fmla="*/ 761302 h 3352779"/>
                <a:gd name="connsiteX29" fmla="*/ 1816872 w 5396855"/>
                <a:gd name="connsiteY29" fmla="*/ 1081342 h 3352779"/>
                <a:gd name="connsiteX30" fmla="*/ 807952 w 5396855"/>
                <a:gd name="connsiteY30" fmla="*/ 2111591 h 3352779"/>
                <a:gd name="connsiteX31" fmla="*/ 543881 w 5396855"/>
                <a:gd name="connsiteY31" fmla="*/ 3288247 h 3352779"/>
                <a:gd name="connsiteX0" fmla="*/ 543881 w 5396829"/>
                <a:gd name="connsiteY0" fmla="*/ 3288247 h 3288247"/>
                <a:gd name="connsiteX1" fmla="*/ 0 w 5396829"/>
                <a:gd name="connsiteY1" fmla="*/ 3193505 h 3288247"/>
                <a:gd name="connsiteX2" fmla="*/ 185633 w 5396829"/>
                <a:gd name="connsiteY2" fmla="*/ 2374266 h 3288247"/>
                <a:gd name="connsiteX3" fmla="*/ 152902 w 5396829"/>
                <a:gd name="connsiteY3" fmla="*/ 2331944 h 3288247"/>
                <a:gd name="connsiteX4" fmla="*/ 225159 w 5396829"/>
                <a:gd name="connsiteY4" fmla="*/ 2067448 h 3288247"/>
                <a:gd name="connsiteX5" fmla="*/ 260875 w 5396829"/>
                <a:gd name="connsiteY5" fmla="*/ 2050403 h 3288247"/>
                <a:gd name="connsiteX6" fmla="*/ 1268232 w 5396829"/>
                <a:gd name="connsiteY6" fmla="*/ 647002 h 3288247"/>
                <a:gd name="connsiteX7" fmla="*/ 1481148 w 5396829"/>
                <a:gd name="connsiteY7" fmla="*/ 547251 h 3288247"/>
                <a:gd name="connsiteX8" fmla="*/ 1461087 w 5396829"/>
                <a:gd name="connsiteY8" fmla="*/ 432260 h 3288247"/>
                <a:gd name="connsiteX9" fmla="*/ 1656852 w 5396829"/>
                <a:gd name="connsiteY9" fmla="*/ 380302 h 3288247"/>
                <a:gd name="connsiteX10" fmla="*/ 1674225 w 5396829"/>
                <a:gd name="connsiteY10" fmla="*/ 481442 h 3288247"/>
                <a:gd name="connsiteX11" fmla="*/ 1801300 w 5396829"/>
                <a:gd name="connsiteY11" fmla="*/ 442651 h 3288247"/>
                <a:gd name="connsiteX12" fmla="*/ 1831779 w 5396829"/>
                <a:gd name="connsiteY12" fmla="*/ 393463 h 3288247"/>
                <a:gd name="connsiteX13" fmla="*/ 2067666 w 5396829"/>
                <a:gd name="connsiteY13" fmla="*/ 319342 h 3288247"/>
                <a:gd name="connsiteX14" fmla="*/ 2108121 w 5396829"/>
                <a:gd name="connsiteY14" fmla="*/ 352592 h 3288247"/>
                <a:gd name="connsiteX15" fmla="*/ 2304663 w 5396829"/>
                <a:gd name="connsiteY15" fmla="*/ 288171 h 3288247"/>
                <a:gd name="connsiteX16" fmla="*/ 2263875 w 5396829"/>
                <a:gd name="connsiteY16" fmla="*/ 119840 h 3288247"/>
                <a:gd name="connsiteX17" fmla="*/ 2647118 w 5396829"/>
                <a:gd name="connsiteY17" fmla="*/ 0 h 3288247"/>
                <a:gd name="connsiteX18" fmla="*/ 2695416 w 5396829"/>
                <a:gd name="connsiteY18" fmla="*/ 165560 h 3288247"/>
                <a:gd name="connsiteX19" fmla="*/ 4458967 w 5396829"/>
                <a:gd name="connsiteY19" fmla="*/ 680900 h 3288247"/>
                <a:gd name="connsiteX20" fmla="*/ 5009097 w 5396829"/>
                <a:gd name="connsiteY20" fmla="*/ 1291242 h 3288247"/>
                <a:gd name="connsiteX21" fmla="*/ 5070501 w 5396829"/>
                <a:gd name="connsiteY21" fmla="*/ 1298860 h 3288247"/>
                <a:gd name="connsiteX22" fmla="*/ 5235342 w 5396829"/>
                <a:gd name="connsiteY22" fmla="*/ 1479661 h 3288247"/>
                <a:gd name="connsiteX23" fmla="*/ 5235565 w 5396829"/>
                <a:gd name="connsiteY23" fmla="*/ 1535080 h 3288247"/>
                <a:gd name="connsiteX24" fmla="*/ 5396829 w 5396829"/>
                <a:gd name="connsiteY24" fmla="*/ 1726990 h 3288247"/>
                <a:gd name="connsiteX25" fmla="*/ 4926611 w 5396829"/>
                <a:gd name="connsiteY25" fmla="*/ 2049487 h 3288247"/>
                <a:gd name="connsiteX26" fmla="*/ 4109358 w 5396829"/>
                <a:gd name="connsiteY26" fmla="*/ 1163055 h 3288247"/>
                <a:gd name="connsiteX27" fmla="*/ 2815092 w 5396829"/>
                <a:gd name="connsiteY27" fmla="*/ 761302 h 3288247"/>
                <a:gd name="connsiteX28" fmla="*/ 1816872 w 5396829"/>
                <a:gd name="connsiteY28" fmla="*/ 1081342 h 3288247"/>
                <a:gd name="connsiteX29" fmla="*/ 807952 w 5396829"/>
                <a:gd name="connsiteY29" fmla="*/ 2111591 h 3288247"/>
                <a:gd name="connsiteX30" fmla="*/ 543881 w 5396829"/>
                <a:gd name="connsiteY30" fmla="*/ 3288247 h 3288247"/>
                <a:gd name="connsiteX0" fmla="*/ 543881 w 5396829"/>
                <a:gd name="connsiteY0" fmla="*/ 3288247 h 3288247"/>
                <a:gd name="connsiteX1" fmla="*/ 0 w 5396829"/>
                <a:gd name="connsiteY1" fmla="*/ 3193505 h 3288247"/>
                <a:gd name="connsiteX2" fmla="*/ 185633 w 5396829"/>
                <a:gd name="connsiteY2" fmla="*/ 2374266 h 3288247"/>
                <a:gd name="connsiteX3" fmla="*/ 152902 w 5396829"/>
                <a:gd name="connsiteY3" fmla="*/ 2331944 h 3288247"/>
                <a:gd name="connsiteX4" fmla="*/ 225159 w 5396829"/>
                <a:gd name="connsiteY4" fmla="*/ 2067448 h 3288247"/>
                <a:gd name="connsiteX5" fmla="*/ 260875 w 5396829"/>
                <a:gd name="connsiteY5" fmla="*/ 2050403 h 3288247"/>
                <a:gd name="connsiteX6" fmla="*/ 1268232 w 5396829"/>
                <a:gd name="connsiteY6" fmla="*/ 647002 h 3288247"/>
                <a:gd name="connsiteX7" fmla="*/ 1481148 w 5396829"/>
                <a:gd name="connsiteY7" fmla="*/ 547251 h 3288247"/>
                <a:gd name="connsiteX8" fmla="*/ 1461087 w 5396829"/>
                <a:gd name="connsiteY8" fmla="*/ 432260 h 3288247"/>
                <a:gd name="connsiteX9" fmla="*/ 1656852 w 5396829"/>
                <a:gd name="connsiteY9" fmla="*/ 380302 h 3288247"/>
                <a:gd name="connsiteX10" fmla="*/ 1674225 w 5396829"/>
                <a:gd name="connsiteY10" fmla="*/ 481442 h 3288247"/>
                <a:gd name="connsiteX11" fmla="*/ 1801300 w 5396829"/>
                <a:gd name="connsiteY11" fmla="*/ 442651 h 3288247"/>
                <a:gd name="connsiteX12" fmla="*/ 1831779 w 5396829"/>
                <a:gd name="connsiteY12" fmla="*/ 393463 h 3288247"/>
                <a:gd name="connsiteX13" fmla="*/ 2067666 w 5396829"/>
                <a:gd name="connsiteY13" fmla="*/ 319342 h 3288247"/>
                <a:gd name="connsiteX14" fmla="*/ 2108121 w 5396829"/>
                <a:gd name="connsiteY14" fmla="*/ 352592 h 3288247"/>
                <a:gd name="connsiteX15" fmla="*/ 2304663 w 5396829"/>
                <a:gd name="connsiteY15" fmla="*/ 288171 h 3288247"/>
                <a:gd name="connsiteX16" fmla="*/ 2263875 w 5396829"/>
                <a:gd name="connsiteY16" fmla="*/ 119840 h 3288247"/>
                <a:gd name="connsiteX17" fmla="*/ 2647118 w 5396829"/>
                <a:gd name="connsiteY17" fmla="*/ 0 h 3288247"/>
                <a:gd name="connsiteX18" fmla="*/ 2695416 w 5396829"/>
                <a:gd name="connsiteY18" fmla="*/ 165560 h 3288247"/>
                <a:gd name="connsiteX19" fmla="*/ 4458967 w 5396829"/>
                <a:gd name="connsiteY19" fmla="*/ 680900 h 3288247"/>
                <a:gd name="connsiteX20" fmla="*/ 5009097 w 5396829"/>
                <a:gd name="connsiteY20" fmla="*/ 1291242 h 3288247"/>
                <a:gd name="connsiteX21" fmla="*/ 5070501 w 5396829"/>
                <a:gd name="connsiteY21" fmla="*/ 1298860 h 3288247"/>
                <a:gd name="connsiteX22" fmla="*/ 5235342 w 5396829"/>
                <a:gd name="connsiteY22" fmla="*/ 1479661 h 3288247"/>
                <a:gd name="connsiteX23" fmla="*/ 5235565 w 5396829"/>
                <a:gd name="connsiteY23" fmla="*/ 1535080 h 3288247"/>
                <a:gd name="connsiteX24" fmla="*/ 5396829 w 5396829"/>
                <a:gd name="connsiteY24" fmla="*/ 1726990 h 3288247"/>
                <a:gd name="connsiteX25" fmla="*/ 4109358 w 5396829"/>
                <a:gd name="connsiteY25" fmla="*/ 1163055 h 3288247"/>
                <a:gd name="connsiteX26" fmla="*/ 2815092 w 5396829"/>
                <a:gd name="connsiteY26" fmla="*/ 761302 h 3288247"/>
                <a:gd name="connsiteX27" fmla="*/ 1816872 w 5396829"/>
                <a:gd name="connsiteY27" fmla="*/ 1081342 h 3288247"/>
                <a:gd name="connsiteX28" fmla="*/ 807952 w 5396829"/>
                <a:gd name="connsiteY28" fmla="*/ 2111591 h 3288247"/>
                <a:gd name="connsiteX29" fmla="*/ 543881 w 5396829"/>
                <a:gd name="connsiteY29" fmla="*/ 3288247 h 3288247"/>
                <a:gd name="connsiteX0" fmla="*/ 543881 w 5235565"/>
                <a:gd name="connsiteY0" fmla="*/ 3288247 h 3288247"/>
                <a:gd name="connsiteX1" fmla="*/ 0 w 5235565"/>
                <a:gd name="connsiteY1" fmla="*/ 3193505 h 3288247"/>
                <a:gd name="connsiteX2" fmla="*/ 185633 w 5235565"/>
                <a:gd name="connsiteY2" fmla="*/ 2374266 h 3288247"/>
                <a:gd name="connsiteX3" fmla="*/ 152902 w 5235565"/>
                <a:gd name="connsiteY3" fmla="*/ 2331944 h 3288247"/>
                <a:gd name="connsiteX4" fmla="*/ 225159 w 5235565"/>
                <a:gd name="connsiteY4" fmla="*/ 2067448 h 3288247"/>
                <a:gd name="connsiteX5" fmla="*/ 260875 w 5235565"/>
                <a:gd name="connsiteY5" fmla="*/ 2050403 h 3288247"/>
                <a:gd name="connsiteX6" fmla="*/ 1268232 w 5235565"/>
                <a:gd name="connsiteY6" fmla="*/ 647002 h 3288247"/>
                <a:gd name="connsiteX7" fmla="*/ 1481148 w 5235565"/>
                <a:gd name="connsiteY7" fmla="*/ 547251 h 3288247"/>
                <a:gd name="connsiteX8" fmla="*/ 1461087 w 5235565"/>
                <a:gd name="connsiteY8" fmla="*/ 432260 h 3288247"/>
                <a:gd name="connsiteX9" fmla="*/ 1656852 w 5235565"/>
                <a:gd name="connsiteY9" fmla="*/ 380302 h 3288247"/>
                <a:gd name="connsiteX10" fmla="*/ 1674225 w 5235565"/>
                <a:gd name="connsiteY10" fmla="*/ 481442 h 3288247"/>
                <a:gd name="connsiteX11" fmla="*/ 1801300 w 5235565"/>
                <a:gd name="connsiteY11" fmla="*/ 442651 h 3288247"/>
                <a:gd name="connsiteX12" fmla="*/ 1831779 w 5235565"/>
                <a:gd name="connsiteY12" fmla="*/ 393463 h 3288247"/>
                <a:gd name="connsiteX13" fmla="*/ 2067666 w 5235565"/>
                <a:gd name="connsiteY13" fmla="*/ 319342 h 3288247"/>
                <a:gd name="connsiteX14" fmla="*/ 2108121 w 5235565"/>
                <a:gd name="connsiteY14" fmla="*/ 352592 h 3288247"/>
                <a:gd name="connsiteX15" fmla="*/ 2304663 w 5235565"/>
                <a:gd name="connsiteY15" fmla="*/ 288171 h 3288247"/>
                <a:gd name="connsiteX16" fmla="*/ 2263875 w 5235565"/>
                <a:gd name="connsiteY16" fmla="*/ 119840 h 3288247"/>
                <a:gd name="connsiteX17" fmla="*/ 2647118 w 5235565"/>
                <a:gd name="connsiteY17" fmla="*/ 0 h 3288247"/>
                <a:gd name="connsiteX18" fmla="*/ 2695416 w 5235565"/>
                <a:gd name="connsiteY18" fmla="*/ 165560 h 3288247"/>
                <a:gd name="connsiteX19" fmla="*/ 4458967 w 5235565"/>
                <a:gd name="connsiteY19" fmla="*/ 680900 h 3288247"/>
                <a:gd name="connsiteX20" fmla="*/ 5009097 w 5235565"/>
                <a:gd name="connsiteY20" fmla="*/ 1291242 h 3288247"/>
                <a:gd name="connsiteX21" fmla="*/ 5070501 w 5235565"/>
                <a:gd name="connsiteY21" fmla="*/ 1298860 h 3288247"/>
                <a:gd name="connsiteX22" fmla="*/ 5235342 w 5235565"/>
                <a:gd name="connsiteY22" fmla="*/ 1479661 h 3288247"/>
                <a:gd name="connsiteX23" fmla="*/ 5235565 w 5235565"/>
                <a:gd name="connsiteY23" fmla="*/ 1535080 h 3288247"/>
                <a:gd name="connsiteX24" fmla="*/ 4109358 w 5235565"/>
                <a:gd name="connsiteY24" fmla="*/ 1163055 h 3288247"/>
                <a:gd name="connsiteX25" fmla="*/ 2815092 w 5235565"/>
                <a:gd name="connsiteY25" fmla="*/ 761302 h 3288247"/>
                <a:gd name="connsiteX26" fmla="*/ 1816872 w 5235565"/>
                <a:gd name="connsiteY26" fmla="*/ 1081342 h 3288247"/>
                <a:gd name="connsiteX27" fmla="*/ 807952 w 5235565"/>
                <a:gd name="connsiteY27" fmla="*/ 2111591 h 3288247"/>
                <a:gd name="connsiteX28" fmla="*/ 543881 w 5235565"/>
                <a:gd name="connsiteY28" fmla="*/ 3288247 h 3288247"/>
                <a:gd name="connsiteX0" fmla="*/ 543881 w 5235342"/>
                <a:gd name="connsiteY0" fmla="*/ 3288247 h 3288247"/>
                <a:gd name="connsiteX1" fmla="*/ 0 w 5235342"/>
                <a:gd name="connsiteY1" fmla="*/ 3193505 h 3288247"/>
                <a:gd name="connsiteX2" fmla="*/ 185633 w 5235342"/>
                <a:gd name="connsiteY2" fmla="*/ 2374266 h 3288247"/>
                <a:gd name="connsiteX3" fmla="*/ 152902 w 5235342"/>
                <a:gd name="connsiteY3" fmla="*/ 2331944 h 3288247"/>
                <a:gd name="connsiteX4" fmla="*/ 225159 w 5235342"/>
                <a:gd name="connsiteY4" fmla="*/ 2067448 h 3288247"/>
                <a:gd name="connsiteX5" fmla="*/ 260875 w 5235342"/>
                <a:gd name="connsiteY5" fmla="*/ 2050403 h 3288247"/>
                <a:gd name="connsiteX6" fmla="*/ 1268232 w 5235342"/>
                <a:gd name="connsiteY6" fmla="*/ 647002 h 3288247"/>
                <a:gd name="connsiteX7" fmla="*/ 1481148 w 5235342"/>
                <a:gd name="connsiteY7" fmla="*/ 547251 h 3288247"/>
                <a:gd name="connsiteX8" fmla="*/ 1461087 w 5235342"/>
                <a:gd name="connsiteY8" fmla="*/ 432260 h 3288247"/>
                <a:gd name="connsiteX9" fmla="*/ 1656852 w 5235342"/>
                <a:gd name="connsiteY9" fmla="*/ 380302 h 3288247"/>
                <a:gd name="connsiteX10" fmla="*/ 1674225 w 5235342"/>
                <a:gd name="connsiteY10" fmla="*/ 481442 h 3288247"/>
                <a:gd name="connsiteX11" fmla="*/ 1801300 w 5235342"/>
                <a:gd name="connsiteY11" fmla="*/ 442651 h 3288247"/>
                <a:gd name="connsiteX12" fmla="*/ 1831779 w 5235342"/>
                <a:gd name="connsiteY12" fmla="*/ 393463 h 3288247"/>
                <a:gd name="connsiteX13" fmla="*/ 2067666 w 5235342"/>
                <a:gd name="connsiteY13" fmla="*/ 319342 h 3288247"/>
                <a:gd name="connsiteX14" fmla="*/ 2108121 w 5235342"/>
                <a:gd name="connsiteY14" fmla="*/ 352592 h 3288247"/>
                <a:gd name="connsiteX15" fmla="*/ 2304663 w 5235342"/>
                <a:gd name="connsiteY15" fmla="*/ 288171 h 3288247"/>
                <a:gd name="connsiteX16" fmla="*/ 2263875 w 5235342"/>
                <a:gd name="connsiteY16" fmla="*/ 119840 h 3288247"/>
                <a:gd name="connsiteX17" fmla="*/ 2647118 w 5235342"/>
                <a:gd name="connsiteY17" fmla="*/ 0 h 3288247"/>
                <a:gd name="connsiteX18" fmla="*/ 2695416 w 5235342"/>
                <a:gd name="connsiteY18" fmla="*/ 165560 h 3288247"/>
                <a:gd name="connsiteX19" fmla="*/ 4458967 w 5235342"/>
                <a:gd name="connsiteY19" fmla="*/ 680900 h 3288247"/>
                <a:gd name="connsiteX20" fmla="*/ 5009097 w 5235342"/>
                <a:gd name="connsiteY20" fmla="*/ 1291242 h 3288247"/>
                <a:gd name="connsiteX21" fmla="*/ 5070501 w 5235342"/>
                <a:gd name="connsiteY21" fmla="*/ 1298860 h 3288247"/>
                <a:gd name="connsiteX22" fmla="*/ 5235342 w 5235342"/>
                <a:gd name="connsiteY22" fmla="*/ 1479661 h 3288247"/>
                <a:gd name="connsiteX23" fmla="*/ 4109358 w 5235342"/>
                <a:gd name="connsiteY23" fmla="*/ 1163055 h 3288247"/>
                <a:gd name="connsiteX24" fmla="*/ 2815092 w 5235342"/>
                <a:gd name="connsiteY24" fmla="*/ 761302 h 3288247"/>
                <a:gd name="connsiteX25" fmla="*/ 1816872 w 5235342"/>
                <a:gd name="connsiteY25" fmla="*/ 1081342 h 3288247"/>
                <a:gd name="connsiteX26" fmla="*/ 807952 w 5235342"/>
                <a:gd name="connsiteY26" fmla="*/ 2111591 h 3288247"/>
                <a:gd name="connsiteX27" fmla="*/ 543881 w 5235342"/>
                <a:gd name="connsiteY27" fmla="*/ 3288247 h 3288247"/>
                <a:gd name="connsiteX0" fmla="*/ 543881 w 5070501"/>
                <a:gd name="connsiteY0" fmla="*/ 3288247 h 3288247"/>
                <a:gd name="connsiteX1" fmla="*/ 0 w 5070501"/>
                <a:gd name="connsiteY1" fmla="*/ 3193505 h 3288247"/>
                <a:gd name="connsiteX2" fmla="*/ 185633 w 5070501"/>
                <a:gd name="connsiteY2" fmla="*/ 2374266 h 3288247"/>
                <a:gd name="connsiteX3" fmla="*/ 152902 w 5070501"/>
                <a:gd name="connsiteY3" fmla="*/ 2331944 h 3288247"/>
                <a:gd name="connsiteX4" fmla="*/ 225159 w 5070501"/>
                <a:gd name="connsiteY4" fmla="*/ 2067448 h 3288247"/>
                <a:gd name="connsiteX5" fmla="*/ 260875 w 5070501"/>
                <a:gd name="connsiteY5" fmla="*/ 2050403 h 3288247"/>
                <a:gd name="connsiteX6" fmla="*/ 1268232 w 5070501"/>
                <a:gd name="connsiteY6" fmla="*/ 647002 h 3288247"/>
                <a:gd name="connsiteX7" fmla="*/ 1481148 w 5070501"/>
                <a:gd name="connsiteY7" fmla="*/ 547251 h 3288247"/>
                <a:gd name="connsiteX8" fmla="*/ 1461087 w 5070501"/>
                <a:gd name="connsiteY8" fmla="*/ 432260 h 3288247"/>
                <a:gd name="connsiteX9" fmla="*/ 1656852 w 5070501"/>
                <a:gd name="connsiteY9" fmla="*/ 380302 h 3288247"/>
                <a:gd name="connsiteX10" fmla="*/ 1674225 w 5070501"/>
                <a:gd name="connsiteY10" fmla="*/ 481442 h 3288247"/>
                <a:gd name="connsiteX11" fmla="*/ 1801300 w 5070501"/>
                <a:gd name="connsiteY11" fmla="*/ 442651 h 3288247"/>
                <a:gd name="connsiteX12" fmla="*/ 1831779 w 5070501"/>
                <a:gd name="connsiteY12" fmla="*/ 393463 h 3288247"/>
                <a:gd name="connsiteX13" fmla="*/ 2067666 w 5070501"/>
                <a:gd name="connsiteY13" fmla="*/ 319342 h 3288247"/>
                <a:gd name="connsiteX14" fmla="*/ 2108121 w 5070501"/>
                <a:gd name="connsiteY14" fmla="*/ 352592 h 3288247"/>
                <a:gd name="connsiteX15" fmla="*/ 2304663 w 5070501"/>
                <a:gd name="connsiteY15" fmla="*/ 288171 h 3288247"/>
                <a:gd name="connsiteX16" fmla="*/ 2263875 w 5070501"/>
                <a:gd name="connsiteY16" fmla="*/ 119840 h 3288247"/>
                <a:gd name="connsiteX17" fmla="*/ 2647118 w 5070501"/>
                <a:gd name="connsiteY17" fmla="*/ 0 h 3288247"/>
                <a:gd name="connsiteX18" fmla="*/ 2695416 w 5070501"/>
                <a:gd name="connsiteY18" fmla="*/ 165560 h 3288247"/>
                <a:gd name="connsiteX19" fmla="*/ 4458967 w 5070501"/>
                <a:gd name="connsiteY19" fmla="*/ 680900 h 3288247"/>
                <a:gd name="connsiteX20" fmla="*/ 5009097 w 5070501"/>
                <a:gd name="connsiteY20" fmla="*/ 1291242 h 3288247"/>
                <a:gd name="connsiteX21" fmla="*/ 5070501 w 5070501"/>
                <a:gd name="connsiteY21" fmla="*/ 1298860 h 3288247"/>
                <a:gd name="connsiteX22" fmla="*/ 4109358 w 5070501"/>
                <a:gd name="connsiteY22" fmla="*/ 1163055 h 3288247"/>
                <a:gd name="connsiteX23" fmla="*/ 2815092 w 5070501"/>
                <a:gd name="connsiteY23" fmla="*/ 761302 h 3288247"/>
                <a:gd name="connsiteX24" fmla="*/ 1816872 w 5070501"/>
                <a:gd name="connsiteY24" fmla="*/ 1081342 h 3288247"/>
                <a:gd name="connsiteX25" fmla="*/ 807952 w 5070501"/>
                <a:gd name="connsiteY25" fmla="*/ 2111591 h 3288247"/>
                <a:gd name="connsiteX26" fmla="*/ 543881 w 5070501"/>
                <a:gd name="connsiteY26" fmla="*/ 3288247 h 3288247"/>
                <a:gd name="connsiteX0" fmla="*/ 543881 w 5009097"/>
                <a:gd name="connsiteY0" fmla="*/ 3288247 h 3288247"/>
                <a:gd name="connsiteX1" fmla="*/ 0 w 5009097"/>
                <a:gd name="connsiteY1" fmla="*/ 3193505 h 3288247"/>
                <a:gd name="connsiteX2" fmla="*/ 185633 w 5009097"/>
                <a:gd name="connsiteY2" fmla="*/ 2374266 h 3288247"/>
                <a:gd name="connsiteX3" fmla="*/ 152902 w 5009097"/>
                <a:gd name="connsiteY3" fmla="*/ 2331944 h 3288247"/>
                <a:gd name="connsiteX4" fmla="*/ 225159 w 5009097"/>
                <a:gd name="connsiteY4" fmla="*/ 2067448 h 3288247"/>
                <a:gd name="connsiteX5" fmla="*/ 260875 w 5009097"/>
                <a:gd name="connsiteY5" fmla="*/ 2050403 h 3288247"/>
                <a:gd name="connsiteX6" fmla="*/ 1268232 w 5009097"/>
                <a:gd name="connsiteY6" fmla="*/ 647002 h 3288247"/>
                <a:gd name="connsiteX7" fmla="*/ 1481148 w 5009097"/>
                <a:gd name="connsiteY7" fmla="*/ 547251 h 3288247"/>
                <a:gd name="connsiteX8" fmla="*/ 1461087 w 5009097"/>
                <a:gd name="connsiteY8" fmla="*/ 432260 h 3288247"/>
                <a:gd name="connsiteX9" fmla="*/ 1656852 w 5009097"/>
                <a:gd name="connsiteY9" fmla="*/ 380302 h 3288247"/>
                <a:gd name="connsiteX10" fmla="*/ 1674225 w 5009097"/>
                <a:gd name="connsiteY10" fmla="*/ 481442 h 3288247"/>
                <a:gd name="connsiteX11" fmla="*/ 1801300 w 5009097"/>
                <a:gd name="connsiteY11" fmla="*/ 442651 h 3288247"/>
                <a:gd name="connsiteX12" fmla="*/ 1831779 w 5009097"/>
                <a:gd name="connsiteY12" fmla="*/ 393463 h 3288247"/>
                <a:gd name="connsiteX13" fmla="*/ 2067666 w 5009097"/>
                <a:gd name="connsiteY13" fmla="*/ 319342 h 3288247"/>
                <a:gd name="connsiteX14" fmla="*/ 2108121 w 5009097"/>
                <a:gd name="connsiteY14" fmla="*/ 352592 h 3288247"/>
                <a:gd name="connsiteX15" fmla="*/ 2304663 w 5009097"/>
                <a:gd name="connsiteY15" fmla="*/ 288171 h 3288247"/>
                <a:gd name="connsiteX16" fmla="*/ 2263875 w 5009097"/>
                <a:gd name="connsiteY16" fmla="*/ 119840 h 3288247"/>
                <a:gd name="connsiteX17" fmla="*/ 2647118 w 5009097"/>
                <a:gd name="connsiteY17" fmla="*/ 0 h 3288247"/>
                <a:gd name="connsiteX18" fmla="*/ 2695416 w 5009097"/>
                <a:gd name="connsiteY18" fmla="*/ 165560 h 3288247"/>
                <a:gd name="connsiteX19" fmla="*/ 4458967 w 5009097"/>
                <a:gd name="connsiteY19" fmla="*/ 680900 h 3288247"/>
                <a:gd name="connsiteX20" fmla="*/ 5009097 w 5009097"/>
                <a:gd name="connsiteY20" fmla="*/ 1291242 h 3288247"/>
                <a:gd name="connsiteX21" fmla="*/ 4109358 w 5009097"/>
                <a:gd name="connsiteY21" fmla="*/ 1163055 h 3288247"/>
                <a:gd name="connsiteX22" fmla="*/ 2815092 w 5009097"/>
                <a:gd name="connsiteY22" fmla="*/ 761302 h 3288247"/>
                <a:gd name="connsiteX23" fmla="*/ 1816872 w 5009097"/>
                <a:gd name="connsiteY23" fmla="*/ 1081342 h 3288247"/>
                <a:gd name="connsiteX24" fmla="*/ 807952 w 5009097"/>
                <a:gd name="connsiteY24" fmla="*/ 2111591 h 3288247"/>
                <a:gd name="connsiteX25" fmla="*/ 543881 w 5009097"/>
                <a:gd name="connsiteY25" fmla="*/ 3288247 h 3288247"/>
                <a:gd name="connsiteX0" fmla="*/ 543881 w 4458967"/>
                <a:gd name="connsiteY0" fmla="*/ 3288247 h 3288247"/>
                <a:gd name="connsiteX1" fmla="*/ 0 w 4458967"/>
                <a:gd name="connsiteY1" fmla="*/ 3193505 h 3288247"/>
                <a:gd name="connsiteX2" fmla="*/ 185633 w 4458967"/>
                <a:gd name="connsiteY2" fmla="*/ 2374266 h 3288247"/>
                <a:gd name="connsiteX3" fmla="*/ 152902 w 4458967"/>
                <a:gd name="connsiteY3" fmla="*/ 2331944 h 3288247"/>
                <a:gd name="connsiteX4" fmla="*/ 225159 w 4458967"/>
                <a:gd name="connsiteY4" fmla="*/ 2067448 h 3288247"/>
                <a:gd name="connsiteX5" fmla="*/ 260875 w 4458967"/>
                <a:gd name="connsiteY5" fmla="*/ 2050403 h 3288247"/>
                <a:gd name="connsiteX6" fmla="*/ 1268232 w 4458967"/>
                <a:gd name="connsiteY6" fmla="*/ 647002 h 3288247"/>
                <a:gd name="connsiteX7" fmla="*/ 1481148 w 4458967"/>
                <a:gd name="connsiteY7" fmla="*/ 547251 h 3288247"/>
                <a:gd name="connsiteX8" fmla="*/ 1461087 w 4458967"/>
                <a:gd name="connsiteY8" fmla="*/ 432260 h 3288247"/>
                <a:gd name="connsiteX9" fmla="*/ 1656852 w 4458967"/>
                <a:gd name="connsiteY9" fmla="*/ 380302 h 3288247"/>
                <a:gd name="connsiteX10" fmla="*/ 1674225 w 4458967"/>
                <a:gd name="connsiteY10" fmla="*/ 481442 h 3288247"/>
                <a:gd name="connsiteX11" fmla="*/ 1801300 w 4458967"/>
                <a:gd name="connsiteY11" fmla="*/ 442651 h 3288247"/>
                <a:gd name="connsiteX12" fmla="*/ 1831779 w 4458967"/>
                <a:gd name="connsiteY12" fmla="*/ 393463 h 3288247"/>
                <a:gd name="connsiteX13" fmla="*/ 2067666 w 4458967"/>
                <a:gd name="connsiteY13" fmla="*/ 319342 h 3288247"/>
                <a:gd name="connsiteX14" fmla="*/ 2108121 w 4458967"/>
                <a:gd name="connsiteY14" fmla="*/ 352592 h 3288247"/>
                <a:gd name="connsiteX15" fmla="*/ 2304663 w 4458967"/>
                <a:gd name="connsiteY15" fmla="*/ 288171 h 3288247"/>
                <a:gd name="connsiteX16" fmla="*/ 2263875 w 4458967"/>
                <a:gd name="connsiteY16" fmla="*/ 119840 h 3288247"/>
                <a:gd name="connsiteX17" fmla="*/ 2647118 w 4458967"/>
                <a:gd name="connsiteY17" fmla="*/ 0 h 3288247"/>
                <a:gd name="connsiteX18" fmla="*/ 2695416 w 4458967"/>
                <a:gd name="connsiteY18" fmla="*/ 165560 h 3288247"/>
                <a:gd name="connsiteX19" fmla="*/ 4458967 w 4458967"/>
                <a:gd name="connsiteY19" fmla="*/ 680900 h 3288247"/>
                <a:gd name="connsiteX20" fmla="*/ 4109358 w 4458967"/>
                <a:gd name="connsiteY20" fmla="*/ 1163055 h 3288247"/>
                <a:gd name="connsiteX21" fmla="*/ 2815092 w 4458967"/>
                <a:gd name="connsiteY21" fmla="*/ 761302 h 3288247"/>
                <a:gd name="connsiteX22" fmla="*/ 1816872 w 4458967"/>
                <a:gd name="connsiteY22" fmla="*/ 1081342 h 3288247"/>
                <a:gd name="connsiteX23" fmla="*/ 807952 w 4458967"/>
                <a:gd name="connsiteY23" fmla="*/ 2111591 h 3288247"/>
                <a:gd name="connsiteX24" fmla="*/ 543881 w 4458967"/>
                <a:gd name="connsiteY24" fmla="*/ 3288247 h 3288247"/>
                <a:gd name="connsiteX0" fmla="*/ 543881 w 4458967"/>
                <a:gd name="connsiteY0" fmla="*/ 3288247 h 3288247"/>
                <a:gd name="connsiteX1" fmla="*/ 0 w 4458967"/>
                <a:gd name="connsiteY1" fmla="*/ 3193505 h 3288247"/>
                <a:gd name="connsiteX2" fmla="*/ 185633 w 4458967"/>
                <a:gd name="connsiteY2" fmla="*/ 2374266 h 3288247"/>
                <a:gd name="connsiteX3" fmla="*/ 152902 w 4458967"/>
                <a:gd name="connsiteY3" fmla="*/ 2331944 h 3288247"/>
                <a:gd name="connsiteX4" fmla="*/ 225159 w 4458967"/>
                <a:gd name="connsiteY4" fmla="*/ 2067448 h 3288247"/>
                <a:gd name="connsiteX5" fmla="*/ 260875 w 4458967"/>
                <a:gd name="connsiteY5" fmla="*/ 2050403 h 3288247"/>
                <a:gd name="connsiteX6" fmla="*/ 1268232 w 4458967"/>
                <a:gd name="connsiteY6" fmla="*/ 647002 h 3288247"/>
                <a:gd name="connsiteX7" fmla="*/ 1481148 w 4458967"/>
                <a:gd name="connsiteY7" fmla="*/ 547251 h 3288247"/>
                <a:gd name="connsiteX8" fmla="*/ 1461087 w 4458967"/>
                <a:gd name="connsiteY8" fmla="*/ 432260 h 3288247"/>
                <a:gd name="connsiteX9" fmla="*/ 1656852 w 4458967"/>
                <a:gd name="connsiteY9" fmla="*/ 380302 h 3288247"/>
                <a:gd name="connsiteX10" fmla="*/ 1674225 w 4458967"/>
                <a:gd name="connsiteY10" fmla="*/ 481442 h 3288247"/>
                <a:gd name="connsiteX11" fmla="*/ 1801300 w 4458967"/>
                <a:gd name="connsiteY11" fmla="*/ 442651 h 3288247"/>
                <a:gd name="connsiteX12" fmla="*/ 1831779 w 4458967"/>
                <a:gd name="connsiteY12" fmla="*/ 393463 h 3288247"/>
                <a:gd name="connsiteX13" fmla="*/ 2067666 w 4458967"/>
                <a:gd name="connsiteY13" fmla="*/ 319342 h 3288247"/>
                <a:gd name="connsiteX14" fmla="*/ 2108121 w 4458967"/>
                <a:gd name="connsiteY14" fmla="*/ 352592 h 3288247"/>
                <a:gd name="connsiteX15" fmla="*/ 2304663 w 4458967"/>
                <a:gd name="connsiteY15" fmla="*/ 288171 h 3288247"/>
                <a:gd name="connsiteX16" fmla="*/ 2263875 w 4458967"/>
                <a:gd name="connsiteY16" fmla="*/ 119840 h 3288247"/>
                <a:gd name="connsiteX17" fmla="*/ 2647118 w 4458967"/>
                <a:gd name="connsiteY17" fmla="*/ 0 h 3288247"/>
                <a:gd name="connsiteX18" fmla="*/ 2695416 w 4458967"/>
                <a:gd name="connsiteY18" fmla="*/ 165560 h 3288247"/>
                <a:gd name="connsiteX19" fmla="*/ 4458967 w 4458967"/>
                <a:gd name="connsiteY19" fmla="*/ 680900 h 3288247"/>
                <a:gd name="connsiteX20" fmla="*/ 2815092 w 4458967"/>
                <a:gd name="connsiteY20" fmla="*/ 761302 h 3288247"/>
                <a:gd name="connsiteX21" fmla="*/ 1816872 w 4458967"/>
                <a:gd name="connsiteY21" fmla="*/ 1081342 h 3288247"/>
                <a:gd name="connsiteX22" fmla="*/ 807952 w 4458967"/>
                <a:gd name="connsiteY22" fmla="*/ 2111591 h 3288247"/>
                <a:gd name="connsiteX23" fmla="*/ 543881 w 4458967"/>
                <a:gd name="connsiteY23" fmla="*/ 3288247 h 3288247"/>
                <a:gd name="connsiteX0" fmla="*/ 543881 w 2862337"/>
                <a:gd name="connsiteY0" fmla="*/ 3288247 h 3288247"/>
                <a:gd name="connsiteX1" fmla="*/ 0 w 2862337"/>
                <a:gd name="connsiteY1" fmla="*/ 3193505 h 3288247"/>
                <a:gd name="connsiteX2" fmla="*/ 185633 w 2862337"/>
                <a:gd name="connsiteY2" fmla="*/ 2374266 h 3288247"/>
                <a:gd name="connsiteX3" fmla="*/ 152902 w 2862337"/>
                <a:gd name="connsiteY3" fmla="*/ 2331944 h 3288247"/>
                <a:gd name="connsiteX4" fmla="*/ 225159 w 2862337"/>
                <a:gd name="connsiteY4" fmla="*/ 2067448 h 3288247"/>
                <a:gd name="connsiteX5" fmla="*/ 260875 w 2862337"/>
                <a:gd name="connsiteY5" fmla="*/ 2050403 h 3288247"/>
                <a:gd name="connsiteX6" fmla="*/ 1268232 w 2862337"/>
                <a:gd name="connsiteY6" fmla="*/ 647002 h 3288247"/>
                <a:gd name="connsiteX7" fmla="*/ 1481148 w 2862337"/>
                <a:gd name="connsiteY7" fmla="*/ 547251 h 3288247"/>
                <a:gd name="connsiteX8" fmla="*/ 1461087 w 2862337"/>
                <a:gd name="connsiteY8" fmla="*/ 432260 h 3288247"/>
                <a:gd name="connsiteX9" fmla="*/ 1656852 w 2862337"/>
                <a:gd name="connsiteY9" fmla="*/ 380302 h 3288247"/>
                <a:gd name="connsiteX10" fmla="*/ 1674225 w 2862337"/>
                <a:gd name="connsiteY10" fmla="*/ 481442 h 3288247"/>
                <a:gd name="connsiteX11" fmla="*/ 1801300 w 2862337"/>
                <a:gd name="connsiteY11" fmla="*/ 442651 h 3288247"/>
                <a:gd name="connsiteX12" fmla="*/ 1831779 w 2862337"/>
                <a:gd name="connsiteY12" fmla="*/ 393463 h 3288247"/>
                <a:gd name="connsiteX13" fmla="*/ 2067666 w 2862337"/>
                <a:gd name="connsiteY13" fmla="*/ 319342 h 3288247"/>
                <a:gd name="connsiteX14" fmla="*/ 2108121 w 2862337"/>
                <a:gd name="connsiteY14" fmla="*/ 352592 h 3288247"/>
                <a:gd name="connsiteX15" fmla="*/ 2304663 w 2862337"/>
                <a:gd name="connsiteY15" fmla="*/ 288171 h 3288247"/>
                <a:gd name="connsiteX16" fmla="*/ 2263875 w 2862337"/>
                <a:gd name="connsiteY16" fmla="*/ 119840 h 3288247"/>
                <a:gd name="connsiteX17" fmla="*/ 2647118 w 2862337"/>
                <a:gd name="connsiteY17" fmla="*/ 0 h 3288247"/>
                <a:gd name="connsiteX18" fmla="*/ 2695416 w 2862337"/>
                <a:gd name="connsiteY18" fmla="*/ 165560 h 3288247"/>
                <a:gd name="connsiteX19" fmla="*/ 2815092 w 2862337"/>
                <a:gd name="connsiteY19" fmla="*/ 761302 h 3288247"/>
                <a:gd name="connsiteX20" fmla="*/ 1816872 w 2862337"/>
                <a:gd name="connsiteY20" fmla="*/ 1081342 h 3288247"/>
                <a:gd name="connsiteX21" fmla="*/ 807952 w 2862337"/>
                <a:gd name="connsiteY21" fmla="*/ 2111591 h 3288247"/>
                <a:gd name="connsiteX22" fmla="*/ 543881 w 2862337"/>
                <a:gd name="connsiteY22" fmla="*/ 3288247 h 3288247"/>
                <a:gd name="connsiteX0" fmla="*/ 543881 w 2862337"/>
                <a:gd name="connsiteY0" fmla="*/ 3288247 h 3288247"/>
                <a:gd name="connsiteX1" fmla="*/ 0 w 2862337"/>
                <a:gd name="connsiteY1" fmla="*/ 3193505 h 3288247"/>
                <a:gd name="connsiteX2" fmla="*/ 185633 w 2862337"/>
                <a:gd name="connsiteY2" fmla="*/ 2374266 h 3288247"/>
                <a:gd name="connsiteX3" fmla="*/ 152902 w 2862337"/>
                <a:gd name="connsiteY3" fmla="*/ 2331944 h 3288247"/>
                <a:gd name="connsiteX4" fmla="*/ 225159 w 2862337"/>
                <a:gd name="connsiteY4" fmla="*/ 2067448 h 3288247"/>
                <a:gd name="connsiteX5" fmla="*/ 260875 w 2862337"/>
                <a:gd name="connsiteY5" fmla="*/ 2050403 h 3288247"/>
                <a:gd name="connsiteX6" fmla="*/ 1268232 w 2862337"/>
                <a:gd name="connsiteY6" fmla="*/ 647002 h 3288247"/>
                <a:gd name="connsiteX7" fmla="*/ 1481148 w 2862337"/>
                <a:gd name="connsiteY7" fmla="*/ 547251 h 3288247"/>
                <a:gd name="connsiteX8" fmla="*/ 1461087 w 2862337"/>
                <a:gd name="connsiteY8" fmla="*/ 432260 h 3288247"/>
                <a:gd name="connsiteX9" fmla="*/ 1656852 w 2862337"/>
                <a:gd name="connsiteY9" fmla="*/ 380302 h 3288247"/>
                <a:gd name="connsiteX10" fmla="*/ 1674225 w 2862337"/>
                <a:gd name="connsiteY10" fmla="*/ 481442 h 3288247"/>
                <a:gd name="connsiteX11" fmla="*/ 1801300 w 2862337"/>
                <a:gd name="connsiteY11" fmla="*/ 442651 h 3288247"/>
                <a:gd name="connsiteX12" fmla="*/ 2067666 w 2862337"/>
                <a:gd name="connsiteY12" fmla="*/ 319342 h 3288247"/>
                <a:gd name="connsiteX13" fmla="*/ 2108121 w 2862337"/>
                <a:gd name="connsiteY13" fmla="*/ 352592 h 3288247"/>
                <a:gd name="connsiteX14" fmla="*/ 2304663 w 2862337"/>
                <a:gd name="connsiteY14" fmla="*/ 288171 h 3288247"/>
                <a:gd name="connsiteX15" fmla="*/ 2263875 w 2862337"/>
                <a:gd name="connsiteY15" fmla="*/ 119840 h 3288247"/>
                <a:gd name="connsiteX16" fmla="*/ 2647118 w 2862337"/>
                <a:gd name="connsiteY16" fmla="*/ 0 h 3288247"/>
                <a:gd name="connsiteX17" fmla="*/ 2695416 w 2862337"/>
                <a:gd name="connsiteY17" fmla="*/ 165560 h 3288247"/>
                <a:gd name="connsiteX18" fmla="*/ 2815092 w 2862337"/>
                <a:gd name="connsiteY18" fmla="*/ 761302 h 3288247"/>
                <a:gd name="connsiteX19" fmla="*/ 1816872 w 2862337"/>
                <a:gd name="connsiteY19" fmla="*/ 1081342 h 3288247"/>
                <a:gd name="connsiteX20" fmla="*/ 807952 w 2862337"/>
                <a:gd name="connsiteY20" fmla="*/ 2111591 h 3288247"/>
                <a:gd name="connsiteX21" fmla="*/ 543881 w 2862337"/>
                <a:gd name="connsiteY21" fmla="*/ 3288247 h 3288247"/>
                <a:gd name="connsiteX0" fmla="*/ 543881 w 2862337"/>
                <a:gd name="connsiteY0" fmla="*/ 3288247 h 3288247"/>
                <a:gd name="connsiteX1" fmla="*/ 0 w 2862337"/>
                <a:gd name="connsiteY1" fmla="*/ 3193505 h 3288247"/>
                <a:gd name="connsiteX2" fmla="*/ 185633 w 2862337"/>
                <a:gd name="connsiteY2" fmla="*/ 2374266 h 3288247"/>
                <a:gd name="connsiteX3" fmla="*/ 152902 w 2862337"/>
                <a:gd name="connsiteY3" fmla="*/ 2331944 h 3288247"/>
                <a:gd name="connsiteX4" fmla="*/ 225159 w 2862337"/>
                <a:gd name="connsiteY4" fmla="*/ 2067448 h 3288247"/>
                <a:gd name="connsiteX5" fmla="*/ 260875 w 2862337"/>
                <a:gd name="connsiteY5" fmla="*/ 2050403 h 3288247"/>
                <a:gd name="connsiteX6" fmla="*/ 1268232 w 2862337"/>
                <a:gd name="connsiteY6" fmla="*/ 647002 h 3288247"/>
                <a:gd name="connsiteX7" fmla="*/ 1481148 w 2862337"/>
                <a:gd name="connsiteY7" fmla="*/ 547251 h 3288247"/>
                <a:gd name="connsiteX8" fmla="*/ 1461087 w 2862337"/>
                <a:gd name="connsiteY8" fmla="*/ 432260 h 3288247"/>
                <a:gd name="connsiteX9" fmla="*/ 1656852 w 2862337"/>
                <a:gd name="connsiteY9" fmla="*/ 380302 h 3288247"/>
                <a:gd name="connsiteX10" fmla="*/ 1674225 w 2862337"/>
                <a:gd name="connsiteY10" fmla="*/ 481442 h 3288247"/>
                <a:gd name="connsiteX11" fmla="*/ 2067666 w 2862337"/>
                <a:gd name="connsiteY11" fmla="*/ 319342 h 3288247"/>
                <a:gd name="connsiteX12" fmla="*/ 2108121 w 2862337"/>
                <a:gd name="connsiteY12" fmla="*/ 352592 h 3288247"/>
                <a:gd name="connsiteX13" fmla="*/ 2304663 w 2862337"/>
                <a:gd name="connsiteY13" fmla="*/ 288171 h 3288247"/>
                <a:gd name="connsiteX14" fmla="*/ 2263875 w 2862337"/>
                <a:gd name="connsiteY14" fmla="*/ 119840 h 3288247"/>
                <a:gd name="connsiteX15" fmla="*/ 2647118 w 2862337"/>
                <a:gd name="connsiteY15" fmla="*/ 0 h 3288247"/>
                <a:gd name="connsiteX16" fmla="*/ 2695416 w 2862337"/>
                <a:gd name="connsiteY16" fmla="*/ 165560 h 3288247"/>
                <a:gd name="connsiteX17" fmla="*/ 2815092 w 2862337"/>
                <a:gd name="connsiteY17" fmla="*/ 761302 h 3288247"/>
                <a:gd name="connsiteX18" fmla="*/ 1816872 w 2862337"/>
                <a:gd name="connsiteY18" fmla="*/ 1081342 h 3288247"/>
                <a:gd name="connsiteX19" fmla="*/ 807952 w 2862337"/>
                <a:gd name="connsiteY19" fmla="*/ 2111591 h 3288247"/>
                <a:gd name="connsiteX20" fmla="*/ 543881 w 2862337"/>
                <a:gd name="connsiteY20" fmla="*/ 3288247 h 3288247"/>
                <a:gd name="connsiteX0" fmla="*/ 543881 w 2862337"/>
                <a:gd name="connsiteY0" fmla="*/ 3288247 h 3288247"/>
                <a:gd name="connsiteX1" fmla="*/ 0 w 2862337"/>
                <a:gd name="connsiteY1" fmla="*/ 3193505 h 3288247"/>
                <a:gd name="connsiteX2" fmla="*/ 185633 w 2862337"/>
                <a:gd name="connsiteY2" fmla="*/ 2374266 h 3288247"/>
                <a:gd name="connsiteX3" fmla="*/ 152902 w 2862337"/>
                <a:gd name="connsiteY3" fmla="*/ 2331944 h 3288247"/>
                <a:gd name="connsiteX4" fmla="*/ 225159 w 2862337"/>
                <a:gd name="connsiteY4" fmla="*/ 2067448 h 3288247"/>
                <a:gd name="connsiteX5" fmla="*/ 260875 w 2862337"/>
                <a:gd name="connsiteY5" fmla="*/ 2050403 h 3288247"/>
                <a:gd name="connsiteX6" fmla="*/ 1268232 w 2862337"/>
                <a:gd name="connsiteY6" fmla="*/ 647002 h 3288247"/>
                <a:gd name="connsiteX7" fmla="*/ 1481148 w 2862337"/>
                <a:gd name="connsiteY7" fmla="*/ 547251 h 3288247"/>
                <a:gd name="connsiteX8" fmla="*/ 1461087 w 2862337"/>
                <a:gd name="connsiteY8" fmla="*/ 432260 h 3288247"/>
                <a:gd name="connsiteX9" fmla="*/ 1656852 w 2862337"/>
                <a:gd name="connsiteY9" fmla="*/ 380302 h 3288247"/>
                <a:gd name="connsiteX10" fmla="*/ 1674225 w 2862337"/>
                <a:gd name="connsiteY10" fmla="*/ 481442 h 3288247"/>
                <a:gd name="connsiteX11" fmla="*/ 2067666 w 2862337"/>
                <a:gd name="connsiteY11" fmla="*/ 319342 h 3288247"/>
                <a:gd name="connsiteX12" fmla="*/ 2304663 w 2862337"/>
                <a:gd name="connsiteY12" fmla="*/ 288171 h 3288247"/>
                <a:gd name="connsiteX13" fmla="*/ 2263875 w 2862337"/>
                <a:gd name="connsiteY13" fmla="*/ 119840 h 3288247"/>
                <a:gd name="connsiteX14" fmla="*/ 2647118 w 2862337"/>
                <a:gd name="connsiteY14" fmla="*/ 0 h 3288247"/>
                <a:gd name="connsiteX15" fmla="*/ 2695416 w 2862337"/>
                <a:gd name="connsiteY15" fmla="*/ 165560 h 3288247"/>
                <a:gd name="connsiteX16" fmla="*/ 2815092 w 2862337"/>
                <a:gd name="connsiteY16" fmla="*/ 761302 h 3288247"/>
                <a:gd name="connsiteX17" fmla="*/ 1816872 w 2862337"/>
                <a:gd name="connsiteY17" fmla="*/ 1081342 h 3288247"/>
                <a:gd name="connsiteX18" fmla="*/ 807952 w 2862337"/>
                <a:gd name="connsiteY18" fmla="*/ 2111591 h 3288247"/>
                <a:gd name="connsiteX19" fmla="*/ 543881 w 2862337"/>
                <a:gd name="connsiteY19" fmla="*/ 3288247 h 3288247"/>
                <a:gd name="connsiteX0" fmla="*/ 543881 w 2862337"/>
                <a:gd name="connsiteY0" fmla="*/ 3288247 h 3288247"/>
                <a:gd name="connsiteX1" fmla="*/ 0 w 2862337"/>
                <a:gd name="connsiteY1" fmla="*/ 3193505 h 3288247"/>
                <a:gd name="connsiteX2" fmla="*/ 185633 w 2862337"/>
                <a:gd name="connsiteY2" fmla="*/ 2374266 h 3288247"/>
                <a:gd name="connsiteX3" fmla="*/ 152902 w 2862337"/>
                <a:gd name="connsiteY3" fmla="*/ 2331944 h 3288247"/>
                <a:gd name="connsiteX4" fmla="*/ 225159 w 2862337"/>
                <a:gd name="connsiteY4" fmla="*/ 2067448 h 3288247"/>
                <a:gd name="connsiteX5" fmla="*/ 260875 w 2862337"/>
                <a:gd name="connsiteY5" fmla="*/ 2050403 h 3288247"/>
                <a:gd name="connsiteX6" fmla="*/ 1268232 w 2862337"/>
                <a:gd name="connsiteY6" fmla="*/ 647002 h 3288247"/>
                <a:gd name="connsiteX7" fmla="*/ 1481148 w 2862337"/>
                <a:gd name="connsiteY7" fmla="*/ 547251 h 3288247"/>
                <a:gd name="connsiteX8" fmla="*/ 1461087 w 2862337"/>
                <a:gd name="connsiteY8" fmla="*/ 432260 h 3288247"/>
                <a:gd name="connsiteX9" fmla="*/ 1656852 w 2862337"/>
                <a:gd name="connsiteY9" fmla="*/ 380302 h 3288247"/>
                <a:gd name="connsiteX10" fmla="*/ 1674225 w 2862337"/>
                <a:gd name="connsiteY10" fmla="*/ 481442 h 3288247"/>
                <a:gd name="connsiteX11" fmla="*/ 2304663 w 2862337"/>
                <a:gd name="connsiteY11" fmla="*/ 288171 h 3288247"/>
                <a:gd name="connsiteX12" fmla="*/ 2263875 w 2862337"/>
                <a:gd name="connsiteY12" fmla="*/ 119840 h 3288247"/>
                <a:gd name="connsiteX13" fmla="*/ 2647118 w 2862337"/>
                <a:gd name="connsiteY13" fmla="*/ 0 h 3288247"/>
                <a:gd name="connsiteX14" fmla="*/ 2695416 w 2862337"/>
                <a:gd name="connsiteY14" fmla="*/ 165560 h 3288247"/>
                <a:gd name="connsiteX15" fmla="*/ 2815092 w 2862337"/>
                <a:gd name="connsiteY15" fmla="*/ 761302 h 3288247"/>
                <a:gd name="connsiteX16" fmla="*/ 1816872 w 2862337"/>
                <a:gd name="connsiteY16" fmla="*/ 1081342 h 3288247"/>
                <a:gd name="connsiteX17" fmla="*/ 807952 w 2862337"/>
                <a:gd name="connsiteY17" fmla="*/ 2111591 h 3288247"/>
                <a:gd name="connsiteX18" fmla="*/ 543881 w 2862337"/>
                <a:gd name="connsiteY18" fmla="*/ 3288247 h 3288247"/>
                <a:gd name="connsiteX0" fmla="*/ 543881 w 2862337"/>
                <a:gd name="connsiteY0" fmla="*/ 3288247 h 3288247"/>
                <a:gd name="connsiteX1" fmla="*/ 0 w 2862337"/>
                <a:gd name="connsiteY1" fmla="*/ 3193505 h 3288247"/>
                <a:gd name="connsiteX2" fmla="*/ 185633 w 2862337"/>
                <a:gd name="connsiteY2" fmla="*/ 2374266 h 3288247"/>
                <a:gd name="connsiteX3" fmla="*/ 152902 w 2862337"/>
                <a:gd name="connsiteY3" fmla="*/ 2331944 h 3288247"/>
                <a:gd name="connsiteX4" fmla="*/ 225159 w 2862337"/>
                <a:gd name="connsiteY4" fmla="*/ 2067448 h 3288247"/>
                <a:gd name="connsiteX5" fmla="*/ 260875 w 2862337"/>
                <a:gd name="connsiteY5" fmla="*/ 2050403 h 3288247"/>
                <a:gd name="connsiteX6" fmla="*/ 1268232 w 2862337"/>
                <a:gd name="connsiteY6" fmla="*/ 647002 h 3288247"/>
                <a:gd name="connsiteX7" fmla="*/ 1481148 w 2862337"/>
                <a:gd name="connsiteY7" fmla="*/ 547251 h 3288247"/>
                <a:gd name="connsiteX8" fmla="*/ 1461087 w 2862337"/>
                <a:gd name="connsiteY8" fmla="*/ 432260 h 3288247"/>
                <a:gd name="connsiteX9" fmla="*/ 1656852 w 2862337"/>
                <a:gd name="connsiteY9" fmla="*/ 380302 h 3288247"/>
                <a:gd name="connsiteX10" fmla="*/ 1674225 w 2862337"/>
                <a:gd name="connsiteY10" fmla="*/ 481442 h 3288247"/>
                <a:gd name="connsiteX11" fmla="*/ 2263875 w 2862337"/>
                <a:gd name="connsiteY11" fmla="*/ 119840 h 3288247"/>
                <a:gd name="connsiteX12" fmla="*/ 2647118 w 2862337"/>
                <a:gd name="connsiteY12" fmla="*/ 0 h 3288247"/>
                <a:gd name="connsiteX13" fmla="*/ 2695416 w 2862337"/>
                <a:gd name="connsiteY13" fmla="*/ 165560 h 3288247"/>
                <a:gd name="connsiteX14" fmla="*/ 2815092 w 2862337"/>
                <a:gd name="connsiteY14" fmla="*/ 761302 h 3288247"/>
                <a:gd name="connsiteX15" fmla="*/ 1816872 w 2862337"/>
                <a:gd name="connsiteY15" fmla="*/ 1081342 h 3288247"/>
                <a:gd name="connsiteX16" fmla="*/ 807952 w 2862337"/>
                <a:gd name="connsiteY16" fmla="*/ 2111591 h 3288247"/>
                <a:gd name="connsiteX17" fmla="*/ 543881 w 2862337"/>
                <a:gd name="connsiteY17" fmla="*/ 3288247 h 3288247"/>
                <a:gd name="connsiteX0" fmla="*/ 543881 w 2862337"/>
                <a:gd name="connsiteY0" fmla="*/ 3288247 h 3288247"/>
                <a:gd name="connsiteX1" fmla="*/ 0 w 2862337"/>
                <a:gd name="connsiteY1" fmla="*/ 3193505 h 3288247"/>
                <a:gd name="connsiteX2" fmla="*/ 185633 w 2862337"/>
                <a:gd name="connsiteY2" fmla="*/ 2374266 h 3288247"/>
                <a:gd name="connsiteX3" fmla="*/ 152902 w 2862337"/>
                <a:gd name="connsiteY3" fmla="*/ 2331944 h 3288247"/>
                <a:gd name="connsiteX4" fmla="*/ 225159 w 2862337"/>
                <a:gd name="connsiteY4" fmla="*/ 2067448 h 3288247"/>
                <a:gd name="connsiteX5" fmla="*/ 260875 w 2862337"/>
                <a:gd name="connsiteY5" fmla="*/ 2050403 h 3288247"/>
                <a:gd name="connsiteX6" fmla="*/ 1268232 w 2862337"/>
                <a:gd name="connsiteY6" fmla="*/ 647002 h 3288247"/>
                <a:gd name="connsiteX7" fmla="*/ 1481148 w 2862337"/>
                <a:gd name="connsiteY7" fmla="*/ 547251 h 3288247"/>
                <a:gd name="connsiteX8" fmla="*/ 1461087 w 2862337"/>
                <a:gd name="connsiteY8" fmla="*/ 432260 h 3288247"/>
                <a:gd name="connsiteX9" fmla="*/ 1656852 w 2862337"/>
                <a:gd name="connsiteY9" fmla="*/ 380302 h 3288247"/>
                <a:gd name="connsiteX10" fmla="*/ 1674225 w 2862337"/>
                <a:gd name="connsiteY10" fmla="*/ 481442 h 3288247"/>
                <a:gd name="connsiteX11" fmla="*/ 2647118 w 2862337"/>
                <a:gd name="connsiteY11" fmla="*/ 0 h 3288247"/>
                <a:gd name="connsiteX12" fmla="*/ 2695416 w 2862337"/>
                <a:gd name="connsiteY12" fmla="*/ 165560 h 3288247"/>
                <a:gd name="connsiteX13" fmla="*/ 2815092 w 2862337"/>
                <a:gd name="connsiteY13" fmla="*/ 761302 h 3288247"/>
                <a:gd name="connsiteX14" fmla="*/ 1816872 w 2862337"/>
                <a:gd name="connsiteY14" fmla="*/ 1081342 h 3288247"/>
                <a:gd name="connsiteX15" fmla="*/ 807952 w 2862337"/>
                <a:gd name="connsiteY15" fmla="*/ 2111591 h 3288247"/>
                <a:gd name="connsiteX16" fmla="*/ 543881 w 2862337"/>
                <a:gd name="connsiteY16" fmla="*/ 3288247 h 3288247"/>
                <a:gd name="connsiteX0" fmla="*/ 543881 w 2862337"/>
                <a:gd name="connsiteY0" fmla="*/ 3122687 h 3122687"/>
                <a:gd name="connsiteX1" fmla="*/ 0 w 2862337"/>
                <a:gd name="connsiteY1" fmla="*/ 3027945 h 3122687"/>
                <a:gd name="connsiteX2" fmla="*/ 185633 w 2862337"/>
                <a:gd name="connsiteY2" fmla="*/ 2208706 h 3122687"/>
                <a:gd name="connsiteX3" fmla="*/ 152902 w 2862337"/>
                <a:gd name="connsiteY3" fmla="*/ 2166384 h 3122687"/>
                <a:gd name="connsiteX4" fmla="*/ 225159 w 2862337"/>
                <a:gd name="connsiteY4" fmla="*/ 1901888 h 3122687"/>
                <a:gd name="connsiteX5" fmla="*/ 260875 w 2862337"/>
                <a:gd name="connsiteY5" fmla="*/ 1884843 h 3122687"/>
                <a:gd name="connsiteX6" fmla="*/ 1268232 w 2862337"/>
                <a:gd name="connsiteY6" fmla="*/ 481442 h 3122687"/>
                <a:gd name="connsiteX7" fmla="*/ 1481148 w 2862337"/>
                <a:gd name="connsiteY7" fmla="*/ 381691 h 3122687"/>
                <a:gd name="connsiteX8" fmla="*/ 1461087 w 2862337"/>
                <a:gd name="connsiteY8" fmla="*/ 266700 h 3122687"/>
                <a:gd name="connsiteX9" fmla="*/ 1656852 w 2862337"/>
                <a:gd name="connsiteY9" fmla="*/ 214742 h 3122687"/>
                <a:gd name="connsiteX10" fmla="*/ 1674225 w 2862337"/>
                <a:gd name="connsiteY10" fmla="*/ 315882 h 3122687"/>
                <a:gd name="connsiteX11" fmla="*/ 2695416 w 2862337"/>
                <a:gd name="connsiteY11" fmla="*/ 0 h 3122687"/>
                <a:gd name="connsiteX12" fmla="*/ 2815092 w 2862337"/>
                <a:gd name="connsiteY12" fmla="*/ 595742 h 3122687"/>
                <a:gd name="connsiteX13" fmla="*/ 1816872 w 2862337"/>
                <a:gd name="connsiteY13" fmla="*/ 915782 h 3122687"/>
                <a:gd name="connsiteX14" fmla="*/ 807952 w 2862337"/>
                <a:gd name="connsiteY14" fmla="*/ 1946031 h 3122687"/>
                <a:gd name="connsiteX15" fmla="*/ 543881 w 2862337"/>
                <a:gd name="connsiteY15" fmla="*/ 3122687 h 3122687"/>
                <a:gd name="connsiteX0" fmla="*/ 543881 w 2815092"/>
                <a:gd name="connsiteY0" fmla="*/ 2907945 h 2907945"/>
                <a:gd name="connsiteX1" fmla="*/ 0 w 2815092"/>
                <a:gd name="connsiteY1" fmla="*/ 2813203 h 2907945"/>
                <a:gd name="connsiteX2" fmla="*/ 185633 w 2815092"/>
                <a:gd name="connsiteY2" fmla="*/ 1993964 h 2907945"/>
                <a:gd name="connsiteX3" fmla="*/ 152902 w 2815092"/>
                <a:gd name="connsiteY3" fmla="*/ 1951642 h 2907945"/>
                <a:gd name="connsiteX4" fmla="*/ 225159 w 2815092"/>
                <a:gd name="connsiteY4" fmla="*/ 1687146 h 2907945"/>
                <a:gd name="connsiteX5" fmla="*/ 260875 w 2815092"/>
                <a:gd name="connsiteY5" fmla="*/ 1670101 h 2907945"/>
                <a:gd name="connsiteX6" fmla="*/ 1268232 w 2815092"/>
                <a:gd name="connsiteY6" fmla="*/ 266700 h 2907945"/>
                <a:gd name="connsiteX7" fmla="*/ 1481148 w 2815092"/>
                <a:gd name="connsiteY7" fmla="*/ 166949 h 2907945"/>
                <a:gd name="connsiteX8" fmla="*/ 1461087 w 2815092"/>
                <a:gd name="connsiteY8" fmla="*/ 51958 h 2907945"/>
                <a:gd name="connsiteX9" fmla="*/ 1656852 w 2815092"/>
                <a:gd name="connsiteY9" fmla="*/ 0 h 2907945"/>
                <a:gd name="connsiteX10" fmla="*/ 1674225 w 2815092"/>
                <a:gd name="connsiteY10" fmla="*/ 101140 h 2907945"/>
                <a:gd name="connsiteX11" fmla="*/ 2815092 w 2815092"/>
                <a:gd name="connsiteY11" fmla="*/ 381000 h 2907945"/>
                <a:gd name="connsiteX12" fmla="*/ 1816872 w 2815092"/>
                <a:gd name="connsiteY12" fmla="*/ 701040 h 2907945"/>
                <a:gd name="connsiteX13" fmla="*/ 807952 w 2815092"/>
                <a:gd name="connsiteY13" fmla="*/ 1731289 h 2907945"/>
                <a:gd name="connsiteX14" fmla="*/ 543881 w 2815092"/>
                <a:gd name="connsiteY14" fmla="*/ 2907945 h 2907945"/>
                <a:gd name="connsiteX0" fmla="*/ 543881 w 1816872"/>
                <a:gd name="connsiteY0" fmla="*/ 2907945 h 2907945"/>
                <a:gd name="connsiteX1" fmla="*/ 0 w 1816872"/>
                <a:gd name="connsiteY1" fmla="*/ 2813203 h 2907945"/>
                <a:gd name="connsiteX2" fmla="*/ 185633 w 1816872"/>
                <a:gd name="connsiteY2" fmla="*/ 1993964 h 2907945"/>
                <a:gd name="connsiteX3" fmla="*/ 152902 w 1816872"/>
                <a:gd name="connsiteY3" fmla="*/ 1951642 h 2907945"/>
                <a:gd name="connsiteX4" fmla="*/ 225159 w 1816872"/>
                <a:gd name="connsiteY4" fmla="*/ 1687146 h 2907945"/>
                <a:gd name="connsiteX5" fmla="*/ 260875 w 1816872"/>
                <a:gd name="connsiteY5" fmla="*/ 1670101 h 2907945"/>
                <a:gd name="connsiteX6" fmla="*/ 1268232 w 1816872"/>
                <a:gd name="connsiteY6" fmla="*/ 266700 h 2907945"/>
                <a:gd name="connsiteX7" fmla="*/ 1481148 w 1816872"/>
                <a:gd name="connsiteY7" fmla="*/ 166949 h 2907945"/>
                <a:gd name="connsiteX8" fmla="*/ 1461087 w 1816872"/>
                <a:gd name="connsiteY8" fmla="*/ 51958 h 2907945"/>
                <a:gd name="connsiteX9" fmla="*/ 1656852 w 1816872"/>
                <a:gd name="connsiteY9" fmla="*/ 0 h 2907945"/>
                <a:gd name="connsiteX10" fmla="*/ 1674225 w 1816872"/>
                <a:gd name="connsiteY10" fmla="*/ 101140 h 2907945"/>
                <a:gd name="connsiteX11" fmla="*/ 1816872 w 1816872"/>
                <a:gd name="connsiteY11" fmla="*/ 701040 h 2907945"/>
                <a:gd name="connsiteX12" fmla="*/ 807952 w 1816872"/>
                <a:gd name="connsiteY12" fmla="*/ 1731289 h 2907945"/>
                <a:gd name="connsiteX13" fmla="*/ 543881 w 1816872"/>
                <a:gd name="connsiteY13" fmla="*/ 2907945 h 2907945"/>
                <a:gd name="connsiteX0" fmla="*/ 543881 w 1826875"/>
                <a:gd name="connsiteY0" fmla="*/ 2907945 h 2907945"/>
                <a:gd name="connsiteX1" fmla="*/ 0 w 1826875"/>
                <a:gd name="connsiteY1" fmla="*/ 2813203 h 2907945"/>
                <a:gd name="connsiteX2" fmla="*/ 185633 w 1826875"/>
                <a:gd name="connsiteY2" fmla="*/ 1993964 h 2907945"/>
                <a:gd name="connsiteX3" fmla="*/ 152902 w 1826875"/>
                <a:gd name="connsiteY3" fmla="*/ 1951642 h 2907945"/>
                <a:gd name="connsiteX4" fmla="*/ 225159 w 1826875"/>
                <a:gd name="connsiteY4" fmla="*/ 1687146 h 2907945"/>
                <a:gd name="connsiteX5" fmla="*/ 260875 w 1826875"/>
                <a:gd name="connsiteY5" fmla="*/ 1670101 h 2907945"/>
                <a:gd name="connsiteX6" fmla="*/ 1268232 w 1826875"/>
                <a:gd name="connsiteY6" fmla="*/ 266700 h 2907945"/>
                <a:gd name="connsiteX7" fmla="*/ 1481148 w 1826875"/>
                <a:gd name="connsiteY7" fmla="*/ 166949 h 2907945"/>
                <a:gd name="connsiteX8" fmla="*/ 1461087 w 1826875"/>
                <a:gd name="connsiteY8" fmla="*/ 51958 h 2907945"/>
                <a:gd name="connsiteX9" fmla="*/ 1656852 w 1826875"/>
                <a:gd name="connsiteY9" fmla="*/ 0 h 2907945"/>
                <a:gd name="connsiteX10" fmla="*/ 1674225 w 1826875"/>
                <a:gd name="connsiteY10" fmla="*/ 101140 h 2907945"/>
                <a:gd name="connsiteX11" fmla="*/ 1826875 w 1826875"/>
                <a:gd name="connsiteY11" fmla="*/ 684877 h 2907945"/>
                <a:gd name="connsiteX12" fmla="*/ 807952 w 1826875"/>
                <a:gd name="connsiteY12" fmla="*/ 1731289 h 2907945"/>
                <a:gd name="connsiteX13" fmla="*/ 543881 w 1826875"/>
                <a:gd name="connsiteY13" fmla="*/ 2907945 h 2907945"/>
                <a:gd name="connsiteX0" fmla="*/ 543881 w 1826875"/>
                <a:gd name="connsiteY0" fmla="*/ 2907945 h 2907945"/>
                <a:gd name="connsiteX1" fmla="*/ 0 w 1826875"/>
                <a:gd name="connsiteY1" fmla="*/ 2813203 h 2907945"/>
                <a:gd name="connsiteX2" fmla="*/ 185633 w 1826875"/>
                <a:gd name="connsiteY2" fmla="*/ 1993964 h 2907945"/>
                <a:gd name="connsiteX3" fmla="*/ 152902 w 1826875"/>
                <a:gd name="connsiteY3" fmla="*/ 1951642 h 2907945"/>
                <a:gd name="connsiteX4" fmla="*/ 225159 w 1826875"/>
                <a:gd name="connsiteY4" fmla="*/ 1687146 h 2907945"/>
                <a:gd name="connsiteX5" fmla="*/ 260875 w 1826875"/>
                <a:gd name="connsiteY5" fmla="*/ 1670101 h 2907945"/>
                <a:gd name="connsiteX6" fmla="*/ 1268232 w 1826875"/>
                <a:gd name="connsiteY6" fmla="*/ 266700 h 2907945"/>
                <a:gd name="connsiteX7" fmla="*/ 1481148 w 1826875"/>
                <a:gd name="connsiteY7" fmla="*/ 166949 h 2907945"/>
                <a:gd name="connsiteX8" fmla="*/ 1461087 w 1826875"/>
                <a:gd name="connsiteY8" fmla="*/ 51958 h 2907945"/>
                <a:gd name="connsiteX9" fmla="*/ 1656852 w 1826875"/>
                <a:gd name="connsiteY9" fmla="*/ 0 h 2907945"/>
                <a:gd name="connsiteX10" fmla="*/ 1674225 w 1826875"/>
                <a:gd name="connsiteY10" fmla="*/ 101140 h 2907945"/>
                <a:gd name="connsiteX11" fmla="*/ 1826875 w 1826875"/>
                <a:gd name="connsiteY11" fmla="*/ 684877 h 2907945"/>
                <a:gd name="connsiteX12" fmla="*/ 824695 w 1826875"/>
                <a:gd name="connsiteY12" fmla="*/ 1731288 h 2907945"/>
                <a:gd name="connsiteX13" fmla="*/ 543881 w 1826875"/>
                <a:gd name="connsiteY13" fmla="*/ 2907945 h 2907945"/>
                <a:gd name="connsiteX0" fmla="*/ 543881 w 1826875"/>
                <a:gd name="connsiteY0" fmla="*/ 2907945 h 2907945"/>
                <a:gd name="connsiteX1" fmla="*/ 0 w 1826875"/>
                <a:gd name="connsiteY1" fmla="*/ 2813203 h 2907945"/>
                <a:gd name="connsiteX2" fmla="*/ 185633 w 1826875"/>
                <a:gd name="connsiteY2" fmla="*/ 1993964 h 2907945"/>
                <a:gd name="connsiteX3" fmla="*/ 152902 w 1826875"/>
                <a:gd name="connsiteY3" fmla="*/ 1951642 h 2907945"/>
                <a:gd name="connsiteX4" fmla="*/ 225159 w 1826875"/>
                <a:gd name="connsiteY4" fmla="*/ 1687146 h 2907945"/>
                <a:gd name="connsiteX5" fmla="*/ 260875 w 1826875"/>
                <a:gd name="connsiteY5" fmla="*/ 1670101 h 2907945"/>
                <a:gd name="connsiteX6" fmla="*/ 1268232 w 1826875"/>
                <a:gd name="connsiteY6" fmla="*/ 266700 h 2907945"/>
                <a:gd name="connsiteX7" fmla="*/ 1481148 w 1826875"/>
                <a:gd name="connsiteY7" fmla="*/ 166949 h 2907945"/>
                <a:gd name="connsiteX8" fmla="*/ 1461087 w 1826875"/>
                <a:gd name="connsiteY8" fmla="*/ 51958 h 2907945"/>
                <a:gd name="connsiteX9" fmla="*/ 1656852 w 1826875"/>
                <a:gd name="connsiteY9" fmla="*/ 0 h 2907945"/>
                <a:gd name="connsiteX10" fmla="*/ 1767202 w 1826875"/>
                <a:gd name="connsiteY10" fmla="*/ 56171 h 2907945"/>
                <a:gd name="connsiteX11" fmla="*/ 1826875 w 1826875"/>
                <a:gd name="connsiteY11" fmla="*/ 684877 h 2907945"/>
                <a:gd name="connsiteX12" fmla="*/ 824695 w 1826875"/>
                <a:gd name="connsiteY12" fmla="*/ 1731288 h 2907945"/>
                <a:gd name="connsiteX13" fmla="*/ 543881 w 1826875"/>
                <a:gd name="connsiteY13" fmla="*/ 2907945 h 2907945"/>
                <a:gd name="connsiteX0" fmla="*/ 543881 w 1888861"/>
                <a:gd name="connsiteY0" fmla="*/ 2907945 h 2907945"/>
                <a:gd name="connsiteX1" fmla="*/ 0 w 1888861"/>
                <a:gd name="connsiteY1" fmla="*/ 2813203 h 2907945"/>
                <a:gd name="connsiteX2" fmla="*/ 185633 w 1888861"/>
                <a:gd name="connsiteY2" fmla="*/ 1993964 h 2907945"/>
                <a:gd name="connsiteX3" fmla="*/ 152902 w 1888861"/>
                <a:gd name="connsiteY3" fmla="*/ 1951642 h 2907945"/>
                <a:gd name="connsiteX4" fmla="*/ 225159 w 1888861"/>
                <a:gd name="connsiteY4" fmla="*/ 1687146 h 2907945"/>
                <a:gd name="connsiteX5" fmla="*/ 260875 w 1888861"/>
                <a:gd name="connsiteY5" fmla="*/ 1670101 h 2907945"/>
                <a:gd name="connsiteX6" fmla="*/ 1268232 w 1888861"/>
                <a:gd name="connsiteY6" fmla="*/ 266700 h 2907945"/>
                <a:gd name="connsiteX7" fmla="*/ 1481148 w 1888861"/>
                <a:gd name="connsiteY7" fmla="*/ 166949 h 2907945"/>
                <a:gd name="connsiteX8" fmla="*/ 1461087 w 1888861"/>
                <a:gd name="connsiteY8" fmla="*/ 51958 h 2907945"/>
                <a:gd name="connsiteX9" fmla="*/ 1656852 w 1888861"/>
                <a:gd name="connsiteY9" fmla="*/ 0 h 2907945"/>
                <a:gd name="connsiteX10" fmla="*/ 1767202 w 1888861"/>
                <a:gd name="connsiteY10" fmla="*/ 56171 h 2907945"/>
                <a:gd name="connsiteX11" fmla="*/ 1888861 w 1888861"/>
                <a:gd name="connsiteY11" fmla="*/ 662394 h 2907945"/>
                <a:gd name="connsiteX12" fmla="*/ 824695 w 1888861"/>
                <a:gd name="connsiteY12" fmla="*/ 1731288 h 2907945"/>
                <a:gd name="connsiteX13" fmla="*/ 543881 w 1888861"/>
                <a:gd name="connsiteY13" fmla="*/ 2907945 h 2907945"/>
                <a:gd name="connsiteX0" fmla="*/ 543881 w 1888861"/>
                <a:gd name="connsiteY0" fmla="*/ 2969776 h 2969776"/>
                <a:gd name="connsiteX1" fmla="*/ 0 w 1888861"/>
                <a:gd name="connsiteY1" fmla="*/ 2875034 h 2969776"/>
                <a:gd name="connsiteX2" fmla="*/ 185633 w 1888861"/>
                <a:gd name="connsiteY2" fmla="*/ 2055795 h 2969776"/>
                <a:gd name="connsiteX3" fmla="*/ 152902 w 1888861"/>
                <a:gd name="connsiteY3" fmla="*/ 2013473 h 2969776"/>
                <a:gd name="connsiteX4" fmla="*/ 225159 w 1888861"/>
                <a:gd name="connsiteY4" fmla="*/ 1748977 h 2969776"/>
                <a:gd name="connsiteX5" fmla="*/ 260875 w 1888861"/>
                <a:gd name="connsiteY5" fmla="*/ 1731932 h 2969776"/>
                <a:gd name="connsiteX6" fmla="*/ 1268232 w 1888861"/>
                <a:gd name="connsiteY6" fmla="*/ 328531 h 2969776"/>
                <a:gd name="connsiteX7" fmla="*/ 1481148 w 1888861"/>
                <a:gd name="connsiteY7" fmla="*/ 228780 h 2969776"/>
                <a:gd name="connsiteX8" fmla="*/ 1461087 w 1888861"/>
                <a:gd name="connsiteY8" fmla="*/ 113789 h 2969776"/>
                <a:gd name="connsiteX9" fmla="*/ 1724003 w 1888861"/>
                <a:gd name="connsiteY9" fmla="*/ 0 h 2969776"/>
                <a:gd name="connsiteX10" fmla="*/ 1767202 w 1888861"/>
                <a:gd name="connsiteY10" fmla="*/ 118002 h 2969776"/>
                <a:gd name="connsiteX11" fmla="*/ 1888861 w 1888861"/>
                <a:gd name="connsiteY11" fmla="*/ 724225 h 2969776"/>
                <a:gd name="connsiteX12" fmla="*/ 824695 w 1888861"/>
                <a:gd name="connsiteY12" fmla="*/ 1793119 h 2969776"/>
                <a:gd name="connsiteX13" fmla="*/ 543881 w 1888861"/>
                <a:gd name="connsiteY13" fmla="*/ 2969776 h 2969776"/>
                <a:gd name="connsiteX0" fmla="*/ 543881 w 1888861"/>
                <a:gd name="connsiteY0" fmla="*/ 2969776 h 2969776"/>
                <a:gd name="connsiteX1" fmla="*/ 0 w 1888861"/>
                <a:gd name="connsiteY1" fmla="*/ 2875034 h 2969776"/>
                <a:gd name="connsiteX2" fmla="*/ 185633 w 1888861"/>
                <a:gd name="connsiteY2" fmla="*/ 2055795 h 2969776"/>
                <a:gd name="connsiteX3" fmla="*/ 152902 w 1888861"/>
                <a:gd name="connsiteY3" fmla="*/ 2013473 h 2969776"/>
                <a:gd name="connsiteX4" fmla="*/ 225159 w 1888861"/>
                <a:gd name="connsiteY4" fmla="*/ 1748977 h 2969776"/>
                <a:gd name="connsiteX5" fmla="*/ 260875 w 1888861"/>
                <a:gd name="connsiteY5" fmla="*/ 1731932 h 2969776"/>
                <a:gd name="connsiteX6" fmla="*/ 1268232 w 1888861"/>
                <a:gd name="connsiteY6" fmla="*/ 328531 h 2969776"/>
                <a:gd name="connsiteX7" fmla="*/ 1481148 w 1888861"/>
                <a:gd name="connsiteY7" fmla="*/ 228780 h 2969776"/>
                <a:gd name="connsiteX8" fmla="*/ 1533404 w 1888861"/>
                <a:gd name="connsiteY8" fmla="*/ 68821 h 2969776"/>
                <a:gd name="connsiteX9" fmla="*/ 1724003 w 1888861"/>
                <a:gd name="connsiteY9" fmla="*/ 0 h 2969776"/>
                <a:gd name="connsiteX10" fmla="*/ 1767202 w 1888861"/>
                <a:gd name="connsiteY10" fmla="*/ 118002 h 2969776"/>
                <a:gd name="connsiteX11" fmla="*/ 1888861 w 1888861"/>
                <a:gd name="connsiteY11" fmla="*/ 724225 h 2969776"/>
                <a:gd name="connsiteX12" fmla="*/ 824695 w 1888861"/>
                <a:gd name="connsiteY12" fmla="*/ 1793119 h 2969776"/>
                <a:gd name="connsiteX13" fmla="*/ 543881 w 1888861"/>
                <a:gd name="connsiteY13" fmla="*/ 2969776 h 2969776"/>
                <a:gd name="connsiteX0" fmla="*/ 543881 w 1888861"/>
                <a:gd name="connsiteY0" fmla="*/ 2969776 h 2969776"/>
                <a:gd name="connsiteX1" fmla="*/ 0 w 1888861"/>
                <a:gd name="connsiteY1" fmla="*/ 2875034 h 2969776"/>
                <a:gd name="connsiteX2" fmla="*/ 185633 w 1888861"/>
                <a:gd name="connsiteY2" fmla="*/ 2055795 h 2969776"/>
                <a:gd name="connsiteX3" fmla="*/ 152902 w 1888861"/>
                <a:gd name="connsiteY3" fmla="*/ 2013473 h 2969776"/>
                <a:gd name="connsiteX4" fmla="*/ 225159 w 1888861"/>
                <a:gd name="connsiteY4" fmla="*/ 1748977 h 2969776"/>
                <a:gd name="connsiteX5" fmla="*/ 260875 w 1888861"/>
                <a:gd name="connsiteY5" fmla="*/ 1731932 h 2969776"/>
                <a:gd name="connsiteX6" fmla="*/ 1268232 w 1888861"/>
                <a:gd name="connsiteY6" fmla="*/ 328531 h 2969776"/>
                <a:gd name="connsiteX7" fmla="*/ 1481148 w 1888861"/>
                <a:gd name="connsiteY7" fmla="*/ 228780 h 2969776"/>
                <a:gd name="connsiteX8" fmla="*/ 1533404 w 1888861"/>
                <a:gd name="connsiteY8" fmla="*/ 68821 h 2969776"/>
                <a:gd name="connsiteX9" fmla="*/ 1724003 w 1888861"/>
                <a:gd name="connsiteY9" fmla="*/ 0 h 2969776"/>
                <a:gd name="connsiteX10" fmla="*/ 1888861 w 1888861"/>
                <a:gd name="connsiteY10" fmla="*/ 724225 h 2969776"/>
                <a:gd name="connsiteX11" fmla="*/ 824695 w 1888861"/>
                <a:gd name="connsiteY11" fmla="*/ 1793119 h 2969776"/>
                <a:gd name="connsiteX12" fmla="*/ 543881 w 1888861"/>
                <a:gd name="connsiteY12" fmla="*/ 2969776 h 2969776"/>
                <a:gd name="connsiteX0" fmla="*/ 543881 w 1909523"/>
                <a:gd name="connsiteY0" fmla="*/ 2969776 h 2969776"/>
                <a:gd name="connsiteX1" fmla="*/ 0 w 1909523"/>
                <a:gd name="connsiteY1" fmla="*/ 2875034 h 2969776"/>
                <a:gd name="connsiteX2" fmla="*/ 185633 w 1909523"/>
                <a:gd name="connsiteY2" fmla="*/ 2055795 h 2969776"/>
                <a:gd name="connsiteX3" fmla="*/ 152902 w 1909523"/>
                <a:gd name="connsiteY3" fmla="*/ 2013473 h 2969776"/>
                <a:gd name="connsiteX4" fmla="*/ 225159 w 1909523"/>
                <a:gd name="connsiteY4" fmla="*/ 1748977 h 2969776"/>
                <a:gd name="connsiteX5" fmla="*/ 260875 w 1909523"/>
                <a:gd name="connsiteY5" fmla="*/ 1731932 h 2969776"/>
                <a:gd name="connsiteX6" fmla="*/ 1268232 w 1909523"/>
                <a:gd name="connsiteY6" fmla="*/ 328531 h 2969776"/>
                <a:gd name="connsiteX7" fmla="*/ 1481148 w 1909523"/>
                <a:gd name="connsiteY7" fmla="*/ 228780 h 2969776"/>
                <a:gd name="connsiteX8" fmla="*/ 1533404 w 1909523"/>
                <a:gd name="connsiteY8" fmla="*/ 68821 h 2969776"/>
                <a:gd name="connsiteX9" fmla="*/ 1724003 w 1909523"/>
                <a:gd name="connsiteY9" fmla="*/ 0 h 2969776"/>
                <a:gd name="connsiteX10" fmla="*/ 1909523 w 1909523"/>
                <a:gd name="connsiteY10" fmla="*/ 724225 h 2969776"/>
                <a:gd name="connsiteX11" fmla="*/ 824695 w 1909523"/>
                <a:gd name="connsiteY11" fmla="*/ 1793119 h 2969776"/>
                <a:gd name="connsiteX12" fmla="*/ 543881 w 1909523"/>
                <a:gd name="connsiteY12" fmla="*/ 2969776 h 2969776"/>
                <a:gd name="connsiteX0" fmla="*/ 543881 w 1909523"/>
                <a:gd name="connsiteY0" fmla="*/ 2969776 h 2969776"/>
                <a:gd name="connsiteX1" fmla="*/ 0 w 1909523"/>
                <a:gd name="connsiteY1" fmla="*/ 2875034 h 2969776"/>
                <a:gd name="connsiteX2" fmla="*/ 185633 w 1909523"/>
                <a:gd name="connsiteY2" fmla="*/ 2055795 h 2969776"/>
                <a:gd name="connsiteX3" fmla="*/ 152902 w 1909523"/>
                <a:gd name="connsiteY3" fmla="*/ 2013473 h 2969776"/>
                <a:gd name="connsiteX4" fmla="*/ 225159 w 1909523"/>
                <a:gd name="connsiteY4" fmla="*/ 1748977 h 2969776"/>
                <a:gd name="connsiteX5" fmla="*/ 260875 w 1909523"/>
                <a:gd name="connsiteY5" fmla="*/ 1731932 h 2969776"/>
                <a:gd name="connsiteX6" fmla="*/ 1268232 w 1909523"/>
                <a:gd name="connsiteY6" fmla="*/ 328531 h 2969776"/>
                <a:gd name="connsiteX7" fmla="*/ 1563795 w 1909523"/>
                <a:gd name="connsiteY7" fmla="*/ 195055 h 2969776"/>
                <a:gd name="connsiteX8" fmla="*/ 1533404 w 1909523"/>
                <a:gd name="connsiteY8" fmla="*/ 68821 h 2969776"/>
                <a:gd name="connsiteX9" fmla="*/ 1724003 w 1909523"/>
                <a:gd name="connsiteY9" fmla="*/ 0 h 2969776"/>
                <a:gd name="connsiteX10" fmla="*/ 1909523 w 1909523"/>
                <a:gd name="connsiteY10" fmla="*/ 724225 h 2969776"/>
                <a:gd name="connsiteX11" fmla="*/ 824695 w 1909523"/>
                <a:gd name="connsiteY11" fmla="*/ 1793119 h 2969776"/>
                <a:gd name="connsiteX12" fmla="*/ 543881 w 1909523"/>
                <a:gd name="connsiteY12" fmla="*/ 2969776 h 2969776"/>
                <a:gd name="connsiteX0" fmla="*/ 543881 w 1909523"/>
                <a:gd name="connsiteY0" fmla="*/ 2969776 h 2969776"/>
                <a:gd name="connsiteX1" fmla="*/ 0 w 1909523"/>
                <a:gd name="connsiteY1" fmla="*/ 2875034 h 2969776"/>
                <a:gd name="connsiteX2" fmla="*/ 185633 w 1909523"/>
                <a:gd name="connsiteY2" fmla="*/ 2055795 h 2969776"/>
                <a:gd name="connsiteX3" fmla="*/ 152902 w 1909523"/>
                <a:gd name="connsiteY3" fmla="*/ 2013473 h 2969776"/>
                <a:gd name="connsiteX4" fmla="*/ 225159 w 1909523"/>
                <a:gd name="connsiteY4" fmla="*/ 1748977 h 2969776"/>
                <a:gd name="connsiteX5" fmla="*/ 260875 w 1909523"/>
                <a:gd name="connsiteY5" fmla="*/ 1731932 h 2969776"/>
                <a:gd name="connsiteX6" fmla="*/ 1268232 w 1909523"/>
                <a:gd name="connsiteY6" fmla="*/ 328531 h 2969776"/>
                <a:gd name="connsiteX7" fmla="*/ 1563795 w 1909523"/>
                <a:gd name="connsiteY7" fmla="*/ 178192 h 2969776"/>
                <a:gd name="connsiteX8" fmla="*/ 1533404 w 1909523"/>
                <a:gd name="connsiteY8" fmla="*/ 68821 h 2969776"/>
                <a:gd name="connsiteX9" fmla="*/ 1724003 w 1909523"/>
                <a:gd name="connsiteY9" fmla="*/ 0 h 2969776"/>
                <a:gd name="connsiteX10" fmla="*/ 1909523 w 1909523"/>
                <a:gd name="connsiteY10" fmla="*/ 724225 h 2969776"/>
                <a:gd name="connsiteX11" fmla="*/ 824695 w 1909523"/>
                <a:gd name="connsiteY11" fmla="*/ 1793119 h 2969776"/>
                <a:gd name="connsiteX12" fmla="*/ 543881 w 1909523"/>
                <a:gd name="connsiteY12" fmla="*/ 2969776 h 2969776"/>
                <a:gd name="connsiteX0" fmla="*/ 543881 w 1909523"/>
                <a:gd name="connsiteY0" fmla="*/ 2969776 h 2969776"/>
                <a:gd name="connsiteX1" fmla="*/ 0 w 1909523"/>
                <a:gd name="connsiteY1" fmla="*/ 2875034 h 2969776"/>
                <a:gd name="connsiteX2" fmla="*/ 185633 w 1909523"/>
                <a:gd name="connsiteY2" fmla="*/ 2055795 h 2969776"/>
                <a:gd name="connsiteX3" fmla="*/ 152902 w 1909523"/>
                <a:gd name="connsiteY3" fmla="*/ 2013473 h 2969776"/>
                <a:gd name="connsiteX4" fmla="*/ 225159 w 1909523"/>
                <a:gd name="connsiteY4" fmla="*/ 1748977 h 2969776"/>
                <a:gd name="connsiteX5" fmla="*/ 260875 w 1909523"/>
                <a:gd name="connsiteY5" fmla="*/ 1731932 h 2969776"/>
                <a:gd name="connsiteX6" fmla="*/ 1263068 w 1909523"/>
                <a:gd name="connsiteY6" fmla="*/ 311667 h 2969776"/>
                <a:gd name="connsiteX7" fmla="*/ 1563795 w 1909523"/>
                <a:gd name="connsiteY7" fmla="*/ 178192 h 2969776"/>
                <a:gd name="connsiteX8" fmla="*/ 1533404 w 1909523"/>
                <a:gd name="connsiteY8" fmla="*/ 68821 h 2969776"/>
                <a:gd name="connsiteX9" fmla="*/ 1724003 w 1909523"/>
                <a:gd name="connsiteY9" fmla="*/ 0 h 2969776"/>
                <a:gd name="connsiteX10" fmla="*/ 1909523 w 1909523"/>
                <a:gd name="connsiteY10" fmla="*/ 724225 h 2969776"/>
                <a:gd name="connsiteX11" fmla="*/ 824695 w 1909523"/>
                <a:gd name="connsiteY11" fmla="*/ 1793119 h 2969776"/>
                <a:gd name="connsiteX12" fmla="*/ 543881 w 1909523"/>
                <a:gd name="connsiteY12" fmla="*/ 2969776 h 2969776"/>
                <a:gd name="connsiteX0" fmla="*/ 569699 w 1935341"/>
                <a:gd name="connsiteY0" fmla="*/ 2969776 h 2969776"/>
                <a:gd name="connsiteX1" fmla="*/ 0 w 1935341"/>
                <a:gd name="connsiteY1" fmla="*/ 2875036 h 2969776"/>
                <a:gd name="connsiteX2" fmla="*/ 211451 w 1935341"/>
                <a:gd name="connsiteY2" fmla="*/ 2055795 h 2969776"/>
                <a:gd name="connsiteX3" fmla="*/ 178720 w 1935341"/>
                <a:gd name="connsiteY3" fmla="*/ 2013473 h 2969776"/>
                <a:gd name="connsiteX4" fmla="*/ 250977 w 1935341"/>
                <a:gd name="connsiteY4" fmla="*/ 1748977 h 2969776"/>
                <a:gd name="connsiteX5" fmla="*/ 286693 w 1935341"/>
                <a:gd name="connsiteY5" fmla="*/ 1731932 h 2969776"/>
                <a:gd name="connsiteX6" fmla="*/ 1288886 w 1935341"/>
                <a:gd name="connsiteY6" fmla="*/ 311667 h 2969776"/>
                <a:gd name="connsiteX7" fmla="*/ 1589613 w 1935341"/>
                <a:gd name="connsiteY7" fmla="*/ 178192 h 2969776"/>
                <a:gd name="connsiteX8" fmla="*/ 1559222 w 1935341"/>
                <a:gd name="connsiteY8" fmla="*/ 68821 h 2969776"/>
                <a:gd name="connsiteX9" fmla="*/ 1749821 w 1935341"/>
                <a:gd name="connsiteY9" fmla="*/ 0 h 2969776"/>
                <a:gd name="connsiteX10" fmla="*/ 1935341 w 1935341"/>
                <a:gd name="connsiteY10" fmla="*/ 724225 h 2969776"/>
                <a:gd name="connsiteX11" fmla="*/ 850513 w 1935341"/>
                <a:gd name="connsiteY11" fmla="*/ 1793119 h 2969776"/>
                <a:gd name="connsiteX12" fmla="*/ 569699 w 1935341"/>
                <a:gd name="connsiteY12" fmla="*/ 2969776 h 2969776"/>
                <a:gd name="connsiteX0" fmla="*/ 585190 w 1950832"/>
                <a:gd name="connsiteY0" fmla="*/ 2969776 h 2969776"/>
                <a:gd name="connsiteX1" fmla="*/ 0 w 1950832"/>
                <a:gd name="connsiteY1" fmla="*/ 2869408 h 2969776"/>
                <a:gd name="connsiteX2" fmla="*/ 226942 w 1950832"/>
                <a:gd name="connsiteY2" fmla="*/ 2055795 h 2969776"/>
                <a:gd name="connsiteX3" fmla="*/ 194211 w 1950832"/>
                <a:gd name="connsiteY3" fmla="*/ 2013473 h 2969776"/>
                <a:gd name="connsiteX4" fmla="*/ 266468 w 1950832"/>
                <a:gd name="connsiteY4" fmla="*/ 1748977 h 2969776"/>
                <a:gd name="connsiteX5" fmla="*/ 302184 w 1950832"/>
                <a:gd name="connsiteY5" fmla="*/ 1731932 h 2969776"/>
                <a:gd name="connsiteX6" fmla="*/ 1304377 w 1950832"/>
                <a:gd name="connsiteY6" fmla="*/ 311667 h 2969776"/>
                <a:gd name="connsiteX7" fmla="*/ 1605104 w 1950832"/>
                <a:gd name="connsiteY7" fmla="*/ 178192 h 2969776"/>
                <a:gd name="connsiteX8" fmla="*/ 1574713 w 1950832"/>
                <a:gd name="connsiteY8" fmla="*/ 68821 h 2969776"/>
                <a:gd name="connsiteX9" fmla="*/ 1765312 w 1950832"/>
                <a:gd name="connsiteY9" fmla="*/ 0 h 2969776"/>
                <a:gd name="connsiteX10" fmla="*/ 1950832 w 1950832"/>
                <a:gd name="connsiteY10" fmla="*/ 724225 h 2969776"/>
                <a:gd name="connsiteX11" fmla="*/ 866004 w 1950832"/>
                <a:gd name="connsiteY11" fmla="*/ 1793119 h 2969776"/>
                <a:gd name="connsiteX12" fmla="*/ 585190 w 1950832"/>
                <a:gd name="connsiteY12" fmla="*/ 2969776 h 2969776"/>
                <a:gd name="connsiteX0" fmla="*/ 595517 w 1950832"/>
                <a:gd name="connsiteY0" fmla="*/ 2986660 h 2986660"/>
                <a:gd name="connsiteX1" fmla="*/ 0 w 1950832"/>
                <a:gd name="connsiteY1" fmla="*/ 2869408 h 2986660"/>
                <a:gd name="connsiteX2" fmla="*/ 226942 w 1950832"/>
                <a:gd name="connsiteY2" fmla="*/ 2055795 h 2986660"/>
                <a:gd name="connsiteX3" fmla="*/ 194211 w 1950832"/>
                <a:gd name="connsiteY3" fmla="*/ 2013473 h 2986660"/>
                <a:gd name="connsiteX4" fmla="*/ 266468 w 1950832"/>
                <a:gd name="connsiteY4" fmla="*/ 1748977 h 2986660"/>
                <a:gd name="connsiteX5" fmla="*/ 302184 w 1950832"/>
                <a:gd name="connsiteY5" fmla="*/ 1731932 h 2986660"/>
                <a:gd name="connsiteX6" fmla="*/ 1304377 w 1950832"/>
                <a:gd name="connsiteY6" fmla="*/ 311667 h 2986660"/>
                <a:gd name="connsiteX7" fmla="*/ 1605104 w 1950832"/>
                <a:gd name="connsiteY7" fmla="*/ 178192 h 2986660"/>
                <a:gd name="connsiteX8" fmla="*/ 1574713 w 1950832"/>
                <a:gd name="connsiteY8" fmla="*/ 68821 h 2986660"/>
                <a:gd name="connsiteX9" fmla="*/ 1765312 w 1950832"/>
                <a:gd name="connsiteY9" fmla="*/ 0 h 2986660"/>
                <a:gd name="connsiteX10" fmla="*/ 1950832 w 1950832"/>
                <a:gd name="connsiteY10" fmla="*/ 724225 h 2986660"/>
                <a:gd name="connsiteX11" fmla="*/ 866004 w 1950832"/>
                <a:gd name="connsiteY11" fmla="*/ 1793119 h 2986660"/>
                <a:gd name="connsiteX12" fmla="*/ 595517 w 1950832"/>
                <a:gd name="connsiteY12" fmla="*/ 2986660 h 2986660"/>
                <a:gd name="connsiteX0" fmla="*/ 802063 w 2157378"/>
                <a:gd name="connsiteY0" fmla="*/ 2986660 h 2986660"/>
                <a:gd name="connsiteX1" fmla="*/ 0 w 2157378"/>
                <a:gd name="connsiteY1" fmla="*/ 2880664 h 2986660"/>
                <a:gd name="connsiteX2" fmla="*/ 433488 w 2157378"/>
                <a:gd name="connsiteY2" fmla="*/ 2055795 h 2986660"/>
                <a:gd name="connsiteX3" fmla="*/ 400757 w 2157378"/>
                <a:gd name="connsiteY3" fmla="*/ 2013473 h 2986660"/>
                <a:gd name="connsiteX4" fmla="*/ 473014 w 2157378"/>
                <a:gd name="connsiteY4" fmla="*/ 1748977 h 2986660"/>
                <a:gd name="connsiteX5" fmla="*/ 508730 w 2157378"/>
                <a:gd name="connsiteY5" fmla="*/ 1731932 h 2986660"/>
                <a:gd name="connsiteX6" fmla="*/ 1510923 w 2157378"/>
                <a:gd name="connsiteY6" fmla="*/ 311667 h 2986660"/>
                <a:gd name="connsiteX7" fmla="*/ 1811650 w 2157378"/>
                <a:gd name="connsiteY7" fmla="*/ 178192 h 2986660"/>
                <a:gd name="connsiteX8" fmla="*/ 1781259 w 2157378"/>
                <a:gd name="connsiteY8" fmla="*/ 68821 h 2986660"/>
                <a:gd name="connsiteX9" fmla="*/ 1971858 w 2157378"/>
                <a:gd name="connsiteY9" fmla="*/ 0 h 2986660"/>
                <a:gd name="connsiteX10" fmla="*/ 2157378 w 2157378"/>
                <a:gd name="connsiteY10" fmla="*/ 724225 h 2986660"/>
                <a:gd name="connsiteX11" fmla="*/ 1072550 w 2157378"/>
                <a:gd name="connsiteY11" fmla="*/ 1793119 h 2986660"/>
                <a:gd name="connsiteX12" fmla="*/ 802063 w 2157378"/>
                <a:gd name="connsiteY12" fmla="*/ 2986660 h 2986660"/>
                <a:gd name="connsiteX0" fmla="*/ 401306 w 1756621"/>
                <a:gd name="connsiteY0" fmla="*/ 2986660 h 2986660"/>
                <a:gd name="connsiteX1" fmla="*/ 141427 w 1756621"/>
                <a:gd name="connsiteY1" fmla="*/ 2638665 h 2986660"/>
                <a:gd name="connsiteX2" fmla="*/ 32731 w 1756621"/>
                <a:gd name="connsiteY2" fmla="*/ 2055795 h 2986660"/>
                <a:gd name="connsiteX3" fmla="*/ 0 w 1756621"/>
                <a:gd name="connsiteY3" fmla="*/ 2013473 h 2986660"/>
                <a:gd name="connsiteX4" fmla="*/ 72257 w 1756621"/>
                <a:gd name="connsiteY4" fmla="*/ 1748977 h 2986660"/>
                <a:gd name="connsiteX5" fmla="*/ 107973 w 1756621"/>
                <a:gd name="connsiteY5" fmla="*/ 1731932 h 2986660"/>
                <a:gd name="connsiteX6" fmla="*/ 1110166 w 1756621"/>
                <a:gd name="connsiteY6" fmla="*/ 311667 h 2986660"/>
                <a:gd name="connsiteX7" fmla="*/ 1410893 w 1756621"/>
                <a:gd name="connsiteY7" fmla="*/ 178192 h 2986660"/>
                <a:gd name="connsiteX8" fmla="*/ 1380502 w 1756621"/>
                <a:gd name="connsiteY8" fmla="*/ 68821 h 2986660"/>
                <a:gd name="connsiteX9" fmla="*/ 1571101 w 1756621"/>
                <a:gd name="connsiteY9" fmla="*/ 0 h 2986660"/>
                <a:gd name="connsiteX10" fmla="*/ 1756621 w 1756621"/>
                <a:gd name="connsiteY10" fmla="*/ 724225 h 2986660"/>
                <a:gd name="connsiteX11" fmla="*/ 671793 w 1756621"/>
                <a:gd name="connsiteY11" fmla="*/ 1793119 h 2986660"/>
                <a:gd name="connsiteX12" fmla="*/ 401306 w 1756621"/>
                <a:gd name="connsiteY12" fmla="*/ 2986660 h 2986660"/>
                <a:gd name="connsiteX0" fmla="*/ 600680 w 1955995"/>
                <a:gd name="connsiteY0" fmla="*/ 2986660 h 2986660"/>
                <a:gd name="connsiteX1" fmla="*/ 0 w 1955995"/>
                <a:gd name="connsiteY1" fmla="*/ 2875036 h 2986660"/>
                <a:gd name="connsiteX2" fmla="*/ 232105 w 1955995"/>
                <a:gd name="connsiteY2" fmla="*/ 2055795 h 2986660"/>
                <a:gd name="connsiteX3" fmla="*/ 199374 w 1955995"/>
                <a:gd name="connsiteY3" fmla="*/ 2013473 h 2986660"/>
                <a:gd name="connsiteX4" fmla="*/ 271631 w 1955995"/>
                <a:gd name="connsiteY4" fmla="*/ 1748977 h 2986660"/>
                <a:gd name="connsiteX5" fmla="*/ 307347 w 1955995"/>
                <a:gd name="connsiteY5" fmla="*/ 1731932 h 2986660"/>
                <a:gd name="connsiteX6" fmla="*/ 1309540 w 1955995"/>
                <a:gd name="connsiteY6" fmla="*/ 311667 h 2986660"/>
                <a:gd name="connsiteX7" fmla="*/ 1610267 w 1955995"/>
                <a:gd name="connsiteY7" fmla="*/ 178192 h 2986660"/>
                <a:gd name="connsiteX8" fmla="*/ 1579876 w 1955995"/>
                <a:gd name="connsiteY8" fmla="*/ 68821 h 2986660"/>
                <a:gd name="connsiteX9" fmla="*/ 1770475 w 1955995"/>
                <a:gd name="connsiteY9" fmla="*/ 0 h 2986660"/>
                <a:gd name="connsiteX10" fmla="*/ 1955995 w 1955995"/>
                <a:gd name="connsiteY10" fmla="*/ 724225 h 2986660"/>
                <a:gd name="connsiteX11" fmla="*/ 871167 w 1955995"/>
                <a:gd name="connsiteY11" fmla="*/ 1793119 h 2986660"/>
                <a:gd name="connsiteX12" fmla="*/ 600680 w 1955995"/>
                <a:gd name="connsiteY12" fmla="*/ 2986660 h 29866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55995" h="2986660">
                  <a:moveTo>
                    <a:pt x="600680" y="2986660"/>
                  </a:moveTo>
                  <a:lnTo>
                    <a:pt x="0" y="2875036"/>
                  </a:lnTo>
                  <a:lnTo>
                    <a:pt x="232105" y="2055795"/>
                  </a:lnTo>
                  <a:lnTo>
                    <a:pt x="199374" y="2013473"/>
                  </a:lnTo>
                  <a:lnTo>
                    <a:pt x="271631" y="1748977"/>
                  </a:lnTo>
                  <a:lnTo>
                    <a:pt x="307347" y="1731932"/>
                  </a:lnTo>
                  <a:cubicBezTo>
                    <a:pt x="486579" y="982292"/>
                    <a:pt x="973754" y="510634"/>
                    <a:pt x="1309540" y="311667"/>
                  </a:cubicBezTo>
                  <a:lnTo>
                    <a:pt x="1610267" y="178192"/>
                  </a:lnTo>
                  <a:lnTo>
                    <a:pt x="1579876" y="68821"/>
                  </a:lnTo>
                  <a:lnTo>
                    <a:pt x="1770475" y="0"/>
                  </a:lnTo>
                  <a:lnTo>
                    <a:pt x="1955995" y="724225"/>
                  </a:lnTo>
                  <a:cubicBezTo>
                    <a:pt x="1555461" y="850842"/>
                    <a:pt x="1070991" y="1154854"/>
                    <a:pt x="871167" y="1793119"/>
                  </a:cubicBezTo>
                  <a:lnTo>
                    <a:pt x="600680" y="2986660"/>
                  </a:lnTo>
                  <a:close/>
                </a:path>
              </a:pathLst>
            </a:custGeom>
            <a:solidFill>
              <a:srgbClr val="008000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DE" sz="6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4" name="Text_T110N_BA5">
              <a:extLst>
                <a:ext uri="{FF2B5EF4-FFF2-40B4-BE49-F238E27FC236}">
                  <a16:creationId xmlns:a16="http://schemas.microsoft.com/office/drawing/2014/main" id="{8A28EEB9-A57B-4016-959A-7A9511A11597}"/>
                </a:ext>
              </a:extLst>
            </p:cNvPr>
            <p:cNvSpPr/>
            <p:nvPr/>
          </p:nvSpPr>
          <p:spPr>
            <a:xfrm>
              <a:off x="3817094" y="2333533"/>
              <a:ext cx="817755" cy="195218"/>
            </a:xfrm>
            <a:prstGeom prst="borderCallout1">
              <a:avLst>
                <a:gd name="adj1" fmla="val 53181"/>
                <a:gd name="adj2" fmla="val 100320"/>
                <a:gd name="adj3" fmla="val 53682"/>
                <a:gd name="adj4" fmla="val 182699"/>
              </a:avLst>
            </a:prstGeom>
            <a:solidFill>
              <a:schemeClr val="tx2">
                <a:lumMod val="20000"/>
                <a:lumOff val="80000"/>
              </a:schemeClr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257312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>
                  <a:solidFill>
                    <a:sysClr val="windowText" lastClr="000000"/>
                  </a:solidFill>
                </a:rPr>
                <a:t>T110N, 5. BA</a:t>
              </a:r>
            </a:p>
          </p:txBody>
        </p:sp>
        <p:sp>
          <p:nvSpPr>
            <p:cNvPr id="15" name="Text_T110N_BA5">
              <a:extLst>
                <a:ext uri="{FF2B5EF4-FFF2-40B4-BE49-F238E27FC236}">
                  <a16:creationId xmlns:a16="http://schemas.microsoft.com/office/drawing/2014/main" id="{7703DB2F-71CE-4D56-B0C7-530B7B7ED08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85241" y="2425759"/>
              <a:ext cx="25118" cy="24748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de-DE" dirty="0"/>
            </a:p>
          </p:txBody>
        </p:sp>
        <p:sp>
          <p:nvSpPr>
            <p:cNvPr id="16" name="T110N_BA4">
              <a:extLst>
                <a:ext uri="{FF2B5EF4-FFF2-40B4-BE49-F238E27FC236}">
                  <a16:creationId xmlns:a16="http://schemas.microsoft.com/office/drawing/2014/main" id="{BF0DBE59-3D17-4B66-BDE4-910BB02514A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36098" y="1697990"/>
              <a:ext cx="1522415" cy="538681"/>
            </a:xfrm>
            <a:custGeom>
              <a:avLst/>
              <a:gdLst>
                <a:gd name="connsiteX0" fmla="*/ 0 w 5234940"/>
                <a:gd name="connsiteY0" fmla="*/ 1219200 h 4191000"/>
                <a:gd name="connsiteX1" fmla="*/ 190500 w 5234940"/>
                <a:gd name="connsiteY1" fmla="*/ 990600 h 4191000"/>
                <a:gd name="connsiteX2" fmla="*/ 434340 w 5234940"/>
                <a:gd name="connsiteY2" fmla="*/ 792480 h 4191000"/>
                <a:gd name="connsiteX3" fmla="*/ 662940 w 5234940"/>
                <a:gd name="connsiteY3" fmla="*/ 624840 h 4191000"/>
                <a:gd name="connsiteX4" fmla="*/ 906780 w 5234940"/>
                <a:gd name="connsiteY4" fmla="*/ 533400 h 4191000"/>
                <a:gd name="connsiteX5" fmla="*/ 868680 w 5234940"/>
                <a:gd name="connsiteY5" fmla="*/ 426720 h 4191000"/>
                <a:gd name="connsiteX6" fmla="*/ 1051560 w 5234940"/>
                <a:gd name="connsiteY6" fmla="*/ 358140 h 4191000"/>
                <a:gd name="connsiteX7" fmla="*/ 1097280 w 5234940"/>
                <a:gd name="connsiteY7" fmla="*/ 464820 h 4191000"/>
                <a:gd name="connsiteX8" fmla="*/ 1219200 w 5234940"/>
                <a:gd name="connsiteY8" fmla="*/ 434340 h 4191000"/>
                <a:gd name="connsiteX9" fmla="*/ 1249680 w 5234940"/>
                <a:gd name="connsiteY9" fmla="*/ 365760 h 4191000"/>
                <a:gd name="connsiteX10" fmla="*/ 1508760 w 5234940"/>
                <a:gd name="connsiteY10" fmla="*/ 297180 h 4191000"/>
                <a:gd name="connsiteX11" fmla="*/ 1562100 w 5234940"/>
                <a:gd name="connsiteY11" fmla="*/ 327660 h 4191000"/>
                <a:gd name="connsiteX12" fmla="*/ 1691640 w 5234940"/>
                <a:gd name="connsiteY12" fmla="*/ 274320 h 4191000"/>
                <a:gd name="connsiteX13" fmla="*/ 1661160 w 5234940"/>
                <a:gd name="connsiteY13" fmla="*/ 114300 h 4191000"/>
                <a:gd name="connsiteX14" fmla="*/ 2065020 w 5234940"/>
                <a:gd name="connsiteY14" fmla="*/ 0 h 4191000"/>
                <a:gd name="connsiteX15" fmla="*/ 2110740 w 5234940"/>
                <a:gd name="connsiteY15" fmla="*/ 160020 h 4191000"/>
                <a:gd name="connsiteX16" fmla="*/ 2362200 w 5234940"/>
                <a:gd name="connsiteY16" fmla="*/ 106680 h 4191000"/>
                <a:gd name="connsiteX17" fmla="*/ 2621280 w 5234940"/>
                <a:gd name="connsiteY17" fmla="*/ 99060 h 4191000"/>
                <a:gd name="connsiteX18" fmla="*/ 2948940 w 5234940"/>
                <a:gd name="connsiteY18" fmla="*/ 152400 h 4191000"/>
                <a:gd name="connsiteX19" fmla="*/ 3276600 w 5234940"/>
                <a:gd name="connsiteY19" fmla="*/ 251460 h 4191000"/>
                <a:gd name="connsiteX20" fmla="*/ 3642360 w 5234940"/>
                <a:gd name="connsiteY20" fmla="*/ 464820 h 4191000"/>
                <a:gd name="connsiteX21" fmla="*/ 3931920 w 5234940"/>
                <a:gd name="connsiteY21" fmla="*/ 723900 h 4191000"/>
                <a:gd name="connsiteX22" fmla="*/ 4442460 w 5234940"/>
                <a:gd name="connsiteY22" fmla="*/ 1280160 h 4191000"/>
                <a:gd name="connsiteX23" fmla="*/ 4472940 w 5234940"/>
                <a:gd name="connsiteY23" fmla="*/ 1287780 h 4191000"/>
                <a:gd name="connsiteX24" fmla="*/ 4655820 w 5234940"/>
                <a:gd name="connsiteY24" fmla="*/ 1463040 h 4191000"/>
                <a:gd name="connsiteX25" fmla="*/ 4640580 w 5234940"/>
                <a:gd name="connsiteY25" fmla="*/ 1524000 h 4191000"/>
                <a:gd name="connsiteX26" fmla="*/ 4892040 w 5234940"/>
                <a:gd name="connsiteY26" fmla="*/ 1821180 h 4191000"/>
                <a:gd name="connsiteX27" fmla="*/ 5082540 w 5234940"/>
                <a:gd name="connsiteY27" fmla="*/ 2217420 h 4191000"/>
                <a:gd name="connsiteX28" fmla="*/ 5204460 w 5234940"/>
                <a:gd name="connsiteY28" fmla="*/ 2636520 h 4191000"/>
                <a:gd name="connsiteX29" fmla="*/ 5234940 w 5234940"/>
                <a:gd name="connsiteY29" fmla="*/ 3086100 h 4191000"/>
                <a:gd name="connsiteX30" fmla="*/ 5181600 w 5234940"/>
                <a:gd name="connsiteY30" fmla="*/ 3611880 h 4191000"/>
                <a:gd name="connsiteX31" fmla="*/ 5029200 w 5234940"/>
                <a:gd name="connsiteY31" fmla="*/ 4175760 h 4191000"/>
                <a:gd name="connsiteX32" fmla="*/ 4450080 w 5234940"/>
                <a:gd name="connsiteY32" fmla="*/ 4191000 h 4191000"/>
                <a:gd name="connsiteX33" fmla="*/ 4671060 w 5234940"/>
                <a:gd name="connsiteY33" fmla="*/ 3261360 h 4191000"/>
                <a:gd name="connsiteX34" fmla="*/ 4678680 w 5234940"/>
                <a:gd name="connsiteY34" fmla="*/ 2834640 h 4191000"/>
                <a:gd name="connsiteX35" fmla="*/ 4556760 w 5234940"/>
                <a:gd name="connsiteY35" fmla="*/ 2415540 h 4191000"/>
                <a:gd name="connsiteX36" fmla="*/ 4351020 w 5234940"/>
                <a:gd name="connsiteY36" fmla="*/ 2057400 h 4191000"/>
                <a:gd name="connsiteX37" fmla="*/ 3406140 w 5234940"/>
                <a:gd name="connsiteY37" fmla="*/ 1013460 h 4191000"/>
                <a:gd name="connsiteX38" fmla="*/ 3169920 w 5234940"/>
                <a:gd name="connsiteY38" fmla="*/ 853440 h 4191000"/>
                <a:gd name="connsiteX39" fmla="*/ 2887980 w 5234940"/>
                <a:gd name="connsiteY39" fmla="*/ 739140 h 4191000"/>
                <a:gd name="connsiteX40" fmla="*/ 2491740 w 5234940"/>
                <a:gd name="connsiteY40" fmla="*/ 693420 h 4191000"/>
                <a:gd name="connsiteX41" fmla="*/ 2209800 w 5234940"/>
                <a:gd name="connsiteY41" fmla="*/ 739140 h 4191000"/>
                <a:gd name="connsiteX42" fmla="*/ 1211580 w 5234940"/>
                <a:gd name="connsiteY42" fmla="*/ 1059180 h 4191000"/>
                <a:gd name="connsiteX43" fmla="*/ 937260 w 5234940"/>
                <a:gd name="connsiteY43" fmla="*/ 1165860 h 4191000"/>
                <a:gd name="connsiteX44" fmla="*/ 792480 w 5234940"/>
                <a:gd name="connsiteY44" fmla="*/ 1257300 h 4191000"/>
                <a:gd name="connsiteX45" fmla="*/ 0 w 5234940"/>
                <a:gd name="connsiteY45" fmla="*/ 1219200 h 4191000"/>
                <a:gd name="connsiteX0" fmla="*/ 0 w 5257800"/>
                <a:gd name="connsiteY0" fmla="*/ 1234440 h 4191000"/>
                <a:gd name="connsiteX1" fmla="*/ 213360 w 5257800"/>
                <a:gd name="connsiteY1" fmla="*/ 990600 h 4191000"/>
                <a:gd name="connsiteX2" fmla="*/ 457200 w 5257800"/>
                <a:gd name="connsiteY2" fmla="*/ 792480 h 4191000"/>
                <a:gd name="connsiteX3" fmla="*/ 685800 w 5257800"/>
                <a:gd name="connsiteY3" fmla="*/ 624840 h 4191000"/>
                <a:gd name="connsiteX4" fmla="*/ 929640 w 5257800"/>
                <a:gd name="connsiteY4" fmla="*/ 533400 h 4191000"/>
                <a:gd name="connsiteX5" fmla="*/ 891540 w 5257800"/>
                <a:gd name="connsiteY5" fmla="*/ 426720 h 4191000"/>
                <a:gd name="connsiteX6" fmla="*/ 1074420 w 5257800"/>
                <a:gd name="connsiteY6" fmla="*/ 358140 h 4191000"/>
                <a:gd name="connsiteX7" fmla="*/ 1120140 w 5257800"/>
                <a:gd name="connsiteY7" fmla="*/ 464820 h 4191000"/>
                <a:gd name="connsiteX8" fmla="*/ 1242060 w 5257800"/>
                <a:gd name="connsiteY8" fmla="*/ 434340 h 4191000"/>
                <a:gd name="connsiteX9" fmla="*/ 1272540 w 5257800"/>
                <a:gd name="connsiteY9" fmla="*/ 365760 h 4191000"/>
                <a:gd name="connsiteX10" fmla="*/ 1531620 w 5257800"/>
                <a:gd name="connsiteY10" fmla="*/ 297180 h 4191000"/>
                <a:gd name="connsiteX11" fmla="*/ 1584960 w 5257800"/>
                <a:gd name="connsiteY11" fmla="*/ 327660 h 4191000"/>
                <a:gd name="connsiteX12" fmla="*/ 1714500 w 5257800"/>
                <a:gd name="connsiteY12" fmla="*/ 274320 h 4191000"/>
                <a:gd name="connsiteX13" fmla="*/ 1684020 w 5257800"/>
                <a:gd name="connsiteY13" fmla="*/ 114300 h 4191000"/>
                <a:gd name="connsiteX14" fmla="*/ 2087880 w 5257800"/>
                <a:gd name="connsiteY14" fmla="*/ 0 h 4191000"/>
                <a:gd name="connsiteX15" fmla="*/ 2133600 w 5257800"/>
                <a:gd name="connsiteY15" fmla="*/ 160020 h 4191000"/>
                <a:gd name="connsiteX16" fmla="*/ 2385060 w 5257800"/>
                <a:gd name="connsiteY16" fmla="*/ 106680 h 4191000"/>
                <a:gd name="connsiteX17" fmla="*/ 2644140 w 5257800"/>
                <a:gd name="connsiteY17" fmla="*/ 99060 h 4191000"/>
                <a:gd name="connsiteX18" fmla="*/ 2971800 w 5257800"/>
                <a:gd name="connsiteY18" fmla="*/ 152400 h 4191000"/>
                <a:gd name="connsiteX19" fmla="*/ 3299460 w 5257800"/>
                <a:gd name="connsiteY19" fmla="*/ 251460 h 4191000"/>
                <a:gd name="connsiteX20" fmla="*/ 3665220 w 5257800"/>
                <a:gd name="connsiteY20" fmla="*/ 464820 h 4191000"/>
                <a:gd name="connsiteX21" fmla="*/ 3954780 w 5257800"/>
                <a:gd name="connsiteY21" fmla="*/ 723900 h 4191000"/>
                <a:gd name="connsiteX22" fmla="*/ 4465320 w 5257800"/>
                <a:gd name="connsiteY22" fmla="*/ 1280160 h 4191000"/>
                <a:gd name="connsiteX23" fmla="*/ 4495800 w 5257800"/>
                <a:gd name="connsiteY23" fmla="*/ 1287780 h 4191000"/>
                <a:gd name="connsiteX24" fmla="*/ 4678680 w 5257800"/>
                <a:gd name="connsiteY24" fmla="*/ 1463040 h 4191000"/>
                <a:gd name="connsiteX25" fmla="*/ 4663440 w 5257800"/>
                <a:gd name="connsiteY25" fmla="*/ 1524000 h 4191000"/>
                <a:gd name="connsiteX26" fmla="*/ 4914900 w 5257800"/>
                <a:gd name="connsiteY26" fmla="*/ 1821180 h 4191000"/>
                <a:gd name="connsiteX27" fmla="*/ 5105400 w 5257800"/>
                <a:gd name="connsiteY27" fmla="*/ 2217420 h 4191000"/>
                <a:gd name="connsiteX28" fmla="*/ 5227320 w 5257800"/>
                <a:gd name="connsiteY28" fmla="*/ 2636520 h 4191000"/>
                <a:gd name="connsiteX29" fmla="*/ 5257800 w 5257800"/>
                <a:gd name="connsiteY29" fmla="*/ 3086100 h 4191000"/>
                <a:gd name="connsiteX30" fmla="*/ 5204460 w 5257800"/>
                <a:gd name="connsiteY30" fmla="*/ 3611880 h 4191000"/>
                <a:gd name="connsiteX31" fmla="*/ 5052060 w 5257800"/>
                <a:gd name="connsiteY31" fmla="*/ 4175760 h 4191000"/>
                <a:gd name="connsiteX32" fmla="*/ 4472940 w 5257800"/>
                <a:gd name="connsiteY32" fmla="*/ 4191000 h 4191000"/>
                <a:gd name="connsiteX33" fmla="*/ 4693920 w 5257800"/>
                <a:gd name="connsiteY33" fmla="*/ 3261360 h 4191000"/>
                <a:gd name="connsiteX34" fmla="*/ 4701540 w 5257800"/>
                <a:gd name="connsiteY34" fmla="*/ 2834640 h 4191000"/>
                <a:gd name="connsiteX35" fmla="*/ 4579620 w 5257800"/>
                <a:gd name="connsiteY35" fmla="*/ 2415540 h 4191000"/>
                <a:gd name="connsiteX36" fmla="*/ 4373880 w 5257800"/>
                <a:gd name="connsiteY36" fmla="*/ 2057400 h 4191000"/>
                <a:gd name="connsiteX37" fmla="*/ 3429000 w 5257800"/>
                <a:gd name="connsiteY37" fmla="*/ 1013460 h 4191000"/>
                <a:gd name="connsiteX38" fmla="*/ 3192780 w 5257800"/>
                <a:gd name="connsiteY38" fmla="*/ 853440 h 4191000"/>
                <a:gd name="connsiteX39" fmla="*/ 2910840 w 5257800"/>
                <a:gd name="connsiteY39" fmla="*/ 739140 h 4191000"/>
                <a:gd name="connsiteX40" fmla="*/ 2514600 w 5257800"/>
                <a:gd name="connsiteY40" fmla="*/ 693420 h 4191000"/>
                <a:gd name="connsiteX41" fmla="*/ 2232660 w 5257800"/>
                <a:gd name="connsiteY41" fmla="*/ 739140 h 4191000"/>
                <a:gd name="connsiteX42" fmla="*/ 1234440 w 5257800"/>
                <a:gd name="connsiteY42" fmla="*/ 1059180 h 4191000"/>
                <a:gd name="connsiteX43" fmla="*/ 960120 w 5257800"/>
                <a:gd name="connsiteY43" fmla="*/ 1165860 h 4191000"/>
                <a:gd name="connsiteX44" fmla="*/ 815340 w 5257800"/>
                <a:gd name="connsiteY44" fmla="*/ 1257300 h 4191000"/>
                <a:gd name="connsiteX45" fmla="*/ 0 w 5257800"/>
                <a:gd name="connsiteY45" fmla="*/ 1234440 h 4191000"/>
                <a:gd name="connsiteX0" fmla="*/ 0 w 5257800"/>
                <a:gd name="connsiteY0" fmla="*/ 1234440 h 4206240"/>
                <a:gd name="connsiteX1" fmla="*/ 213360 w 5257800"/>
                <a:gd name="connsiteY1" fmla="*/ 990600 h 4206240"/>
                <a:gd name="connsiteX2" fmla="*/ 457200 w 5257800"/>
                <a:gd name="connsiteY2" fmla="*/ 792480 h 4206240"/>
                <a:gd name="connsiteX3" fmla="*/ 685800 w 5257800"/>
                <a:gd name="connsiteY3" fmla="*/ 624840 h 4206240"/>
                <a:gd name="connsiteX4" fmla="*/ 929640 w 5257800"/>
                <a:gd name="connsiteY4" fmla="*/ 533400 h 4206240"/>
                <a:gd name="connsiteX5" fmla="*/ 891540 w 5257800"/>
                <a:gd name="connsiteY5" fmla="*/ 426720 h 4206240"/>
                <a:gd name="connsiteX6" fmla="*/ 1074420 w 5257800"/>
                <a:gd name="connsiteY6" fmla="*/ 358140 h 4206240"/>
                <a:gd name="connsiteX7" fmla="*/ 1120140 w 5257800"/>
                <a:gd name="connsiteY7" fmla="*/ 464820 h 4206240"/>
                <a:gd name="connsiteX8" fmla="*/ 1242060 w 5257800"/>
                <a:gd name="connsiteY8" fmla="*/ 434340 h 4206240"/>
                <a:gd name="connsiteX9" fmla="*/ 1272540 w 5257800"/>
                <a:gd name="connsiteY9" fmla="*/ 365760 h 4206240"/>
                <a:gd name="connsiteX10" fmla="*/ 1531620 w 5257800"/>
                <a:gd name="connsiteY10" fmla="*/ 297180 h 4206240"/>
                <a:gd name="connsiteX11" fmla="*/ 1584960 w 5257800"/>
                <a:gd name="connsiteY11" fmla="*/ 327660 h 4206240"/>
                <a:gd name="connsiteX12" fmla="*/ 1714500 w 5257800"/>
                <a:gd name="connsiteY12" fmla="*/ 274320 h 4206240"/>
                <a:gd name="connsiteX13" fmla="*/ 1684020 w 5257800"/>
                <a:gd name="connsiteY13" fmla="*/ 114300 h 4206240"/>
                <a:gd name="connsiteX14" fmla="*/ 2087880 w 5257800"/>
                <a:gd name="connsiteY14" fmla="*/ 0 h 4206240"/>
                <a:gd name="connsiteX15" fmla="*/ 2133600 w 5257800"/>
                <a:gd name="connsiteY15" fmla="*/ 160020 h 4206240"/>
                <a:gd name="connsiteX16" fmla="*/ 2385060 w 5257800"/>
                <a:gd name="connsiteY16" fmla="*/ 106680 h 4206240"/>
                <a:gd name="connsiteX17" fmla="*/ 2644140 w 5257800"/>
                <a:gd name="connsiteY17" fmla="*/ 99060 h 4206240"/>
                <a:gd name="connsiteX18" fmla="*/ 2971800 w 5257800"/>
                <a:gd name="connsiteY18" fmla="*/ 152400 h 4206240"/>
                <a:gd name="connsiteX19" fmla="*/ 3299460 w 5257800"/>
                <a:gd name="connsiteY19" fmla="*/ 251460 h 4206240"/>
                <a:gd name="connsiteX20" fmla="*/ 3665220 w 5257800"/>
                <a:gd name="connsiteY20" fmla="*/ 464820 h 4206240"/>
                <a:gd name="connsiteX21" fmla="*/ 3954780 w 5257800"/>
                <a:gd name="connsiteY21" fmla="*/ 723900 h 4206240"/>
                <a:gd name="connsiteX22" fmla="*/ 4465320 w 5257800"/>
                <a:gd name="connsiteY22" fmla="*/ 1280160 h 4206240"/>
                <a:gd name="connsiteX23" fmla="*/ 4495800 w 5257800"/>
                <a:gd name="connsiteY23" fmla="*/ 1287780 h 4206240"/>
                <a:gd name="connsiteX24" fmla="*/ 4678680 w 5257800"/>
                <a:gd name="connsiteY24" fmla="*/ 1463040 h 4206240"/>
                <a:gd name="connsiteX25" fmla="*/ 4663440 w 5257800"/>
                <a:gd name="connsiteY25" fmla="*/ 1524000 h 4206240"/>
                <a:gd name="connsiteX26" fmla="*/ 4914900 w 5257800"/>
                <a:gd name="connsiteY26" fmla="*/ 1821180 h 4206240"/>
                <a:gd name="connsiteX27" fmla="*/ 5105400 w 5257800"/>
                <a:gd name="connsiteY27" fmla="*/ 2217420 h 4206240"/>
                <a:gd name="connsiteX28" fmla="*/ 5227320 w 5257800"/>
                <a:gd name="connsiteY28" fmla="*/ 2636520 h 4206240"/>
                <a:gd name="connsiteX29" fmla="*/ 5257800 w 5257800"/>
                <a:gd name="connsiteY29" fmla="*/ 3086100 h 4206240"/>
                <a:gd name="connsiteX30" fmla="*/ 5204460 w 5257800"/>
                <a:gd name="connsiteY30" fmla="*/ 3611880 h 4206240"/>
                <a:gd name="connsiteX31" fmla="*/ 5044440 w 5257800"/>
                <a:gd name="connsiteY31" fmla="*/ 4206240 h 4206240"/>
                <a:gd name="connsiteX32" fmla="*/ 4472940 w 5257800"/>
                <a:gd name="connsiteY32" fmla="*/ 4191000 h 4206240"/>
                <a:gd name="connsiteX33" fmla="*/ 4693920 w 5257800"/>
                <a:gd name="connsiteY33" fmla="*/ 3261360 h 4206240"/>
                <a:gd name="connsiteX34" fmla="*/ 4701540 w 5257800"/>
                <a:gd name="connsiteY34" fmla="*/ 2834640 h 4206240"/>
                <a:gd name="connsiteX35" fmla="*/ 4579620 w 5257800"/>
                <a:gd name="connsiteY35" fmla="*/ 2415540 h 4206240"/>
                <a:gd name="connsiteX36" fmla="*/ 4373880 w 5257800"/>
                <a:gd name="connsiteY36" fmla="*/ 2057400 h 4206240"/>
                <a:gd name="connsiteX37" fmla="*/ 3429000 w 5257800"/>
                <a:gd name="connsiteY37" fmla="*/ 1013460 h 4206240"/>
                <a:gd name="connsiteX38" fmla="*/ 3192780 w 5257800"/>
                <a:gd name="connsiteY38" fmla="*/ 853440 h 4206240"/>
                <a:gd name="connsiteX39" fmla="*/ 2910840 w 5257800"/>
                <a:gd name="connsiteY39" fmla="*/ 739140 h 4206240"/>
                <a:gd name="connsiteX40" fmla="*/ 2514600 w 5257800"/>
                <a:gd name="connsiteY40" fmla="*/ 693420 h 4206240"/>
                <a:gd name="connsiteX41" fmla="*/ 2232660 w 5257800"/>
                <a:gd name="connsiteY41" fmla="*/ 739140 h 4206240"/>
                <a:gd name="connsiteX42" fmla="*/ 1234440 w 5257800"/>
                <a:gd name="connsiteY42" fmla="*/ 1059180 h 4206240"/>
                <a:gd name="connsiteX43" fmla="*/ 960120 w 5257800"/>
                <a:gd name="connsiteY43" fmla="*/ 1165860 h 4206240"/>
                <a:gd name="connsiteX44" fmla="*/ 815340 w 5257800"/>
                <a:gd name="connsiteY44" fmla="*/ 1257300 h 4206240"/>
                <a:gd name="connsiteX45" fmla="*/ 0 w 5257800"/>
                <a:gd name="connsiteY45" fmla="*/ 1234440 h 4206240"/>
                <a:gd name="connsiteX0" fmla="*/ 0 w 5257800"/>
                <a:gd name="connsiteY0" fmla="*/ 1234440 h 4213860"/>
                <a:gd name="connsiteX1" fmla="*/ 213360 w 5257800"/>
                <a:gd name="connsiteY1" fmla="*/ 990600 h 4213860"/>
                <a:gd name="connsiteX2" fmla="*/ 457200 w 5257800"/>
                <a:gd name="connsiteY2" fmla="*/ 792480 h 4213860"/>
                <a:gd name="connsiteX3" fmla="*/ 685800 w 5257800"/>
                <a:gd name="connsiteY3" fmla="*/ 624840 h 4213860"/>
                <a:gd name="connsiteX4" fmla="*/ 929640 w 5257800"/>
                <a:gd name="connsiteY4" fmla="*/ 533400 h 4213860"/>
                <a:gd name="connsiteX5" fmla="*/ 891540 w 5257800"/>
                <a:gd name="connsiteY5" fmla="*/ 426720 h 4213860"/>
                <a:gd name="connsiteX6" fmla="*/ 1074420 w 5257800"/>
                <a:gd name="connsiteY6" fmla="*/ 358140 h 4213860"/>
                <a:gd name="connsiteX7" fmla="*/ 1120140 w 5257800"/>
                <a:gd name="connsiteY7" fmla="*/ 464820 h 4213860"/>
                <a:gd name="connsiteX8" fmla="*/ 1242060 w 5257800"/>
                <a:gd name="connsiteY8" fmla="*/ 434340 h 4213860"/>
                <a:gd name="connsiteX9" fmla="*/ 1272540 w 5257800"/>
                <a:gd name="connsiteY9" fmla="*/ 365760 h 4213860"/>
                <a:gd name="connsiteX10" fmla="*/ 1531620 w 5257800"/>
                <a:gd name="connsiteY10" fmla="*/ 297180 h 4213860"/>
                <a:gd name="connsiteX11" fmla="*/ 1584960 w 5257800"/>
                <a:gd name="connsiteY11" fmla="*/ 327660 h 4213860"/>
                <a:gd name="connsiteX12" fmla="*/ 1714500 w 5257800"/>
                <a:gd name="connsiteY12" fmla="*/ 274320 h 4213860"/>
                <a:gd name="connsiteX13" fmla="*/ 1684020 w 5257800"/>
                <a:gd name="connsiteY13" fmla="*/ 114300 h 4213860"/>
                <a:gd name="connsiteX14" fmla="*/ 2087880 w 5257800"/>
                <a:gd name="connsiteY14" fmla="*/ 0 h 4213860"/>
                <a:gd name="connsiteX15" fmla="*/ 2133600 w 5257800"/>
                <a:gd name="connsiteY15" fmla="*/ 160020 h 4213860"/>
                <a:gd name="connsiteX16" fmla="*/ 2385060 w 5257800"/>
                <a:gd name="connsiteY16" fmla="*/ 106680 h 4213860"/>
                <a:gd name="connsiteX17" fmla="*/ 2644140 w 5257800"/>
                <a:gd name="connsiteY17" fmla="*/ 99060 h 4213860"/>
                <a:gd name="connsiteX18" fmla="*/ 2971800 w 5257800"/>
                <a:gd name="connsiteY18" fmla="*/ 152400 h 4213860"/>
                <a:gd name="connsiteX19" fmla="*/ 3299460 w 5257800"/>
                <a:gd name="connsiteY19" fmla="*/ 251460 h 4213860"/>
                <a:gd name="connsiteX20" fmla="*/ 3665220 w 5257800"/>
                <a:gd name="connsiteY20" fmla="*/ 464820 h 4213860"/>
                <a:gd name="connsiteX21" fmla="*/ 3954780 w 5257800"/>
                <a:gd name="connsiteY21" fmla="*/ 723900 h 4213860"/>
                <a:gd name="connsiteX22" fmla="*/ 4465320 w 5257800"/>
                <a:gd name="connsiteY22" fmla="*/ 1280160 h 4213860"/>
                <a:gd name="connsiteX23" fmla="*/ 4495800 w 5257800"/>
                <a:gd name="connsiteY23" fmla="*/ 1287780 h 4213860"/>
                <a:gd name="connsiteX24" fmla="*/ 4678680 w 5257800"/>
                <a:gd name="connsiteY24" fmla="*/ 1463040 h 4213860"/>
                <a:gd name="connsiteX25" fmla="*/ 4663440 w 5257800"/>
                <a:gd name="connsiteY25" fmla="*/ 1524000 h 4213860"/>
                <a:gd name="connsiteX26" fmla="*/ 4914900 w 5257800"/>
                <a:gd name="connsiteY26" fmla="*/ 1821180 h 4213860"/>
                <a:gd name="connsiteX27" fmla="*/ 5105400 w 5257800"/>
                <a:gd name="connsiteY27" fmla="*/ 2217420 h 4213860"/>
                <a:gd name="connsiteX28" fmla="*/ 5227320 w 5257800"/>
                <a:gd name="connsiteY28" fmla="*/ 2636520 h 4213860"/>
                <a:gd name="connsiteX29" fmla="*/ 5257800 w 5257800"/>
                <a:gd name="connsiteY29" fmla="*/ 3086100 h 4213860"/>
                <a:gd name="connsiteX30" fmla="*/ 5204460 w 5257800"/>
                <a:gd name="connsiteY30" fmla="*/ 3611880 h 4213860"/>
                <a:gd name="connsiteX31" fmla="*/ 5044440 w 5257800"/>
                <a:gd name="connsiteY31" fmla="*/ 4206240 h 4213860"/>
                <a:gd name="connsiteX32" fmla="*/ 4495800 w 5257800"/>
                <a:gd name="connsiteY32" fmla="*/ 4213860 h 4213860"/>
                <a:gd name="connsiteX33" fmla="*/ 4693920 w 5257800"/>
                <a:gd name="connsiteY33" fmla="*/ 3261360 h 4213860"/>
                <a:gd name="connsiteX34" fmla="*/ 4701540 w 5257800"/>
                <a:gd name="connsiteY34" fmla="*/ 2834640 h 4213860"/>
                <a:gd name="connsiteX35" fmla="*/ 4579620 w 5257800"/>
                <a:gd name="connsiteY35" fmla="*/ 2415540 h 4213860"/>
                <a:gd name="connsiteX36" fmla="*/ 4373880 w 5257800"/>
                <a:gd name="connsiteY36" fmla="*/ 2057400 h 4213860"/>
                <a:gd name="connsiteX37" fmla="*/ 3429000 w 5257800"/>
                <a:gd name="connsiteY37" fmla="*/ 1013460 h 4213860"/>
                <a:gd name="connsiteX38" fmla="*/ 3192780 w 5257800"/>
                <a:gd name="connsiteY38" fmla="*/ 853440 h 4213860"/>
                <a:gd name="connsiteX39" fmla="*/ 2910840 w 5257800"/>
                <a:gd name="connsiteY39" fmla="*/ 739140 h 4213860"/>
                <a:gd name="connsiteX40" fmla="*/ 2514600 w 5257800"/>
                <a:gd name="connsiteY40" fmla="*/ 693420 h 4213860"/>
                <a:gd name="connsiteX41" fmla="*/ 2232660 w 5257800"/>
                <a:gd name="connsiteY41" fmla="*/ 739140 h 4213860"/>
                <a:gd name="connsiteX42" fmla="*/ 1234440 w 5257800"/>
                <a:gd name="connsiteY42" fmla="*/ 1059180 h 4213860"/>
                <a:gd name="connsiteX43" fmla="*/ 960120 w 5257800"/>
                <a:gd name="connsiteY43" fmla="*/ 1165860 h 4213860"/>
                <a:gd name="connsiteX44" fmla="*/ 815340 w 5257800"/>
                <a:gd name="connsiteY44" fmla="*/ 1257300 h 4213860"/>
                <a:gd name="connsiteX45" fmla="*/ 0 w 5257800"/>
                <a:gd name="connsiteY45" fmla="*/ 1234440 h 4213860"/>
                <a:gd name="connsiteX0" fmla="*/ 0 w 5257800"/>
                <a:gd name="connsiteY0" fmla="*/ 1234440 h 4213860"/>
                <a:gd name="connsiteX1" fmla="*/ 213360 w 5257800"/>
                <a:gd name="connsiteY1" fmla="*/ 990600 h 4213860"/>
                <a:gd name="connsiteX2" fmla="*/ 457200 w 5257800"/>
                <a:gd name="connsiteY2" fmla="*/ 792480 h 4213860"/>
                <a:gd name="connsiteX3" fmla="*/ 685800 w 5257800"/>
                <a:gd name="connsiteY3" fmla="*/ 624840 h 4213860"/>
                <a:gd name="connsiteX4" fmla="*/ 929640 w 5257800"/>
                <a:gd name="connsiteY4" fmla="*/ 533400 h 4213860"/>
                <a:gd name="connsiteX5" fmla="*/ 891540 w 5257800"/>
                <a:gd name="connsiteY5" fmla="*/ 426720 h 4213860"/>
                <a:gd name="connsiteX6" fmla="*/ 1074420 w 5257800"/>
                <a:gd name="connsiteY6" fmla="*/ 358140 h 4213860"/>
                <a:gd name="connsiteX7" fmla="*/ 1120140 w 5257800"/>
                <a:gd name="connsiteY7" fmla="*/ 464820 h 4213860"/>
                <a:gd name="connsiteX8" fmla="*/ 1242060 w 5257800"/>
                <a:gd name="connsiteY8" fmla="*/ 434340 h 4213860"/>
                <a:gd name="connsiteX9" fmla="*/ 1272540 w 5257800"/>
                <a:gd name="connsiteY9" fmla="*/ 365760 h 4213860"/>
                <a:gd name="connsiteX10" fmla="*/ 1531620 w 5257800"/>
                <a:gd name="connsiteY10" fmla="*/ 297180 h 4213860"/>
                <a:gd name="connsiteX11" fmla="*/ 1584960 w 5257800"/>
                <a:gd name="connsiteY11" fmla="*/ 327660 h 4213860"/>
                <a:gd name="connsiteX12" fmla="*/ 1714500 w 5257800"/>
                <a:gd name="connsiteY12" fmla="*/ 274320 h 4213860"/>
                <a:gd name="connsiteX13" fmla="*/ 1684020 w 5257800"/>
                <a:gd name="connsiteY13" fmla="*/ 114300 h 4213860"/>
                <a:gd name="connsiteX14" fmla="*/ 2087880 w 5257800"/>
                <a:gd name="connsiteY14" fmla="*/ 0 h 4213860"/>
                <a:gd name="connsiteX15" fmla="*/ 2133600 w 5257800"/>
                <a:gd name="connsiteY15" fmla="*/ 160020 h 4213860"/>
                <a:gd name="connsiteX16" fmla="*/ 2385060 w 5257800"/>
                <a:gd name="connsiteY16" fmla="*/ 106680 h 4213860"/>
                <a:gd name="connsiteX17" fmla="*/ 2644140 w 5257800"/>
                <a:gd name="connsiteY17" fmla="*/ 99060 h 4213860"/>
                <a:gd name="connsiteX18" fmla="*/ 2971800 w 5257800"/>
                <a:gd name="connsiteY18" fmla="*/ 152400 h 4213860"/>
                <a:gd name="connsiteX19" fmla="*/ 3299460 w 5257800"/>
                <a:gd name="connsiteY19" fmla="*/ 251460 h 4213860"/>
                <a:gd name="connsiteX20" fmla="*/ 3665220 w 5257800"/>
                <a:gd name="connsiteY20" fmla="*/ 464820 h 4213860"/>
                <a:gd name="connsiteX21" fmla="*/ 3954780 w 5257800"/>
                <a:gd name="connsiteY21" fmla="*/ 723900 h 4213860"/>
                <a:gd name="connsiteX22" fmla="*/ 4465320 w 5257800"/>
                <a:gd name="connsiteY22" fmla="*/ 1280160 h 4213860"/>
                <a:gd name="connsiteX23" fmla="*/ 4495800 w 5257800"/>
                <a:gd name="connsiteY23" fmla="*/ 1287780 h 4213860"/>
                <a:gd name="connsiteX24" fmla="*/ 4678680 w 5257800"/>
                <a:gd name="connsiteY24" fmla="*/ 1463040 h 4213860"/>
                <a:gd name="connsiteX25" fmla="*/ 4663440 w 5257800"/>
                <a:gd name="connsiteY25" fmla="*/ 1524000 h 4213860"/>
                <a:gd name="connsiteX26" fmla="*/ 4914900 w 5257800"/>
                <a:gd name="connsiteY26" fmla="*/ 1821180 h 4213860"/>
                <a:gd name="connsiteX27" fmla="*/ 5105400 w 5257800"/>
                <a:gd name="connsiteY27" fmla="*/ 2217420 h 4213860"/>
                <a:gd name="connsiteX28" fmla="*/ 5227320 w 5257800"/>
                <a:gd name="connsiteY28" fmla="*/ 2636520 h 4213860"/>
                <a:gd name="connsiteX29" fmla="*/ 5257800 w 5257800"/>
                <a:gd name="connsiteY29" fmla="*/ 3086100 h 4213860"/>
                <a:gd name="connsiteX30" fmla="*/ 5204460 w 5257800"/>
                <a:gd name="connsiteY30" fmla="*/ 3611880 h 4213860"/>
                <a:gd name="connsiteX31" fmla="*/ 5044440 w 5257800"/>
                <a:gd name="connsiteY31" fmla="*/ 4206240 h 4213860"/>
                <a:gd name="connsiteX32" fmla="*/ 4495800 w 5257800"/>
                <a:gd name="connsiteY32" fmla="*/ 4213860 h 4213860"/>
                <a:gd name="connsiteX33" fmla="*/ 4693920 w 5257800"/>
                <a:gd name="connsiteY33" fmla="*/ 3261360 h 4213860"/>
                <a:gd name="connsiteX34" fmla="*/ 4701540 w 5257800"/>
                <a:gd name="connsiteY34" fmla="*/ 2834640 h 4213860"/>
                <a:gd name="connsiteX35" fmla="*/ 4579620 w 5257800"/>
                <a:gd name="connsiteY35" fmla="*/ 2415540 h 4213860"/>
                <a:gd name="connsiteX36" fmla="*/ 4373880 w 5257800"/>
                <a:gd name="connsiteY36" fmla="*/ 2057400 h 4213860"/>
                <a:gd name="connsiteX37" fmla="*/ 3429000 w 5257800"/>
                <a:gd name="connsiteY37" fmla="*/ 1013460 h 4213860"/>
                <a:gd name="connsiteX38" fmla="*/ 3192780 w 5257800"/>
                <a:gd name="connsiteY38" fmla="*/ 853440 h 4213860"/>
                <a:gd name="connsiteX39" fmla="*/ 2910840 w 5257800"/>
                <a:gd name="connsiteY39" fmla="*/ 739140 h 4213860"/>
                <a:gd name="connsiteX40" fmla="*/ 2514600 w 5257800"/>
                <a:gd name="connsiteY40" fmla="*/ 693420 h 4213860"/>
                <a:gd name="connsiteX41" fmla="*/ 2232660 w 5257800"/>
                <a:gd name="connsiteY41" fmla="*/ 739140 h 4213860"/>
                <a:gd name="connsiteX42" fmla="*/ 1234440 w 5257800"/>
                <a:gd name="connsiteY42" fmla="*/ 1059180 h 4213860"/>
                <a:gd name="connsiteX43" fmla="*/ 960120 w 5257800"/>
                <a:gd name="connsiteY43" fmla="*/ 1165860 h 4213860"/>
                <a:gd name="connsiteX44" fmla="*/ 815340 w 5257800"/>
                <a:gd name="connsiteY44" fmla="*/ 1257300 h 4213860"/>
                <a:gd name="connsiteX45" fmla="*/ 0 w 5257800"/>
                <a:gd name="connsiteY45" fmla="*/ 1234440 h 4213860"/>
                <a:gd name="connsiteX0" fmla="*/ 0 w 5257800"/>
                <a:gd name="connsiteY0" fmla="*/ 1234440 h 4213860"/>
                <a:gd name="connsiteX1" fmla="*/ 213360 w 5257800"/>
                <a:gd name="connsiteY1" fmla="*/ 990600 h 4213860"/>
                <a:gd name="connsiteX2" fmla="*/ 457200 w 5257800"/>
                <a:gd name="connsiteY2" fmla="*/ 792480 h 4213860"/>
                <a:gd name="connsiteX3" fmla="*/ 685800 w 5257800"/>
                <a:gd name="connsiteY3" fmla="*/ 624840 h 4213860"/>
                <a:gd name="connsiteX4" fmla="*/ 929640 w 5257800"/>
                <a:gd name="connsiteY4" fmla="*/ 533400 h 4213860"/>
                <a:gd name="connsiteX5" fmla="*/ 891540 w 5257800"/>
                <a:gd name="connsiteY5" fmla="*/ 426720 h 4213860"/>
                <a:gd name="connsiteX6" fmla="*/ 1074420 w 5257800"/>
                <a:gd name="connsiteY6" fmla="*/ 358140 h 4213860"/>
                <a:gd name="connsiteX7" fmla="*/ 1120140 w 5257800"/>
                <a:gd name="connsiteY7" fmla="*/ 464820 h 4213860"/>
                <a:gd name="connsiteX8" fmla="*/ 1242060 w 5257800"/>
                <a:gd name="connsiteY8" fmla="*/ 434340 h 4213860"/>
                <a:gd name="connsiteX9" fmla="*/ 1272540 w 5257800"/>
                <a:gd name="connsiteY9" fmla="*/ 365760 h 4213860"/>
                <a:gd name="connsiteX10" fmla="*/ 1531620 w 5257800"/>
                <a:gd name="connsiteY10" fmla="*/ 297180 h 4213860"/>
                <a:gd name="connsiteX11" fmla="*/ 1584960 w 5257800"/>
                <a:gd name="connsiteY11" fmla="*/ 327660 h 4213860"/>
                <a:gd name="connsiteX12" fmla="*/ 1714500 w 5257800"/>
                <a:gd name="connsiteY12" fmla="*/ 274320 h 4213860"/>
                <a:gd name="connsiteX13" fmla="*/ 1684020 w 5257800"/>
                <a:gd name="connsiteY13" fmla="*/ 114300 h 4213860"/>
                <a:gd name="connsiteX14" fmla="*/ 2087880 w 5257800"/>
                <a:gd name="connsiteY14" fmla="*/ 0 h 4213860"/>
                <a:gd name="connsiteX15" fmla="*/ 2133600 w 5257800"/>
                <a:gd name="connsiteY15" fmla="*/ 160020 h 4213860"/>
                <a:gd name="connsiteX16" fmla="*/ 2385060 w 5257800"/>
                <a:gd name="connsiteY16" fmla="*/ 106680 h 4213860"/>
                <a:gd name="connsiteX17" fmla="*/ 2644140 w 5257800"/>
                <a:gd name="connsiteY17" fmla="*/ 99060 h 4213860"/>
                <a:gd name="connsiteX18" fmla="*/ 2971800 w 5257800"/>
                <a:gd name="connsiteY18" fmla="*/ 152400 h 4213860"/>
                <a:gd name="connsiteX19" fmla="*/ 3299460 w 5257800"/>
                <a:gd name="connsiteY19" fmla="*/ 251460 h 4213860"/>
                <a:gd name="connsiteX20" fmla="*/ 3665220 w 5257800"/>
                <a:gd name="connsiteY20" fmla="*/ 464820 h 4213860"/>
                <a:gd name="connsiteX21" fmla="*/ 3954780 w 5257800"/>
                <a:gd name="connsiteY21" fmla="*/ 723900 h 4213860"/>
                <a:gd name="connsiteX22" fmla="*/ 4465320 w 5257800"/>
                <a:gd name="connsiteY22" fmla="*/ 1280160 h 4213860"/>
                <a:gd name="connsiteX23" fmla="*/ 4495800 w 5257800"/>
                <a:gd name="connsiteY23" fmla="*/ 1287780 h 4213860"/>
                <a:gd name="connsiteX24" fmla="*/ 4678680 w 5257800"/>
                <a:gd name="connsiteY24" fmla="*/ 1463040 h 4213860"/>
                <a:gd name="connsiteX25" fmla="*/ 4663440 w 5257800"/>
                <a:gd name="connsiteY25" fmla="*/ 1524000 h 4213860"/>
                <a:gd name="connsiteX26" fmla="*/ 4914900 w 5257800"/>
                <a:gd name="connsiteY26" fmla="*/ 1821180 h 4213860"/>
                <a:gd name="connsiteX27" fmla="*/ 5105400 w 5257800"/>
                <a:gd name="connsiteY27" fmla="*/ 2217420 h 4213860"/>
                <a:gd name="connsiteX28" fmla="*/ 5227320 w 5257800"/>
                <a:gd name="connsiteY28" fmla="*/ 2636520 h 4213860"/>
                <a:gd name="connsiteX29" fmla="*/ 5257800 w 5257800"/>
                <a:gd name="connsiteY29" fmla="*/ 3086100 h 4213860"/>
                <a:gd name="connsiteX30" fmla="*/ 5204460 w 5257800"/>
                <a:gd name="connsiteY30" fmla="*/ 3611880 h 4213860"/>
                <a:gd name="connsiteX31" fmla="*/ 5044440 w 5257800"/>
                <a:gd name="connsiteY31" fmla="*/ 4206240 h 4213860"/>
                <a:gd name="connsiteX32" fmla="*/ 4495800 w 5257800"/>
                <a:gd name="connsiteY32" fmla="*/ 4213860 h 4213860"/>
                <a:gd name="connsiteX33" fmla="*/ 4693920 w 5257800"/>
                <a:gd name="connsiteY33" fmla="*/ 3261360 h 4213860"/>
                <a:gd name="connsiteX34" fmla="*/ 4701540 w 5257800"/>
                <a:gd name="connsiteY34" fmla="*/ 2834640 h 4213860"/>
                <a:gd name="connsiteX35" fmla="*/ 4579620 w 5257800"/>
                <a:gd name="connsiteY35" fmla="*/ 2415540 h 4213860"/>
                <a:gd name="connsiteX36" fmla="*/ 4373880 w 5257800"/>
                <a:gd name="connsiteY36" fmla="*/ 2057400 h 4213860"/>
                <a:gd name="connsiteX37" fmla="*/ 3429000 w 5257800"/>
                <a:gd name="connsiteY37" fmla="*/ 1013460 h 4213860"/>
                <a:gd name="connsiteX38" fmla="*/ 3192780 w 5257800"/>
                <a:gd name="connsiteY38" fmla="*/ 853440 h 4213860"/>
                <a:gd name="connsiteX39" fmla="*/ 2910840 w 5257800"/>
                <a:gd name="connsiteY39" fmla="*/ 739140 h 4213860"/>
                <a:gd name="connsiteX40" fmla="*/ 2514600 w 5257800"/>
                <a:gd name="connsiteY40" fmla="*/ 693420 h 4213860"/>
                <a:gd name="connsiteX41" fmla="*/ 2232660 w 5257800"/>
                <a:gd name="connsiteY41" fmla="*/ 739140 h 4213860"/>
                <a:gd name="connsiteX42" fmla="*/ 1234440 w 5257800"/>
                <a:gd name="connsiteY42" fmla="*/ 1059180 h 4213860"/>
                <a:gd name="connsiteX43" fmla="*/ 960120 w 5257800"/>
                <a:gd name="connsiteY43" fmla="*/ 1165860 h 4213860"/>
                <a:gd name="connsiteX44" fmla="*/ 815340 w 5257800"/>
                <a:gd name="connsiteY44" fmla="*/ 1257300 h 4213860"/>
                <a:gd name="connsiteX45" fmla="*/ 0 w 5257800"/>
                <a:gd name="connsiteY45" fmla="*/ 1234440 h 4213860"/>
                <a:gd name="connsiteX0" fmla="*/ 0 w 5257800"/>
                <a:gd name="connsiteY0" fmla="*/ 1234440 h 4213860"/>
                <a:gd name="connsiteX1" fmla="*/ 213360 w 5257800"/>
                <a:gd name="connsiteY1" fmla="*/ 990600 h 4213860"/>
                <a:gd name="connsiteX2" fmla="*/ 457200 w 5257800"/>
                <a:gd name="connsiteY2" fmla="*/ 792480 h 4213860"/>
                <a:gd name="connsiteX3" fmla="*/ 685800 w 5257800"/>
                <a:gd name="connsiteY3" fmla="*/ 624840 h 4213860"/>
                <a:gd name="connsiteX4" fmla="*/ 929640 w 5257800"/>
                <a:gd name="connsiteY4" fmla="*/ 533400 h 4213860"/>
                <a:gd name="connsiteX5" fmla="*/ 891540 w 5257800"/>
                <a:gd name="connsiteY5" fmla="*/ 426720 h 4213860"/>
                <a:gd name="connsiteX6" fmla="*/ 1074420 w 5257800"/>
                <a:gd name="connsiteY6" fmla="*/ 358140 h 4213860"/>
                <a:gd name="connsiteX7" fmla="*/ 1120140 w 5257800"/>
                <a:gd name="connsiteY7" fmla="*/ 464820 h 4213860"/>
                <a:gd name="connsiteX8" fmla="*/ 1242060 w 5257800"/>
                <a:gd name="connsiteY8" fmla="*/ 434340 h 4213860"/>
                <a:gd name="connsiteX9" fmla="*/ 1272540 w 5257800"/>
                <a:gd name="connsiteY9" fmla="*/ 365760 h 4213860"/>
                <a:gd name="connsiteX10" fmla="*/ 1531620 w 5257800"/>
                <a:gd name="connsiteY10" fmla="*/ 297180 h 4213860"/>
                <a:gd name="connsiteX11" fmla="*/ 1584960 w 5257800"/>
                <a:gd name="connsiteY11" fmla="*/ 327660 h 4213860"/>
                <a:gd name="connsiteX12" fmla="*/ 1714500 w 5257800"/>
                <a:gd name="connsiteY12" fmla="*/ 274320 h 4213860"/>
                <a:gd name="connsiteX13" fmla="*/ 1684020 w 5257800"/>
                <a:gd name="connsiteY13" fmla="*/ 114300 h 4213860"/>
                <a:gd name="connsiteX14" fmla="*/ 2087880 w 5257800"/>
                <a:gd name="connsiteY14" fmla="*/ 0 h 4213860"/>
                <a:gd name="connsiteX15" fmla="*/ 2133600 w 5257800"/>
                <a:gd name="connsiteY15" fmla="*/ 160020 h 4213860"/>
                <a:gd name="connsiteX16" fmla="*/ 2385060 w 5257800"/>
                <a:gd name="connsiteY16" fmla="*/ 106680 h 4213860"/>
                <a:gd name="connsiteX17" fmla="*/ 2644140 w 5257800"/>
                <a:gd name="connsiteY17" fmla="*/ 99060 h 4213860"/>
                <a:gd name="connsiteX18" fmla="*/ 2971800 w 5257800"/>
                <a:gd name="connsiteY18" fmla="*/ 152400 h 4213860"/>
                <a:gd name="connsiteX19" fmla="*/ 3299460 w 5257800"/>
                <a:gd name="connsiteY19" fmla="*/ 251460 h 4213860"/>
                <a:gd name="connsiteX20" fmla="*/ 3665220 w 5257800"/>
                <a:gd name="connsiteY20" fmla="*/ 464820 h 4213860"/>
                <a:gd name="connsiteX21" fmla="*/ 3954780 w 5257800"/>
                <a:gd name="connsiteY21" fmla="*/ 723900 h 4213860"/>
                <a:gd name="connsiteX22" fmla="*/ 4465320 w 5257800"/>
                <a:gd name="connsiteY22" fmla="*/ 1280160 h 4213860"/>
                <a:gd name="connsiteX23" fmla="*/ 4495800 w 5257800"/>
                <a:gd name="connsiteY23" fmla="*/ 1287780 h 4213860"/>
                <a:gd name="connsiteX24" fmla="*/ 4678680 w 5257800"/>
                <a:gd name="connsiteY24" fmla="*/ 1463040 h 4213860"/>
                <a:gd name="connsiteX25" fmla="*/ 4663440 w 5257800"/>
                <a:gd name="connsiteY25" fmla="*/ 1524000 h 4213860"/>
                <a:gd name="connsiteX26" fmla="*/ 4914900 w 5257800"/>
                <a:gd name="connsiteY26" fmla="*/ 1821180 h 4213860"/>
                <a:gd name="connsiteX27" fmla="*/ 5105400 w 5257800"/>
                <a:gd name="connsiteY27" fmla="*/ 2217420 h 4213860"/>
                <a:gd name="connsiteX28" fmla="*/ 5227320 w 5257800"/>
                <a:gd name="connsiteY28" fmla="*/ 2636520 h 4213860"/>
                <a:gd name="connsiteX29" fmla="*/ 5257800 w 5257800"/>
                <a:gd name="connsiteY29" fmla="*/ 3086100 h 4213860"/>
                <a:gd name="connsiteX30" fmla="*/ 5204460 w 5257800"/>
                <a:gd name="connsiteY30" fmla="*/ 3611880 h 4213860"/>
                <a:gd name="connsiteX31" fmla="*/ 5044440 w 5257800"/>
                <a:gd name="connsiteY31" fmla="*/ 4206240 h 4213860"/>
                <a:gd name="connsiteX32" fmla="*/ 4495800 w 5257800"/>
                <a:gd name="connsiteY32" fmla="*/ 4213860 h 4213860"/>
                <a:gd name="connsiteX33" fmla="*/ 4693920 w 5257800"/>
                <a:gd name="connsiteY33" fmla="*/ 3261360 h 4213860"/>
                <a:gd name="connsiteX34" fmla="*/ 4701540 w 5257800"/>
                <a:gd name="connsiteY34" fmla="*/ 2834640 h 4213860"/>
                <a:gd name="connsiteX35" fmla="*/ 4579620 w 5257800"/>
                <a:gd name="connsiteY35" fmla="*/ 2415540 h 4213860"/>
                <a:gd name="connsiteX36" fmla="*/ 4373880 w 5257800"/>
                <a:gd name="connsiteY36" fmla="*/ 2057400 h 4213860"/>
                <a:gd name="connsiteX37" fmla="*/ 3429000 w 5257800"/>
                <a:gd name="connsiteY37" fmla="*/ 1013460 h 4213860"/>
                <a:gd name="connsiteX38" fmla="*/ 3192780 w 5257800"/>
                <a:gd name="connsiteY38" fmla="*/ 853440 h 4213860"/>
                <a:gd name="connsiteX39" fmla="*/ 2910840 w 5257800"/>
                <a:gd name="connsiteY39" fmla="*/ 739140 h 4213860"/>
                <a:gd name="connsiteX40" fmla="*/ 2514600 w 5257800"/>
                <a:gd name="connsiteY40" fmla="*/ 693420 h 4213860"/>
                <a:gd name="connsiteX41" fmla="*/ 2232660 w 5257800"/>
                <a:gd name="connsiteY41" fmla="*/ 739140 h 4213860"/>
                <a:gd name="connsiteX42" fmla="*/ 1234440 w 5257800"/>
                <a:gd name="connsiteY42" fmla="*/ 1059180 h 4213860"/>
                <a:gd name="connsiteX43" fmla="*/ 960120 w 5257800"/>
                <a:gd name="connsiteY43" fmla="*/ 1165860 h 4213860"/>
                <a:gd name="connsiteX44" fmla="*/ 815340 w 5257800"/>
                <a:gd name="connsiteY44" fmla="*/ 1257300 h 4213860"/>
                <a:gd name="connsiteX45" fmla="*/ 0 w 5257800"/>
                <a:gd name="connsiteY45" fmla="*/ 1234440 h 4213860"/>
                <a:gd name="connsiteX0" fmla="*/ 0 w 5257800"/>
                <a:gd name="connsiteY0" fmla="*/ 1234440 h 4574791"/>
                <a:gd name="connsiteX1" fmla="*/ 213360 w 5257800"/>
                <a:gd name="connsiteY1" fmla="*/ 990600 h 4574791"/>
                <a:gd name="connsiteX2" fmla="*/ 457200 w 5257800"/>
                <a:gd name="connsiteY2" fmla="*/ 792480 h 4574791"/>
                <a:gd name="connsiteX3" fmla="*/ 685800 w 5257800"/>
                <a:gd name="connsiteY3" fmla="*/ 624840 h 4574791"/>
                <a:gd name="connsiteX4" fmla="*/ 929640 w 5257800"/>
                <a:gd name="connsiteY4" fmla="*/ 533400 h 4574791"/>
                <a:gd name="connsiteX5" fmla="*/ 891540 w 5257800"/>
                <a:gd name="connsiteY5" fmla="*/ 426720 h 4574791"/>
                <a:gd name="connsiteX6" fmla="*/ 1074420 w 5257800"/>
                <a:gd name="connsiteY6" fmla="*/ 358140 h 4574791"/>
                <a:gd name="connsiteX7" fmla="*/ 1120140 w 5257800"/>
                <a:gd name="connsiteY7" fmla="*/ 464820 h 4574791"/>
                <a:gd name="connsiteX8" fmla="*/ 1242060 w 5257800"/>
                <a:gd name="connsiteY8" fmla="*/ 434340 h 4574791"/>
                <a:gd name="connsiteX9" fmla="*/ 1272540 w 5257800"/>
                <a:gd name="connsiteY9" fmla="*/ 365760 h 4574791"/>
                <a:gd name="connsiteX10" fmla="*/ 1531620 w 5257800"/>
                <a:gd name="connsiteY10" fmla="*/ 297180 h 4574791"/>
                <a:gd name="connsiteX11" fmla="*/ 1584960 w 5257800"/>
                <a:gd name="connsiteY11" fmla="*/ 327660 h 4574791"/>
                <a:gd name="connsiteX12" fmla="*/ 1714500 w 5257800"/>
                <a:gd name="connsiteY12" fmla="*/ 274320 h 4574791"/>
                <a:gd name="connsiteX13" fmla="*/ 1684020 w 5257800"/>
                <a:gd name="connsiteY13" fmla="*/ 114300 h 4574791"/>
                <a:gd name="connsiteX14" fmla="*/ 2087880 w 5257800"/>
                <a:gd name="connsiteY14" fmla="*/ 0 h 4574791"/>
                <a:gd name="connsiteX15" fmla="*/ 2133600 w 5257800"/>
                <a:gd name="connsiteY15" fmla="*/ 160020 h 4574791"/>
                <a:gd name="connsiteX16" fmla="*/ 2385060 w 5257800"/>
                <a:gd name="connsiteY16" fmla="*/ 106680 h 4574791"/>
                <a:gd name="connsiteX17" fmla="*/ 2644140 w 5257800"/>
                <a:gd name="connsiteY17" fmla="*/ 99060 h 4574791"/>
                <a:gd name="connsiteX18" fmla="*/ 2971800 w 5257800"/>
                <a:gd name="connsiteY18" fmla="*/ 152400 h 4574791"/>
                <a:gd name="connsiteX19" fmla="*/ 3299460 w 5257800"/>
                <a:gd name="connsiteY19" fmla="*/ 251460 h 4574791"/>
                <a:gd name="connsiteX20" fmla="*/ 3665220 w 5257800"/>
                <a:gd name="connsiteY20" fmla="*/ 464820 h 4574791"/>
                <a:gd name="connsiteX21" fmla="*/ 3954780 w 5257800"/>
                <a:gd name="connsiteY21" fmla="*/ 723900 h 4574791"/>
                <a:gd name="connsiteX22" fmla="*/ 4465320 w 5257800"/>
                <a:gd name="connsiteY22" fmla="*/ 1280160 h 4574791"/>
                <a:gd name="connsiteX23" fmla="*/ 4495800 w 5257800"/>
                <a:gd name="connsiteY23" fmla="*/ 1287780 h 4574791"/>
                <a:gd name="connsiteX24" fmla="*/ 4678680 w 5257800"/>
                <a:gd name="connsiteY24" fmla="*/ 1463040 h 4574791"/>
                <a:gd name="connsiteX25" fmla="*/ 4663440 w 5257800"/>
                <a:gd name="connsiteY25" fmla="*/ 1524000 h 4574791"/>
                <a:gd name="connsiteX26" fmla="*/ 4914900 w 5257800"/>
                <a:gd name="connsiteY26" fmla="*/ 1821180 h 4574791"/>
                <a:gd name="connsiteX27" fmla="*/ 5105400 w 5257800"/>
                <a:gd name="connsiteY27" fmla="*/ 2217420 h 4574791"/>
                <a:gd name="connsiteX28" fmla="*/ 5227320 w 5257800"/>
                <a:gd name="connsiteY28" fmla="*/ 2636520 h 4574791"/>
                <a:gd name="connsiteX29" fmla="*/ 5257800 w 5257800"/>
                <a:gd name="connsiteY29" fmla="*/ 3086100 h 4574791"/>
                <a:gd name="connsiteX30" fmla="*/ 5204460 w 5257800"/>
                <a:gd name="connsiteY30" fmla="*/ 3611880 h 4574791"/>
                <a:gd name="connsiteX31" fmla="*/ 5044440 w 5257800"/>
                <a:gd name="connsiteY31" fmla="*/ 4206240 h 4574791"/>
                <a:gd name="connsiteX32" fmla="*/ 4382946 w 5257800"/>
                <a:gd name="connsiteY32" fmla="*/ 4574791 h 4574791"/>
                <a:gd name="connsiteX33" fmla="*/ 4693920 w 5257800"/>
                <a:gd name="connsiteY33" fmla="*/ 3261360 h 4574791"/>
                <a:gd name="connsiteX34" fmla="*/ 4701540 w 5257800"/>
                <a:gd name="connsiteY34" fmla="*/ 2834640 h 4574791"/>
                <a:gd name="connsiteX35" fmla="*/ 4579620 w 5257800"/>
                <a:gd name="connsiteY35" fmla="*/ 2415540 h 4574791"/>
                <a:gd name="connsiteX36" fmla="*/ 4373880 w 5257800"/>
                <a:gd name="connsiteY36" fmla="*/ 2057400 h 4574791"/>
                <a:gd name="connsiteX37" fmla="*/ 3429000 w 5257800"/>
                <a:gd name="connsiteY37" fmla="*/ 1013460 h 4574791"/>
                <a:gd name="connsiteX38" fmla="*/ 3192780 w 5257800"/>
                <a:gd name="connsiteY38" fmla="*/ 853440 h 4574791"/>
                <a:gd name="connsiteX39" fmla="*/ 2910840 w 5257800"/>
                <a:gd name="connsiteY39" fmla="*/ 739140 h 4574791"/>
                <a:gd name="connsiteX40" fmla="*/ 2514600 w 5257800"/>
                <a:gd name="connsiteY40" fmla="*/ 693420 h 4574791"/>
                <a:gd name="connsiteX41" fmla="*/ 2232660 w 5257800"/>
                <a:gd name="connsiteY41" fmla="*/ 739140 h 4574791"/>
                <a:gd name="connsiteX42" fmla="*/ 1234440 w 5257800"/>
                <a:gd name="connsiteY42" fmla="*/ 1059180 h 4574791"/>
                <a:gd name="connsiteX43" fmla="*/ 960120 w 5257800"/>
                <a:gd name="connsiteY43" fmla="*/ 1165860 h 4574791"/>
                <a:gd name="connsiteX44" fmla="*/ 815340 w 5257800"/>
                <a:gd name="connsiteY44" fmla="*/ 1257300 h 4574791"/>
                <a:gd name="connsiteX45" fmla="*/ 0 w 5257800"/>
                <a:gd name="connsiteY45" fmla="*/ 1234440 h 4574791"/>
                <a:gd name="connsiteX0" fmla="*/ 0 w 5257800"/>
                <a:gd name="connsiteY0" fmla="*/ 1234440 h 4785630"/>
                <a:gd name="connsiteX1" fmla="*/ 213360 w 5257800"/>
                <a:gd name="connsiteY1" fmla="*/ 990600 h 4785630"/>
                <a:gd name="connsiteX2" fmla="*/ 457200 w 5257800"/>
                <a:gd name="connsiteY2" fmla="*/ 792480 h 4785630"/>
                <a:gd name="connsiteX3" fmla="*/ 685800 w 5257800"/>
                <a:gd name="connsiteY3" fmla="*/ 624840 h 4785630"/>
                <a:gd name="connsiteX4" fmla="*/ 929640 w 5257800"/>
                <a:gd name="connsiteY4" fmla="*/ 533400 h 4785630"/>
                <a:gd name="connsiteX5" fmla="*/ 891540 w 5257800"/>
                <a:gd name="connsiteY5" fmla="*/ 426720 h 4785630"/>
                <a:gd name="connsiteX6" fmla="*/ 1074420 w 5257800"/>
                <a:gd name="connsiteY6" fmla="*/ 358140 h 4785630"/>
                <a:gd name="connsiteX7" fmla="*/ 1120140 w 5257800"/>
                <a:gd name="connsiteY7" fmla="*/ 464820 h 4785630"/>
                <a:gd name="connsiteX8" fmla="*/ 1242060 w 5257800"/>
                <a:gd name="connsiteY8" fmla="*/ 434340 h 4785630"/>
                <a:gd name="connsiteX9" fmla="*/ 1272540 w 5257800"/>
                <a:gd name="connsiteY9" fmla="*/ 365760 h 4785630"/>
                <a:gd name="connsiteX10" fmla="*/ 1531620 w 5257800"/>
                <a:gd name="connsiteY10" fmla="*/ 297180 h 4785630"/>
                <a:gd name="connsiteX11" fmla="*/ 1584960 w 5257800"/>
                <a:gd name="connsiteY11" fmla="*/ 327660 h 4785630"/>
                <a:gd name="connsiteX12" fmla="*/ 1714500 w 5257800"/>
                <a:gd name="connsiteY12" fmla="*/ 274320 h 4785630"/>
                <a:gd name="connsiteX13" fmla="*/ 1684020 w 5257800"/>
                <a:gd name="connsiteY13" fmla="*/ 114300 h 4785630"/>
                <a:gd name="connsiteX14" fmla="*/ 2087880 w 5257800"/>
                <a:gd name="connsiteY14" fmla="*/ 0 h 4785630"/>
                <a:gd name="connsiteX15" fmla="*/ 2133600 w 5257800"/>
                <a:gd name="connsiteY15" fmla="*/ 160020 h 4785630"/>
                <a:gd name="connsiteX16" fmla="*/ 2385060 w 5257800"/>
                <a:gd name="connsiteY16" fmla="*/ 106680 h 4785630"/>
                <a:gd name="connsiteX17" fmla="*/ 2644140 w 5257800"/>
                <a:gd name="connsiteY17" fmla="*/ 99060 h 4785630"/>
                <a:gd name="connsiteX18" fmla="*/ 2971800 w 5257800"/>
                <a:gd name="connsiteY18" fmla="*/ 152400 h 4785630"/>
                <a:gd name="connsiteX19" fmla="*/ 3299460 w 5257800"/>
                <a:gd name="connsiteY19" fmla="*/ 251460 h 4785630"/>
                <a:gd name="connsiteX20" fmla="*/ 3665220 w 5257800"/>
                <a:gd name="connsiteY20" fmla="*/ 464820 h 4785630"/>
                <a:gd name="connsiteX21" fmla="*/ 3954780 w 5257800"/>
                <a:gd name="connsiteY21" fmla="*/ 723900 h 4785630"/>
                <a:gd name="connsiteX22" fmla="*/ 4465320 w 5257800"/>
                <a:gd name="connsiteY22" fmla="*/ 1280160 h 4785630"/>
                <a:gd name="connsiteX23" fmla="*/ 4495800 w 5257800"/>
                <a:gd name="connsiteY23" fmla="*/ 1287780 h 4785630"/>
                <a:gd name="connsiteX24" fmla="*/ 4678680 w 5257800"/>
                <a:gd name="connsiteY24" fmla="*/ 1463040 h 4785630"/>
                <a:gd name="connsiteX25" fmla="*/ 4663440 w 5257800"/>
                <a:gd name="connsiteY25" fmla="*/ 1524000 h 4785630"/>
                <a:gd name="connsiteX26" fmla="*/ 4914900 w 5257800"/>
                <a:gd name="connsiteY26" fmla="*/ 1821180 h 4785630"/>
                <a:gd name="connsiteX27" fmla="*/ 5105400 w 5257800"/>
                <a:gd name="connsiteY27" fmla="*/ 2217420 h 4785630"/>
                <a:gd name="connsiteX28" fmla="*/ 5227320 w 5257800"/>
                <a:gd name="connsiteY28" fmla="*/ 2636520 h 4785630"/>
                <a:gd name="connsiteX29" fmla="*/ 5257800 w 5257800"/>
                <a:gd name="connsiteY29" fmla="*/ 3086100 h 4785630"/>
                <a:gd name="connsiteX30" fmla="*/ 5204460 w 5257800"/>
                <a:gd name="connsiteY30" fmla="*/ 3611880 h 4785630"/>
                <a:gd name="connsiteX31" fmla="*/ 4905544 w 5257800"/>
                <a:gd name="connsiteY31" fmla="*/ 4785630 h 4785630"/>
                <a:gd name="connsiteX32" fmla="*/ 4382946 w 5257800"/>
                <a:gd name="connsiteY32" fmla="*/ 4574791 h 4785630"/>
                <a:gd name="connsiteX33" fmla="*/ 4693920 w 5257800"/>
                <a:gd name="connsiteY33" fmla="*/ 3261360 h 4785630"/>
                <a:gd name="connsiteX34" fmla="*/ 4701540 w 5257800"/>
                <a:gd name="connsiteY34" fmla="*/ 2834640 h 4785630"/>
                <a:gd name="connsiteX35" fmla="*/ 4579620 w 5257800"/>
                <a:gd name="connsiteY35" fmla="*/ 2415540 h 4785630"/>
                <a:gd name="connsiteX36" fmla="*/ 4373880 w 5257800"/>
                <a:gd name="connsiteY36" fmla="*/ 2057400 h 4785630"/>
                <a:gd name="connsiteX37" fmla="*/ 3429000 w 5257800"/>
                <a:gd name="connsiteY37" fmla="*/ 1013460 h 4785630"/>
                <a:gd name="connsiteX38" fmla="*/ 3192780 w 5257800"/>
                <a:gd name="connsiteY38" fmla="*/ 853440 h 4785630"/>
                <a:gd name="connsiteX39" fmla="*/ 2910840 w 5257800"/>
                <a:gd name="connsiteY39" fmla="*/ 739140 h 4785630"/>
                <a:gd name="connsiteX40" fmla="*/ 2514600 w 5257800"/>
                <a:gd name="connsiteY40" fmla="*/ 693420 h 4785630"/>
                <a:gd name="connsiteX41" fmla="*/ 2232660 w 5257800"/>
                <a:gd name="connsiteY41" fmla="*/ 739140 h 4785630"/>
                <a:gd name="connsiteX42" fmla="*/ 1234440 w 5257800"/>
                <a:gd name="connsiteY42" fmla="*/ 1059180 h 4785630"/>
                <a:gd name="connsiteX43" fmla="*/ 960120 w 5257800"/>
                <a:gd name="connsiteY43" fmla="*/ 1165860 h 4785630"/>
                <a:gd name="connsiteX44" fmla="*/ 815340 w 5257800"/>
                <a:gd name="connsiteY44" fmla="*/ 1257300 h 4785630"/>
                <a:gd name="connsiteX45" fmla="*/ 0 w 5257800"/>
                <a:gd name="connsiteY45" fmla="*/ 1234440 h 4785630"/>
                <a:gd name="connsiteX0" fmla="*/ 0 w 5257800"/>
                <a:gd name="connsiteY0" fmla="*/ 1234440 h 4785630"/>
                <a:gd name="connsiteX1" fmla="*/ 213360 w 5257800"/>
                <a:gd name="connsiteY1" fmla="*/ 990600 h 4785630"/>
                <a:gd name="connsiteX2" fmla="*/ 457200 w 5257800"/>
                <a:gd name="connsiteY2" fmla="*/ 792480 h 4785630"/>
                <a:gd name="connsiteX3" fmla="*/ 685800 w 5257800"/>
                <a:gd name="connsiteY3" fmla="*/ 624840 h 4785630"/>
                <a:gd name="connsiteX4" fmla="*/ 929640 w 5257800"/>
                <a:gd name="connsiteY4" fmla="*/ 533400 h 4785630"/>
                <a:gd name="connsiteX5" fmla="*/ 891540 w 5257800"/>
                <a:gd name="connsiteY5" fmla="*/ 426720 h 4785630"/>
                <a:gd name="connsiteX6" fmla="*/ 1074420 w 5257800"/>
                <a:gd name="connsiteY6" fmla="*/ 358140 h 4785630"/>
                <a:gd name="connsiteX7" fmla="*/ 1120140 w 5257800"/>
                <a:gd name="connsiteY7" fmla="*/ 464820 h 4785630"/>
                <a:gd name="connsiteX8" fmla="*/ 1242060 w 5257800"/>
                <a:gd name="connsiteY8" fmla="*/ 434340 h 4785630"/>
                <a:gd name="connsiteX9" fmla="*/ 1272540 w 5257800"/>
                <a:gd name="connsiteY9" fmla="*/ 365760 h 4785630"/>
                <a:gd name="connsiteX10" fmla="*/ 1531620 w 5257800"/>
                <a:gd name="connsiteY10" fmla="*/ 297180 h 4785630"/>
                <a:gd name="connsiteX11" fmla="*/ 1584960 w 5257800"/>
                <a:gd name="connsiteY11" fmla="*/ 327660 h 4785630"/>
                <a:gd name="connsiteX12" fmla="*/ 1714500 w 5257800"/>
                <a:gd name="connsiteY12" fmla="*/ 274320 h 4785630"/>
                <a:gd name="connsiteX13" fmla="*/ 1684020 w 5257800"/>
                <a:gd name="connsiteY13" fmla="*/ 114300 h 4785630"/>
                <a:gd name="connsiteX14" fmla="*/ 2087880 w 5257800"/>
                <a:gd name="connsiteY14" fmla="*/ 0 h 4785630"/>
                <a:gd name="connsiteX15" fmla="*/ 2133600 w 5257800"/>
                <a:gd name="connsiteY15" fmla="*/ 160020 h 4785630"/>
                <a:gd name="connsiteX16" fmla="*/ 2385060 w 5257800"/>
                <a:gd name="connsiteY16" fmla="*/ 106680 h 4785630"/>
                <a:gd name="connsiteX17" fmla="*/ 2644140 w 5257800"/>
                <a:gd name="connsiteY17" fmla="*/ 99060 h 4785630"/>
                <a:gd name="connsiteX18" fmla="*/ 2971800 w 5257800"/>
                <a:gd name="connsiteY18" fmla="*/ 152400 h 4785630"/>
                <a:gd name="connsiteX19" fmla="*/ 3299460 w 5257800"/>
                <a:gd name="connsiteY19" fmla="*/ 251460 h 4785630"/>
                <a:gd name="connsiteX20" fmla="*/ 3665220 w 5257800"/>
                <a:gd name="connsiteY20" fmla="*/ 464820 h 4785630"/>
                <a:gd name="connsiteX21" fmla="*/ 3954780 w 5257800"/>
                <a:gd name="connsiteY21" fmla="*/ 723900 h 4785630"/>
                <a:gd name="connsiteX22" fmla="*/ 4465320 w 5257800"/>
                <a:gd name="connsiteY22" fmla="*/ 1280160 h 4785630"/>
                <a:gd name="connsiteX23" fmla="*/ 4495800 w 5257800"/>
                <a:gd name="connsiteY23" fmla="*/ 1287780 h 4785630"/>
                <a:gd name="connsiteX24" fmla="*/ 4678680 w 5257800"/>
                <a:gd name="connsiteY24" fmla="*/ 1463040 h 4785630"/>
                <a:gd name="connsiteX25" fmla="*/ 4663440 w 5257800"/>
                <a:gd name="connsiteY25" fmla="*/ 1524000 h 4785630"/>
                <a:gd name="connsiteX26" fmla="*/ 4914900 w 5257800"/>
                <a:gd name="connsiteY26" fmla="*/ 1821180 h 4785630"/>
                <a:gd name="connsiteX27" fmla="*/ 5105400 w 5257800"/>
                <a:gd name="connsiteY27" fmla="*/ 2217420 h 4785630"/>
                <a:gd name="connsiteX28" fmla="*/ 5227320 w 5257800"/>
                <a:gd name="connsiteY28" fmla="*/ 2636520 h 4785630"/>
                <a:gd name="connsiteX29" fmla="*/ 5257800 w 5257800"/>
                <a:gd name="connsiteY29" fmla="*/ 3086100 h 4785630"/>
                <a:gd name="connsiteX30" fmla="*/ 5204460 w 5257800"/>
                <a:gd name="connsiteY30" fmla="*/ 3611880 h 4785630"/>
                <a:gd name="connsiteX31" fmla="*/ 4958901 w 5257800"/>
                <a:gd name="connsiteY31" fmla="*/ 4553471 h 4785630"/>
                <a:gd name="connsiteX32" fmla="*/ 4905544 w 5257800"/>
                <a:gd name="connsiteY32" fmla="*/ 4785630 h 4785630"/>
                <a:gd name="connsiteX33" fmla="*/ 4382946 w 5257800"/>
                <a:gd name="connsiteY33" fmla="*/ 4574791 h 4785630"/>
                <a:gd name="connsiteX34" fmla="*/ 4693920 w 5257800"/>
                <a:gd name="connsiteY34" fmla="*/ 3261360 h 4785630"/>
                <a:gd name="connsiteX35" fmla="*/ 4701540 w 5257800"/>
                <a:gd name="connsiteY35" fmla="*/ 2834640 h 4785630"/>
                <a:gd name="connsiteX36" fmla="*/ 4579620 w 5257800"/>
                <a:gd name="connsiteY36" fmla="*/ 2415540 h 4785630"/>
                <a:gd name="connsiteX37" fmla="*/ 4373880 w 5257800"/>
                <a:gd name="connsiteY37" fmla="*/ 2057400 h 4785630"/>
                <a:gd name="connsiteX38" fmla="*/ 3429000 w 5257800"/>
                <a:gd name="connsiteY38" fmla="*/ 1013460 h 4785630"/>
                <a:gd name="connsiteX39" fmla="*/ 3192780 w 5257800"/>
                <a:gd name="connsiteY39" fmla="*/ 853440 h 4785630"/>
                <a:gd name="connsiteX40" fmla="*/ 2910840 w 5257800"/>
                <a:gd name="connsiteY40" fmla="*/ 739140 h 4785630"/>
                <a:gd name="connsiteX41" fmla="*/ 2514600 w 5257800"/>
                <a:gd name="connsiteY41" fmla="*/ 693420 h 4785630"/>
                <a:gd name="connsiteX42" fmla="*/ 2232660 w 5257800"/>
                <a:gd name="connsiteY42" fmla="*/ 739140 h 4785630"/>
                <a:gd name="connsiteX43" fmla="*/ 1234440 w 5257800"/>
                <a:gd name="connsiteY43" fmla="*/ 1059180 h 4785630"/>
                <a:gd name="connsiteX44" fmla="*/ 960120 w 5257800"/>
                <a:gd name="connsiteY44" fmla="*/ 1165860 h 4785630"/>
                <a:gd name="connsiteX45" fmla="*/ 815340 w 5257800"/>
                <a:gd name="connsiteY45" fmla="*/ 1257300 h 4785630"/>
                <a:gd name="connsiteX46" fmla="*/ 0 w 5257800"/>
                <a:gd name="connsiteY46" fmla="*/ 1234440 h 4785630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63073 w 5257800"/>
                <a:gd name="connsiteY31" fmla="*/ 4847915 h 4847915"/>
                <a:gd name="connsiteX32" fmla="*/ 4905544 w 5257800"/>
                <a:gd name="connsiteY32" fmla="*/ 4785630 h 4847915"/>
                <a:gd name="connsiteX33" fmla="*/ 4382946 w 5257800"/>
                <a:gd name="connsiteY33" fmla="*/ 4574791 h 4847915"/>
                <a:gd name="connsiteX34" fmla="*/ 4693920 w 5257800"/>
                <a:gd name="connsiteY34" fmla="*/ 3261360 h 4847915"/>
                <a:gd name="connsiteX35" fmla="*/ 4701540 w 5257800"/>
                <a:gd name="connsiteY35" fmla="*/ 2834640 h 4847915"/>
                <a:gd name="connsiteX36" fmla="*/ 4579620 w 5257800"/>
                <a:gd name="connsiteY36" fmla="*/ 2415540 h 4847915"/>
                <a:gd name="connsiteX37" fmla="*/ 4373880 w 5257800"/>
                <a:gd name="connsiteY37" fmla="*/ 2057400 h 4847915"/>
                <a:gd name="connsiteX38" fmla="*/ 3429000 w 5257800"/>
                <a:gd name="connsiteY38" fmla="*/ 1013460 h 4847915"/>
                <a:gd name="connsiteX39" fmla="*/ 3192780 w 5257800"/>
                <a:gd name="connsiteY39" fmla="*/ 853440 h 4847915"/>
                <a:gd name="connsiteX40" fmla="*/ 2910840 w 5257800"/>
                <a:gd name="connsiteY40" fmla="*/ 739140 h 4847915"/>
                <a:gd name="connsiteX41" fmla="*/ 2514600 w 5257800"/>
                <a:gd name="connsiteY41" fmla="*/ 693420 h 4847915"/>
                <a:gd name="connsiteX42" fmla="*/ 2232660 w 5257800"/>
                <a:gd name="connsiteY42" fmla="*/ 739140 h 4847915"/>
                <a:gd name="connsiteX43" fmla="*/ 1234440 w 5257800"/>
                <a:gd name="connsiteY43" fmla="*/ 1059180 h 4847915"/>
                <a:gd name="connsiteX44" fmla="*/ 960120 w 5257800"/>
                <a:gd name="connsiteY44" fmla="*/ 1165860 h 4847915"/>
                <a:gd name="connsiteX45" fmla="*/ 815340 w 5257800"/>
                <a:gd name="connsiteY45" fmla="*/ 1257300 h 4847915"/>
                <a:gd name="connsiteX46" fmla="*/ 0 w 5257800"/>
                <a:gd name="connsiteY46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132522 w 5257800"/>
                <a:gd name="connsiteY31" fmla="*/ 4173543 h 4847915"/>
                <a:gd name="connsiteX32" fmla="*/ 5063073 w 5257800"/>
                <a:gd name="connsiteY32" fmla="*/ 4847915 h 4847915"/>
                <a:gd name="connsiteX33" fmla="*/ 4905544 w 5257800"/>
                <a:gd name="connsiteY33" fmla="*/ 4785630 h 4847915"/>
                <a:gd name="connsiteX34" fmla="*/ 4382946 w 5257800"/>
                <a:gd name="connsiteY34" fmla="*/ 4574791 h 4847915"/>
                <a:gd name="connsiteX35" fmla="*/ 4693920 w 5257800"/>
                <a:gd name="connsiteY35" fmla="*/ 3261360 h 4847915"/>
                <a:gd name="connsiteX36" fmla="*/ 4701540 w 5257800"/>
                <a:gd name="connsiteY36" fmla="*/ 2834640 h 4847915"/>
                <a:gd name="connsiteX37" fmla="*/ 4579620 w 5257800"/>
                <a:gd name="connsiteY37" fmla="*/ 2415540 h 4847915"/>
                <a:gd name="connsiteX38" fmla="*/ 4373880 w 5257800"/>
                <a:gd name="connsiteY38" fmla="*/ 2057400 h 4847915"/>
                <a:gd name="connsiteX39" fmla="*/ 3429000 w 5257800"/>
                <a:gd name="connsiteY39" fmla="*/ 1013460 h 4847915"/>
                <a:gd name="connsiteX40" fmla="*/ 3192780 w 5257800"/>
                <a:gd name="connsiteY40" fmla="*/ 853440 h 4847915"/>
                <a:gd name="connsiteX41" fmla="*/ 2910840 w 5257800"/>
                <a:gd name="connsiteY41" fmla="*/ 739140 h 4847915"/>
                <a:gd name="connsiteX42" fmla="*/ 2514600 w 5257800"/>
                <a:gd name="connsiteY42" fmla="*/ 693420 h 4847915"/>
                <a:gd name="connsiteX43" fmla="*/ 2232660 w 5257800"/>
                <a:gd name="connsiteY43" fmla="*/ 739140 h 4847915"/>
                <a:gd name="connsiteX44" fmla="*/ 1234440 w 5257800"/>
                <a:gd name="connsiteY44" fmla="*/ 1059180 h 4847915"/>
                <a:gd name="connsiteX45" fmla="*/ 960120 w 5257800"/>
                <a:gd name="connsiteY45" fmla="*/ 1165860 h 4847915"/>
                <a:gd name="connsiteX46" fmla="*/ 815340 w 5257800"/>
                <a:gd name="connsiteY46" fmla="*/ 1257300 h 4847915"/>
                <a:gd name="connsiteX47" fmla="*/ 0 w 5257800"/>
                <a:gd name="connsiteY47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02306 w 5257800"/>
                <a:gd name="connsiteY31" fmla="*/ 4363507 h 4847915"/>
                <a:gd name="connsiteX32" fmla="*/ 5063073 w 5257800"/>
                <a:gd name="connsiteY32" fmla="*/ 4847915 h 4847915"/>
                <a:gd name="connsiteX33" fmla="*/ 4905544 w 5257800"/>
                <a:gd name="connsiteY33" fmla="*/ 4785630 h 4847915"/>
                <a:gd name="connsiteX34" fmla="*/ 4382946 w 5257800"/>
                <a:gd name="connsiteY34" fmla="*/ 4574791 h 4847915"/>
                <a:gd name="connsiteX35" fmla="*/ 4693920 w 5257800"/>
                <a:gd name="connsiteY35" fmla="*/ 3261360 h 4847915"/>
                <a:gd name="connsiteX36" fmla="*/ 4701540 w 5257800"/>
                <a:gd name="connsiteY36" fmla="*/ 2834640 h 4847915"/>
                <a:gd name="connsiteX37" fmla="*/ 4579620 w 5257800"/>
                <a:gd name="connsiteY37" fmla="*/ 2415540 h 4847915"/>
                <a:gd name="connsiteX38" fmla="*/ 4373880 w 5257800"/>
                <a:gd name="connsiteY38" fmla="*/ 2057400 h 4847915"/>
                <a:gd name="connsiteX39" fmla="*/ 3429000 w 5257800"/>
                <a:gd name="connsiteY39" fmla="*/ 1013460 h 4847915"/>
                <a:gd name="connsiteX40" fmla="*/ 3192780 w 5257800"/>
                <a:gd name="connsiteY40" fmla="*/ 853440 h 4847915"/>
                <a:gd name="connsiteX41" fmla="*/ 2910840 w 5257800"/>
                <a:gd name="connsiteY41" fmla="*/ 739140 h 4847915"/>
                <a:gd name="connsiteX42" fmla="*/ 2514600 w 5257800"/>
                <a:gd name="connsiteY42" fmla="*/ 693420 h 4847915"/>
                <a:gd name="connsiteX43" fmla="*/ 2232660 w 5257800"/>
                <a:gd name="connsiteY43" fmla="*/ 739140 h 4847915"/>
                <a:gd name="connsiteX44" fmla="*/ 1234440 w 5257800"/>
                <a:gd name="connsiteY44" fmla="*/ 1059180 h 4847915"/>
                <a:gd name="connsiteX45" fmla="*/ 960120 w 5257800"/>
                <a:gd name="connsiteY45" fmla="*/ 1165860 h 4847915"/>
                <a:gd name="connsiteX46" fmla="*/ 815340 w 5257800"/>
                <a:gd name="connsiteY46" fmla="*/ 1257300 h 4847915"/>
                <a:gd name="connsiteX47" fmla="*/ 0 w 5257800"/>
                <a:gd name="connsiteY47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02306 w 5257800"/>
                <a:gd name="connsiteY31" fmla="*/ 4363507 h 4847915"/>
                <a:gd name="connsiteX32" fmla="*/ 5010987 w 5257800"/>
                <a:gd name="connsiteY32" fmla="*/ 4600961 h 4847915"/>
                <a:gd name="connsiteX33" fmla="*/ 5063073 w 5257800"/>
                <a:gd name="connsiteY33" fmla="*/ 4847915 h 4847915"/>
                <a:gd name="connsiteX34" fmla="*/ 4905544 w 5257800"/>
                <a:gd name="connsiteY34" fmla="*/ 4785630 h 4847915"/>
                <a:gd name="connsiteX35" fmla="*/ 4382946 w 5257800"/>
                <a:gd name="connsiteY35" fmla="*/ 4574791 h 4847915"/>
                <a:gd name="connsiteX36" fmla="*/ 4693920 w 5257800"/>
                <a:gd name="connsiteY36" fmla="*/ 3261360 h 4847915"/>
                <a:gd name="connsiteX37" fmla="*/ 4701540 w 5257800"/>
                <a:gd name="connsiteY37" fmla="*/ 2834640 h 4847915"/>
                <a:gd name="connsiteX38" fmla="*/ 4579620 w 5257800"/>
                <a:gd name="connsiteY38" fmla="*/ 2415540 h 4847915"/>
                <a:gd name="connsiteX39" fmla="*/ 4373880 w 5257800"/>
                <a:gd name="connsiteY39" fmla="*/ 2057400 h 4847915"/>
                <a:gd name="connsiteX40" fmla="*/ 3429000 w 5257800"/>
                <a:gd name="connsiteY40" fmla="*/ 1013460 h 4847915"/>
                <a:gd name="connsiteX41" fmla="*/ 3192780 w 5257800"/>
                <a:gd name="connsiteY41" fmla="*/ 853440 h 4847915"/>
                <a:gd name="connsiteX42" fmla="*/ 2910840 w 5257800"/>
                <a:gd name="connsiteY42" fmla="*/ 739140 h 4847915"/>
                <a:gd name="connsiteX43" fmla="*/ 2514600 w 5257800"/>
                <a:gd name="connsiteY43" fmla="*/ 693420 h 4847915"/>
                <a:gd name="connsiteX44" fmla="*/ 2232660 w 5257800"/>
                <a:gd name="connsiteY44" fmla="*/ 739140 h 4847915"/>
                <a:gd name="connsiteX45" fmla="*/ 1234440 w 5257800"/>
                <a:gd name="connsiteY45" fmla="*/ 1059180 h 4847915"/>
                <a:gd name="connsiteX46" fmla="*/ 960120 w 5257800"/>
                <a:gd name="connsiteY46" fmla="*/ 1165860 h 4847915"/>
                <a:gd name="connsiteX47" fmla="*/ 815340 w 5257800"/>
                <a:gd name="connsiteY47" fmla="*/ 1257300 h 4847915"/>
                <a:gd name="connsiteX48" fmla="*/ 0 w 5257800"/>
                <a:gd name="connsiteY48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02306 w 5257800"/>
                <a:gd name="connsiteY31" fmla="*/ 4363507 h 4847915"/>
                <a:gd name="connsiteX32" fmla="*/ 5132522 w 5257800"/>
                <a:gd name="connsiteY32" fmla="*/ 4429994 h 4847915"/>
                <a:gd name="connsiteX33" fmla="*/ 5063073 w 5257800"/>
                <a:gd name="connsiteY33" fmla="*/ 4847915 h 4847915"/>
                <a:gd name="connsiteX34" fmla="*/ 4905544 w 5257800"/>
                <a:gd name="connsiteY34" fmla="*/ 4785630 h 4847915"/>
                <a:gd name="connsiteX35" fmla="*/ 4382946 w 5257800"/>
                <a:gd name="connsiteY35" fmla="*/ 4574791 h 4847915"/>
                <a:gd name="connsiteX36" fmla="*/ 4693920 w 5257800"/>
                <a:gd name="connsiteY36" fmla="*/ 3261360 h 4847915"/>
                <a:gd name="connsiteX37" fmla="*/ 4701540 w 5257800"/>
                <a:gd name="connsiteY37" fmla="*/ 2834640 h 4847915"/>
                <a:gd name="connsiteX38" fmla="*/ 4579620 w 5257800"/>
                <a:gd name="connsiteY38" fmla="*/ 2415540 h 4847915"/>
                <a:gd name="connsiteX39" fmla="*/ 4373880 w 5257800"/>
                <a:gd name="connsiteY39" fmla="*/ 2057400 h 4847915"/>
                <a:gd name="connsiteX40" fmla="*/ 3429000 w 5257800"/>
                <a:gd name="connsiteY40" fmla="*/ 1013460 h 4847915"/>
                <a:gd name="connsiteX41" fmla="*/ 3192780 w 5257800"/>
                <a:gd name="connsiteY41" fmla="*/ 853440 h 4847915"/>
                <a:gd name="connsiteX42" fmla="*/ 2910840 w 5257800"/>
                <a:gd name="connsiteY42" fmla="*/ 739140 h 4847915"/>
                <a:gd name="connsiteX43" fmla="*/ 2514600 w 5257800"/>
                <a:gd name="connsiteY43" fmla="*/ 693420 h 4847915"/>
                <a:gd name="connsiteX44" fmla="*/ 2232660 w 5257800"/>
                <a:gd name="connsiteY44" fmla="*/ 739140 h 4847915"/>
                <a:gd name="connsiteX45" fmla="*/ 1234440 w 5257800"/>
                <a:gd name="connsiteY45" fmla="*/ 1059180 h 4847915"/>
                <a:gd name="connsiteX46" fmla="*/ 960120 w 5257800"/>
                <a:gd name="connsiteY46" fmla="*/ 1165860 h 4847915"/>
                <a:gd name="connsiteX47" fmla="*/ 815340 w 5257800"/>
                <a:gd name="connsiteY47" fmla="*/ 1257300 h 4847915"/>
                <a:gd name="connsiteX48" fmla="*/ 0 w 5257800"/>
                <a:gd name="connsiteY48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02306 w 5257800"/>
                <a:gd name="connsiteY31" fmla="*/ 4363507 h 4847915"/>
                <a:gd name="connsiteX32" fmla="*/ 5132522 w 5257800"/>
                <a:gd name="connsiteY32" fmla="*/ 4429994 h 4847915"/>
                <a:gd name="connsiteX33" fmla="*/ 5063073 w 5257800"/>
                <a:gd name="connsiteY33" fmla="*/ 4847915 h 4847915"/>
                <a:gd name="connsiteX34" fmla="*/ 4905544 w 5257800"/>
                <a:gd name="connsiteY34" fmla="*/ 4785630 h 4847915"/>
                <a:gd name="connsiteX35" fmla="*/ 4655065 w 5257800"/>
                <a:gd name="connsiteY35" fmla="*/ 4676947 h 4847915"/>
                <a:gd name="connsiteX36" fmla="*/ 4382946 w 5257800"/>
                <a:gd name="connsiteY36" fmla="*/ 4574791 h 4847915"/>
                <a:gd name="connsiteX37" fmla="*/ 4693920 w 5257800"/>
                <a:gd name="connsiteY37" fmla="*/ 3261360 h 4847915"/>
                <a:gd name="connsiteX38" fmla="*/ 4701540 w 5257800"/>
                <a:gd name="connsiteY38" fmla="*/ 2834640 h 4847915"/>
                <a:gd name="connsiteX39" fmla="*/ 4579620 w 5257800"/>
                <a:gd name="connsiteY39" fmla="*/ 2415540 h 4847915"/>
                <a:gd name="connsiteX40" fmla="*/ 4373880 w 5257800"/>
                <a:gd name="connsiteY40" fmla="*/ 2057400 h 4847915"/>
                <a:gd name="connsiteX41" fmla="*/ 3429000 w 5257800"/>
                <a:gd name="connsiteY41" fmla="*/ 1013460 h 4847915"/>
                <a:gd name="connsiteX42" fmla="*/ 3192780 w 5257800"/>
                <a:gd name="connsiteY42" fmla="*/ 853440 h 4847915"/>
                <a:gd name="connsiteX43" fmla="*/ 2910840 w 5257800"/>
                <a:gd name="connsiteY43" fmla="*/ 739140 h 4847915"/>
                <a:gd name="connsiteX44" fmla="*/ 2514600 w 5257800"/>
                <a:gd name="connsiteY44" fmla="*/ 693420 h 4847915"/>
                <a:gd name="connsiteX45" fmla="*/ 2232660 w 5257800"/>
                <a:gd name="connsiteY45" fmla="*/ 739140 h 4847915"/>
                <a:gd name="connsiteX46" fmla="*/ 1234440 w 5257800"/>
                <a:gd name="connsiteY46" fmla="*/ 1059180 h 4847915"/>
                <a:gd name="connsiteX47" fmla="*/ 960120 w 5257800"/>
                <a:gd name="connsiteY47" fmla="*/ 1165860 h 4847915"/>
                <a:gd name="connsiteX48" fmla="*/ 815340 w 5257800"/>
                <a:gd name="connsiteY48" fmla="*/ 1257300 h 4847915"/>
                <a:gd name="connsiteX49" fmla="*/ 0 w 5257800"/>
                <a:gd name="connsiteY49" fmla="*/ 1234440 h 4847915"/>
                <a:gd name="connsiteX0" fmla="*/ 0 w 5257800"/>
                <a:gd name="connsiteY0" fmla="*/ 1234440 h 5588772"/>
                <a:gd name="connsiteX1" fmla="*/ 213360 w 5257800"/>
                <a:gd name="connsiteY1" fmla="*/ 990600 h 5588772"/>
                <a:gd name="connsiteX2" fmla="*/ 457200 w 5257800"/>
                <a:gd name="connsiteY2" fmla="*/ 792480 h 5588772"/>
                <a:gd name="connsiteX3" fmla="*/ 685800 w 5257800"/>
                <a:gd name="connsiteY3" fmla="*/ 624840 h 5588772"/>
                <a:gd name="connsiteX4" fmla="*/ 929640 w 5257800"/>
                <a:gd name="connsiteY4" fmla="*/ 533400 h 5588772"/>
                <a:gd name="connsiteX5" fmla="*/ 891540 w 5257800"/>
                <a:gd name="connsiteY5" fmla="*/ 426720 h 5588772"/>
                <a:gd name="connsiteX6" fmla="*/ 1074420 w 5257800"/>
                <a:gd name="connsiteY6" fmla="*/ 358140 h 5588772"/>
                <a:gd name="connsiteX7" fmla="*/ 1120140 w 5257800"/>
                <a:gd name="connsiteY7" fmla="*/ 464820 h 5588772"/>
                <a:gd name="connsiteX8" fmla="*/ 1242060 w 5257800"/>
                <a:gd name="connsiteY8" fmla="*/ 434340 h 5588772"/>
                <a:gd name="connsiteX9" fmla="*/ 1272540 w 5257800"/>
                <a:gd name="connsiteY9" fmla="*/ 365760 h 5588772"/>
                <a:gd name="connsiteX10" fmla="*/ 1531620 w 5257800"/>
                <a:gd name="connsiteY10" fmla="*/ 297180 h 5588772"/>
                <a:gd name="connsiteX11" fmla="*/ 1584960 w 5257800"/>
                <a:gd name="connsiteY11" fmla="*/ 327660 h 5588772"/>
                <a:gd name="connsiteX12" fmla="*/ 1714500 w 5257800"/>
                <a:gd name="connsiteY12" fmla="*/ 274320 h 5588772"/>
                <a:gd name="connsiteX13" fmla="*/ 1684020 w 5257800"/>
                <a:gd name="connsiteY13" fmla="*/ 114300 h 5588772"/>
                <a:gd name="connsiteX14" fmla="*/ 2087880 w 5257800"/>
                <a:gd name="connsiteY14" fmla="*/ 0 h 5588772"/>
                <a:gd name="connsiteX15" fmla="*/ 2133600 w 5257800"/>
                <a:gd name="connsiteY15" fmla="*/ 160020 h 5588772"/>
                <a:gd name="connsiteX16" fmla="*/ 2385060 w 5257800"/>
                <a:gd name="connsiteY16" fmla="*/ 106680 h 5588772"/>
                <a:gd name="connsiteX17" fmla="*/ 2644140 w 5257800"/>
                <a:gd name="connsiteY17" fmla="*/ 99060 h 5588772"/>
                <a:gd name="connsiteX18" fmla="*/ 2971800 w 5257800"/>
                <a:gd name="connsiteY18" fmla="*/ 152400 h 5588772"/>
                <a:gd name="connsiteX19" fmla="*/ 3299460 w 5257800"/>
                <a:gd name="connsiteY19" fmla="*/ 251460 h 5588772"/>
                <a:gd name="connsiteX20" fmla="*/ 3665220 w 5257800"/>
                <a:gd name="connsiteY20" fmla="*/ 464820 h 5588772"/>
                <a:gd name="connsiteX21" fmla="*/ 3954780 w 5257800"/>
                <a:gd name="connsiteY21" fmla="*/ 723900 h 5588772"/>
                <a:gd name="connsiteX22" fmla="*/ 4465320 w 5257800"/>
                <a:gd name="connsiteY22" fmla="*/ 1280160 h 5588772"/>
                <a:gd name="connsiteX23" fmla="*/ 4495800 w 5257800"/>
                <a:gd name="connsiteY23" fmla="*/ 1287780 h 5588772"/>
                <a:gd name="connsiteX24" fmla="*/ 4678680 w 5257800"/>
                <a:gd name="connsiteY24" fmla="*/ 1463040 h 5588772"/>
                <a:gd name="connsiteX25" fmla="*/ 4663440 w 5257800"/>
                <a:gd name="connsiteY25" fmla="*/ 1524000 h 5588772"/>
                <a:gd name="connsiteX26" fmla="*/ 4914900 w 5257800"/>
                <a:gd name="connsiteY26" fmla="*/ 1821180 h 5588772"/>
                <a:gd name="connsiteX27" fmla="*/ 5105400 w 5257800"/>
                <a:gd name="connsiteY27" fmla="*/ 2217420 h 5588772"/>
                <a:gd name="connsiteX28" fmla="*/ 5227320 w 5257800"/>
                <a:gd name="connsiteY28" fmla="*/ 2636520 h 5588772"/>
                <a:gd name="connsiteX29" fmla="*/ 5257800 w 5257800"/>
                <a:gd name="connsiteY29" fmla="*/ 3086100 h 5588772"/>
                <a:gd name="connsiteX30" fmla="*/ 5204460 w 5257800"/>
                <a:gd name="connsiteY30" fmla="*/ 3611880 h 5588772"/>
                <a:gd name="connsiteX31" fmla="*/ 5002306 w 5257800"/>
                <a:gd name="connsiteY31" fmla="*/ 4363507 h 5588772"/>
                <a:gd name="connsiteX32" fmla="*/ 5132522 w 5257800"/>
                <a:gd name="connsiteY32" fmla="*/ 4429994 h 5588772"/>
                <a:gd name="connsiteX33" fmla="*/ 5063073 w 5257800"/>
                <a:gd name="connsiteY33" fmla="*/ 4847915 h 5588772"/>
                <a:gd name="connsiteX34" fmla="*/ 4905544 w 5257800"/>
                <a:gd name="connsiteY34" fmla="*/ 4785630 h 5588772"/>
                <a:gd name="connsiteX35" fmla="*/ 3595980 w 5257800"/>
                <a:gd name="connsiteY35" fmla="*/ 5588772 h 5588772"/>
                <a:gd name="connsiteX36" fmla="*/ 4382946 w 5257800"/>
                <a:gd name="connsiteY36" fmla="*/ 4574791 h 5588772"/>
                <a:gd name="connsiteX37" fmla="*/ 4693920 w 5257800"/>
                <a:gd name="connsiteY37" fmla="*/ 3261360 h 5588772"/>
                <a:gd name="connsiteX38" fmla="*/ 4701540 w 5257800"/>
                <a:gd name="connsiteY38" fmla="*/ 2834640 h 5588772"/>
                <a:gd name="connsiteX39" fmla="*/ 4579620 w 5257800"/>
                <a:gd name="connsiteY39" fmla="*/ 2415540 h 5588772"/>
                <a:gd name="connsiteX40" fmla="*/ 4373880 w 5257800"/>
                <a:gd name="connsiteY40" fmla="*/ 2057400 h 5588772"/>
                <a:gd name="connsiteX41" fmla="*/ 3429000 w 5257800"/>
                <a:gd name="connsiteY41" fmla="*/ 1013460 h 5588772"/>
                <a:gd name="connsiteX42" fmla="*/ 3192780 w 5257800"/>
                <a:gd name="connsiteY42" fmla="*/ 853440 h 5588772"/>
                <a:gd name="connsiteX43" fmla="*/ 2910840 w 5257800"/>
                <a:gd name="connsiteY43" fmla="*/ 739140 h 5588772"/>
                <a:gd name="connsiteX44" fmla="*/ 2514600 w 5257800"/>
                <a:gd name="connsiteY44" fmla="*/ 693420 h 5588772"/>
                <a:gd name="connsiteX45" fmla="*/ 2232660 w 5257800"/>
                <a:gd name="connsiteY45" fmla="*/ 739140 h 5588772"/>
                <a:gd name="connsiteX46" fmla="*/ 1234440 w 5257800"/>
                <a:gd name="connsiteY46" fmla="*/ 1059180 h 5588772"/>
                <a:gd name="connsiteX47" fmla="*/ 960120 w 5257800"/>
                <a:gd name="connsiteY47" fmla="*/ 1165860 h 5588772"/>
                <a:gd name="connsiteX48" fmla="*/ 815340 w 5257800"/>
                <a:gd name="connsiteY48" fmla="*/ 1257300 h 5588772"/>
                <a:gd name="connsiteX49" fmla="*/ 0 w 5257800"/>
                <a:gd name="connsiteY49" fmla="*/ 1234440 h 5588772"/>
                <a:gd name="connsiteX0" fmla="*/ 0 w 5257800"/>
                <a:gd name="connsiteY0" fmla="*/ 1234440 h 5588772"/>
                <a:gd name="connsiteX1" fmla="*/ 213360 w 5257800"/>
                <a:gd name="connsiteY1" fmla="*/ 990600 h 5588772"/>
                <a:gd name="connsiteX2" fmla="*/ 457200 w 5257800"/>
                <a:gd name="connsiteY2" fmla="*/ 792480 h 5588772"/>
                <a:gd name="connsiteX3" fmla="*/ 685800 w 5257800"/>
                <a:gd name="connsiteY3" fmla="*/ 624840 h 5588772"/>
                <a:gd name="connsiteX4" fmla="*/ 929640 w 5257800"/>
                <a:gd name="connsiteY4" fmla="*/ 533400 h 5588772"/>
                <a:gd name="connsiteX5" fmla="*/ 891540 w 5257800"/>
                <a:gd name="connsiteY5" fmla="*/ 426720 h 5588772"/>
                <a:gd name="connsiteX6" fmla="*/ 1074420 w 5257800"/>
                <a:gd name="connsiteY6" fmla="*/ 358140 h 5588772"/>
                <a:gd name="connsiteX7" fmla="*/ 1120140 w 5257800"/>
                <a:gd name="connsiteY7" fmla="*/ 464820 h 5588772"/>
                <a:gd name="connsiteX8" fmla="*/ 1242060 w 5257800"/>
                <a:gd name="connsiteY8" fmla="*/ 434340 h 5588772"/>
                <a:gd name="connsiteX9" fmla="*/ 1272540 w 5257800"/>
                <a:gd name="connsiteY9" fmla="*/ 365760 h 5588772"/>
                <a:gd name="connsiteX10" fmla="*/ 1531620 w 5257800"/>
                <a:gd name="connsiteY10" fmla="*/ 297180 h 5588772"/>
                <a:gd name="connsiteX11" fmla="*/ 1584960 w 5257800"/>
                <a:gd name="connsiteY11" fmla="*/ 327660 h 5588772"/>
                <a:gd name="connsiteX12" fmla="*/ 1714500 w 5257800"/>
                <a:gd name="connsiteY12" fmla="*/ 274320 h 5588772"/>
                <a:gd name="connsiteX13" fmla="*/ 1684020 w 5257800"/>
                <a:gd name="connsiteY13" fmla="*/ 114300 h 5588772"/>
                <a:gd name="connsiteX14" fmla="*/ 2087880 w 5257800"/>
                <a:gd name="connsiteY14" fmla="*/ 0 h 5588772"/>
                <a:gd name="connsiteX15" fmla="*/ 2133600 w 5257800"/>
                <a:gd name="connsiteY15" fmla="*/ 160020 h 5588772"/>
                <a:gd name="connsiteX16" fmla="*/ 2385060 w 5257800"/>
                <a:gd name="connsiteY16" fmla="*/ 106680 h 5588772"/>
                <a:gd name="connsiteX17" fmla="*/ 2644140 w 5257800"/>
                <a:gd name="connsiteY17" fmla="*/ 99060 h 5588772"/>
                <a:gd name="connsiteX18" fmla="*/ 2971800 w 5257800"/>
                <a:gd name="connsiteY18" fmla="*/ 152400 h 5588772"/>
                <a:gd name="connsiteX19" fmla="*/ 3299460 w 5257800"/>
                <a:gd name="connsiteY19" fmla="*/ 251460 h 5588772"/>
                <a:gd name="connsiteX20" fmla="*/ 3665220 w 5257800"/>
                <a:gd name="connsiteY20" fmla="*/ 464820 h 5588772"/>
                <a:gd name="connsiteX21" fmla="*/ 3954780 w 5257800"/>
                <a:gd name="connsiteY21" fmla="*/ 723900 h 5588772"/>
                <a:gd name="connsiteX22" fmla="*/ 4465320 w 5257800"/>
                <a:gd name="connsiteY22" fmla="*/ 1280160 h 5588772"/>
                <a:gd name="connsiteX23" fmla="*/ 4495800 w 5257800"/>
                <a:gd name="connsiteY23" fmla="*/ 1287780 h 5588772"/>
                <a:gd name="connsiteX24" fmla="*/ 4678680 w 5257800"/>
                <a:gd name="connsiteY24" fmla="*/ 1463040 h 5588772"/>
                <a:gd name="connsiteX25" fmla="*/ 4663440 w 5257800"/>
                <a:gd name="connsiteY25" fmla="*/ 1524000 h 5588772"/>
                <a:gd name="connsiteX26" fmla="*/ 4914900 w 5257800"/>
                <a:gd name="connsiteY26" fmla="*/ 1821180 h 5588772"/>
                <a:gd name="connsiteX27" fmla="*/ 5105400 w 5257800"/>
                <a:gd name="connsiteY27" fmla="*/ 2217420 h 5588772"/>
                <a:gd name="connsiteX28" fmla="*/ 5227320 w 5257800"/>
                <a:gd name="connsiteY28" fmla="*/ 2636520 h 5588772"/>
                <a:gd name="connsiteX29" fmla="*/ 5257800 w 5257800"/>
                <a:gd name="connsiteY29" fmla="*/ 3086100 h 5588772"/>
                <a:gd name="connsiteX30" fmla="*/ 5204460 w 5257800"/>
                <a:gd name="connsiteY30" fmla="*/ 3611880 h 5588772"/>
                <a:gd name="connsiteX31" fmla="*/ 5002306 w 5257800"/>
                <a:gd name="connsiteY31" fmla="*/ 4363507 h 5588772"/>
                <a:gd name="connsiteX32" fmla="*/ 5132522 w 5257800"/>
                <a:gd name="connsiteY32" fmla="*/ 4429994 h 5588772"/>
                <a:gd name="connsiteX33" fmla="*/ 5063073 w 5257800"/>
                <a:gd name="connsiteY33" fmla="*/ 4847915 h 5588772"/>
                <a:gd name="connsiteX34" fmla="*/ 4905544 w 5257800"/>
                <a:gd name="connsiteY34" fmla="*/ 4785630 h 5588772"/>
                <a:gd name="connsiteX35" fmla="*/ 4385953 w 5257800"/>
                <a:gd name="connsiteY35" fmla="*/ 5104365 h 5588772"/>
                <a:gd name="connsiteX36" fmla="*/ 3595980 w 5257800"/>
                <a:gd name="connsiteY36" fmla="*/ 5588772 h 5588772"/>
                <a:gd name="connsiteX37" fmla="*/ 4382946 w 5257800"/>
                <a:gd name="connsiteY37" fmla="*/ 4574791 h 5588772"/>
                <a:gd name="connsiteX38" fmla="*/ 4693920 w 5257800"/>
                <a:gd name="connsiteY38" fmla="*/ 3261360 h 5588772"/>
                <a:gd name="connsiteX39" fmla="*/ 4701540 w 5257800"/>
                <a:gd name="connsiteY39" fmla="*/ 2834640 h 5588772"/>
                <a:gd name="connsiteX40" fmla="*/ 4579620 w 5257800"/>
                <a:gd name="connsiteY40" fmla="*/ 2415540 h 5588772"/>
                <a:gd name="connsiteX41" fmla="*/ 4373880 w 5257800"/>
                <a:gd name="connsiteY41" fmla="*/ 2057400 h 5588772"/>
                <a:gd name="connsiteX42" fmla="*/ 3429000 w 5257800"/>
                <a:gd name="connsiteY42" fmla="*/ 1013460 h 5588772"/>
                <a:gd name="connsiteX43" fmla="*/ 3192780 w 5257800"/>
                <a:gd name="connsiteY43" fmla="*/ 853440 h 5588772"/>
                <a:gd name="connsiteX44" fmla="*/ 2910840 w 5257800"/>
                <a:gd name="connsiteY44" fmla="*/ 739140 h 5588772"/>
                <a:gd name="connsiteX45" fmla="*/ 2514600 w 5257800"/>
                <a:gd name="connsiteY45" fmla="*/ 693420 h 5588772"/>
                <a:gd name="connsiteX46" fmla="*/ 2232660 w 5257800"/>
                <a:gd name="connsiteY46" fmla="*/ 739140 h 5588772"/>
                <a:gd name="connsiteX47" fmla="*/ 1234440 w 5257800"/>
                <a:gd name="connsiteY47" fmla="*/ 1059180 h 5588772"/>
                <a:gd name="connsiteX48" fmla="*/ 960120 w 5257800"/>
                <a:gd name="connsiteY48" fmla="*/ 1165860 h 5588772"/>
                <a:gd name="connsiteX49" fmla="*/ 815340 w 5257800"/>
                <a:gd name="connsiteY49" fmla="*/ 1257300 h 5588772"/>
                <a:gd name="connsiteX50" fmla="*/ 0 w 5257800"/>
                <a:gd name="connsiteY50" fmla="*/ 1234440 h 5588772"/>
                <a:gd name="connsiteX0" fmla="*/ 0 w 5257800"/>
                <a:gd name="connsiteY0" fmla="*/ 1234440 h 6187157"/>
                <a:gd name="connsiteX1" fmla="*/ 213360 w 5257800"/>
                <a:gd name="connsiteY1" fmla="*/ 990600 h 6187157"/>
                <a:gd name="connsiteX2" fmla="*/ 457200 w 5257800"/>
                <a:gd name="connsiteY2" fmla="*/ 792480 h 6187157"/>
                <a:gd name="connsiteX3" fmla="*/ 685800 w 5257800"/>
                <a:gd name="connsiteY3" fmla="*/ 624840 h 6187157"/>
                <a:gd name="connsiteX4" fmla="*/ 929640 w 5257800"/>
                <a:gd name="connsiteY4" fmla="*/ 533400 h 6187157"/>
                <a:gd name="connsiteX5" fmla="*/ 891540 w 5257800"/>
                <a:gd name="connsiteY5" fmla="*/ 426720 h 6187157"/>
                <a:gd name="connsiteX6" fmla="*/ 1074420 w 5257800"/>
                <a:gd name="connsiteY6" fmla="*/ 358140 h 6187157"/>
                <a:gd name="connsiteX7" fmla="*/ 1120140 w 5257800"/>
                <a:gd name="connsiteY7" fmla="*/ 464820 h 6187157"/>
                <a:gd name="connsiteX8" fmla="*/ 1242060 w 5257800"/>
                <a:gd name="connsiteY8" fmla="*/ 434340 h 6187157"/>
                <a:gd name="connsiteX9" fmla="*/ 1272540 w 5257800"/>
                <a:gd name="connsiteY9" fmla="*/ 365760 h 6187157"/>
                <a:gd name="connsiteX10" fmla="*/ 1531620 w 5257800"/>
                <a:gd name="connsiteY10" fmla="*/ 297180 h 6187157"/>
                <a:gd name="connsiteX11" fmla="*/ 1584960 w 5257800"/>
                <a:gd name="connsiteY11" fmla="*/ 327660 h 6187157"/>
                <a:gd name="connsiteX12" fmla="*/ 1714500 w 5257800"/>
                <a:gd name="connsiteY12" fmla="*/ 274320 h 6187157"/>
                <a:gd name="connsiteX13" fmla="*/ 1684020 w 5257800"/>
                <a:gd name="connsiteY13" fmla="*/ 114300 h 6187157"/>
                <a:gd name="connsiteX14" fmla="*/ 2087880 w 5257800"/>
                <a:gd name="connsiteY14" fmla="*/ 0 h 6187157"/>
                <a:gd name="connsiteX15" fmla="*/ 2133600 w 5257800"/>
                <a:gd name="connsiteY15" fmla="*/ 160020 h 6187157"/>
                <a:gd name="connsiteX16" fmla="*/ 2385060 w 5257800"/>
                <a:gd name="connsiteY16" fmla="*/ 106680 h 6187157"/>
                <a:gd name="connsiteX17" fmla="*/ 2644140 w 5257800"/>
                <a:gd name="connsiteY17" fmla="*/ 99060 h 6187157"/>
                <a:gd name="connsiteX18" fmla="*/ 2971800 w 5257800"/>
                <a:gd name="connsiteY18" fmla="*/ 152400 h 6187157"/>
                <a:gd name="connsiteX19" fmla="*/ 3299460 w 5257800"/>
                <a:gd name="connsiteY19" fmla="*/ 251460 h 6187157"/>
                <a:gd name="connsiteX20" fmla="*/ 3665220 w 5257800"/>
                <a:gd name="connsiteY20" fmla="*/ 464820 h 6187157"/>
                <a:gd name="connsiteX21" fmla="*/ 3954780 w 5257800"/>
                <a:gd name="connsiteY21" fmla="*/ 723900 h 6187157"/>
                <a:gd name="connsiteX22" fmla="*/ 4465320 w 5257800"/>
                <a:gd name="connsiteY22" fmla="*/ 1280160 h 6187157"/>
                <a:gd name="connsiteX23" fmla="*/ 4495800 w 5257800"/>
                <a:gd name="connsiteY23" fmla="*/ 1287780 h 6187157"/>
                <a:gd name="connsiteX24" fmla="*/ 4678680 w 5257800"/>
                <a:gd name="connsiteY24" fmla="*/ 1463040 h 6187157"/>
                <a:gd name="connsiteX25" fmla="*/ 4663440 w 5257800"/>
                <a:gd name="connsiteY25" fmla="*/ 1524000 h 6187157"/>
                <a:gd name="connsiteX26" fmla="*/ 4914900 w 5257800"/>
                <a:gd name="connsiteY26" fmla="*/ 1821180 h 6187157"/>
                <a:gd name="connsiteX27" fmla="*/ 5105400 w 5257800"/>
                <a:gd name="connsiteY27" fmla="*/ 2217420 h 6187157"/>
                <a:gd name="connsiteX28" fmla="*/ 5227320 w 5257800"/>
                <a:gd name="connsiteY28" fmla="*/ 2636520 h 6187157"/>
                <a:gd name="connsiteX29" fmla="*/ 5257800 w 5257800"/>
                <a:gd name="connsiteY29" fmla="*/ 3086100 h 6187157"/>
                <a:gd name="connsiteX30" fmla="*/ 5204460 w 5257800"/>
                <a:gd name="connsiteY30" fmla="*/ 3611880 h 6187157"/>
                <a:gd name="connsiteX31" fmla="*/ 5002306 w 5257800"/>
                <a:gd name="connsiteY31" fmla="*/ 4363507 h 6187157"/>
                <a:gd name="connsiteX32" fmla="*/ 5132522 w 5257800"/>
                <a:gd name="connsiteY32" fmla="*/ 4429994 h 6187157"/>
                <a:gd name="connsiteX33" fmla="*/ 5063073 w 5257800"/>
                <a:gd name="connsiteY33" fmla="*/ 4847915 h 6187157"/>
                <a:gd name="connsiteX34" fmla="*/ 4905544 w 5257800"/>
                <a:gd name="connsiteY34" fmla="*/ 4785630 h 6187157"/>
                <a:gd name="connsiteX35" fmla="*/ 3743556 w 5257800"/>
                <a:gd name="connsiteY35" fmla="*/ 6187157 h 6187157"/>
                <a:gd name="connsiteX36" fmla="*/ 3595980 w 5257800"/>
                <a:gd name="connsiteY36" fmla="*/ 5588772 h 6187157"/>
                <a:gd name="connsiteX37" fmla="*/ 4382946 w 5257800"/>
                <a:gd name="connsiteY37" fmla="*/ 4574791 h 6187157"/>
                <a:gd name="connsiteX38" fmla="*/ 4693920 w 5257800"/>
                <a:gd name="connsiteY38" fmla="*/ 3261360 h 6187157"/>
                <a:gd name="connsiteX39" fmla="*/ 4701540 w 5257800"/>
                <a:gd name="connsiteY39" fmla="*/ 2834640 h 6187157"/>
                <a:gd name="connsiteX40" fmla="*/ 4579620 w 5257800"/>
                <a:gd name="connsiteY40" fmla="*/ 2415540 h 6187157"/>
                <a:gd name="connsiteX41" fmla="*/ 4373880 w 5257800"/>
                <a:gd name="connsiteY41" fmla="*/ 2057400 h 6187157"/>
                <a:gd name="connsiteX42" fmla="*/ 3429000 w 5257800"/>
                <a:gd name="connsiteY42" fmla="*/ 1013460 h 6187157"/>
                <a:gd name="connsiteX43" fmla="*/ 3192780 w 5257800"/>
                <a:gd name="connsiteY43" fmla="*/ 853440 h 6187157"/>
                <a:gd name="connsiteX44" fmla="*/ 2910840 w 5257800"/>
                <a:gd name="connsiteY44" fmla="*/ 739140 h 6187157"/>
                <a:gd name="connsiteX45" fmla="*/ 2514600 w 5257800"/>
                <a:gd name="connsiteY45" fmla="*/ 693420 h 6187157"/>
                <a:gd name="connsiteX46" fmla="*/ 2232660 w 5257800"/>
                <a:gd name="connsiteY46" fmla="*/ 739140 h 6187157"/>
                <a:gd name="connsiteX47" fmla="*/ 1234440 w 5257800"/>
                <a:gd name="connsiteY47" fmla="*/ 1059180 h 6187157"/>
                <a:gd name="connsiteX48" fmla="*/ 960120 w 5257800"/>
                <a:gd name="connsiteY48" fmla="*/ 1165860 h 6187157"/>
                <a:gd name="connsiteX49" fmla="*/ 815340 w 5257800"/>
                <a:gd name="connsiteY49" fmla="*/ 1257300 h 6187157"/>
                <a:gd name="connsiteX50" fmla="*/ 0 w 5257800"/>
                <a:gd name="connsiteY50" fmla="*/ 1234440 h 6187157"/>
                <a:gd name="connsiteX0" fmla="*/ 0 w 5257800"/>
                <a:gd name="connsiteY0" fmla="*/ 1234440 h 6187157"/>
                <a:gd name="connsiteX1" fmla="*/ 213360 w 5257800"/>
                <a:gd name="connsiteY1" fmla="*/ 990600 h 6187157"/>
                <a:gd name="connsiteX2" fmla="*/ 457200 w 5257800"/>
                <a:gd name="connsiteY2" fmla="*/ 792480 h 6187157"/>
                <a:gd name="connsiteX3" fmla="*/ 685800 w 5257800"/>
                <a:gd name="connsiteY3" fmla="*/ 624840 h 6187157"/>
                <a:gd name="connsiteX4" fmla="*/ 929640 w 5257800"/>
                <a:gd name="connsiteY4" fmla="*/ 533400 h 6187157"/>
                <a:gd name="connsiteX5" fmla="*/ 891540 w 5257800"/>
                <a:gd name="connsiteY5" fmla="*/ 426720 h 6187157"/>
                <a:gd name="connsiteX6" fmla="*/ 1074420 w 5257800"/>
                <a:gd name="connsiteY6" fmla="*/ 358140 h 6187157"/>
                <a:gd name="connsiteX7" fmla="*/ 1120140 w 5257800"/>
                <a:gd name="connsiteY7" fmla="*/ 464820 h 6187157"/>
                <a:gd name="connsiteX8" fmla="*/ 1242060 w 5257800"/>
                <a:gd name="connsiteY8" fmla="*/ 434340 h 6187157"/>
                <a:gd name="connsiteX9" fmla="*/ 1272540 w 5257800"/>
                <a:gd name="connsiteY9" fmla="*/ 365760 h 6187157"/>
                <a:gd name="connsiteX10" fmla="*/ 1531620 w 5257800"/>
                <a:gd name="connsiteY10" fmla="*/ 297180 h 6187157"/>
                <a:gd name="connsiteX11" fmla="*/ 1584960 w 5257800"/>
                <a:gd name="connsiteY11" fmla="*/ 327660 h 6187157"/>
                <a:gd name="connsiteX12" fmla="*/ 1714500 w 5257800"/>
                <a:gd name="connsiteY12" fmla="*/ 274320 h 6187157"/>
                <a:gd name="connsiteX13" fmla="*/ 1684020 w 5257800"/>
                <a:gd name="connsiteY13" fmla="*/ 114300 h 6187157"/>
                <a:gd name="connsiteX14" fmla="*/ 2087880 w 5257800"/>
                <a:gd name="connsiteY14" fmla="*/ 0 h 6187157"/>
                <a:gd name="connsiteX15" fmla="*/ 2133600 w 5257800"/>
                <a:gd name="connsiteY15" fmla="*/ 160020 h 6187157"/>
                <a:gd name="connsiteX16" fmla="*/ 2385060 w 5257800"/>
                <a:gd name="connsiteY16" fmla="*/ 106680 h 6187157"/>
                <a:gd name="connsiteX17" fmla="*/ 2644140 w 5257800"/>
                <a:gd name="connsiteY17" fmla="*/ 99060 h 6187157"/>
                <a:gd name="connsiteX18" fmla="*/ 2971800 w 5257800"/>
                <a:gd name="connsiteY18" fmla="*/ 152400 h 6187157"/>
                <a:gd name="connsiteX19" fmla="*/ 3299460 w 5257800"/>
                <a:gd name="connsiteY19" fmla="*/ 251460 h 6187157"/>
                <a:gd name="connsiteX20" fmla="*/ 3665220 w 5257800"/>
                <a:gd name="connsiteY20" fmla="*/ 464820 h 6187157"/>
                <a:gd name="connsiteX21" fmla="*/ 3954780 w 5257800"/>
                <a:gd name="connsiteY21" fmla="*/ 723900 h 6187157"/>
                <a:gd name="connsiteX22" fmla="*/ 4465320 w 5257800"/>
                <a:gd name="connsiteY22" fmla="*/ 1280160 h 6187157"/>
                <a:gd name="connsiteX23" fmla="*/ 4495800 w 5257800"/>
                <a:gd name="connsiteY23" fmla="*/ 1287780 h 6187157"/>
                <a:gd name="connsiteX24" fmla="*/ 4678680 w 5257800"/>
                <a:gd name="connsiteY24" fmla="*/ 1463040 h 6187157"/>
                <a:gd name="connsiteX25" fmla="*/ 4663440 w 5257800"/>
                <a:gd name="connsiteY25" fmla="*/ 1524000 h 6187157"/>
                <a:gd name="connsiteX26" fmla="*/ 4914900 w 5257800"/>
                <a:gd name="connsiteY26" fmla="*/ 1821180 h 6187157"/>
                <a:gd name="connsiteX27" fmla="*/ 5105400 w 5257800"/>
                <a:gd name="connsiteY27" fmla="*/ 2217420 h 6187157"/>
                <a:gd name="connsiteX28" fmla="*/ 5227320 w 5257800"/>
                <a:gd name="connsiteY28" fmla="*/ 2636520 h 6187157"/>
                <a:gd name="connsiteX29" fmla="*/ 5257800 w 5257800"/>
                <a:gd name="connsiteY29" fmla="*/ 3086100 h 6187157"/>
                <a:gd name="connsiteX30" fmla="*/ 5204460 w 5257800"/>
                <a:gd name="connsiteY30" fmla="*/ 3611880 h 6187157"/>
                <a:gd name="connsiteX31" fmla="*/ 5002306 w 5257800"/>
                <a:gd name="connsiteY31" fmla="*/ 4363507 h 6187157"/>
                <a:gd name="connsiteX32" fmla="*/ 5132522 w 5257800"/>
                <a:gd name="connsiteY32" fmla="*/ 4429994 h 6187157"/>
                <a:gd name="connsiteX33" fmla="*/ 5063073 w 5257800"/>
                <a:gd name="connsiteY33" fmla="*/ 4847915 h 6187157"/>
                <a:gd name="connsiteX34" fmla="*/ 4905544 w 5257800"/>
                <a:gd name="connsiteY34" fmla="*/ 4785630 h 6187157"/>
                <a:gd name="connsiteX35" fmla="*/ 3743556 w 5257800"/>
                <a:gd name="connsiteY35" fmla="*/ 6187157 h 6187157"/>
                <a:gd name="connsiteX36" fmla="*/ 3595980 w 5257800"/>
                <a:gd name="connsiteY36" fmla="*/ 5588772 h 6187157"/>
                <a:gd name="connsiteX37" fmla="*/ 4382946 w 5257800"/>
                <a:gd name="connsiteY37" fmla="*/ 4574791 h 6187157"/>
                <a:gd name="connsiteX38" fmla="*/ 4693920 w 5257800"/>
                <a:gd name="connsiteY38" fmla="*/ 3261360 h 6187157"/>
                <a:gd name="connsiteX39" fmla="*/ 4701540 w 5257800"/>
                <a:gd name="connsiteY39" fmla="*/ 2834640 h 6187157"/>
                <a:gd name="connsiteX40" fmla="*/ 4579620 w 5257800"/>
                <a:gd name="connsiteY40" fmla="*/ 2415540 h 6187157"/>
                <a:gd name="connsiteX41" fmla="*/ 4373880 w 5257800"/>
                <a:gd name="connsiteY41" fmla="*/ 2057400 h 6187157"/>
                <a:gd name="connsiteX42" fmla="*/ 3429000 w 5257800"/>
                <a:gd name="connsiteY42" fmla="*/ 1013460 h 6187157"/>
                <a:gd name="connsiteX43" fmla="*/ 3192780 w 5257800"/>
                <a:gd name="connsiteY43" fmla="*/ 853440 h 6187157"/>
                <a:gd name="connsiteX44" fmla="*/ 2910840 w 5257800"/>
                <a:gd name="connsiteY44" fmla="*/ 739140 h 6187157"/>
                <a:gd name="connsiteX45" fmla="*/ 2514600 w 5257800"/>
                <a:gd name="connsiteY45" fmla="*/ 693420 h 6187157"/>
                <a:gd name="connsiteX46" fmla="*/ 2232660 w 5257800"/>
                <a:gd name="connsiteY46" fmla="*/ 739140 h 6187157"/>
                <a:gd name="connsiteX47" fmla="*/ 1234440 w 5257800"/>
                <a:gd name="connsiteY47" fmla="*/ 1059180 h 6187157"/>
                <a:gd name="connsiteX48" fmla="*/ 960120 w 5257800"/>
                <a:gd name="connsiteY48" fmla="*/ 1165860 h 6187157"/>
                <a:gd name="connsiteX49" fmla="*/ 815340 w 5257800"/>
                <a:gd name="connsiteY49" fmla="*/ 1257300 h 6187157"/>
                <a:gd name="connsiteX50" fmla="*/ 0 w 5257800"/>
                <a:gd name="connsiteY50" fmla="*/ 1234440 h 6187157"/>
                <a:gd name="connsiteX0" fmla="*/ 0 w 5257800"/>
                <a:gd name="connsiteY0" fmla="*/ 1234440 h 6187157"/>
                <a:gd name="connsiteX1" fmla="*/ 213360 w 5257800"/>
                <a:gd name="connsiteY1" fmla="*/ 990600 h 6187157"/>
                <a:gd name="connsiteX2" fmla="*/ 457200 w 5257800"/>
                <a:gd name="connsiteY2" fmla="*/ 792480 h 6187157"/>
                <a:gd name="connsiteX3" fmla="*/ 685800 w 5257800"/>
                <a:gd name="connsiteY3" fmla="*/ 624840 h 6187157"/>
                <a:gd name="connsiteX4" fmla="*/ 929640 w 5257800"/>
                <a:gd name="connsiteY4" fmla="*/ 533400 h 6187157"/>
                <a:gd name="connsiteX5" fmla="*/ 891540 w 5257800"/>
                <a:gd name="connsiteY5" fmla="*/ 426720 h 6187157"/>
                <a:gd name="connsiteX6" fmla="*/ 1074420 w 5257800"/>
                <a:gd name="connsiteY6" fmla="*/ 358140 h 6187157"/>
                <a:gd name="connsiteX7" fmla="*/ 1120140 w 5257800"/>
                <a:gd name="connsiteY7" fmla="*/ 464820 h 6187157"/>
                <a:gd name="connsiteX8" fmla="*/ 1242060 w 5257800"/>
                <a:gd name="connsiteY8" fmla="*/ 434340 h 6187157"/>
                <a:gd name="connsiteX9" fmla="*/ 1272540 w 5257800"/>
                <a:gd name="connsiteY9" fmla="*/ 365760 h 6187157"/>
                <a:gd name="connsiteX10" fmla="*/ 1531620 w 5257800"/>
                <a:gd name="connsiteY10" fmla="*/ 297180 h 6187157"/>
                <a:gd name="connsiteX11" fmla="*/ 1584960 w 5257800"/>
                <a:gd name="connsiteY11" fmla="*/ 327660 h 6187157"/>
                <a:gd name="connsiteX12" fmla="*/ 1714500 w 5257800"/>
                <a:gd name="connsiteY12" fmla="*/ 274320 h 6187157"/>
                <a:gd name="connsiteX13" fmla="*/ 1684020 w 5257800"/>
                <a:gd name="connsiteY13" fmla="*/ 114300 h 6187157"/>
                <a:gd name="connsiteX14" fmla="*/ 2087880 w 5257800"/>
                <a:gd name="connsiteY14" fmla="*/ 0 h 6187157"/>
                <a:gd name="connsiteX15" fmla="*/ 2133600 w 5257800"/>
                <a:gd name="connsiteY15" fmla="*/ 160020 h 6187157"/>
                <a:gd name="connsiteX16" fmla="*/ 2385060 w 5257800"/>
                <a:gd name="connsiteY16" fmla="*/ 106680 h 6187157"/>
                <a:gd name="connsiteX17" fmla="*/ 2644140 w 5257800"/>
                <a:gd name="connsiteY17" fmla="*/ 99060 h 6187157"/>
                <a:gd name="connsiteX18" fmla="*/ 2971800 w 5257800"/>
                <a:gd name="connsiteY18" fmla="*/ 152400 h 6187157"/>
                <a:gd name="connsiteX19" fmla="*/ 3299460 w 5257800"/>
                <a:gd name="connsiteY19" fmla="*/ 251460 h 6187157"/>
                <a:gd name="connsiteX20" fmla="*/ 3665220 w 5257800"/>
                <a:gd name="connsiteY20" fmla="*/ 464820 h 6187157"/>
                <a:gd name="connsiteX21" fmla="*/ 3954780 w 5257800"/>
                <a:gd name="connsiteY21" fmla="*/ 723900 h 6187157"/>
                <a:gd name="connsiteX22" fmla="*/ 4465320 w 5257800"/>
                <a:gd name="connsiteY22" fmla="*/ 1280160 h 6187157"/>
                <a:gd name="connsiteX23" fmla="*/ 4495800 w 5257800"/>
                <a:gd name="connsiteY23" fmla="*/ 1287780 h 6187157"/>
                <a:gd name="connsiteX24" fmla="*/ 4678680 w 5257800"/>
                <a:gd name="connsiteY24" fmla="*/ 1463040 h 6187157"/>
                <a:gd name="connsiteX25" fmla="*/ 4663440 w 5257800"/>
                <a:gd name="connsiteY25" fmla="*/ 1524000 h 6187157"/>
                <a:gd name="connsiteX26" fmla="*/ 4914900 w 5257800"/>
                <a:gd name="connsiteY26" fmla="*/ 1821180 h 6187157"/>
                <a:gd name="connsiteX27" fmla="*/ 5105400 w 5257800"/>
                <a:gd name="connsiteY27" fmla="*/ 2217420 h 6187157"/>
                <a:gd name="connsiteX28" fmla="*/ 5227320 w 5257800"/>
                <a:gd name="connsiteY28" fmla="*/ 2636520 h 6187157"/>
                <a:gd name="connsiteX29" fmla="*/ 5257800 w 5257800"/>
                <a:gd name="connsiteY29" fmla="*/ 3086100 h 6187157"/>
                <a:gd name="connsiteX30" fmla="*/ 5204460 w 5257800"/>
                <a:gd name="connsiteY30" fmla="*/ 3611880 h 6187157"/>
                <a:gd name="connsiteX31" fmla="*/ 5002306 w 5257800"/>
                <a:gd name="connsiteY31" fmla="*/ 4363507 h 6187157"/>
                <a:gd name="connsiteX32" fmla="*/ 5132522 w 5257800"/>
                <a:gd name="connsiteY32" fmla="*/ 4429994 h 6187157"/>
                <a:gd name="connsiteX33" fmla="*/ 5063073 w 5257800"/>
                <a:gd name="connsiteY33" fmla="*/ 4847915 h 6187157"/>
                <a:gd name="connsiteX34" fmla="*/ 4905544 w 5257800"/>
                <a:gd name="connsiteY34" fmla="*/ 4785630 h 6187157"/>
                <a:gd name="connsiteX35" fmla="*/ 3743556 w 5257800"/>
                <a:gd name="connsiteY35" fmla="*/ 6187157 h 6187157"/>
                <a:gd name="connsiteX36" fmla="*/ 3595980 w 5257800"/>
                <a:gd name="connsiteY36" fmla="*/ 5588772 h 6187157"/>
                <a:gd name="connsiteX37" fmla="*/ 4382946 w 5257800"/>
                <a:gd name="connsiteY37" fmla="*/ 4574791 h 6187157"/>
                <a:gd name="connsiteX38" fmla="*/ 4693920 w 5257800"/>
                <a:gd name="connsiteY38" fmla="*/ 3261360 h 6187157"/>
                <a:gd name="connsiteX39" fmla="*/ 4701540 w 5257800"/>
                <a:gd name="connsiteY39" fmla="*/ 2834640 h 6187157"/>
                <a:gd name="connsiteX40" fmla="*/ 4579620 w 5257800"/>
                <a:gd name="connsiteY40" fmla="*/ 2415540 h 6187157"/>
                <a:gd name="connsiteX41" fmla="*/ 4373880 w 5257800"/>
                <a:gd name="connsiteY41" fmla="*/ 2057400 h 6187157"/>
                <a:gd name="connsiteX42" fmla="*/ 3429000 w 5257800"/>
                <a:gd name="connsiteY42" fmla="*/ 1013460 h 6187157"/>
                <a:gd name="connsiteX43" fmla="*/ 3192780 w 5257800"/>
                <a:gd name="connsiteY43" fmla="*/ 853440 h 6187157"/>
                <a:gd name="connsiteX44" fmla="*/ 2910840 w 5257800"/>
                <a:gd name="connsiteY44" fmla="*/ 739140 h 6187157"/>
                <a:gd name="connsiteX45" fmla="*/ 2514600 w 5257800"/>
                <a:gd name="connsiteY45" fmla="*/ 693420 h 6187157"/>
                <a:gd name="connsiteX46" fmla="*/ 2232660 w 5257800"/>
                <a:gd name="connsiteY46" fmla="*/ 739140 h 6187157"/>
                <a:gd name="connsiteX47" fmla="*/ 1234440 w 5257800"/>
                <a:gd name="connsiteY47" fmla="*/ 1059180 h 6187157"/>
                <a:gd name="connsiteX48" fmla="*/ 960120 w 5257800"/>
                <a:gd name="connsiteY48" fmla="*/ 1165860 h 6187157"/>
                <a:gd name="connsiteX49" fmla="*/ 815340 w 5257800"/>
                <a:gd name="connsiteY49" fmla="*/ 1257300 h 6187157"/>
                <a:gd name="connsiteX50" fmla="*/ 0 w 5257800"/>
                <a:gd name="connsiteY50" fmla="*/ 1234440 h 6187157"/>
                <a:gd name="connsiteX0" fmla="*/ 0 w 5257800"/>
                <a:gd name="connsiteY0" fmla="*/ 1234440 h 6187157"/>
                <a:gd name="connsiteX1" fmla="*/ 213360 w 5257800"/>
                <a:gd name="connsiteY1" fmla="*/ 990600 h 6187157"/>
                <a:gd name="connsiteX2" fmla="*/ 457200 w 5257800"/>
                <a:gd name="connsiteY2" fmla="*/ 792480 h 6187157"/>
                <a:gd name="connsiteX3" fmla="*/ 685800 w 5257800"/>
                <a:gd name="connsiteY3" fmla="*/ 624840 h 6187157"/>
                <a:gd name="connsiteX4" fmla="*/ 929640 w 5257800"/>
                <a:gd name="connsiteY4" fmla="*/ 533400 h 6187157"/>
                <a:gd name="connsiteX5" fmla="*/ 891540 w 5257800"/>
                <a:gd name="connsiteY5" fmla="*/ 426720 h 6187157"/>
                <a:gd name="connsiteX6" fmla="*/ 1074420 w 5257800"/>
                <a:gd name="connsiteY6" fmla="*/ 358140 h 6187157"/>
                <a:gd name="connsiteX7" fmla="*/ 1120140 w 5257800"/>
                <a:gd name="connsiteY7" fmla="*/ 464820 h 6187157"/>
                <a:gd name="connsiteX8" fmla="*/ 1242060 w 5257800"/>
                <a:gd name="connsiteY8" fmla="*/ 434340 h 6187157"/>
                <a:gd name="connsiteX9" fmla="*/ 1272540 w 5257800"/>
                <a:gd name="connsiteY9" fmla="*/ 365760 h 6187157"/>
                <a:gd name="connsiteX10" fmla="*/ 1531620 w 5257800"/>
                <a:gd name="connsiteY10" fmla="*/ 297180 h 6187157"/>
                <a:gd name="connsiteX11" fmla="*/ 1584960 w 5257800"/>
                <a:gd name="connsiteY11" fmla="*/ 327660 h 6187157"/>
                <a:gd name="connsiteX12" fmla="*/ 1714500 w 5257800"/>
                <a:gd name="connsiteY12" fmla="*/ 274320 h 6187157"/>
                <a:gd name="connsiteX13" fmla="*/ 1684020 w 5257800"/>
                <a:gd name="connsiteY13" fmla="*/ 114300 h 6187157"/>
                <a:gd name="connsiteX14" fmla="*/ 2087880 w 5257800"/>
                <a:gd name="connsiteY14" fmla="*/ 0 h 6187157"/>
                <a:gd name="connsiteX15" fmla="*/ 2133600 w 5257800"/>
                <a:gd name="connsiteY15" fmla="*/ 160020 h 6187157"/>
                <a:gd name="connsiteX16" fmla="*/ 2385060 w 5257800"/>
                <a:gd name="connsiteY16" fmla="*/ 106680 h 6187157"/>
                <a:gd name="connsiteX17" fmla="*/ 2644140 w 5257800"/>
                <a:gd name="connsiteY17" fmla="*/ 99060 h 6187157"/>
                <a:gd name="connsiteX18" fmla="*/ 2971800 w 5257800"/>
                <a:gd name="connsiteY18" fmla="*/ 152400 h 6187157"/>
                <a:gd name="connsiteX19" fmla="*/ 3299460 w 5257800"/>
                <a:gd name="connsiteY19" fmla="*/ 251460 h 6187157"/>
                <a:gd name="connsiteX20" fmla="*/ 3665220 w 5257800"/>
                <a:gd name="connsiteY20" fmla="*/ 464820 h 6187157"/>
                <a:gd name="connsiteX21" fmla="*/ 3954780 w 5257800"/>
                <a:gd name="connsiteY21" fmla="*/ 723900 h 6187157"/>
                <a:gd name="connsiteX22" fmla="*/ 4465320 w 5257800"/>
                <a:gd name="connsiteY22" fmla="*/ 1280160 h 6187157"/>
                <a:gd name="connsiteX23" fmla="*/ 4495800 w 5257800"/>
                <a:gd name="connsiteY23" fmla="*/ 1287780 h 6187157"/>
                <a:gd name="connsiteX24" fmla="*/ 4678680 w 5257800"/>
                <a:gd name="connsiteY24" fmla="*/ 1463040 h 6187157"/>
                <a:gd name="connsiteX25" fmla="*/ 4663440 w 5257800"/>
                <a:gd name="connsiteY25" fmla="*/ 1524000 h 6187157"/>
                <a:gd name="connsiteX26" fmla="*/ 4914900 w 5257800"/>
                <a:gd name="connsiteY26" fmla="*/ 1821180 h 6187157"/>
                <a:gd name="connsiteX27" fmla="*/ 5105400 w 5257800"/>
                <a:gd name="connsiteY27" fmla="*/ 2217420 h 6187157"/>
                <a:gd name="connsiteX28" fmla="*/ 5227320 w 5257800"/>
                <a:gd name="connsiteY28" fmla="*/ 2636520 h 6187157"/>
                <a:gd name="connsiteX29" fmla="*/ 5257800 w 5257800"/>
                <a:gd name="connsiteY29" fmla="*/ 3086100 h 6187157"/>
                <a:gd name="connsiteX30" fmla="*/ 5204460 w 5257800"/>
                <a:gd name="connsiteY30" fmla="*/ 3611880 h 6187157"/>
                <a:gd name="connsiteX31" fmla="*/ 5002306 w 5257800"/>
                <a:gd name="connsiteY31" fmla="*/ 4363507 h 6187157"/>
                <a:gd name="connsiteX32" fmla="*/ 5132522 w 5257800"/>
                <a:gd name="connsiteY32" fmla="*/ 4429994 h 6187157"/>
                <a:gd name="connsiteX33" fmla="*/ 5063073 w 5257800"/>
                <a:gd name="connsiteY33" fmla="*/ 4847915 h 6187157"/>
                <a:gd name="connsiteX34" fmla="*/ 4905544 w 5257800"/>
                <a:gd name="connsiteY34" fmla="*/ 4785630 h 6187157"/>
                <a:gd name="connsiteX35" fmla="*/ 3743556 w 5257800"/>
                <a:gd name="connsiteY35" fmla="*/ 6187157 h 6187157"/>
                <a:gd name="connsiteX36" fmla="*/ 3595980 w 5257800"/>
                <a:gd name="connsiteY36" fmla="*/ 5588772 h 6187157"/>
                <a:gd name="connsiteX37" fmla="*/ 4382946 w 5257800"/>
                <a:gd name="connsiteY37" fmla="*/ 4574791 h 6187157"/>
                <a:gd name="connsiteX38" fmla="*/ 4693920 w 5257800"/>
                <a:gd name="connsiteY38" fmla="*/ 3261360 h 6187157"/>
                <a:gd name="connsiteX39" fmla="*/ 4701540 w 5257800"/>
                <a:gd name="connsiteY39" fmla="*/ 2834640 h 6187157"/>
                <a:gd name="connsiteX40" fmla="*/ 4579620 w 5257800"/>
                <a:gd name="connsiteY40" fmla="*/ 2415540 h 6187157"/>
                <a:gd name="connsiteX41" fmla="*/ 4373880 w 5257800"/>
                <a:gd name="connsiteY41" fmla="*/ 2057400 h 6187157"/>
                <a:gd name="connsiteX42" fmla="*/ 3429000 w 5257800"/>
                <a:gd name="connsiteY42" fmla="*/ 1013460 h 6187157"/>
                <a:gd name="connsiteX43" fmla="*/ 3192780 w 5257800"/>
                <a:gd name="connsiteY43" fmla="*/ 853440 h 6187157"/>
                <a:gd name="connsiteX44" fmla="*/ 2910840 w 5257800"/>
                <a:gd name="connsiteY44" fmla="*/ 739140 h 6187157"/>
                <a:gd name="connsiteX45" fmla="*/ 2514600 w 5257800"/>
                <a:gd name="connsiteY45" fmla="*/ 693420 h 6187157"/>
                <a:gd name="connsiteX46" fmla="*/ 2232660 w 5257800"/>
                <a:gd name="connsiteY46" fmla="*/ 739140 h 6187157"/>
                <a:gd name="connsiteX47" fmla="*/ 1234440 w 5257800"/>
                <a:gd name="connsiteY47" fmla="*/ 1059180 h 6187157"/>
                <a:gd name="connsiteX48" fmla="*/ 960120 w 5257800"/>
                <a:gd name="connsiteY48" fmla="*/ 1165860 h 6187157"/>
                <a:gd name="connsiteX49" fmla="*/ 815340 w 5257800"/>
                <a:gd name="connsiteY49" fmla="*/ 1257300 h 6187157"/>
                <a:gd name="connsiteX50" fmla="*/ 0 w 5257800"/>
                <a:gd name="connsiteY50" fmla="*/ 1234440 h 6187157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701540 w 5257800"/>
                <a:gd name="connsiteY39" fmla="*/ 2834640 h 6177659"/>
                <a:gd name="connsiteX40" fmla="*/ 4579620 w 5257800"/>
                <a:gd name="connsiteY40" fmla="*/ 2415540 h 6177659"/>
                <a:gd name="connsiteX41" fmla="*/ 4373880 w 5257800"/>
                <a:gd name="connsiteY41" fmla="*/ 2057400 h 6177659"/>
                <a:gd name="connsiteX42" fmla="*/ 3429000 w 5257800"/>
                <a:gd name="connsiteY42" fmla="*/ 1013460 h 6177659"/>
                <a:gd name="connsiteX43" fmla="*/ 3192780 w 5257800"/>
                <a:gd name="connsiteY43" fmla="*/ 853440 h 6177659"/>
                <a:gd name="connsiteX44" fmla="*/ 2910840 w 5257800"/>
                <a:gd name="connsiteY44" fmla="*/ 739140 h 6177659"/>
                <a:gd name="connsiteX45" fmla="*/ 2514600 w 5257800"/>
                <a:gd name="connsiteY45" fmla="*/ 693420 h 6177659"/>
                <a:gd name="connsiteX46" fmla="*/ 2232660 w 5257800"/>
                <a:gd name="connsiteY46" fmla="*/ 739140 h 6177659"/>
                <a:gd name="connsiteX47" fmla="*/ 1234440 w 5257800"/>
                <a:gd name="connsiteY47" fmla="*/ 1059180 h 6177659"/>
                <a:gd name="connsiteX48" fmla="*/ 960120 w 5257800"/>
                <a:gd name="connsiteY48" fmla="*/ 1165860 h 6177659"/>
                <a:gd name="connsiteX49" fmla="*/ 815340 w 5257800"/>
                <a:gd name="connsiteY49" fmla="*/ 1257300 h 6177659"/>
                <a:gd name="connsiteX50" fmla="*/ 0 w 5257800"/>
                <a:gd name="connsiteY50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701540 w 5257800"/>
                <a:gd name="connsiteY39" fmla="*/ 2834640 h 6177659"/>
                <a:gd name="connsiteX40" fmla="*/ 4579620 w 5257800"/>
                <a:gd name="connsiteY40" fmla="*/ 2415540 h 6177659"/>
                <a:gd name="connsiteX41" fmla="*/ 4373880 w 5257800"/>
                <a:gd name="connsiteY41" fmla="*/ 2057400 h 6177659"/>
                <a:gd name="connsiteX42" fmla="*/ 3429000 w 5257800"/>
                <a:gd name="connsiteY42" fmla="*/ 1013460 h 6177659"/>
                <a:gd name="connsiteX43" fmla="*/ 3192780 w 5257800"/>
                <a:gd name="connsiteY43" fmla="*/ 853440 h 6177659"/>
                <a:gd name="connsiteX44" fmla="*/ 2910840 w 5257800"/>
                <a:gd name="connsiteY44" fmla="*/ 739140 h 6177659"/>
                <a:gd name="connsiteX45" fmla="*/ 2514600 w 5257800"/>
                <a:gd name="connsiteY45" fmla="*/ 693420 h 6177659"/>
                <a:gd name="connsiteX46" fmla="*/ 2232660 w 5257800"/>
                <a:gd name="connsiteY46" fmla="*/ 739140 h 6177659"/>
                <a:gd name="connsiteX47" fmla="*/ 1234440 w 5257800"/>
                <a:gd name="connsiteY47" fmla="*/ 1059180 h 6177659"/>
                <a:gd name="connsiteX48" fmla="*/ 960120 w 5257800"/>
                <a:gd name="connsiteY48" fmla="*/ 1165860 h 6177659"/>
                <a:gd name="connsiteX49" fmla="*/ 815340 w 5257800"/>
                <a:gd name="connsiteY49" fmla="*/ 1257300 h 6177659"/>
                <a:gd name="connsiteX50" fmla="*/ 0 w 5257800"/>
                <a:gd name="connsiteY50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701540 w 5257800"/>
                <a:gd name="connsiteY39" fmla="*/ 2834640 h 6177659"/>
                <a:gd name="connsiteX40" fmla="*/ 4579620 w 5257800"/>
                <a:gd name="connsiteY40" fmla="*/ 2415540 h 6177659"/>
                <a:gd name="connsiteX41" fmla="*/ 4373880 w 5257800"/>
                <a:gd name="connsiteY41" fmla="*/ 2057400 h 6177659"/>
                <a:gd name="connsiteX42" fmla="*/ 3429000 w 5257800"/>
                <a:gd name="connsiteY42" fmla="*/ 1013460 h 6177659"/>
                <a:gd name="connsiteX43" fmla="*/ 3192780 w 5257800"/>
                <a:gd name="connsiteY43" fmla="*/ 853440 h 6177659"/>
                <a:gd name="connsiteX44" fmla="*/ 2910840 w 5257800"/>
                <a:gd name="connsiteY44" fmla="*/ 739140 h 6177659"/>
                <a:gd name="connsiteX45" fmla="*/ 2514600 w 5257800"/>
                <a:gd name="connsiteY45" fmla="*/ 693420 h 6177659"/>
                <a:gd name="connsiteX46" fmla="*/ 2232660 w 5257800"/>
                <a:gd name="connsiteY46" fmla="*/ 739140 h 6177659"/>
                <a:gd name="connsiteX47" fmla="*/ 1234440 w 5257800"/>
                <a:gd name="connsiteY47" fmla="*/ 1059180 h 6177659"/>
                <a:gd name="connsiteX48" fmla="*/ 960120 w 5257800"/>
                <a:gd name="connsiteY48" fmla="*/ 1165860 h 6177659"/>
                <a:gd name="connsiteX49" fmla="*/ 815340 w 5257800"/>
                <a:gd name="connsiteY49" fmla="*/ 1257300 h 6177659"/>
                <a:gd name="connsiteX50" fmla="*/ 0 w 5257800"/>
                <a:gd name="connsiteY50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579620 w 5257800"/>
                <a:gd name="connsiteY39" fmla="*/ 2415540 h 6177659"/>
                <a:gd name="connsiteX40" fmla="*/ 4373880 w 5257800"/>
                <a:gd name="connsiteY40" fmla="*/ 2057400 h 6177659"/>
                <a:gd name="connsiteX41" fmla="*/ 3429000 w 5257800"/>
                <a:gd name="connsiteY41" fmla="*/ 1013460 h 6177659"/>
                <a:gd name="connsiteX42" fmla="*/ 3192780 w 5257800"/>
                <a:gd name="connsiteY42" fmla="*/ 853440 h 6177659"/>
                <a:gd name="connsiteX43" fmla="*/ 2910840 w 5257800"/>
                <a:gd name="connsiteY43" fmla="*/ 739140 h 6177659"/>
                <a:gd name="connsiteX44" fmla="*/ 2514600 w 5257800"/>
                <a:gd name="connsiteY44" fmla="*/ 693420 h 6177659"/>
                <a:gd name="connsiteX45" fmla="*/ 2232660 w 5257800"/>
                <a:gd name="connsiteY45" fmla="*/ 739140 h 6177659"/>
                <a:gd name="connsiteX46" fmla="*/ 1234440 w 5257800"/>
                <a:gd name="connsiteY46" fmla="*/ 1059180 h 6177659"/>
                <a:gd name="connsiteX47" fmla="*/ 960120 w 5257800"/>
                <a:gd name="connsiteY47" fmla="*/ 1165860 h 6177659"/>
                <a:gd name="connsiteX48" fmla="*/ 815340 w 5257800"/>
                <a:gd name="connsiteY48" fmla="*/ 1257300 h 6177659"/>
                <a:gd name="connsiteX49" fmla="*/ 0 w 5257800"/>
                <a:gd name="connsiteY49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373880 w 5257800"/>
                <a:gd name="connsiteY39" fmla="*/ 2057400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408604 w 5257800"/>
                <a:gd name="connsiteY39" fmla="*/ 2104892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408604 w 5257800"/>
                <a:gd name="connsiteY39" fmla="*/ 2104892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408604 w 5257800"/>
                <a:gd name="connsiteY39" fmla="*/ 2104892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408604 w 5257800"/>
                <a:gd name="connsiteY39" fmla="*/ 2104892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344179 w 5257800"/>
                <a:gd name="connsiteY39" fmla="*/ 2027325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344179 w 5257800"/>
                <a:gd name="connsiteY39" fmla="*/ 2027325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344179 w 5257800"/>
                <a:gd name="connsiteY39" fmla="*/ 2027325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814397 w 5257800"/>
                <a:gd name="connsiteY26" fmla="*/ 1704828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344179 w 5257800"/>
                <a:gd name="connsiteY39" fmla="*/ 2027325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814397 w 5257800"/>
                <a:gd name="connsiteY26" fmla="*/ 1704828 h 6177659"/>
                <a:gd name="connsiteX27" fmla="*/ 5227320 w 5257800"/>
                <a:gd name="connsiteY27" fmla="*/ 2636520 h 6177659"/>
                <a:gd name="connsiteX28" fmla="*/ 5257800 w 5257800"/>
                <a:gd name="connsiteY28" fmla="*/ 3086100 h 6177659"/>
                <a:gd name="connsiteX29" fmla="*/ 5204460 w 5257800"/>
                <a:gd name="connsiteY29" fmla="*/ 3611880 h 6177659"/>
                <a:gd name="connsiteX30" fmla="*/ 5002306 w 5257800"/>
                <a:gd name="connsiteY30" fmla="*/ 4363507 h 6177659"/>
                <a:gd name="connsiteX31" fmla="*/ 5132522 w 5257800"/>
                <a:gd name="connsiteY31" fmla="*/ 4429994 h 6177659"/>
                <a:gd name="connsiteX32" fmla="*/ 5063073 w 5257800"/>
                <a:gd name="connsiteY32" fmla="*/ 4847915 h 6177659"/>
                <a:gd name="connsiteX33" fmla="*/ 4905544 w 5257800"/>
                <a:gd name="connsiteY33" fmla="*/ 4785630 h 6177659"/>
                <a:gd name="connsiteX34" fmla="*/ 3778281 w 5257800"/>
                <a:gd name="connsiteY34" fmla="*/ 6177659 h 6177659"/>
                <a:gd name="connsiteX35" fmla="*/ 3595980 w 5257800"/>
                <a:gd name="connsiteY35" fmla="*/ 5588772 h 6177659"/>
                <a:gd name="connsiteX36" fmla="*/ 4382946 w 5257800"/>
                <a:gd name="connsiteY36" fmla="*/ 4574791 h 6177659"/>
                <a:gd name="connsiteX37" fmla="*/ 4662995 w 5257800"/>
                <a:gd name="connsiteY37" fmla="*/ 3330617 h 6177659"/>
                <a:gd name="connsiteX38" fmla="*/ 4344179 w 5257800"/>
                <a:gd name="connsiteY38" fmla="*/ 2027325 h 6177659"/>
                <a:gd name="connsiteX39" fmla="*/ 3429000 w 5257800"/>
                <a:gd name="connsiteY39" fmla="*/ 1013460 h 6177659"/>
                <a:gd name="connsiteX40" fmla="*/ 3192780 w 5257800"/>
                <a:gd name="connsiteY40" fmla="*/ 853440 h 6177659"/>
                <a:gd name="connsiteX41" fmla="*/ 2910840 w 5257800"/>
                <a:gd name="connsiteY41" fmla="*/ 739140 h 6177659"/>
                <a:gd name="connsiteX42" fmla="*/ 2514600 w 5257800"/>
                <a:gd name="connsiteY42" fmla="*/ 693420 h 6177659"/>
                <a:gd name="connsiteX43" fmla="*/ 2232660 w 5257800"/>
                <a:gd name="connsiteY43" fmla="*/ 739140 h 6177659"/>
                <a:gd name="connsiteX44" fmla="*/ 1234440 w 5257800"/>
                <a:gd name="connsiteY44" fmla="*/ 1059180 h 6177659"/>
                <a:gd name="connsiteX45" fmla="*/ 960120 w 5257800"/>
                <a:gd name="connsiteY45" fmla="*/ 1165860 h 6177659"/>
                <a:gd name="connsiteX46" fmla="*/ 815340 w 5257800"/>
                <a:gd name="connsiteY46" fmla="*/ 1257300 h 6177659"/>
                <a:gd name="connsiteX47" fmla="*/ 0 w 5257800"/>
                <a:gd name="connsiteY47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814397 w 5257800"/>
                <a:gd name="connsiteY26" fmla="*/ 1704828 h 6177659"/>
                <a:gd name="connsiteX27" fmla="*/ 5257800 w 5257800"/>
                <a:gd name="connsiteY27" fmla="*/ 3086100 h 6177659"/>
                <a:gd name="connsiteX28" fmla="*/ 5204460 w 5257800"/>
                <a:gd name="connsiteY28" fmla="*/ 3611880 h 6177659"/>
                <a:gd name="connsiteX29" fmla="*/ 5002306 w 5257800"/>
                <a:gd name="connsiteY29" fmla="*/ 4363507 h 6177659"/>
                <a:gd name="connsiteX30" fmla="*/ 5132522 w 5257800"/>
                <a:gd name="connsiteY30" fmla="*/ 4429994 h 6177659"/>
                <a:gd name="connsiteX31" fmla="*/ 5063073 w 5257800"/>
                <a:gd name="connsiteY31" fmla="*/ 4847915 h 6177659"/>
                <a:gd name="connsiteX32" fmla="*/ 4905544 w 5257800"/>
                <a:gd name="connsiteY32" fmla="*/ 4785630 h 6177659"/>
                <a:gd name="connsiteX33" fmla="*/ 3778281 w 5257800"/>
                <a:gd name="connsiteY33" fmla="*/ 6177659 h 6177659"/>
                <a:gd name="connsiteX34" fmla="*/ 3595980 w 5257800"/>
                <a:gd name="connsiteY34" fmla="*/ 5588772 h 6177659"/>
                <a:gd name="connsiteX35" fmla="*/ 4382946 w 5257800"/>
                <a:gd name="connsiteY35" fmla="*/ 4574791 h 6177659"/>
                <a:gd name="connsiteX36" fmla="*/ 4662995 w 5257800"/>
                <a:gd name="connsiteY36" fmla="*/ 3330617 h 6177659"/>
                <a:gd name="connsiteX37" fmla="*/ 4344179 w 5257800"/>
                <a:gd name="connsiteY37" fmla="*/ 2027325 h 6177659"/>
                <a:gd name="connsiteX38" fmla="*/ 3429000 w 5257800"/>
                <a:gd name="connsiteY38" fmla="*/ 1013460 h 6177659"/>
                <a:gd name="connsiteX39" fmla="*/ 3192780 w 5257800"/>
                <a:gd name="connsiteY39" fmla="*/ 853440 h 6177659"/>
                <a:gd name="connsiteX40" fmla="*/ 2910840 w 5257800"/>
                <a:gd name="connsiteY40" fmla="*/ 739140 h 6177659"/>
                <a:gd name="connsiteX41" fmla="*/ 2514600 w 5257800"/>
                <a:gd name="connsiteY41" fmla="*/ 693420 h 6177659"/>
                <a:gd name="connsiteX42" fmla="*/ 2232660 w 5257800"/>
                <a:gd name="connsiteY42" fmla="*/ 739140 h 6177659"/>
                <a:gd name="connsiteX43" fmla="*/ 1234440 w 5257800"/>
                <a:gd name="connsiteY43" fmla="*/ 1059180 h 6177659"/>
                <a:gd name="connsiteX44" fmla="*/ 960120 w 5257800"/>
                <a:gd name="connsiteY44" fmla="*/ 1165860 h 6177659"/>
                <a:gd name="connsiteX45" fmla="*/ 815340 w 5257800"/>
                <a:gd name="connsiteY45" fmla="*/ 1257300 h 6177659"/>
                <a:gd name="connsiteX46" fmla="*/ 0 w 5257800"/>
                <a:gd name="connsiteY46" fmla="*/ 1234440 h 6177659"/>
                <a:gd name="connsiteX0" fmla="*/ 0 w 5204460"/>
                <a:gd name="connsiteY0" fmla="*/ 1234440 h 6177659"/>
                <a:gd name="connsiteX1" fmla="*/ 213360 w 5204460"/>
                <a:gd name="connsiteY1" fmla="*/ 990600 h 6177659"/>
                <a:gd name="connsiteX2" fmla="*/ 457200 w 5204460"/>
                <a:gd name="connsiteY2" fmla="*/ 792480 h 6177659"/>
                <a:gd name="connsiteX3" fmla="*/ 685800 w 5204460"/>
                <a:gd name="connsiteY3" fmla="*/ 624840 h 6177659"/>
                <a:gd name="connsiteX4" fmla="*/ 929640 w 5204460"/>
                <a:gd name="connsiteY4" fmla="*/ 533400 h 6177659"/>
                <a:gd name="connsiteX5" fmla="*/ 891540 w 5204460"/>
                <a:gd name="connsiteY5" fmla="*/ 426720 h 6177659"/>
                <a:gd name="connsiteX6" fmla="*/ 1074420 w 5204460"/>
                <a:gd name="connsiteY6" fmla="*/ 358140 h 6177659"/>
                <a:gd name="connsiteX7" fmla="*/ 1120140 w 5204460"/>
                <a:gd name="connsiteY7" fmla="*/ 464820 h 6177659"/>
                <a:gd name="connsiteX8" fmla="*/ 1242060 w 5204460"/>
                <a:gd name="connsiteY8" fmla="*/ 434340 h 6177659"/>
                <a:gd name="connsiteX9" fmla="*/ 1272540 w 5204460"/>
                <a:gd name="connsiteY9" fmla="*/ 365760 h 6177659"/>
                <a:gd name="connsiteX10" fmla="*/ 1531620 w 5204460"/>
                <a:gd name="connsiteY10" fmla="*/ 297180 h 6177659"/>
                <a:gd name="connsiteX11" fmla="*/ 1584960 w 5204460"/>
                <a:gd name="connsiteY11" fmla="*/ 327660 h 6177659"/>
                <a:gd name="connsiteX12" fmla="*/ 1714500 w 5204460"/>
                <a:gd name="connsiteY12" fmla="*/ 274320 h 6177659"/>
                <a:gd name="connsiteX13" fmla="*/ 1684020 w 5204460"/>
                <a:gd name="connsiteY13" fmla="*/ 114300 h 6177659"/>
                <a:gd name="connsiteX14" fmla="*/ 2087880 w 5204460"/>
                <a:gd name="connsiteY14" fmla="*/ 0 h 6177659"/>
                <a:gd name="connsiteX15" fmla="*/ 2133600 w 5204460"/>
                <a:gd name="connsiteY15" fmla="*/ 160020 h 6177659"/>
                <a:gd name="connsiteX16" fmla="*/ 2385060 w 5204460"/>
                <a:gd name="connsiteY16" fmla="*/ 106680 h 6177659"/>
                <a:gd name="connsiteX17" fmla="*/ 2644140 w 5204460"/>
                <a:gd name="connsiteY17" fmla="*/ 99060 h 6177659"/>
                <a:gd name="connsiteX18" fmla="*/ 2971800 w 5204460"/>
                <a:gd name="connsiteY18" fmla="*/ 152400 h 6177659"/>
                <a:gd name="connsiteX19" fmla="*/ 3299460 w 5204460"/>
                <a:gd name="connsiteY19" fmla="*/ 251460 h 6177659"/>
                <a:gd name="connsiteX20" fmla="*/ 3665220 w 5204460"/>
                <a:gd name="connsiteY20" fmla="*/ 464820 h 6177659"/>
                <a:gd name="connsiteX21" fmla="*/ 3954780 w 5204460"/>
                <a:gd name="connsiteY21" fmla="*/ 723900 h 6177659"/>
                <a:gd name="connsiteX22" fmla="*/ 4465320 w 5204460"/>
                <a:gd name="connsiteY22" fmla="*/ 1280160 h 6177659"/>
                <a:gd name="connsiteX23" fmla="*/ 4495800 w 5204460"/>
                <a:gd name="connsiteY23" fmla="*/ 1287780 h 6177659"/>
                <a:gd name="connsiteX24" fmla="*/ 4678680 w 5204460"/>
                <a:gd name="connsiteY24" fmla="*/ 1463040 h 6177659"/>
                <a:gd name="connsiteX25" fmla="*/ 4663440 w 5204460"/>
                <a:gd name="connsiteY25" fmla="*/ 1524000 h 6177659"/>
                <a:gd name="connsiteX26" fmla="*/ 4814397 w 5204460"/>
                <a:gd name="connsiteY26" fmla="*/ 1704828 h 6177659"/>
                <a:gd name="connsiteX27" fmla="*/ 5204460 w 5204460"/>
                <a:gd name="connsiteY27" fmla="*/ 3611880 h 6177659"/>
                <a:gd name="connsiteX28" fmla="*/ 5002306 w 5204460"/>
                <a:gd name="connsiteY28" fmla="*/ 4363507 h 6177659"/>
                <a:gd name="connsiteX29" fmla="*/ 5132522 w 5204460"/>
                <a:gd name="connsiteY29" fmla="*/ 4429994 h 6177659"/>
                <a:gd name="connsiteX30" fmla="*/ 5063073 w 5204460"/>
                <a:gd name="connsiteY30" fmla="*/ 4847915 h 6177659"/>
                <a:gd name="connsiteX31" fmla="*/ 4905544 w 5204460"/>
                <a:gd name="connsiteY31" fmla="*/ 4785630 h 6177659"/>
                <a:gd name="connsiteX32" fmla="*/ 3778281 w 5204460"/>
                <a:gd name="connsiteY32" fmla="*/ 6177659 h 6177659"/>
                <a:gd name="connsiteX33" fmla="*/ 3595980 w 5204460"/>
                <a:gd name="connsiteY33" fmla="*/ 5588772 h 6177659"/>
                <a:gd name="connsiteX34" fmla="*/ 4382946 w 5204460"/>
                <a:gd name="connsiteY34" fmla="*/ 4574791 h 6177659"/>
                <a:gd name="connsiteX35" fmla="*/ 4662995 w 5204460"/>
                <a:gd name="connsiteY35" fmla="*/ 3330617 h 6177659"/>
                <a:gd name="connsiteX36" fmla="*/ 4344179 w 5204460"/>
                <a:gd name="connsiteY36" fmla="*/ 2027325 h 6177659"/>
                <a:gd name="connsiteX37" fmla="*/ 3429000 w 5204460"/>
                <a:gd name="connsiteY37" fmla="*/ 1013460 h 6177659"/>
                <a:gd name="connsiteX38" fmla="*/ 3192780 w 5204460"/>
                <a:gd name="connsiteY38" fmla="*/ 853440 h 6177659"/>
                <a:gd name="connsiteX39" fmla="*/ 2910840 w 5204460"/>
                <a:gd name="connsiteY39" fmla="*/ 739140 h 6177659"/>
                <a:gd name="connsiteX40" fmla="*/ 2514600 w 5204460"/>
                <a:gd name="connsiteY40" fmla="*/ 693420 h 6177659"/>
                <a:gd name="connsiteX41" fmla="*/ 2232660 w 5204460"/>
                <a:gd name="connsiteY41" fmla="*/ 739140 h 6177659"/>
                <a:gd name="connsiteX42" fmla="*/ 1234440 w 5204460"/>
                <a:gd name="connsiteY42" fmla="*/ 1059180 h 6177659"/>
                <a:gd name="connsiteX43" fmla="*/ 960120 w 5204460"/>
                <a:gd name="connsiteY43" fmla="*/ 1165860 h 6177659"/>
                <a:gd name="connsiteX44" fmla="*/ 815340 w 5204460"/>
                <a:gd name="connsiteY44" fmla="*/ 1257300 h 6177659"/>
                <a:gd name="connsiteX45" fmla="*/ 0 w 5204460"/>
                <a:gd name="connsiteY45" fmla="*/ 1234440 h 6177659"/>
                <a:gd name="connsiteX0" fmla="*/ 0 w 5132522"/>
                <a:gd name="connsiteY0" fmla="*/ 1234440 h 6177659"/>
                <a:gd name="connsiteX1" fmla="*/ 213360 w 5132522"/>
                <a:gd name="connsiteY1" fmla="*/ 990600 h 6177659"/>
                <a:gd name="connsiteX2" fmla="*/ 457200 w 5132522"/>
                <a:gd name="connsiteY2" fmla="*/ 792480 h 6177659"/>
                <a:gd name="connsiteX3" fmla="*/ 685800 w 5132522"/>
                <a:gd name="connsiteY3" fmla="*/ 624840 h 6177659"/>
                <a:gd name="connsiteX4" fmla="*/ 929640 w 5132522"/>
                <a:gd name="connsiteY4" fmla="*/ 533400 h 6177659"/>
                <a:gd name="connsiteX5" fmla="*/ 891540 w 5132522"/>
                <a:gd name="connsiteY5" fmla="*/ 426720 h 6177659"/>
                <a:gd name="connsiteX6" fmla="*/ 1074420 w 5132522"/>
                <a:gd name="connsiteY6" fmla="*/ 358140 h 6177659"/>
                <a:gd name="connsiteX7" fmla="*/ 1120140 w 5132522"/>
                <a:gd name="connsiteY7" fmla="*/ 464820 h 6177659"/>
                <a:gd name="connsiteX8" fmla="*/ 1242060 w 5132522"/>
                <a:gd name="connsiteY8" fmla="*/ 434340 h 6177659"/>
                <a:gd name="connsiteX9" fmla="*/ 1272540 w 5132522"/>
                <a:gd name="connsiteY9" fmla="*/ 365760 h 6177659"/>
                <a:gd name="connsiteX10" fmla="*/ 1531620 w 5132522"/>
                <a:gd name="connsiteY10" fmla="*/ 297180 h 6177659"/>
                <a:gd name="connsiteX11" fmla="*/ 1584960 w 5132522"/>
                <a:gd name="connsiteY11" fmla="*/ 327660 h 6177659"/>
                <a:gd name="connsiteX12" fmla="*/ 1714500 w 5132522"/>
                <a:gd name="connsiteY12" fmla="*/ 274320 h 6177659"/>
                <a:gd name="connsiteX13" fmla="*/ 1684020 w 5132522"/>
                <a:gd name="connsiteY13" fmla="*/ 114300 h 6177659"/>
                <a:gd name="connsiteX14" fmla="*/ 2087880 w 5132522"/>
                <a:gd name="connsiteY14" fmla="*/ 0 h 6177659"/>
                <a:gd name="connsiteX15" fmla="*/ 2133600 w 5132522"/>
                <a:gd name="connsiteY15" fmla="*/ 160020 h 6177659"/>
                <a:gd name="connsiteX16" fmla="*/ 2385060 w 5132522"/>
                <a:gd name="connsiteY16" fmla="*/ 106680 h 6177659"/>
                <a:gd name="connsiteX17" fmla="*/ 2644140 w 5132522"/>
                <a:gd name="connsiteY17" fmla="*/ 99060 h 6177659"/>
                <a:gd name="connsiteX18" fmla="*/ 2971800 w 5132522"/>
                <a:gd name="connsiteY18" fmla="*/ 152400 h 6177659"/>
                <a:gd name="connsiteX19" fmla="*/ 3299460 w 5132522"/>
                <a:gd name="connsiteY19" fmla="*/ 251460 h 6177659"/>
                <a:gd name="connsiteX20" fmla="*/ 3665220 w 5132522"/>
                <a:gd name="connsiteY20" fmla="*/ 464820 h 6177659"/>
                <a:gd name="connsiteX21" fmla="*/ 3954780 w 5132522"/>
                <a:gd name="connsiteY21" fmla="*/ 723900 h 6177659"/>
                <a:gd name="connsiteX22" fmla="*/ 4465320 w 5132522"/>
                <a:gd name="connsiteY22" fmla="*/ 1280160 h 6177659"/>
                <a:gd name="connsiteX23" fmla="*/ 4495800 w 5132522"/>
                <a:gd name="connsiteY23" fmla="*/ 1287780 h 6177659"/>
                <a:gd name="connsiteX24" fmla="*/ 4678680 w 5132522"/>
                <a:gd name="connsiteY24" fmla="*/ 1463040 h 6177659"/>
                <a:gd name="connsiteX25" fmla="*/ 4663440 w 5132522"/>
                <a:gd name="connsiteY25" fmla="*/ 1524000 h 6177659"/>
                <a:gd name="connsiteX26" fmla="*/ 4814397 w 5132522"/>
                <a:gd name="connsiteY26" fmla="*/ 1704828 h 6177659"/>
                <a:gd name="connsiteX27" fmla="*/ 5002306 w 5132522"/>
                <a:gd name="connsiteY27" fmla="*/ 4363507 h 6177659"/>
                <a:gd name="connsiteX28" fmla="*/ 5132522 w 5132522"/>
                <a:gd name="connsiteY28" fmla="*/ 4429994 h 6177659"/>
                <a:gd name="connsiteX29" fmla="*/ 5063073 w 5132522"/>
                <a:gd name="connsiteY29" fmla="*/ 4847915 h 6177659"/>
                <a:gd name="connsiteX30" fmla="*/ 4905544 w 5132522"/>
                <a:gd name="connsiteY30" fmla="*/ 4785630 h 6177659"/>
                <a:gd name="connsiteX31" fmla="*/ 3778281 w 5132522"/>
                <a:gd name="connsiteY31" fmla="*/ 6177659 h 6177659"/>
                <a:gd name="connsiteX32" fmla="*/ 3595980 w 5132522"/>
                <a:gd name="connsiteY32" fmla="*/ 5588772 h 6177659"/>
                <a:gd name="connsiteX33" fmla="*/ 4382946 w 5132522"/>
                <a:gd name="connsiteY33" fmla="*/ 4574791 h 6177659"/>
                <a:gd name="connsiteX34" fmla="*/ 4662995 w 5132522"/>
                <a:gd name="connsiteY34" fmla="*/ 3330617 h 6177659"/>
                <a:gd name="connsiteX35" fmla="*/ 4344179 w 5132522"/>
                <a:gd name="connsiteY35" fmla="*/ 2027325 h 6177659"/>
                <a:gd name="connsiteX36" fmla="*/ 3429000 w 5132522"/>
                <a:gd name="connsiteY36" fmla="*/ 1013460 h 6177659"/>
                <a:gd name="connsiteX37" fmla="*/ 3192780 w 5132522"/>
                <a:gd name="connsiteY37" fmla="*/ 853440 h 6177659"/>
                <a:gd name="connsiteX38" fmla="*/ 2910840 w 5132522"/>
                <a:gd name="connsiteY38" fmla="*/ 739140 h 6177659"/>
                <a:gd name="connsiteX39" fmla="*/ 2514600 w 5132522"/>
                <a:gd name="connsiteY39" fmla="*/ 693420 h 6177659"/>
                <a:gd name="connsiteX40" fmla="*/ 2232660 w 5132522"/>
                <a:gd name="connsiteY40" fmla="*/ 739140 h 6177659"/>
                <a:gd name="connsiteX41" fmla="*/ 1234440 w 5132522"/>
                <a:gd name="connsiteY41" fmla="*/ 1059180 h 6177659"/>
                <a:gd name="connsiteX42" fmla="*/ 960120 w 5132522"/>
                <a:gd name="connsiteY42" fmla="*/ 1165860 h 6177659"/>
                <a:gd name="connsiteX43" fmla="*/ 815340 w 5132522"/>
                <a:gd name="connsiteY43" fmla="*/ 1257300 h 6177659"/>
                <a:gd name="connsiteX44" fmla="*/ 0 w 5132522"/>
                <a:gd name="connsiteY44" fmla="*/ 1234440 h 6177659"/>
                <a:gd name="connsiteX0" fmla="*/ 0 w 5132522"/>
                <a:gd name="connsiteY0" fmla="*/ 1234440 h 6177659"/>
                <a:gd name="connsiteX1" fmla="*/ 213360 w 5132522"/>
                <a:gd name="connsiteY1" fmla="*/ 990600 h 6177659"/>
                <a:gd name="connsiteX2" fmla="*/ 457200 w 5132522"/>
                <a:gd name="connsiteY2" fmla="*/ 792480 h 6177659"/>
                <a:gd name="connsiteX3" fmla="*/ 685800 w 5132522"/>
                <a:gd name="connsiteY3" fmla="*/ 624840 h 6177659"/>
                <a:gd name="connsiteX4" fmla="*/ 929640 w 5132522"/>
                <a:gd name="connsiteY4" fmla="*/ 533400 h 6177659"/>
                <a:gd name="connsiteX5" fmla="*/ 891540 w 5132522"/>
                <a:gd name="connsiteY5" fmla="*/ 426720 h 6177659"/>
                <a:gd name="connsiteX6" fmla="*/ 1074420 w 5132522"/>
                <a:gd name="connsiteY6" fmla="*/ 358140 h 6177659"/>
                <a:gd name="connsiteX7" fmla="*/ 1120140 w 5132522"/>
                <a:gd name="connsiteY7" fmla="*/ 464820 h 6177659"/>
                <a:gd name="connsiteX8" fmla="*/ 1242060 w 5132522"/>
                <a:gd name="connsiteY8" fmla="*/ 434340 h 6177659"/>
                <a:gd name="connsiteX9" fmla="*/ 1272540 w 5132522"/>
                <a:gd name="connsiteY9" fmla="*/ 365760 h 6177659"/>
                <a:gd name="connsiteX10" fmla="*/ 1531620 w 5132522"/>
                <a:gd name="connsiteY10" fmla="*/ 297180 h 6177659"/>
                <a:gd name="connsiteX11" fmla="*/ 1584960 w 5132522"/>
                <a:gd name="connsiteY11" fmla="*/ 327660 h 6177659"/>
                <a:gd name="connsiteX12" fmla="*/ 1714500 w 5132522"/>
                <a:gd name="connsiteY12" fmla="*/ 274320 h 6177659"/>
                <a:gd name="connsiteX13" fmla="*/ 1684020 w 5132522"/>
                <a:gd name="connsiteY13" fmla="*/ 114300 h 6177659"/>
                <a:gd name="connsiteX14" fmla="*/ 2087880 w 5132522"/>
                <a:gd name="connsiteY14" fmla="*/ 0 h 6177659"/>
                <a:gd name="connsiteX15" fmla="*/ 2133600 w 5132522"/>
                <a:gd name="connsiteY15" fmla="*/ 160020 h 6177659"/>
                <a:gd name="connsiteX16" fmla="*/ 2385060 w 5132522"/>
                <a:gd name="connsiteY16" fmla="*/ 106680 h 6177659"/>
                <a:gd name="connsiteX17" fmla="*/ 2644140 w 5132522"/>
                <a:gd name="connsiteY17" fmla="*/ 99060 h 6177659"/>
                <a:gd name="connsiteX18" fmla="*/ 2971800 w 5132522"/>
                <a:gd name="connsiteY18" fmla="*/ 152400 h 6177659"/>
                <a:gd name="connsiteX19" fmla="*/ 3299460 w 5132522"/>
                <a:gd name="connsiteY19" fmla="*/ 251460 h 6177659"/>
                <a:gd name="connsiteX20" fmla="*/ 3665220 w 5132522"/>
                <a:gd name="connsiteY20" fmla="*/ 464820 h 6177659"/>
                <a:gd name="connsiteX21" fmla="*/ 3954780 w 5132522"/>
                <a:gd name="connsiteY21" fmla="*/ 723900 h 6177659"/>
                <a:gd name="connsiteX22" fmla="*/ 4465320 w 5132522"/>
                <a:gd name="connsiteY22" fmla="*/ 1280160 h 6177659"/>
                <a:gd name="connsiteX23" fmla="*/ 4495800 w 5132522"/>
                <a:gd name="connsiteY23" fmla="*/ 1287780 h 6177659"/>
                <a:gd name="connsiteX24" fmla="*/ 4678680 w 5132522"/>
                <a:gd name="connsiteY24" fmla="*/ 1463040 h 6177659"/>
                <a:gd name="connsiteX25" fmla="*/ 4663440 w 5132522"/>
                <a:gd name="connsiteY25" fmla="*/ 1524000 h 6177659"/>
                <a:gd name="connsiteX26" fmla="*/ 4814397 w 5132522"/>
                <a:gd name="connsiteY26" fmla="*/ 1704828 h 6177659"/>
                <a:gd name="connsiteX27" fmla="*/ 4965031 w 5132522"/>
                <a:gd name="connsiteY27" fmla="*/ 3813160 h 6177659"/>
                <a:gd name="connsiteX28" fmla="*/ 5002306 w 5132522"/>
                <a:gd name="connsiteY28" fmla="*/ 4363507 h 6177659"/>
                <a:gd name="connsiteX29" fmla="*/ 5132522 w 5132522"/>
                <a:gd name="connsiteY29" fmla="*/ 4429994 h 6177659"/>
                <a:gd name="connsiteX30" fmla="*/ 5063073 w 5132522"/>
                <a:gd name="connsiteY30" fmla="*/ 4847915 h 6177659"/>
                <a:gd name="connsiteX31" fmla="*/ 4905544 w 5132522"/>
                <a:gd name="connsiteY31" fmla="*/ 4785630 h 6177659"/>
                <a:gd name="connsiteX32" fmla="*/ 3778281 w 5132522"/>
                <a:gd name="connsiteY32" fmla="*/ 6177659 h 6177659"/>
                <a:gd name="connsiteX33" fmla="*/ 3595980 w 5132522"/>
                <a:gd name="connsiteY33" fmla="*/ 5588772 h 6177659"/>
                <a:gd name="connsiteX34" fmla="*/ 4382946 w 5132522"/>
                <a:gd name="connsiteY34" fmla="*/ 4574791 h 6177659"/>
                <a:gd name="connsiteX35" fmla="*/ 4662995 w 5132522"/>
                <a:gd name="connsiteY35" fmla="*/ 3330617 h 6177659"/>
                <a:gd name="connsiteX36" fmla="*/ 4344179 w 5132522"/>
                <a:gd name="connsiteY36" fmla="*/ 2027325 h 6177659"/>
                <a:gd name="connsiteX37" fmla="*/ 3429000 w 5132522"/>
                <a:gd name="connsiteY37" fmla="*/ 1013460 h 6177659"/>
                <a:gd name="connsiteX38" fmla="*/ 3192780 w 5132522"/>
                <a:gd name="connsiteY38" fmla="*/ 853440 h 6177659"/>
                <a:gd name="connsiteX39" fmla="*/ 2910840 w 5132522"/>
                <a:gd name="connsiteY39" fmla="*/ 739140 h 6177659"/>
                <a:gd name="connsiteX40" fmla="*/ 2514600 w 5132522"/>
                <a:gd name="connsiteY40" fmla="*/ 693420 h 6177659"/>
                <a:gd name="connsiteX41" fmla="*/ 2232660 w 5132522"/>
                <a:gd name="connsiteY41" fmla="*/ 739140 h 6177659"/>
                <a:gd name="connsiteX42" fmla="*/ 1234440 w 5132522"/>
                <a:gd name="connsiteY42" fmla="*/ 1059180 h 6177659"/>
                <a:gd name="connsiteX43" fmla="*/ 960120 w 5132522"/>
                <a:gd name="connsiteY43" fmla="*/ 1165860 h 6177659"/>
                <a:gd name="connsiteX44" fmla="*/ 815340 w 5132522"/>
                <a:gd name="connsiteY44" fmla="*/ 1257300 h 6177659"/>
                <a:gd name="connsiteX45" fmla="*/ 0 w 5132522"/>
                <a:gd name="connsiteY45" fmla="*/ 1234440 h 6177659"/>
                <a:gd name="connsiteX0" fmla="*/ 0 w 5194385"/>
                <a:gd name="connsiteY0" fmla="*/ 1234440 h 6177659"/>
                <a:gd name="connsiteX1" fmla="*/ 213360 w 5194385"/>
                <a:gd name="connsiteY1" fmla="*/ 990600 h 6177659"/>
                <a:gd name="connsiteX2" fmla="*/ 457200 w 5194385"/>
                <a:gd name="connsiteY2" fmla="*/ 792480 h 6177659"/>
                <a:gd name="connsiteX3" fmla="*/ 685800 w 5194385"/>
                <a:gd name="connsiteY3" fmla="*/ 624840 h 6177659"/>
                <a:gd name="connsiteX4" fmla="*/ 929640 w 5194385"/>
                <a:gd name="connsiteY4" fmla="*/ 533400 h 6177659"/>
                <a:gd name="connsiteX5" fmla="*/ 891540 w 5194385"/>
                <a:gd name="connsiteY5" fmla="*/ 426720 h 6177659"/>
                <a:gd name="connsiteX6" fmla="*/ 1074420 w 5194385"/>
                <a:gd name="connsiteY6" fmla="*/ 358140 h 6177659"/>
                <a:gd name="connsiteX7" fmla="*/ 1120140 w 5194385"/>
                <a:gd name="connsiteY7" fmla="*/ 464820 h 6177659"/>
                <a:gd name="connsiteX8" fmla="*/ 1242060 w 5194385"/>
                <a:gd name="connsiteY8" fmla="*/ 434340 h 6177659"/>
                <a:gd name="connsiteX9" fmla="*/ 1272540 w 5194385"/>
                <a:gd name="connsiteY9" fmla="*/ 365760 h 6177659"/>
                <a:gd name="connsiteX10" fmla="*/ 1531620 w 5194385"/>
                <a:gd name="connsiteY10" fmla="*/ 297180 h 6177659"/>
                <a:gd name="connsiteX11" fmla="*/ 1584960 w 5194385"/>
                <a:gd name="connsiteY11" fmla="*/ 327660 h 6177659"/>
                <a:gd name="connsiteX12" fmla="*/ 1714500 w 5194385"/>
                <a:gd name="connsiteY12" fmla="*/ 274320 h 6177659"/>
                <a:gd name="connsiteX13" fmla="*/ 1684020 w 5194385"/>
                <a:gd name="connsiteY13" fmla="*/ 114300 h 6177659"/>
                <a:gd name="connsiteX14" fmla="*/ 2087880 w 5194385"/>
                <a:gd name="connsiteY14" fmla="*/ 0 h 6177659"/>
                <a:gd name="connsiteX15" fmla="*/ 2133600 w 5194385"/>
                <a:gd name="connsiteY15" fmla="*/ 160020 h 6177659"/>
                <a:gd name="connsiteX16" fmla="*/ 2385060 w 5194385"/>
                <a:gd name="connsiteY16" fmla="*/ 106680 h 6177659"/>
                <a:gd name="connsiteX17" fmla="*/ 2644140 w 5194385"/>
                <a:gd name="connsiteY17" fmla="*/ 99060 h 6177659"/>
                <a:gd name="connsiteX18" fmla="*/ 2971800 w 5194385"/>
                <a:gd name="connsiteY18" fmla="*/ 152400 h 6177659"/>
                <a:gd name="connsiteX19" fmla="*/ 3299460 w 5194385"/>
                <a:gd name="connsiteY19" fmla="*/ 251460 h 6177659"/>
                <a:gd name="connsiteX20" fmla="*/ 3665220 w 5194385"/>
                <a:gd name="connsiteY20" fmla="*/ 464820 h 6177659"/>
                <a:gd name="connsiteX21" fmla="*/ 3954780 w 5194385"/>
                <a:gd name="connsiteY21" fmla="*/ 723900 h 6177659"/>
                <a:gd name="connsiteX22" fmla="*/ 4465320 w 5194385"/>
                <a:gd name="connsiteY22" fmla="*/ 1280160 h 6177659"/>
                <a:gd name="connsiteX23" fmla="*/ 4495800 w 5194385"/>
                <a:gd name="connsiteY23" fmla="*/ 1287780 h 6177659"/>
                <a:gd name="connsiteX24" fmla="*/ 4678680 w 5194385"/>
                <a:gd name="connsiteY24" fmla="*/ 1463040 h 6177659"/>
                <a:gd name="connsiteX25" fmla="*/ 4663440 w 5194385"/>
                <a:gd name="connsiteY25" fmla="*/ 1524000 h 6177659"/>
                <a:gd name="connsiteX26" fmla="*/ 4814397 w 5194385"/>
                <a:gd name="connsiteY26" fmla="*/ 1704828 h 6177659"/>
                <a:gd name="connsiteX27" fmla="*/ 5194385 w 5194385"/>
                <a:gd name="connsiteY27" fmla="*/ 3497350 h 6177659"/>
                <a:gd name="connsiteX28" fmla="*/ 5002306 w 5194385"/>
                <a:gd name="connsiteY28" fmla="*/ 4363507 h 6177659"/>
                <a:gd name="connsiteX29" fmla="*/ 5132522 w 5194385"/>
                <a:gd name="connsiteY29" fmla="*/ 4429994 h 6177659"/>
                <a:gd name="connsiteX30" fmla="*/ 5063073 w 5194385"/>
                <a:gd name="connsiteY30" fmla="*/ 4847915 h 6177659"/>
                <a:gd name="connsiteX31" fmla="*/ 4905544 w 5194385"/>
                <a:gd name="connsiteY31" fmla="*/ 4785630 h 6177659"/>
                <a:gd name="connsiteX32" fmla="*/ 3778281 w 5194385"/>
                <a:gd name="connsiteY32" fmla="*/ 6177659 h 6177659"/>
                <a:gd name="connsiteX33" fmla="*/ 3595980 w 5194385"/>
                <a:gd name="connsiteY33" fmla="*/ 5588772 h 6177659"/>
                <a:gd name="connsiteX34" fmla="*/ 4382946 w 5194385"/>
                <a:gd name="connsiteY34" fmla="*/ 4574791 h 6177659"/>
                <a:gd name="connsiteX35" fmla="*/ 4662995 w 5194385"/>
                <a:gd name="connsiteY35" fmla="*/ 3330617 h 6177659"/>
                <a:gd name="connsiteX36" fmla="*/ 4344179 w 5194385"/>
                <a:gd name="connsiteY36" fmla="*/ 2027325 h 6177659"/>
                <a:gd name="connsiteX37" fmla="*/ 3429000 w 5194385"/>
                <a:gd name="connsiteY37" fmla="*/ 1013460 h 6177659"/>
                <a:gd name="connsiteX38" fmla="*/ 3192780 w 5194385"/>
                <a:gd name="connsiteY38" fmla="*/ 853440 h 6177659"/>
                <a:gd name="connsiteX39" fmla="*/ 2910840 w 5194385"/>
                <a:gd name="connsiteY39" fmla="*/ 739140 h 6177659"/>
                <a:gd name="connsiteX40" fmla="*/ 2514600 w 5194385"/>
                <a:gd name="connsiteY40" fmla="*/ 693420 h 6177659"/>
                <a:gd name="connsiteX41" fmla="*/ 2232660 w 5194385"/>
                <a:gd name="connsiteY41" fmla="*/ 739140 h 6177659"/>
                <a:gd name="connsiteX42" fmla="*/ 1234440 w 5194385"/>
                <a:gd name="connsiteY42" fmla="*/ 1059180 h 6177659"/>
                <a:gd name="connsiteX43" fmla="*/ 960120 w 5194385"/>
                <a:gd name="connsiteY43" fmla="*/ 1165860 h 6177659"/>
                <a:gd name="connsiteX44" fmla="*/ 815340 w 5194385"/>
                <a:gd name="connsiteY44" fmla="*/ 1257300 h 6177659"/>
                <a:gd name="connsiteX45" fmla="*/ 0 w 5194385"/>
                <a:gd name="connsiteY45" fmla="*/ 1234440 h 6177659"/>
                <a:gd name="connsiteX0" fmla="*/ 0 w 5222873"/>
                <a:gd name="connsiteY0" fmla="*/ 1234440 h 6177659"/>
                <a:gd name="connsiteX1" fmla="*/ 213360 w 5222873"/>
                <a:gd name="connsiteY1" fmla="*/ 990600 h 6177659"/>
                <a:gd name="connsiteX2" fmla="*/ 457200 w 5222873"/>
                <a:gd name="connsiteY2" fmla="*/ 792480 h 6177659"/>
                <a:gd name="connsiteX3" fmla="*/ 685800 w 5222873"/>
                <a:gd name="connsiteY3" fmla="*/ 624840 h 6177659"/>
                <a:gd name="connsiteX4" fmla="*/ 929640 w 5222873"/>
                <a:gd name="connsiteY4" fmla="*/ 533400 h 6177659"/>
                <a:gd name="connsiteX5" fmla="*/ 891540 w 5222873"/>
                <a:gd name="connsiteY5" fmla="*/ 426720 h 6177659"/>
                <a:gd name="connsiteX6" fmla="*/ 1074420 w 5222873"/>
                <a:gd name="connsiteY6" fmla="*/ 358140 h 6177659"/>
                <a:gd name="connsiteX7" fmla="*/ 1120140 w 5222873"/>
                <a:gd name="connsiteY7" fmla="*/ 464820 h 6177659"/>
                <a:gd name="connsiteX8" fmla="*/ 1242060 w 5222873"/>
                <a:gd name="connsiteY8" fmla="*/ 434340 h 6177659"/>
                <a:gd name="connsiteX9" fmla="*/ 1272540 w 5222873"/>
                <a:gd name="connsiteY9" fmla="*/ 365760 h 6177659"/>
                <a:gd name="connsiteX10" fmla="*/ 1531620 w 5222873"/>
                <a:gd name="connsiteY10" fmla="*/ 297180 h 6177659"/>
                <a:gd name="connsiteX11" fmla="*/ 1584960 w 5222873"/>
                <a:gd name="connsiteY11" fmla="*/ 327660 h 6177659"/>
                <a:gd name="connsiteX12" fmla="*/ 1714500 w 5222873"/>
                <a:gd name="connsiteY12" fmla="*/ 274320 h 6177659"/>
                <a:gd name="connsiteX13" fmla="*/ 1684020 w 5222873"/>
                <a:gd name="connsiteY13" fmla="*/ 114300 h 6177659"/>
                <a:gd name="connsiteX14" fmla="*/ 2087880 w 5222873"/>
                <a:gd name="connsiteY14" fmla="*/ 0 h 6177659"/>
                <a:gd name="connsiteX15" fmla="*/ 2133600 w 5222873"/>
                <a:gd name="connsiteY15" fmla="*/ 160020 h 6177659"/>
                <a:gd name="connsiteX16" fmla="*/ 2385060 w 5222873"/>
                <a:gd name="connsiteY16" fmla="*/ 106680 h 6177659"/>
                <a:gd name="connsiteX17" fmla="*/ 2644140 w 5222873"/>
                <a:gd name="connsiteY17" fmla="*/ 99060 h 6177659"/>
                <a:gd name="connsiteX18" fmla="*/ 2971800 w 5222873"/>
                <a:gd name="connsiteY18" fmla="*/ 152400 h 6177659"/>
                <a:gd name="connsiteX19" fmla="*/ 3299460 w 5222873"/>
                <a:gd name="connsiteY19" fmla="*/ 251460 h 6177659"/>
                <a:gd name="connsiteX20" fmla="*/ 3665220 w 5222873"/>
                <a:gd name="connsiteY20" fmla="*/ 464820 h 6177659"/>
                <a:gd name="connsiteX21" fmla="*/ 3954780 w 5222873"/>
                <a:gd name="connsiteY21" fmla="*/ 723900 h 6177659"/>
                <a:gd name="connsiteX22" fmla="*/ 4465320 w 5222873"/>
                <a:gd name="connsiteY22" fmla="*/ 1280160 h 6177659"/>
                <a:gd name="connsiteX23" fmla="*/ 4495800 w 5222873"/>
                <a:gd name="connsiteY23" fmla="*/ 1287780 h 6177659"/>
                <a:gd name="connsiteX24" fmla="*/ 4678680 w 5222873"/>
                <a:gd name="connsiteY24" fmla="*/ 1463040 h 6177659"/>
                <a:gd name="connsiteX25" fmla="*/ 4663440 w 5222873"/>
                <a:gd name="connsiteY25" fmla="*/ 1524000 h 6177659"/>
                <a:gd name="connsiteX26" fmla="*/ 4814397 w 5222873"/>
                <a:gd name="connsiteY26" fmla="*/ 1704828 h 6177659"/>
                <a:gd name="connsiteX27" fmla="*/ 5194385 w 5222873"/>
                <a:gd name="connsiteY27" fmla="*/ 3497350 h 6177659"/>
                <a:gd name="connsiteX28" fmla="*/ 5002306 w 5222873"/>
                <a:gd name="connsiteY28" fmla="*/ 4363507 h 6177659"/>
                <a:gd name="connsiteX29" fmla="*/ 5132522 w 5222873"/>
                <a:gd name="connsiteY29" fmla="*/ 4429994 h 6177659"/>
                <a:gd name="connsiteX30" fmla="*/ 5063073 w 5222873"/>
                <a:gd name="connsiteY30" fmla="*/ 4847915 h 6177659"/>
                <a:gd name="connsiteX31" fmla="*/ 4905544 w 5222873"/>
                <a:gd name="connsiteY31" fmla="*/ 4785630 h 6177659"/>
                <a:gd name="connsiteX32" fmla="*/ 3778281 w 5222873"/>
                <a:gd name="connsiteY32" fmla="*/ 6177659 h 6177659"/>
                <a:gd name="connsiteX33" fmla="*/ 3595980 w 5222873"/>
                <a:gd name="connsiteY33" fmla="*/ 5588772 h 6177659"/>
                <a:gd name="connsiteX34" fmla="*/ 4382946 w 5222873"/>
                <a:gd name="connsiteY34" fmla="*/ 4574791 h 6177659"/>
                <a:gd name="connsiteX35" fmla="*/ 4662995 w 5222873"/>
                <a:gd name="connsiteY35" fmla="*/ 3330617 h 6177659"/>
                <a:gd name="connsiteX36" fmla="*/ 4344179 w 5222873"/>
                <a:gd name="connsiteY36" fmla="*/ 2027325 h 6177659"/>
                <a:gd name="connsiteX37" fmla="*/ 3429000 w 5222873"/>
                <a:gd name="connsiteY37" fmla="*/ 1013460 h 6177659"/>
                <a:gd name="connsiteX38" fmla="*/ 3192780 w 5222873"/>
                <a:gd name="connsiteY38" fmla="*/ 853440 h 6177659"/>
                <a:gd name="connsiteX39" fmla="*/ 2910840 w 5222873"/>
                <a:gd name="connsiteY39" fmla="*/ 739140 h 6177659"/>
                <a:gd name="connsiteX40" fmla="*/ 2514600 w 5222873"/>
                <a:gd name="connsiteY40" fmla="*/ 693420 h 6177659"/>
                <a:gd name="connsiteX41" fmla="*/ 2232660 w 5222873"/>
                <a:gd name="connsiteY41" fmla="*/ 739140 h 6177659"/>
                <a:gd name="connsiteX42" fmla="*/ 1234440 w 5222873"/>
                <a:gd name="connsiteY42" fmla="*/ 1059180 h 6177659"/>
                <a:gd name="connsiteX43" fmla="*/ 960120 w 5222873"/>
                <a:gd name="connsiteY43" fmla="*/ 1165860 h 6177659"/>
                <a:gd name="connsiteX44" fmla="*/ 815340 w 5222873"/>
                <a:gd name="connsiteY44" fmla="*/ 1257300 h 6177659"/>
                <a:gd name="connsiteX45" fmla="*/ 0 w 5222873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65320 w 5236526"/>
                <a:gd name="connsiteY22" fmla="*/ 1280160 h 6177659"/>
                <a:gd name="connsiteX23" fmla="*/ 4495800 w 5236526"/>
                <a:gd name="connsiteY23" fmla="*/ 1287780 h 6177659"/>
                <a:gd name="connsiteX24" fmla="*/ 4678680 w 5236526"/>
                <a:gd name="connsiteY24" fmla="*/ 1463040 h 6177659"/>
                <a:gd name="connsiteX25" fmla="*/ 4663440 w 5236526"/>
                <a:gd name="connsiteY25" fmla="*/ 1524000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65320 w 5236526"/>
                <a:gd name="connsiteY22" fmla="*/ 1280160 h 6177659"/>
                <a:gd name="connsiteX23" fmla="*/ 4495800 w 5236526"/>
                <a:gd name="connsiteY23" fmla="*/ 1287780 h 6177659"/>
                <a:gd name="connsiteX24" fmla="*/ 4678680 w 5236526"/>
                <a:gd name="connsiteY24" fmla="*/ 1463040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65320 w 5236526"/>
                <a:gd name="connsiteY22" fmla="*/ 1280160 h 6177659"/>
                <a:gd name="connsiteX23" fmla="*/ 4495800 w 5236526"/>
                <a:gd name="connsiteY23" fmla="*/ 1287780 h 6177659"/>
                <a:gd name="connsiteX24" fmla="*/ 4652910 w 5236526"/>
                <a:gd name="connsiteY24" fmla="*/ 1457499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26665 w 5236526"/>
                <a:gd name="connsiteY22" fmla="*/ 1269080 h 6177659"/>
                <a:gd name="connsiteX23" fmla="*/ 4495800 w 5236526"/>
                <a:gd name="connsiteY23" fmla="*/ 1287780 h 6177659"/>
                <a:gd name="connsiteX24" fmla="*/ 4652910 w 5236526"/>
                <a:gd name="connsiteY24" fmla="*/ 1457499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26665 w 5236526"/>
                <a:gd name="connsiteY22" fmla="*/ 1269080 h 6177659"/>
                <a:gd name="connsiteX23" fmla="*/ 4488069 w 5236526"/>
                <a:gd name="connsiteY23" fmla="*/ 1276698 h 6177659"/>
                <a:gd name="connsiteX24" fmla="*/ 4652910 w 5236526"/>
                <a:gd name="connsiteY24" fmla="*/ 1457499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34982 h 6177659"/>
                <a:gd name="connsiteX22" fmla="*/ 4426665 w 5236526"/>
                <a:gd name="connsiteY22" fmla="*/ 1269080 h 6177659"/>
                <a:gd name="connsiteX23" fmla="*/ 4488069 w 5236526"/>
                <a:gd name="connsiteY23" fmla="*/ 1276698 h 6177659"/>
                <a:gd name="connsiteX24" fmla="*/ 4652910 w 5236526"/>
                <a:gd name="connsiteY24" fmla="*/ 1457499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4426665 w 5236526"/>
                <a:gd name="connsiteY21" fmla="*/ 1269080 h 6177659"/>
                <a:gd name="connsiteX22" fmla="*/ 4488069 w 5236526"/>
                <a:gd name="connsiteY22" fmla="*/ 1276698 h 6177659"/>
                <a:gd name="connsiteX23" fmla="*/ 4652910 w 5236526"/>
                <a:gd name="connsiteY23" fmla="*/ 1457499 h 6177659"/>
                <a:gd name="connsiteX24" fmla="*/ 4653133 w 5236526"/>
                <a:gd name="connsiteY24" fmla="*/ 1512918 h 6177659"/>
                <a:gd name="connsiteX25" fmla="*/ 4814397 w 5236526"/>
                <a:gd name="connsiteY25" fmla="*/ 1704828 h 6177659"/>
                <a:gd name="connsiteX26" fmla="*/ 5194385 w 5236526"/>
                <a:gd name="connsiteY26" fmla="*/ 3497350 h 6177659"/>
                <a:gd name="connsiteX27" fmla="*/ 5002306 w 5236526"/>
                <a:gd name="connsiteY27" fmla="*/ 4363507 h 6177659"/>
                <a:gd name="connsiteX28" fmla="*/ 5132522 w 5236526"/>
                <a:gd name="connsiteY28" fmla="*/ 4429994 h 6177659"/>
                <a:gd name="connsiteX29" fmla="*/ 5063073 w 5236526"/>
                <a:gd name="connsiteY29" fmla="*/ 4847915 h 6177659"/>
                <a:gd name="connsiteX30" fmla="*/ 4905544 w 5236526"/>
                <a:gd name="connsiteY30" fmla="*/ 4785630 h 6177659"/>
                <a:gd name="connsiteX31" fmla="*/ 3778281 w 5236526"/>
                <a:gd name="connsiteY31" fmla="*/ 6177659 h 6177659"/>
                <a:gd name="connsiteX32" fmla="*/ 3595980 w 5236526"/>
                <a:gd name="connsiteY32" fmla="*/ 5588772 h 6177659"/>
                <a:gd name="connsiteX33" fmla="*/ 4382946 w 5236526"/>
                <a:gd name="connsiteY33" fmla="*/ 4574791 h 6177659"/>
                <a:gd name="connsiteX34" fmla="*/ 4662995 w 5236526"/>
                <a:gd name="connsiteY34" fmla="*/ 3330617 h 6177659"/>
                <a:gd name="connsiteX35" fmla="*/ 4344179 w 5236526"/>
                <a:gd name="connsiteY35" fmla="*/ 2027325 h 6177659"/>
                <a:gd name="connsiteX36" fmla="*/ 3429000 w 5236526"/>
                <a:gd name="connsiteY36" fmla="*/ 1013460 h 6177659"/>
                <a:gd name="connsiteX37" fmla="*/ 3192780 w 5236526"/>
                <a:gd name="connsiteY37" fmla="*/ 853440 h 6177659"/>
                <a:gd name="connsiteX38" fmla="*/ 2910840 w 5236526"/>
                <a:gd name="connsiteY38" fmla="*/ 739140 h 6177659"/>
                <a:gd name="connsiteX39" fmla="*/ 2514600 w 5236526"/>
                <a:gd name="connsiteY39" fmla="*/ 693420 h 6177659"/>
                <a:gd name="connsiteX40" fmla="*/ 2232660 w 5236526"/>
                <a:gd name="connsiteY40" fmla="*/ 739140 h 6177659"/>
                <a:gd name="connsiteX41" fmla="*/ 1234440 w 5236526"/>
                <a:gd name="connsiteY41" fmla="*/ 1059180 h 6177659"/>
                <a:gd name="connsiteX42" fmla="*/ 960120 w 5236526"/>
                <a:gd name="connsiteY42" fmla="*/ 1165860 h 6177659"/>
                <a:gd name="connsiteX43" fmla="*/ 815340 w 5236526"/>
                <a:gd name="connsiteY43" fmla="*/ 1257300 h 6177659"/>
                <a:gd name="connsiteX44" fmla="*/ 0 w 5236526"/>
                <a:gd name="connsiteY44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830149 w 5236526"/>
                <a:gd name="connsiteY20" fmla="*/ 619955 h 6177659"/>
                <a:gd name="connsiteX21" fmla="*/ 4426665 w 5236526"/>
                <a:gd name="connsiteY21" fmla="*/ 1269080 h 6177659"/>
                <a:gd name="connsiteX22" fmla="*/ 4488069 w 5236526"/>
                <a:gd name="connsiteY22" fmla="*/ 1276698 h 6177659"/>
                <a:gd name="connsiteX23" fmla="*/ 4652910 w 5236526"/>
                <a:gd name="connsiteY23" fmla="*/ 1457499 h 6177659"/>
                <a:gd name="connsiteX24" fmla="*/ 4653133 w 5236526"/>
                <a:gd name="connsiteY24" fmla="*/ 1512918 h 6177659"/>
                <a:gd name="connsiteX25" fmla="*/ 4814397 w 5236526"/>
                <a:gd name="connsiteY25" fmla="*/ 1704828 h 6177659"/>
                <a:gd name="connsiteX26" fmla="*/ 5194385 w 5236526"/>
                <a:gd name="connsiteY26" fmla="*/ 3497350 h 6177659"/>
                <a:gd name="connsiteX27" fmla="*/ 5002306 w 5236526"/>
                <a:gd name="connsiteY27" fmla="*/ 4363507 h 6177659"/>
                <a:gd name="connsiteX28" fmla="*/ 5132522 w 5236526"/>
                <a:gd name="connsiteY28" fmla="*/ 4429994 h 6177659"/>
                <a:gd name="connsiteX29" fmla="*/ 5063073 w 5236526"/>
                <a:gd name="connsiteY29" fmla="*/ 4847915 h 6177659"/>
                <a:gd name="connsiteX30" fmla="*/ 4905544 w 5236526"/>
                <a:gd name="connsiteY30" fmla="*/ 4785630 h 6177659"/>
                <a:gd name="connsiteX31" fmla="*/ 3778281 w 5236526"/>
                <a:gd name="connsiteY31" fmla="*/ 6177659 h 6177659"/>
                <a:gd name="connsiteX32" fmla="*/ 3595980 w 5236526"/>
                <a:gd name="connsiteY32" fmla="*/ 5588772 h 6177659"/>
                <a:gd name="connsiteX33" fmla="*/ 4382946 w 5236526"/>
                <a:gd name="connsiteY33" fmla="*/ 4574791 h 6177659"/>
                <a:gd name="connsiteX34" fmla="*/ 4662995 w 5236526"/>
                <a:gd name="connsiteY34" fmla="*/ 3330617 h 6177659"/>
                <a:gd name="connsiteX35" fmla="*/ 4344179 w 5236526"/>
                <a:gd name="connsiteY35" fmla="*/ 2027325 h 6177659"/>
                <a:gd name="connsiteX36" fmla="*/ 3429000 w 5236526"/>
                <a:gd name="connsiteY36" fmla="*/ 1013460 h 6177659"/>
                <a:gd name="connsiteX37" fmla="*/ 3192780 w 5236526"/>
                <a:gd name="connsiteY37" fmla="*/ 853440 h 6177659"/>
                <a:gd name="connsiteX38" fmla="*/ 2910840 w 5236526"/>
                <a:gd name="connsiteY38" fmla="*/ 739140 h 6177659"/>
                <a:gd name="connsiteX39" fmla="*/ 2514600 w 5236526"/>
                <a:gd name="connsiteY39" fmla="*/ 693420 h 6177659"/>
                <a:gd name="connsiteX40" fmla="*/ 2232660 w 5236526"/>
                <a:gd name="connsiteY40" fmla="*/ 739140 h 6177659"/>
                <a:gd name="connsiteX41" fmla="*/ 1234440 w 5236526"/>
                <a:gd name="connsiteY41" fmla="*/ 1059180 h 6177659"/>
                <a:gd name="connsiteX42" fmla="*/ 960120 w 5236526"/>
                <a:gd name="connsiteY42" fmla="*/ 1165860 h 6177659"/>
                <a:gd name="connsiteX43" fmla="*/ 815340 w 5236526"/>
                <a:gd name="connsiteY43" fmla="*/ 1257300 h 6177659"/>
                <a:gd name="connsiteX44" fmla="*/ 0 w 5236526"/>
                <a:gd name="connsiteY44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876535 w 5236526"/>
                <a:gd name="connsiteY20" fmla="*/ 658738 h 6177659"/>
                <a:gd name="connsiteX21" fmla="*/ 4426665 w 5236526"/>
                <a:gd name="connsiteY21" fmla="*/ 1269080 h 6177659"/>
                <a:gd name="connsiteX22" fmla="*/ 4488069 w 5236526"/>
                <a:gd name="connsiteY22" fmla="*/ 1276698 h 6177659"/>
                <a:gd name="connsiteX23" fmla="*/ 4652910 w 5236526"/>
                <a:gd name="connsiteY23" fmla="*/ 1457499 h 6177659"/>
                <a:gd name="connsiteX24" fmla="*/ 4653133 w 5236526"/>
                <a:gd name="connsiteY24" fmla="*/ 1512918 h 6177659"/>
                <a:gd name="connsiteX25" fmla="*/ 4814397 w 5236526"/>
                <a:gd name="connsiteY25" fmla="*/ 1704828 h 6177659"/>
                <a:gd name="connsiteX26" fmla="*/ 5194385 w 5236526"/>
                <a:gd name="connsiteY26" fmla="*/ 3497350 h 6177659"/>
                <a:gd name="connsiteX27" fmla="*/ 5002306 w 5236526"/>
                <a:gd name="connsiteY27" fmla="*/ 4363507 h 6177659"/>
                <a:gd name="connsiteX28" fmla="*/ 5132522 w 5236526"/>
                <a:gd name="connsiteY28" fmla="*/ 4429994 h 6177659"/>
                <a:gd name="connsiteX29" fmla="*/ 5063073 w 5236526"/>
                <a:gd name="connsiteY29" fmla="*/ 4847915 h 6177659"/>
                <a:gd name="connsiteX30" fmla="*/ 4905544 w 5236526"/>
                <a:gd name="connsiteY30" fmla="*/ 4785630 h 6177659"/>
                <a:gd name="connsiteX31" fmla="*/ 3778281 w 5236526"/>
                <a:gd name="connsiteY31" fmla="*/ 6177659 h 6177659"/>
                <a:gd name="connsiteX32" fmla="*/ 3595980 w 5236526"/>
                <a:gd name="connsiteY32" fmla="*/ 5588772 h 6177659"/>
                <a:gd name="connsiteX33" fmla="*/ 4382946 w 5236526"/>
                <a:gd name="connsiteY33" fmla="*/ 4574791 h 6177659"/>
                <a:gd name="connsiteX34" fmla="*/ 4662995 w 5236526"/>
                <a:gd name="connsiteY34" fmla="*/ 3330617 h 6177659"/>
                <a:gd name="connsiteX35" fmla="*/ 4344179 w 5236526"/>
                <a:gd name="connsiteY35" fmla="*/ 2027325 h 6177659"/>
                <a:gd name="connsiteX36" fmla="*/ 3429000 w 5236526"/>
                <a:gd name="connsiteY36" fmla="*/ 1013460 h 6177659"/>
                <a:gd name="connsiteX37" fmla="*/ 3192780 w 5236526"/>
                <a:gd name="connsiteY37" fmla="*/ 853440 h 6177659"/>
                <a:gd name="connsiteX38" fmla="*/ 2910840 w 5236526"/>
                <a:gd name="connsiteY38" fmla="*/ 739140 h 6177659"/>
                <a:gd name="connsiteX39" fmla="*/ 2514600 w 5236526"/>
                <a:gd name="connsiteY39" fmla="*/ 693420 h 6177659"/>
                <a:gd name="connsiteX40" fmla="*/ 2232660 w 5236526"/>
                <a:gd name="connsiteY40" fmla="*/ 739140 h 6177659"/>
                <a:gd name="connsiteX41" fmla="*/ 1234440 w 5236526"/>
                <a:gd name="connsiteY41" fmla="*/ 1059180 h 6177659"/>
                <a:gd name="connsiteX42" fmla="*/ 960120 w 5236526"/>
                <a:gd name="connsiteY42" fmla="*/ 1165860 h 6177659"/>
                <a:gd name="connsiteX43" fmla="*/ 815340 w 5236526"/>
                <a:gd name="connsiteY43" fmla="*/ 1257300 h 6177659"/>
                <a:gd name="connsiteX44" fmla="*/ 0 w 5236526"/>
                <a:gd name="connsiteY44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876535 w 5236526"/>
                <a:gd name="connsiteY19" fmla="*/ 658738 h 6177659"/>
                <a:gd name="connsiteX20" fmla="*/ 4426665 w 5236526"/>
                <a:gd name="connsiteY20" fmla="*/ 1269080 h 6177659"/>
                <a:gd name="connsiteX21" fmla="*/ 4488069 w 5236526"/>
                <a:gd name="connsiteY21" fmla="*/ 1276698 h 6177659"/>
                <a:gd name="connsiteX22" fmla="*/ 4652910 w 5236526"/>
                <a:gd name="connsiteY22" fmla="*/ 1457499 h 6177659"/>
                <a:gd name="connsiteX23" fmla="*/ 4653133 w 5236526"/>
                <a:gd name="connsiteY23" fmla="*/ 1512918 h 6177659"/>
                <a:gd name="connsiteX24" fmla="*/ 4814397 w 5236526"/>
                <a:gd name="connsiteY24" fmla="*/ 1704828 h 6177659"/>
                <a:gd name="connsiteX25" fmla="*/ 5194385 w 5236526"/>
                <a:gd name="connsiteY25" fmla="*/ 3497350 h 6177659"/>
                <a:gd name="connsiteX26" fmla="*/ 5002306 w 5236526"/>
                <a:gd name="connsiteY26" fmla="*/ 4363507 h 6177659"/>
                <a:gd name="connsiteX27" fmla="*/ 5132522 w 5236526"/>
                <a:gd name="connsiteY27" fmla="*/ 4429994 h 6177659"/>
                <a:gd name="connsiteX28" fmla="*/ 5063073 w 5236526"/>
                <a:gd name="connsiteY28" fmla="*/ 4847915 h 6177659"/>
                <a:gd name="connsiteX29" fmla="*/ 4905544 w 5236526"/>
                <a:gd name="connsiteY29" fmla="*/ 4785630 h 6177659"/>
                <a:gd name="connsiteX30" fmla="*/ 3778281 w 5236526"/>
                <a:gd name="connsiteY30" fmla="*/ 6177659 h 6177659"/>
                <a:gd name="connsiteX31" fmla="*/ 3595980 w 5236526"/>
                <a:gd name="connsiteY31" fmla="*/ 5588772 h 6177659"/>
                <a:gd name="connsiteX32" fmla="*/ 4382946 w 5236526"/>
                <a:gd name="connsiteY32" fmla="*/ 4574791 h 6177659"/>
                <a:gd name="connsiteX33" fmla="*/ 4662995 w 5236526"/>
                <a:gd name="connsiteY33" fmla="*/ 3330617 h 6177659"/>
                <a:gd name="connsiteX34" fmla="*/ 4344179 w 5236526"/>
                <a:gd name="connsiteY34" fmla="*/ 2027325 h 6177659"/>
                <a:gd name="connsiteX35" fmla="*/ 3429000 w 5236526"/>
                <a:gd name="connsiteY35" fmla="*/ 1013460 h 6177659"/>
                <a:gd name="connsiteX36" fmla="*/ 3192780 w 5236526"/>
                <a:gd name="connsiteY36" fmla="*/ 853440 h 6177659"/>
                <a:gd name="connsiteX37" fmla="*/ 2910840 w 5236526"/>
                <a:gd name="connsiteY37" fmla="*/ 739140 h 6177659"/>
                <a:gd name="connsiteX38" fmla="*/ 2514600 w 5236526"/>
                <a:gd name="connsiteY38" fmla="*/ 693420 h 6177659"/>
                <a:gd name="connsiteX39" fmla="*/ 2232660 w 5236526"/>
                <a:gd name="connsiteY39" fmla="*/ 739140 h 6177659"/>
                <a:gd name="connsiteX40" fmla="*/ 1234440 w 5236526"/>
                <a:gd name="connsiteY40" fmla="*/ 1059180 h 6177659"/>
                <a:gd name="connsiteX41" fmla="*/ 960120 w 5236526"/>
                <a:gd name="connsiteY41" fmla="*/ 1165860 h 6177659"/>
                <a:gd name="connsiteX42" fmla="*/ 815340 w 5236526"/>
                <a:gd name="connsiteY42" fmla="*/ 1257300 h 6177659"/>
                <a:gd name="connsiteX43" fmla="*/ 0 w 5236526"/>
                <a:gd name="connsiteY43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3876535 w 5236526"/>
                <a:gd name="connsiteY18" fmla="*/ 658738 h 6177659"/>
                <a:gd name="connsiteX19" fmla="*/ 4426665 w 5236526"/>
                <a:gd name="connsiteY19" fmla="*/ 1269080 h 6177659"/>
                <a:gd name="connsiteX20" fmla="*/ 4488069 w 5236526"/>
                <a:gd name="connsiteY20" fmla="*/ 1276698 h 6177659"/>
                <a:gd name="connsiteX21" fmla="*/ 4652910 w 5236526"/>
                <a:gd name="connsiteY21" fmla="*/ 1457499 h 6177659"/>
                <a:gd name="connsiteX22" fmla="*/ 4653133 w 5236526"/>
                <a:gd name="connsiteY22" fmla="*/ 1512918 h 6177659"/>
                <a:gd name="connsiteX23" fmla="*/ 4814397 w 5236526"/>
                <a:gd name="connsiteY23" fmla="*/ 1704828 h 6177659"/>
                <a:gd name="connsiteX24" fmla="*/ 5194385 w 5236526"/>
                <a:gd name="connsiteY24" fmla="*/ 3497350 h 6177659"/>
                <a:gd name="connsiteX25" fmla="*/ 5002306 w 5236526"/>
                <a:gd name="connsiteY25" fmla="*/ 4363507 h 6177659"/>
                <a:gd name="connsiteX26" fmla="*/ 5132522 w 5236526"/>
                <a:gd name="connsiteY26" fmla="*/ 4429994 h 6177659"/>
                <a:gd name="connsiteX27" fmla="*/ 5063073 w 5236526"/>
                <a:gd name="connsiteY27" fmla="*/ 4847915 h 6177659"/>
                <a:gd name="connsiteX28" fmla="*/ 4905544 w 5236526"/>
                <a:gd name="connsiteY28" fmla="*/ 4785630 h 6177659"/>
                <a:gd name="connsiteX29" fmla="*/ 3778281 w 5236526"/>
                <a:gd name="connsiteY29" fmla="*/ 6177659 h 6177659"/>
                <a:gd name="connsiteX30" fmla="*/ 3595980 w 5236526"/>
                <a:gd name="connsiteY30" fmla="*/ 5588772 h 6177659"/>
                <a:gd name="connsiteX31" fmla="*/ 4382946 w 5236526"/>
                <a:gd name="connsiteY31" fmla="*/ 4574791 h 6177659"/>
                <a:gd name="connsiteX32" fmla="*/ 4662995 w 5236526"/>
                <a:gd name="connsiteY32" fmla="*/ 3330617 h 6177659"/>
                <a:gd name="connsiteX33" fmla="*/ 4344179 w 5236526"/>
                <a:gd name="connsiteY33" fmla="*/ 2027325 h 6177659"/>
                <a:gd name="connsiteX34" fmla="*/ 3429000 w 5236526"/>
                <a:gd name="connsiteY34" fmla="*/ 1013460 h 6177659"/>
                <a:gd name="connsiteX35" fmla="*/ 3192780 w 5236526"/>
                <a:gd name="connsiteY35" fmla="*/ 853440 h 6177659"/>
                <a:gd name="connsiteX36" fmla="*/ 2910840 w 5236526"/>
                <a:gd name="connsiteY36" fmla="*/ 739140 h 6177659"/>
                <a:gd name="connsiteX37" fmla="*/ 2514600 w 5236526"/>
                <a:gd name="connsiteY37" fmla="*/ 693420 h 6177659"/>
                <a:gd name="connsiteX38" fmla="*/ 2232660 w 5236526"/>
                <a:gd name="connsiteY38" fmla="*/ 739140 h 6177659"/>
                <a:gd name="connsiteX39" fmla="*/ 1234440 w 5236526"/>
                <a:gd name="connsiteY39" fmla="*/ 1059180 h 6177659"/>
                <a:gd name="connsiteX40" fmla="*/ 960120 w 5236526"/>
                <a:gd name="connsiteY40" fmla="*/ 1165860 h 6177659"/>
                <a:gd name="connsiteX41" fmla="*/ 815340 w 5236526"/>
                <a:gd name="connsiteY41" fmla="*/ 1257300 h 6177659"/>
                <a:gd name="connsiteX42" fmla="*/ 0 w 5236526"/>
                <a:gd name="connsiteY42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3876535 w 5236526"/>
                <a:gd name="connsiteY17" fmla="*/ 658738 h 6177659"/>
                <a:gd name="connsiteX18" fmla="*/ 4426665 w 5236526"/>
                <a:gd name="connsiteY18" fmla="*/ 1269080 h 6177659"/>
                <a:gd name="connsiteX19" fmla="*/ 4488069 w 5236526"/>
                <a:gd name="connsiteY19" fmla="*/ 1276698 h 6177659"/>
                <a:gd name="connsiteX20" fmla="*/ 4652910 w 5236526"/>
                <a:gd name="connsiteY20" fmla="*/ 1457499 h 6177659"/>
                <a:gd name="connsiteX21" fmla="*/ 4653133 w 5236526"/>
                <a:gd name="connsiteY21" fmla="*/ 1512918 h 6177659"/>
                <a:gd name="connsiteX22" fmla="*/ 4814397 w 5236526"/>
                <a:gd name="connsiteY22" fmla="*/ 1704828 h 6177659"/>
                <a:gd name="connsiteX23" fmla="*/ 5194385 w 5236526"/>
                <a:gd name="connsiteY23" fmla="*/ 3497350 h 6177659"/>
                <a:gd name="connsiteX24" fmla="*/ 5002306 w 5236526"/>
                <a:gd name="connsiteY24" fmla="*/ 4363507 h 6177659"/>
                <a:gd name="connsiteX25" fmla="*/ 5132522 w 5236526"/>
                <a:gd name="connsiteY25" fmla="*/ 4429994 h 6177659"/>
                <a:gd name="connsiteX26" fmla="*/ 5063073 w 5236526"/>
                <a:gd name="connsiteY26" fmla="*/ 4847915 h 6177659"/>
                <a:gd name="connsiteX27" fmla="*/ 4905544 w 5236526"/>
                <a:gd name="connsiteY27" fmla="*/ 4785630 h 6177659"/>
                <a:gd name="connsiteX28" fmla="*/ 3778281 w 5236526"/>
                <a:gd name="connsiteY28" fmla="*/ 6177659 h 6177659"/>
                <a:gd name="connsiteX29" fmla="*/ 3595980 w 5236526"/>
                <a:gd name="connsiteY29" fmla="*/ 5588772 h 6177659"/>
                <a:gd name="connsiteX30" fmla="*/ 4382946 w 5236526"/>
                <a:gd name="connsiteY30" fmla="*/ 4574791 h 6177659"/>
                <a:gd name="connsiteX31" fmla="*/ 4662995 w 5236526"/>
                <a:gd name="connsiteY31" fmla="*/ 3330617 h 6177659"/>
                <a:gd name="connsiteX32" fmla="*/ 4344179 w 5236526"/>
                <a:gd name="connsiteY32" fmla="*/ 2027325 h 6177659"/>
                <a:gd name="connsiteX33" fmla="*/ 3429000 w 5236526"/>
                <a:gd name="connsiteY33" fmla="*/ 1013460 h 6177659"/>
                <a:gd name="connsiteX34" fmla="*/ 3192780 w 5236526"/>
                <a:gd name="connsiteY34" fmla="*/ 853440 h 6177659"/>
                <a:gd name="connsiteX35" fmla="*/ 2910840 w 5236526"/>
                <a:gd name="connsiteY35" fmla="*/ 739140 h 6177659"/>
                <a:gd name="connsiteX36" fmla="*/ 2514600 w 5236526"/>
                <a:gd name="connsiteY36" fmla="*/ 693420 h 6177659"/>
                <a:gd name="connsiteX37" fmla="*/ 2232660 w 5236526"/>
                <a:gd name="connsiteY37" fmla="*/ 739140 h 6177659"/>
                <a:gd name="connsiteX38" fmla="*/ 1234440 w 5236526"/>
                <a:gd name="connsiteY38" fmla="*/ 1059180 h 6177659"/>
                <a:gd name="connsiteX39" fmla="*/ 960120 w 5236526"/>
                <a:gd name="connsiteY39" fmla="*/ 1165860 h 6177659"/>
                <a:gd name="connsiteX40" fmla="*/ 815340 w 5236526"/>
                <a:gd name="connsiteY40" fmla="*/ 1257300 h 6177659"/>
                <a:gd name="connsiteX41" fmla="*/ 0 w 5236526"/>
                <a:gd name="connsiteY41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62501 w 5236526"/>
                <a:gd name="connsiteY32" fmla="*/ 1085487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62501 w 5236526"/>
                <a:gd name="connsiteY32" fmla="*/ 1085487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910840 w 5236526"/>
                <a:gd name="connsiteY33" fmla="*/ 739140 h 6177659"/>
                <a:gd name="connsiteX34" fmla="*/ 2514600 w 5236526"/>
                <a:gd name="connsiteY34" fmla="*/ 693420 h 6177659"/>
                <a:gd name="connsiteX35" fmla="*/ 2232660 w 5236526"/>
                <a:gd name="connsiteY35" fmla="*/ 739140 h 6177659"/>
                <a:gd name="connsiteX36" fmla="*/ 1234440 w 5236526"/>
                <a:gd name="connsiteY36" fmla="*/ 1059180 h 6177659"/>
                <a:gd name="connsiteX37" fmla="*/ 960120 w 5236526"/>
                <a:gd name="connsiteY37" fmla="*/ 1165860 h 6177659"/>
                <a:gd name="connsiteX38" fmla="*/ 815340 w 5236526"/>
                <a:gd name="connsiteY38" fmla="*/ 1257300 h 6177659"/>
                <a:gd name="connsiteX39" fmla="*/ 0 w 5236526"/>
                <a:gd name="connsiteY39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514600 w 5236526"/>
                <a:gd name="connsiteY33" fmla="*/ 693420 h 6177659"/>
                <a:gd name="connsiteX34" fmla="*/ 2232660 w 5236526"/>
                <a:gd name="connsiteY34" fmla="*/ 739140 h 6177659"/>
                <a:gd name="connsiteX35" fmla="*/ 1234440 w 5236526"/>
                <a:gd name="connsiteY35" fmla="*/ 1059180 h 6177659"/>
                <a:gd name="connsiteX36" fmla="*/ 960120 w 5236526"/>
                <a:gd name="connsiteY36" fmla="*/ 1165860 h 6177659"/>
                <a:gd name="connsiteX37" fmla="*/ 815340 w 5236526"/>
                <a:gd name="connsiteY37" fmla="*/ 1257300 h 6177659"/>
                <a:gd name="connsiteX38" fmla="*/ 0 w 5236526"/>
                <a:gd name="connsiteY38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232660 w 5236526"/>
                <a:gd name="connsiteY33" fmla="*/ 739140 h 6177659"/>
                <a:gd name="connsiteX34" fmla="*/ 1234440 w 5236526"/>
                <a:gd name="connsiteY34" fmla="*/ 1059180 h 6177659"/>
                <a:gd name="connsiteX35" fmla="*/ 960120 w 5236526"/>
                <a:gd name="connsiteY35" fmla="*/ 1165860 h 6177659"/>
                <a:gd name="connsiteX36" fmla="*/ 815340 w 5236526"/>
                <a:gd name="connsiteY36" fmla="*/ 1257300 h 6177659"/>
                <a:gd name="connsiteX37" fmla="*/ 0 w 5236526"/>
                <a:gd name="connsiteY37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232660 w 5236526"/>
                <a:gd name="connsiteY33" fmla="*/ 739140 h 6177659"/>
                <a:gd name="connsiteX34" fmla="*/ 1234440 w 5236526"/>
                <a:gd name="connsiteY34" fmla="*/ 1059180 h 6177659"/>
                <a:gd name="connsiteX35" fmla="*/ 960120 w 5236526"/>
                <a:gd name="connsiteY35" fmla="*/ 1165860 h 6177659"/>
                <a:gd name="connsiteX36" fmla="*/ 815340 w 5236526"/>
                <a:gd name="connsiteY36" fmla="*/ 1257300 h 6177659"/>
                <a:gd name="connsiteX37" fmla="*/ 0 w 5236526"/>
                <a:gd name="connsiteY37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232660 w 5236526"/>
                <a:gd name="connsiteY33" fmla="*/ 739140 h 6177659"/>
                <a:gd name="connsiteX34" fmla="*/ 1234440 w 5236526"/>
                <a:gd name="connsiteY34" fmla="*/ 1059180 h 6177659"/>
                <a:gd name="connsiteX35" fmla="*/ 960120 w 5236526"/>
                <a:gd name="connsiteY35" fmla="*/ 1165860 h 6177659"/>
                <a:gd name="connsiteX36" fmla="*/ 815340 w 5236526"/>
                <a:gd name="connsiteY36" fmla="*/ 1257300 h 6177659"/>
                <a:gd name="connsiteX37" fmla="*/ 0 w 5236526"/>
                <a:gd name="connsiteY37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232660 w 5236526"/>
                <a:gd name="connsiteY33" fmla="*/ 739140 h 6177659"/>
                <a:gd name="connsiteX34" fmla="*/ 1234440 w 5236526"/>
                <a:gd name="connsiteY34" fmla="*/ 1059180 h 6177659"/>
                <a:gd name="connsiteX35" fmla="*/ 960120 w 5236526"/>
                <a:gd name="connsiteY35" fmla="*/ 1165860 h 6177659"/>
                <a:gd name="connsiteX36" fmla="*/ 815340 w 5236526"/>
                <a:gd name="connsiteY36" fmla="*/ 1257300 h 6177659"/>
                <a:gd name="connsiteX37" fmla="*/ 0 w 5236526"/>
                <a:gd name="connsiteY37" fmla="*/ 1234440 h 6177659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531620 w 5236526"/>
                <a:gd name="connsiteY10" fmla="*/ 319342 h 6199821"/>
                <a:gd name="connsiteX11" fmla="*/ 1584960 w 5236526"/>
                <a:gd name="connsiteY11" fmla="*/ 349822 h 6199821"/>
                <a:gd name="connsiteX12" fmla="*/ 1714500 w 5236526"/>
                <a:gd name="connsiteY12" fmla="*/ 296482 h 6199821"/>
                <a:gd name="connsiteX13" fmla="*/ 1684020 w 5236526"/>
                <a:gd name="connsiteY13" fmla="*/ 136462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531620 w 5236526"/>
                <a:gd name="connsiteY10" fmla="*/ 319342 h 6199821"/>
                <a:gd name="connsiteX11" fmla="*/ 1584960 w 5236526"/>
                <a:gd name="connsiteY11" fmla="*/ 349822 h 6199821"/>
                <a:gd name="connsiteX12" fmla="*/ 1714500 w 5236526"/>
                <a:gd name="connsiteY12" fmla="*/ 296482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531620 w 5236526"/>
                <a:gd name="connsiteY10" fmla="*/ 319342 h 6199821"/>
                <a:gd name="connsiteX11" fmla="*/ 1584960 w 5236526"/>
                <a:gd name="connsiteY11" fmla="*/ 34982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531620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18868 w 5236526"/>
                <a:gd name="connsiteY8" fmla="*/ 442651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091793 w 5236526"/>
                <a:gd name="connsiteY7" fmla="*/ 481442 h 6199821"/>
                <a:gd name="connsiteX8" fmla="*/ 1218868 w 5236526"/>
                <a:gd name="connsiteY8" fmla="*/ 442651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78655 w 5236526"/>
                <a:gd name="connsiteY5" fmla="*/ 432260 h 6199821"/>
                <a:gd name="connsiteX6" fmla="*/ 1074420 w 5236526"/>
                <a:gd name="connsiteY6" fmla="*/ 380302 h 6199821"/>
                <a:gd name="connsiteX7" fmla="*/ 1091793 w 5236526"/>
                <a:gd name="connsiteY7" fmla="*/ 481442 h 6199821"/>
                <a:gd name="connsiteX8" fmla="*/ 1218868 w 5236526"/>
                <a:gd name="connsiteY8" fmla="*/ 442651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898716 w 5236526"/>
                <a:gd name="connsiteY4" fmla="*/ 547251 h 6199821"/>
                <a:gd name="connsiteX5" fmla="*/ 878655 w 5236526"/>
                <a:gd name="connsiteY5" fmla="*/ 432260 h 6199821"/>
                <a:gd name="connsiteX6" fmla="*/ 1074420 w 5236526"/>
                <a:gd name="connsiteY6" fmla="*/ 380302 h 6199821"/>
                <a:gd name="connsiteX7" fmla="*/ 1091793 w 5236526"/>
                <a:gd name="connsiteY7" fmla="*/ 481442 h 6199821"/>
                <a:gd name="connsiteX8" fmla="*/ 1218868 w 5236526"/>
                <a:gd name="connsiteY8" fmla="*/ 442651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75815 w 5312341"/>
                <a:gd name="connsiteY0" fmla="*/ 1256602 h 6199821"/>
                <a:gd name="connsiteX1" fmla="*/ 289175 w 5312341"/>
                <a:gd name="connsiteY1" fmla="*/ 1012762 h 6199821"/>
                <a:gd name="connsiteX2" fmla="*/ 533015 w 5312341"/>
                <a:gd name="connsiteY2" fmla="*/ 814642 h 6199821"/>
                <a:gd name="connsiteX3" fmla="*/ 761615 w 5312341"/>
                <a:gd name="connsiteY3" fmla="*/ 647002 h 6199821"/>
                <a:gd name="connsiteX4" fmla="*/ 974531 w 5312341"/>
                <a:gd name="connsiteY4" fmla="*/ 547251 h 6199821"/>
                <a:gd name="connsiteX5" fmla="*/ 954470 w 5312341"/>
                <a:gd name="connsiteY5" fmla="*/ 432260 h 6199821"/>
                <a:gd name="connsiteX6" fmla="*/ 1150235 w 5312341"/>
                <a:gd name="connsiteY6" fmla="*/ 380302 h 6199821"/>
                <a:gd name="connsiteX7" fmla="*/ 1167608 w 5312341"/>
                <a:gd name="connsiteY7" fmla="*/ 481442 h 6199821"/>
                <a:gd name="connsiteX8" fmla="*/ 1294683 w 5312341"/>
                <a:gd name="connsiteY8" fmla="*/ 442651 h 6199821"/>
                <a:gd name="connsiteX9" fmla="*/ 1325162 w 5312341"/>
                <a:gd name="connsiteY9" fmla="*/ 393463 h 6199821"/>
                <a:gd name="connsiteX10" fmla="*/ 1561049 w 5312341"/>
                <a:gd name="connsiteY10" fmla="*/ 319342 h 6199821"/>
                <a:gd name="connsiteX11" fmla="*/ 1601504 w 5312341"/>
                <a:gd name="connsiteY11" fmla="*/ 352592 h 6199821"/>
                <a:gd name="connsiteX12" fmla="*/ 1798046 w 5312341"/>
                <a:gd name="connsiteY12" fmla="*/ 288171 h 6199821"/>
                <a:gd name="connsiteX13" fmla="*/ 1757258 w 5312341"/>
                <a:gd name="connsiteY13" fmla="*/ 119840 h 6199821"/>
                <a:gd name="connsiteX14" fmla="*/ 2140501 w 5312341"/>
                <a:gd name="connsiteY14" fmla="*/ 0 h 6199821"/>
                <a:gd name="connsiteX15" fmla="*/ 2188799 w 5312341"/>
                <a:gd name="connsiteY15" fmla="*/ 165560 h 6199821"/>
                <a:gd name="connsiteX16" fmla="*/ 3952350 w 5312341"/>
                <a:gd name="connsiteY16" fmla="*/ 680900 h 6199821"/>
                <a:gd name="connsiteX17" fmla="*/ 4502480 w 5312341"/>
                <a:gd name="connsiteY17" fmla="*/ 1291242 h 6199821"/>
                <a:gd name="connsiteX18" fmla="*/ 4563884 w 5312341"/>
                <a:gd name="connsiteY18" fmla="*/ 1298860 h 6199821"/>
                <a:gd name="connsiteX19" fmla="*/ 4728725 w 5312341"/>
                <a:gd name="connsiteY19" fmla="*/ 1479661 h 6199821"/>
                <a:gd name="connsiteX20" fmla="*/ 4728948 w 5312341"/>
                <a:gd name="connsiteY20" fmla="*/ 1535080 h 6199821"/>
                <a:gd name="connsiteX21" fmla="*/ 4890212 w 5312341"/>
                <a:gd name="connsiteY21" fmla="*/ 1726990 h 6199821"/>
                <a:gd name="connsiteX22" fmla="*/ 5270200 w 5312341"/>
                <a:gd name="connsiteY22" fmla="*/ 3519512 h 6199821"/>
                <a:gd name="connsiteX23" fmla="*/ 5078121 w 5312341"/>
                <a:gd name="connsiteY23" fmla="*/ 4385669 h 6199821"/>
                <a:gd name="connsiteX24" fmla="*/ 5208337 w 5312341"/>
                <a:gd name="connsiteY24" fmla="*/ 4452156 h 6199821"/>
                <a:gd name="connsiteX25" fmla="*/ 5138888 w 5312341"/>
                <a:gd name="connsiteY25" fmla="*/ 4870077 h 6199821"/>
                <a:gd name="connsiteX26" fmla="*/ 4981359 w 5312341"/>
                <a:gd name="connsiteY26" fmla="*/ 4807792 h 6199821"/>
                <a:gd name="connsiteX27" fmla="*/ 3854096 w 5312341"/>
                <a:gd name="connsiteY27" fmla="*/ 6199821 h 6199821"/>
                <a:gd name="connsiteX28" fmla="*/ 3671795 w 5312341"/>
                <a:gd name="connsiteY28" fmla="*/ 5610934 h 6199821"/>
                <a:gd name="connsiteX29" fmla="*/ 4458761 w 5312341"/>
                <a:gd name="connsiteY29" fmla="*/ 4596953 h 6199821"/>
                <a:gd name="connsiteX30" fmla="*/ 4738810 w 5312341"/>
                <a:gd name="connsiteY30" fmla="*/ 3352779 h 6199821"/>
                <a:gd name="connsiteX31" fmla="*/ 4419994 w 5312341"/>
                <a:gd name="connsiteY31" fmla="*/ 2049487 h 6199821"/>
                <a:gd name="connsiteX32" fmla="*/ 3602741 w 5312341"/>
                <a:gd name="connsiteY32" fmla="*/ 1163055 h 6199821"/>
                <a:gd name="connsiteX33" fmla="*/ 2308475 w 5312341"/>
                <a:gd name="connsiteY33" fmla="*/ 761302 h 6199821"/>
                <a:gd name="connsiteX34" fmla="*/ 1310255 w 5312341"/>
                <a:gd name="connsiteY34" fmla="*/ 1081342 h 6199821"/>
                <a:gd name="connsiteX35" fmla="*/ 1035935 w 5312341"/>
                <a:gd name="connsiteY35" fmla="*/ 1188022 h 6199821"/>
                <a:gd name="connsiteX36" fmla="*/ 0 w 5312341"/>
                <a:gd name="connsiteY36" fmla="*/ 3464807 h 6199821"/>
                <a:gd name="connsiteX37" fmla="*/ 75815 w 5312341"/>
                <a:gd name="connsiteY37" fmla="*/ 1256602 h 6199821"/>
                <a:gd name="connsiteX0" fmla="*/ 0 w 5842672"/>
                <a:gd name="connsiteY0" fmla="*/ 3281515 h 6199821"/>
                <a:gd name="connsiteX1" fmla="*/ 819506 w 5842672"/>
                <a:gd name="connsiteY1" fmla="*/ 1012762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1566266 w 5842672"/>
                <a:gd name="connsiteY35" fmla="*/ 1188022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819506 w 5842672"/>
                <a:gd name="connsiteY1" fmla="*/ 1012762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819506 w 5842672"/>
                <a:gd name="connsiteY1" fmla="*/ 1012762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819506 w 5842672"/>
                <a:gd name="connsiteY1" fmla="*/ 1012762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84589 w 5842672"/>
                <a:gd name="connsiteY2" fmla="*/ 2050403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84589 w 5842672"/>
                <a:gd name="connsiteY2" fmla="*/ 2050403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84589 w 5842672"/>
                <a:gd name="connsiteY2" fmla="*/ 2050403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84589 w 5842672"/>
                <a:gd name="connsiteY2" fmla="*/ 2050403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24787 w 5842672"/>
                <a:gd name="connsiteY2" fmla="*/ 2266904 h 6199821"/>
                <a:gd name="connsiteX3" fmla="*/ 284589 w 5842672"/>
                <a:gd name="connsiteY3" fmla="*/ 2050403 h 6199821"/>
                <a:gd name="connsiteX4" fmla="*/ 1291946 w 5842672"/>
                <a:gd name="connsiteY4" fmla="*/ 647002 h 6199821"/>
                <a:gd name="connsiteX5" fmla="*/ 1504862 w 5842672"/>
                <a:gd name="connsiteY5" fmla="*/ 547251 h 6199821"/>
                <a:gd name="connsiteX6" fmla="*/ 1484801 w 5842672"/>
                <a:gd name="connsiteY6" fmla="*/ 432260 h 6199821"/>
                <a:gd name="connsiteX7" fmla="*/ 1680566 w 5842672"/>
                <a:gd name="connsiteY7" fmla="*/ 380302 h 6199821"/>
                <a:gd name="connsiteX8" fmla="*/ 1697939 w 5842672"/>
                <a:gd name="connsiteY8" fmla="*/ 481442 h 6199821"/>
                <a:gd name="connsiteX9" fmla="*/ 1825014 w 5842672"/>
                <a:gd name="connsiteY9" fmla="*/ 442651 h 6199821"/>
                <a:gd name="connsiteX10" fmla="*/ 1855493 w 5842672"/>
                <a:gd name="connsiteY10" fmla="*/ 393463 h 6199821"/>
                <a:gd name="connsiteX11" fmla="*/ 2091380 w 5842672"/>
                <a:gd name="connsiteY11" fmla="*/ 319342 h 6199821"/>
                <a:gd name="connsiteX12" fmla="*/ 2131835 w 5842672"/>
                <a:gd name="connsiteY12" fmla="*/ 352592 h 6199821"/>
                <a:gd name="connsiteX13" fmla="*/ 2328377 w 5842672"/>
                <a:gd name="connsiteY13" fmla="*/ 288171 h 6199821"/>
                <a:gd name="connsiteX14" fmla="*/ 2287589 w 5842672"/>
                <a:gd name="connsiteY14" fmla="*/ 119840 h 6199821"/>
                <a:gd name="connsiteX15" fmla="*/ 2670832 w 5842672"/>
                <a:gd name="connsiteY15" fmla="*/ 0 h 6199821"/>
                <a:gd name="connsiteX16" fmla="*/ 2719130 w 5842672"/>
                <a:gd name="connsiteY16" fmla="*/ 165560 h 6199821"/>
                <a:gd name="connsiteX17" fmla="*/ 4482681 w 5842672"/>
                <a:gd name="connsiteY17" fmla="*/ 680900 h 6199821"/>
                <a:gd name="connsiteX18" fmla="*/ 5032811 w 5842672"/>
                <a:gd name="connsiteY18" fmla="*/ 1291242 h 6199821"/>
                <a:gd name="connsiteX19" fmla="*/ 5094215 w 5842672"/>
                <a:gd name="connsiteY19" fmla="*/ 1298860 h 6199821"/>
                <a:gd name="connsiteX20" fmla="*/ 5259056 w 5842672"/>
                <a:gd name="connsiteY20" fmla="*/ 1479661 h 6199821"/>
                <a:gd name="connsiteX21" fmla="*/ 5259279 w 5842672"/>
                <a:gd name="connsiteY21" fmla="*/ 1535080 h 6199821"/>
                <a:gd name="connsiteX22" fmla="*/ 5420543 w 5842672"/>
                <a:gd name="connsiteY22" fmla="*/ 1726990 h 6199821"/>
                <a:gd name="connsiteX23" fmla="*/ 5800531 w 5842672"/>
                <a:gd name="connsiteY23" fmla="*/ 3519512 h 6199821"/>
                <a:gd name="connsiteX24" fmla="*/ 5608452 w 5842672"/>
                <a:gd name="connsiteY24" fmla="*/ 4385669 h 6199821"/>
                <a:gd name="connsiteX25" fmla="*/ 5738668 w 5842672"/>
                <a:gd name="connsiteY25" fmla="*/ 4452156 h 6199821"/>
                <a:gd name="connsiteX26" fmla="*/ 5669219 w 5842672"/>
                <a:gd name="connsiteY26" fmla="*/ 4870077 h 6199821"/>
                <a:gd name="connsiteX27" fmla="*/ 5511690 w 5842672"/>
                <a:gd name="connsiteY27" fmla="*/ 4807792 h 6199821"/>
                <a:gd name="connsiteX28" fmla="*/ 4384427 w 5842672"/>
                <a:gd name="connsiteY28" fmla="*/ 6199821 h 6199821"/>
                <a:gd name="connsiteX29" fmla="*/ 4202126 w 5842672"/>
                <a:gd name="connsiteY29" fmla="*/ 5610934 h 6199821"/>
                <a:gd name="connsiteX30" fmla="*/ 4989092 w 5842672"/>
                <a:gd name="connsiteY30" fmla="*/ 4596953 h 6199821"/>
                <a:gd name="connsiteX31" fmla="*/ 5269141 w 5842672"/>
                <a:gd name="connsiteY31" fmla="*/ 3352779 h 6199821"/>
                <a:gd name="connsiteX32" fmla="*/ 4950325 w 5842672"/>
                <a:gd name="connsiteY32" fmla="*/ 2049487 h 6199821"/>
                <a:gd name="connsiteX33" fmla="*/ 4133072 w 5842672"/>
                <a:gd name="connsiteY33" fmla="*/ 1163055 h 6199821"/>
                <a:gd name="connsiteX34" fmla="*/ 2838806 w 5842672"/>
                <a:gd name="connsiteY34" fmla="*/ 761302 h 6199821"/>
                <a:gd name="connsiteX35" fmla="*/ 1840586 w 5842672"/>
                <a:gd name="connsiteY35" fmla="*/ 1081342 h 6199821"/>
                <a:gd name="connsiteX36" fmla="*/ 831666 w 5842672"/>
                <a:gd name="connsiteY36" fmla="*/ 2111591 h 6199821"/>
                <a:gd name="connsiteX37" fmla="*/ 530331 w 5842672"/>
                <a:gd name="connsiteY37" fmla="*/ 3464807 h 6199821"/>
                <a:gd name="connsiteX38" fmla="*/ 0 w 5842672"/>
                <a:gd name="connsiteY38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24787 w 5842672"/>
                <a:gd name="connsiteY2" fmla="*/ 2266904 h 6199821"/>
                <a:gd name="connsiteX3" fmla="*/ 268944 w 5842672"/>
                <a:gd name="connsiteY3" fmla="*/ 2136824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0 w 5842672"/>
                <a:gd name="connsiteY39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68944 w 5842672"/>
                <a:gd name="connsiteY3" fmla="*/ 2136824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0 w 5842672"/>
                <a:gd name="connsiteY39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0 w 5842672"/>
                <a:gd name="connsiteY39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228802 w 5842672"/>
                <a:gd name="connsiteY39" fmla="*/ 3359577 h 6199821"/>
                <a:gd name="connsiteX40" fmla="*/ 0 w 5842672"/>
                <a:gd name="connsiteY40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481697 w 5842672"/>
                <a:gd name="connsiteY39" fmla="*/ 5189370 h 6199821"/>
                <a:gd name="connsiteX40" fmla="*/ 0 w 5842672"/>
                <a:gd name="connsiteY40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501767 w 5842672"/>
                <a:gd name="connsiteY39" fmla="*/ 4612682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826918 w 5842672"/>
                <a:gd name="connsiteY40" fmla="*/ 5015930 h 6199821"/>
                <a:gd name="connsiteX41" fmla="*/ 481697 w 5842672"/>
                <a:gd name="connsiteY41" fmla="*/ 5189370 h 6199821"/>
                <a:gd name="connsiteX42" fmla="*/ 0 w 5842672"/>
                <a:gd name="connsiteY42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158712 w 5842672"/>
                <a:gd name="connsiteY40" fmla="*/ 5644651 h 6199821"/>
                <a:gd name="connsiteX41" fmla="*/ 481697 w 5842672"/>
                <a:gd name="connsiteY41" fmla="*/ 5189370 h 6199821"/>
                <a:gd name="connsiteX42" fmla="*/ 0 w 5842672"/>
                <a:gd name="connsiteY42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158712 w 5842672"/>
                <a:gd name="connsiteY40" fmla="*/ 5644651 h 6199821"/>
                <a:gd name="connsiteX41" fmla="*/ 943331 w 5842672"/>
                <a:gd name="connsiteY41" fmla="*/ 5241402 h 6199821"/>
                <a:gd name="connsiteX42" fmla="*/ 481697 w 5842672"/>
                <a:gd name="connsiteY42" fmla="*/ 5189370 h 6199821"/>
                <a:gd name="connsiteX43" fmla="*/ 0 w 5842672"/>
                <a:gd name="connsiteY43" fmla="*/ 3281515 h 6199821"/>
                <a:gd name="connsiteX0" fmla="*/ 0 w 5842672"/>
                <a:gd name="connsiteY0" fmla="*/ 3281515 h 6212667"/>
                <a:gd name="connsiteX1" fmla="*/ 209347 w 5842672"/>
                <a:gd name="connsiteY1" fmla="*/ 2374266 h 6212667"/>
                <a:gd name="connsiteX2" fmla="*/ 176616 w 5842672"/>
                <a:gd name="connsiteY2" fmla="*/ 2331944 h 6212667"/>
                <a:gd name="connsiteX3" fmla="*/ 248873 w 5842672"/>
                <a:gd name="connsiteY3" fmla="*/ 2067448 h 6212667"/>
                <a:gd name="connsiteX4" fmla="*/ 284589 w 5842672"/>
                <a:gd name="connsiteY4" fmla="*/ 2050403 h 6212667"/>
                <a:gd name="connsiteX5" fmla="*/ 1291946 w 5842672"/>
                <a:gd name="connsiteY5" fmla="*/ 647002 h 6212667"/>
                <a:gd name="connsiteX6" fmla="*/ 1504862 w 5842672"/>
                <a:gd name="connsiteY6" fmla="*/ 547251 h 6212667"/>
                <a:gd name="connsiteX7" fmla="*/ 1484801 w 5842672"/>
                <a:gd name="connsiteY7" fmla="*/ 432260 h 6212667"/>
                <a:gd name="connsiteX8" fmla="*/ 1680566 w 5842672"/>
                <a:gd name="connsiteY8" fmla="*/ 380302 h 6212667"/>
                <a:gd name="connsiteX9" fmla="*/ 1697939 w 5842672"/>
                <a:gd name="connsiteY9" fmla="*/ 481442 h 6212667"/>
                <a:gd name="connsiteX10" fmla="*/ 1825014 w 5842672"/>
                <a:gd name="connsiteY10" fmla="*/ 442651 h 6212667"/>
                <a:gd name="connsiteX11" fmla="*/ 1855493 w 5842672"/>
                <a:gd name="connsiteY11" fmla="*/ 393463 h 6212667"/>
                <a:gd name="connsiteX12" fmla="*/ 2091380 w 5842672"/>
                <a:gd name="connsiteY12" fmla="*/ 319342 h 6212667"/>
                <a:gd name="connsiteX13" fmla="*/ 2131835 w 5842672"/>
                <a:gd name="connsiteY13" fmla="*/ 352592 h 6212667"/>
                <a:gd name="connsiteX14" fmla="*/ 2328377 w 5842672"/>
                <a:gd name="connsiteY14" fmla="*/ 288171 h 6212667"/>
                <a:gd name="connsiteX15" fmla="*/ 2287589 w 5842672"/>
                <a:gd name="connsiteY15" fmla="*/ 119840 h 6212667"/>
                <a:gd name="connsiteX16" fmla="*/ 2670832 w 5842672"/>
                <a:gd name="connsiteY16" fmla="*/ 0 h 6212667"/>
                <a:gd name="connsiteX17" fmla="*/ 2719130 w 5842672"/>
                <a:gd name="connsiteY17" fmla="*/ 165560 h 6212667"/>
                <a:gd name="connsiteX18" fmla="*/ 4482681 w 5842672"/>
                <a:gd name="connsiteY18" fmla="*/ 680900 h 6212667"/>
                <a:gd name="connsiteX19" fmla="*/ 5032811 w 5842672"/>
                <a:gd name="connsiteY19" fmla="*/ 1291242 h 6212667"/>
                <a:gd name="connsiteX20" fmla="*/ 5094215 w 5842672"/>
                <a:gd name="connsiteY20" fmla="*/ 1298860 h 6212667"/>
                <a:gd name="connsiteX21" fmla="*/ 5259056 w 5842672"/>
                <a:gd name="connsiteY21" fmla="*/ 1479661 h 6212667"/>
                <a:gd name="connsiteX22" fmla="*/ 5259279 w 5842672"/>
                <a:gd name="connsiteY22" fmla="*/ 1535080 h 6212667"/>
                <a:gd name="connsiteX23" fmla="*/ 5420543 w 5842672"/>
                <a:gd name="connsiteY23" fmla="*/ 1726990 h 6212667"/>
                <a:gd name="connsiteX24" fmla="*/ 5800531 w 5842672"/>
                <a:gd name="connsiteY24" fmla="*/ 3519512 h 6212667"/>
                <a:gd name="connsiteX25" fmla="*/ 5608452 w 5842672"/>
                <a:gd name="connsiteY25" fmla="*/ 4385669 h 6212667"/>
                <a:gd name="connsiteX26" fmla="*/ 5738668 w 5842672"/>
                <a:gd name="connsiteY26" fmla="*/ 4452156 h 6212667"/>
                <a:gd name="connsiteX27" fmla="*/ 5669219 w 5842672"/>
                <a:gd name="connsiteY27" fmla="*/ 4870077 h 6212667"/>
                <a:gd name="connsiteX28" fmla="*/ 5511690 w 5842672"/>
                <a:gd name="connsiteY28" fmla="*/ 4807792 h 6212667"/>
                <a:gd name="connsiteX29" fmla="*/ 4384427 w 5842672"/>
                <a:gd name="connsiteY29" fmla="*/ 6199821 h 6212667"/>
                <a:gd name="connsiteX30" fmla="*/ 4202126 w 5842672"/>
                <a:gd name="connsiteY30" fmla="*/ 5610934 h 6212667"/>
                <a:gd name="connsiteX31" fmla="*/ 4989092 w 5842672"/>
                <a:gd name="connsiteY31" fmla="*/ 4596953 h 6212667"/>
                <a:gd name="connsiteX32" fmla="*/ 5269141 w 5842672"/>
                <a:gd name="connsiteY32" fmla="*/ 3352779 h 6212667"/>
                <a:gd name="connsiteX33" fmla="*/ 4950325 w 5842672"/>
                <a:gd name="connsiteY33" fmla="*/ 2049487 h 6212667"/>
                <a:gd name="connsiteX34" fmla="*/ 4133072 w 5842672"/>
                <a:gd name="connsiteY34" fmla="*/ 1163055 h 6212667"/>
                <a:gd name="connsiteX35" fmla="*/ 2838806 w 5842672"/>
                <a:gd name="connsiteY35" fmla="*/ 761302 h 6212667"/>
                <a:gd name="connsiteX36" fmla="*/ 1840586 w 5842672"/>
                <a:gd name="connsiteY36" fmla="*/ 1081342 h 6212667"/>
                <a:gd name="connsiteX37" fmla="*/ 831666 w 5842672"/>
                <a:gd name="connsiteY37" fmla="*/ 2111591 h 6212667"/>
                <a:gd name="connsiteX38" fmla="*/ 530331 w 5842672"/>
                <a:gd name="connsiteY38" fmla="*/ 3464807 h 6212667"/>
                <a:gd name="connsiteX39" fmla="*/ 1035657 w 5842672"/>
                <a:gd name="connsiteY39" fmla="*/ 4933546 h 6212667"/>
                <a:gd name="connsiteX40" fmla="*/ 4158712 w 5842672"/>
                <a:gd name="connsiteY40" fmla="*/ 5644651 h 6212667"/>
                <a:gd name="connsiteX41" fmla="*/ 4355408 w 5842672"/>
                <a:gd name="connsiteY41" fmla="*/ 6212667 h 6212667"/>
                <a:gd name="connsiteX42" fmla="*/ 481697 w 5842672"/>
                <a:gd name="connsiteY42" fmla="*/ 5189370 h 6212667"/>
                <a:gd name="connsiteX43" fmla="*/ 0 w 5842672"/>
                <a:gd name="connsiteY43" fmla="*/ 3281515 h 6212667"/>
                <a:gd name="connsiteX0" fmla="*/ 0 w 5842672"/>
                <a:gd name="connsiteY0" fmla="*/ 3281515 h 6212667"/>
                <a:gd name="connsiteX1" fmla="*/ 209347 w 5842672"/>
                <a:gd name="connsiteY1" fmla="*/ 2374266 h 6212667"/>
                <a:gd name="connsiteX2" fmla="*/ 176616 w 5842672"/>
                <a:gd name="connsiteY2" fmla="*/ 2331944 h 6212667"/>
                <a:gd name="connsiteX3" fmla="*/ 248873 w 5842672"/>
                <a:gd name="connsiteY3" fmla="*/ 2067448 h 6212667"/>
                <a:gd name="connsiteX4" fmla="*/ 284589 w 5842672"/>
                <a:gd name="connsiteY4" fmla="*/ 2050403 h 6212667"/>
                <a:gd name="connsiteX5" fmla="*/ 1291946 w 5842672"/>
                <a:gd name="connsiteY5" fmla="*/ 647002 h 6212667"/>
                <a:gd name="connsiteX6" fmla="*/ 1504862 w 5842672"/>
                <a:gd name="connsiteY6" fmla="*/ 547251 h 6212667"/>
                <a:gd name="connsiteX7" fmla="*/ 1484801 w 5842672"/>
                <a:gd name="connsiteY7" fmla="*/ 432260 h 6212667"/>
                <a:gd name="connsiteX8" fmla="*/ 1680566 w 5842672"/>
                <a:gd name="connsiteY8" fmla="*/ 380302 h 6212667"/>
                <a:gd name="connsiteX9" fmla="*/ 1697939 w 5842672"/>
                <a:gd name="connsiteY9" fmla="*/ 481442 h 6212667"/>
                <a:gd name="connsiteX10" fmla="*/ 1825014 w 5842672"/>
                <a:gd name="connsiteY10" fmla="*/ 442651 h 6212667"/>
                <a:gd name="connsiteX11" fmla="*/ 1855493 w 5842672"/>
                <a:gd name="connsiteY11" fmla="*/ 393463 h 6212667"/>
                <a:gd name="connsiteX12" fmla="*/ 2091380 w 5842672"/>
                <a:gd name="connsiteY12" fmla="*/ 319342 h 6212667"/>
                <a:gd name="connsiteX13" fmla="*/ 2131835 w 5842672"/>
                <a:gd name="connsiteY13" fmla="*/ 352592 h 6212667"/>
                <a:gd name="connsiteX14" fmla="*/ 2328377 w 5842672"/>
                <a:gd name="connsiteY14" fmla="*/ 288171 h 6212667"/>
                <a:gd name="connsiteX15" fmla="*/ 2287589 w 5842672"/>
                <a:gd name="connsiteY15" fmla="*/ 119840 h 6212667"/>
                <a:gd name="connsiteX16" fmla="*/ 2670832 w 5842672"/>
                <a:gd name="connsiteY16" fmla="*/ 0 h 6212667"/>
                <a:gd name="connsiteX17" fmla="*/ 2719130 w 5842672"/>
                <a:gd name="connsiteY17" fmla="*/ 165560 h 6212667"/>
                <a:gd name="connsiteX18" fmla="*/ 4482681 w 5842672"/>
                <a:gd name="connsiteY18" fmla="*/ 680900 h 6212667"/>
                <a:gd name="connsiteX19" fmla="*/ 5032811 w 5842672"/>
                <a:gd name="connsiteY19" fmla="*/ 1291242 h 6212667"/>
                <a:gd name="connsiteX20" fmla="*/ 5094215 w 5842672"/>
                <a:gd name="connsiteY20" fmla="*/ 1298860 h 6212667"/>
                <a:gd name="connsiteX21" fmla="*/ 5259056 w 5842672"/>
                <a:gd name="connsiteY21" fmla="*/ 1479661 h 6212667"/>
                <a:gd name="connsiteX22" fmla="*/ 5259279 w 5842672"/>
                <a:gd name="connsiteY22" fmla="*/ 1535080 h 6212667"/>
                <a:gd name="connsiteX23" fmla="*/ 5420543 w 5842672"/>
                <a:gd name="connsiteY23" fmla="*/ 1726990 h 6212667"/>
                <a:gd name="connsiteX24" fmla="*/ 5800531 w 5842672"/>
                <a:gd name="connsiteY24" fmla="*/ 3519512 h 6212667"/>
                <a:gd name="connsiteX25" fmla="*/ 5608452 w 5842672"/>
                <a:gd name="connsiteY25" fmla="*/ 4385669 h 6212667"/>
                <a:gd name="connsiteX26" fmla="*/ 5738668 w 5842672"/>
                <a:gd name="connsiteY26" fmla="*/ 4452156 h 6212667"/>
                <a:gd name="connsiteX27" fmla="*/ 5669219 w 5842672"/>
                <a:gd name="connsiteY27" fmla="*/ 4870077 h 6212667"/>
                <a:gd name="connsiteX28" fmla="*/ 5511690 w 5842672"/>
                <a:gd name="connsiteY28" fmla="*/ 4807792 h 6212667"/>
                <a:gd name="connsiteX29" fmla="*/ 4384427 w 5842672"/>
                <a:gd name="connsiteY29" fmla="*/ 6199821 h 6212667"/>
                <a:gd name="connsiteX30" fmla="*/ 4202126 w 5842672"/>
                <a:gd name="connsiteY30" fmla="*/ 5610934 h 6212667"/>
                <a:gd name="connsiteX31" fmla="*/ 4989092 w 5842672"/>
                <a:gd name="connsiteY31" fmla="*/ 4596953 h 6212667"/>
                <a:gd name="connsiteX32" fmla="*/ 5269141 w 5842672"/>
                <a:gd name="connsiteY32" fmla="*/ 3352779 h 6212667"/>
                <a:gd name="connsiteX33" fmla="*/ 4950325 w 5842672"/>
                <a:gd name="connsiteY33" fmla="*/ 2049487 h 6212667"/>
                <a:gd name="connsiteX34" fmla="*/ 4133072 w 5842672"/>
                <a:gd name="connsiteY34" fmla="*/ 1163055 h 6212667"/>
                <a:gd name="connsiteX35" fmla="*/ 2838806 w 5842672"/>
                <a:gd name="connsiteY35" fmla="*/ 761302 h 6212667"/>
                <a:gd name="connsiteX36" fmla="*/ 1840586 w 5842672"/>
                <a:gd name="connsiteY36" fmla="*/ 1081342 h 6212667"/>
                <a:gd name="connsiteX37" fmla="*/ 831666 w 5842672"/>
                <a:gd name="connsiteY37" fmla="*/ 2111591 h 6212667"/>
                <a:gd name="connsiteX38" fmla="*/ 530331 w 5842672"/>
                <a:gd name="connsiteY38" fmla="*/ 3464807 h 6212667"/>
                <a:gd name="connsiteX39" fmla="*/ 1035657 w 5842672"/>
                <a:gd name="connsiteY39" fmla="*/ 4933546 h 6212667"/>
                <a:gd name="connsiteX40" fmla="*/ 2340275 w 5842672"/>
                <a:gd name="connsiteY40" fmla="*/ 5224058 h 6212667"/>
                <a:gd name="connsiteX41" fmla="*/ 4158712 w 5842672"/>
                <a:gd name="connsiteY41" fmla="*/ 5644651 h 6212667"/>
                <a:gd name="connsiteX42" fmla="*/ 4355408 w 5842672"/>
                <a:gd name="connsiteY42" fmla="*/ 6212667 h 6212667"/>
                <a:gd name="connsiteX43" fmla="*/ 481697 w 5842672"/>
                <a:gd name="connsiteY43" fmla="*/ 5189370 h 6212667"/>
                <a:gd name="connsiteX44" fmla="*/ 0 w 5842672"/>
                <a:gd name="connsiteY44" fmla="*/ 3281515 h 6212667"/>
                <a:gd name="connsiteX0" fmla="*/ 0 w 5842672"/>
                <a:gd name="connsiteY0" fmla="*/ 3281515 h 6212667"/>
                <a:gd name="connsiteX1" fmla="*/ 209347 w 5842672"/>
                <a:gd name="connsiteY1" fmla="*/ 2374266 h 6212667"/>
                <a:gd name="connsiteX2" fmla="*/ 176616 w 5842672"/>
                <a:gd name="connsiteY2" fmla="*/ 2331944 h 6212667"/>
                <a:gd name="connsiteX3" fmla="*/ 248873 w 5842672"/>
                <a:gd name="connsiteY3" fmla="*/ 2067448 h 6212667"/>
                <a:gd name="connsiteX4" fmla="*/ 284589 w 5842672"/>
                <a:gd name="connsiteY4" fmla="*/ 2050403 h 6212667"/>
                <a:gd name="connsiteX5" fmla="*/ 1291946 w 5842672"/>
                <a:gd name="connsiteY5" fmla="*/ 647002 h 6212667"/>
                <a:gd name="connsiteX6" fmla="*/ 1504862 w 5842672"/>
                <a:gd name="connsiteY6" fmla="*/ 547251 h 6212667"/>
                <a:gd name="connsiteX7" fmla="*/ 1484801 w 5842672"/>
                <a:gd name="connsiteY7" fmla="*/ 432260 h 6212667"/>
                <a:gd name="connsiteX8" fmla="*/ 1680566 w 5842672"/>
                <a:gd name="connsiteY8" fmla="*/ 380302 h 6212667"/>
                <a:gd name="connsiteX9" fmla="*/ 1697939 w 5842672"/>
                <a:gd name="connsiteY9" fmla="*/ 481442 h 6212667"/>
                <a:gd name="connsiteX10" fmla="*/ 1825014 w 5842672"/>
                <a:gd name="connsiteY10" fmla="*/ 442651 h 6212667"/>
                <a:gd name="connsiteX11" fmla="*/ 1855493 w 5842672"/>
                <a:gd name="connsiteY11" fmla="*/ 393463 h 6212667"/>
                <a:gd name="connsiteX12" fmla="*/ 2091380 w 5842672"/>
                <a:gd name="connsiteY12" fmla="*/ 319342 h 6212667"/>
                <a:gd name="connsiteX13" fmla="*/ 2131835 w 5842672"/>
                <a:gd name="connsiteY13" fmla="*/ 352592 h 6212667"/>
                <a:gd name="connsiteX14" fmla="*/ 2328377 w 5842672"/>
                <a:gd name="connsiteY14" fmla="*/ 288171 h 6212667"/>
                <a:gd name="connsiteX15" fmla="*/ 2287589 w 5842672"/>
                <a:gd name="connsiteY15" fmla="*/ 119840 h 6212667"/>
                <a:gd name="connsiteX16" fmla="*/ 2670832 w 5842672"/>
                <a:gd name="connsiteY16" fmla="*/ 0 h 6212667"/>
                <a:gd name="connsiteX17" fmla="*/ 2719130 w 5842672"/>
                <a:gd name="connsiteY17" fmla="*/ 165560 h 6212667"/>
                <a:gd name="connsiteX18" fmla="*/ 4482681 w 5842672"/>
                <a:gd name="connsiteY18" fmla="*/ 680900 h 6212667"/>
                <a:gd name="connsiteX19" fmla="*/ 5032811 w 5842672"/>
                <a:gd name="connsiteY19" fmla="*/ 1291242 h 6212667"/>
                <a:gd name="connsiteX20" fmla="*/ 5094215 w 5842672"/>
                <a:gd name="connsiteY20" fmla="*/ 1298860 h 6212667"/>
                <a:gd name="connsiteX21" fmla="*/ 5259056 w 5842672"/>
                <a:gd name="connsiteY21" fmla="*/ 1479661 h 6212667"/>
                <a:gd name="connsiteX22" fmla="*/ 5259279 w 5842672"/>
                <a:gd name="connsiteY22" fmla="*/ 1535080 h 6212667"/>
                <a:gd name="connsiteX23" fmla="*/ 5420543 w 5842672"/>
                <a:gd name="connsiteY23" fmla="*/ 1726990 h 6212667"/>
                <a:gd name="connsiteX24" fmla="*/ 5800531 w 5842672"/>
                <a:gd name="connsiteY24" fmla="*/ 3519512 h 6212667"/>
                <a:gd name="connsiteX25" fmla="*/ 5608452 w 5842672"/>
                <a:gd name="connsiteY25" fmla="*/ 4385669 h 6212667"/>
                <a:gd name="connsiteX26" fmla="*/ 5738668 w 5842672"/>
                <a:gd name="connsiteY26" fmla="*/ 4452156 h 6212667"/>
                <a:gd name="connsiteX27" fmla="*/ 5669219 w 5842672"/>
                <a:gd name="connsiteY27" fmla="*/ 4870077 h 6212667"/>
                <a:gd name="connsiteX28" fmla="*/ 5511690 w 5842672"/>
                <a:gd name="connsiteY28" fmla="*/ 4807792 h 6212667"/>
                <a:gd name="connsiteX29" fmla="*/ 4384427 w 5842672"/>
                <a:gd name="connsiteY29" fmla="*/ 6199821 h 6212667"/>
                <a:gd name="connsiteX30" fmla="*/ 4202126 w 5842672"/>
                <a:gd name="connsiteY30" fmla="*/ 5610934 h 6212667"/>
                <a:gd name="connsiteX31" fmla="*/ 4989092 w 5842672"/>
                <a:gd name="connsiteY31" fmla="*/ 4596953 h 6212667"/>
                <a:gd name="connsiteX32" fmla="*/ 5269141 w 5842672"/>
                <a:gd name="connsiteY32" fmla="*/ 3352779 h 6212667"/>
                <a:gd name="connsiteX33" fmla="*/ 4950325 w 5842672"/>
                <a:gd name="connsiteY33" fmla="*/ 2049487 h 6212667"/>
                <a:gd name="connsiteX34" fmla="*/ 4133072 w 5842672"/>
                <a:gd name="connsiteY34" fmla="*/ 1163055 h 6212667"/>
                <a:gd name="connsiteX35" fmla="*/ 2838806 w 5842672"/>
                <a:gd name="connsiteY35" fmla="*/ 761302 h 6212667"/>
                <a:gd name="connsiteX36" fmla="*/ 1840586 w 5842672"/>
                <a:gd name="connsiteY36" fmla="*/ 1081342 h 6212667"/>
                <a:gd name="connsiteX37" fmla="*/ 831666 w 5842672"/>
                <a:gd name="connsiteY37" fmla="*/ 2111591 h 6212667"/>
                <a:gd name="connsiteX38" fmla="*/ 530331 w 5842672"/>
                <a:gd name="connsiteY38" fmla="*/ 3464807 h 6212667"/>
                <a:gd name="connsiteX39" fmla="*/ 1035657 w 5842672"/>
                <a:gd name="connsiteY39" fmla="*/ 4933546 h 6212667"/>
                <a:gd name="connsiteX40" fmla="*/ 2340275 w 5842672"/>
                <a:gd name="connsiteY40" fmla="*/ 5224058 h 6212667"/>
                <a:gd name="connsiteX41" fmla="*/ 4158712 w 5842672"/>
                <a:gd name="connsiteY41" fmla="*/ 5644651 h 6212667"/>
                <a:gd name="connsiteX42" fmla="*/ 4355408 w 5842672"/>
                <a:gd name="connsiteY42" fmla="*/ 6212667 h 6212667"/>
                <a:gd name="connsiteX43" fmla="*/ 2135550 w 5842672"/>
                <a:gd name="connsiteY43" fmla="*/ 5618634 h 6212667"/>
                <a:gd name="connsiteX44" fmla="*/ 481697 w 5842672"/>
                <a:gd name="connsiteY44" fmla="*/ 5189370 h 6212667"/>
                <a:gd name="connsiteX45" fmla="*/ 0 w 5842672"/>
                <a:gd name="connsiteY45" fmla="*/ 3281515 h 6212667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2340275 w 5842672"/>
                <a:gd name="connsiteY40" fmla="*/ 5224058 h 6724315"/>
                <a:gd name="connsiteX41" fmla="*/ 4158712 w 5842672"/>
                <a:gd name="connsiteY41" fmla="*/ 5644651 h 6724315"/>
                <a:gd name="connsiteX42" fmla="*/ 4355408 w 5842672"/>
                <a:gd name="connsiteY42" fmla="*/ 6212667 h 6724315"/>
                <a:gd name="connsiteX43" fmla="*/ 1898712 w 5842672"/>
                <a:gd name="connsiteY43" fmla="*/ 6724315 h 6724315"/>
                <a:gd name="connsiteX44" fmla="*/ 481697 w 5842672"/>
                <a:gd name="connsiteY44" fmla="*/ 5189370 h 6724315"/>
                <a:gd name="connsiteX45" fmla="*/ 0 w 5842672"/>
                <a:gd name="connsiteY45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4158712 w 5842672"/>
                <a:gd name="connsiteY41" fmla="*/ 5644651 h 6724315"/>
                <a:gd name="connsiteX42" fmla="*/ 4355408 w 5842672"/>
                <a:gd name="connsiteY42" fmla="*/ 6212667 h 6724315"/>
                <a:gd name="connsiteX43" fmla="*/ 1898712 w 5842672"/>
                <a:gd name="connsiteY43" fmla="*/ 6724315 h 6724315"/>
                <a:gd name="connsiteX44" fmla="*/ 481697 w 5842672"/>
                <a:gd name="connsiteY44" fmla="*/ 5189370 h 6724315"/>
                <a:gd name="connsiteX45" fmla="*/ 0 w 5842672"/>
                <a:gd name="connsiteY45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2886207 w 5842672"/>
                <a:gd name="connsiteY41" fmla="*/ 5696683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42159 w 5842672"/>
                <a:gd name="connsiteY40" fmla="*/ 5692347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42159 w 5842672"/>
                <a:gd name="connsiteY40" fmla="*/ 5692347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42159 w 5842672"/>
                <a:gd name="connsiteY40" fmla="*/ 5692347 h 6724315"/>
                <a:gd name="connsiteX41" fmla="*/ 3042761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42159 w 5842672"/>
                <a:gd name="connsiteY40" fmla="*/ 5692347 h 6724315"/>
                <a:gd name="connsiteX41" fmla="*/ 3042761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26252 w 5868924"/>
                <a:gd name="connsiteY0" fmla="*/ 3281515 h 6724315"/>
                <a:gd name="connsiteX1" fmla="*/ 235599 w 5868924"/>
                <a:gd name="connsiteY1" fmla="*/ 2374266 h 6724315"/>
                <a:gd name="connsiteX2" fmla="*/ 202868 w 5868924"/>
                <a:gd name="connsiteY2" fmla="*/ 2331944 h 6724315"/>
                <a:gd name="connsiteX3" fmla="*/ 275125 w 5868924"/>
                <a:gd name="connsiteY3" fmla="*/ 2067448 h 6724315"/>
                <a:gd name="connsiteX4" fmla="*/ 310841 w 5868924"/>
                <a:gd name="connsiteY4" fmla="*/ 2050403 h 6724315"/>
                <a:gd name="connsiteX5" fmla="*/ 1318198 w 5868924"/>
                <a:gd name="connsiteY5" fmla="*/ 647002 h 6724315"/>
                <a:gd name="connsiteX6" fmla="*/ 1531114 w 5868924"/>
                <a:gd name="connsiteY6" fmla="*/ 547251 h 6724315"/>
                <a:gd name="connsiteX7" fmla="*/ 1511053 w 5868924"/>
                <a:gd name="connsiteY7" fmla="*/ 432260 h 6724315"/>
                <a:gd name="connsiteX8" fmla="*/ 1706818 w 5868924"/>
                <a:gd name="connsiteY8" fmla="*/ 380302 h 6724315"/>
                <a:gd name="connsiteX9" fmla="*/ 1724191 w 5868924"/>
                <a:gd name="connsiteY9" fmla="*/ 481442 h 6724315"/>
                <a:gd name="connsiteX10" fmla="*/ 1851266 w 5868924"/>
                <a:gd name="connsiteY10" fmla="*/ 442651 h 6724315"/>
                <a:gd name="connsiteX11" fmla="*/ 1881745 w 5868924"/>
                <a:gd name="connsiteY11" fmla="*/ 393463 h 6724315"/>
                <a:gd name="connsiteX12" fmla="*/ 2117632 w 5868924"/>
                <a:gd name="connsiteY12" fmla="*/ 319342 h 6724315"/>
                <a:gd name="connsiteX13" fmla="*/ 2158087 w 5868924"/>
                <a:gd name="connsiteY13" fmla="*/ 352592 h 6724315"/>
                <a:gd name="connsiteX14" fmla="*/ 2354629 w 5868924"/>
                <a:gd name="connsiteY14" fmla="*/ 288171 h 6724315"/>
                <a:gd name="connsiteX15" fmla="*/ 2313841 w 5868924"/>
                <a:gd name="connsiteY15" fmla="*/ 119840 h 6724315"/>
                <a:gd name="connsiteX16" fmla="*/ 2697084 w 5868924"/>
                <a:gd name="connsiteY16" fmla="*/ 0 h 6724315"/>
                <a:gd name="connsiteX17" fmla="*/ 2745382 w 5868924"/>
                <a:gd name="connsiteY17" fmla="*/ 165560 h 6724315"/>
                <a:gd name="connsiteX18" fmla="*/ 4508933 w 5868924"/>
                <a:gd name="connsiteY18" fmla="*/ 680900 h 6724315"/>
                <a:gd name="connsiteX19" fmla="*/ 5059063 w 5868924"/>
                <a:gd name="connsiteY19" fmla="*/ 1291242 h 6724315"/>
                <a:gd name="connsiteX20" fmla="*/ 5120467 w 5868924"/>
                <a:gd name="connsiteY20" fmla="*/ 1298860 h 6724315"/>
                <a:gd name="connsiteX21" fmla="*/ 5285308 w 5868924"/>
                <a:gd name="connsiteY21" fmla="*/ 1479661 h 6724315"/>
                <a:gd name="connsiteX22" fmla="*/ 5285531 w 5868924"/>
                <a:gd name="connsiteY22" fmla="*/ 1535080 h 6724315"/>
                <a:gd name="connsiteX23" fmla="*/ 5446795 w 5868924"/>
                <a:gd name="connsiteY23" fmla="*/ 1726990 h 6724315"/>
                <a:gd name="connsiteX24" fmla="*/ 5826783 w 5868924"/>
                <a:gd name="connsiteY24" fmla="*/ 3519512 h 6724315"/>
                <a:gd name="connsiteX25" fmla="*/ 5634704 w 5868924"/>
                <a:gd name="connsiteY25" fmla="*/ 4385669 h 6724315"/>
                <a:gd name="connsiteX26" fmla="*/ 5764920 w 5868924"/>
                <a:gd name="connsiteY26" fmla="*/ 4452156 h 6724315"/>
                <a:gd name="connsiteX27" fmla="*/ 5695471 w 5868924"/>
                <a:gd name="connsiteY27" fmla="*/ 4870077 h 6724315"/>
                <a:gd name="connsiteX28" fmla="*/ 5537942 w 5868924"/>
                <a:gd name="connsiteY28" fmla="*/ 4807792 h 6724315"/>
                <a:gd name="connsiteX29" fmla="*/ 4410679 w 5868924"/>
                <a:gd name="connsiteY29" fmla="*/ 6199821 h 6724315"/>
                <a:gd name="connsiteX30" fmla="*/ 4228378 w 5868924"/>
                <a:gd name="connsiteY30" fmla="*/ 5610934 h 6724315"/>
                <a:gd name="connsiteX31" fmla="*/ 5015344 w 5868924"/>
                <a:gd name="connsiteY31" fmla="*/ 4596953 h 6724315"/>
                <a:gd name="connsiteX32" fmla="*/ 5295393 w 5868924"/>
                <a:gd name="connsiteY32" fmla="*/ 3352779 h 6724315"/>
                <a:gd name="connsiteX33" fmla="*/ 4976577 w 5868924"/>
                <a:gd name="connsiteY33" fmla="*/ 2049487 h 6724315"/>
                <a:gd name="connsiteX34" fmla="*/ 4159324 w 5868924"/>
                <a:gd name="connsiteY34" fmla="*/ 1163055 h 6724315"/>
                <a:gd name="connsiteX35" fmla="*/ 2865058 w 5868924"/>
                <a:gd name="connsiteY35" fmla="*/ 761302 h 6724315"/>
                <a:gd name="connsiteX36" fmla="*/ 1866838 w 5868924"/>
                <a:gd name="connsiteY36" fmla="*/ 1081342 h 6724315"/>
                <a:gd name="connsiteX37" fmla="*/ 857918 w 5868924"/>
                <a:gd name="connsiteY37" fmla="*/ 2111591 h 6724315"/>
                <a:gd name="connsiteX38" fmla="*/ 556583 w 5868924"/>
                <a:gd name="connsiteY38" fmla="*/ 3464807 h 6724315"/>
                <a:gd name="connsiteX39" fmla="*/ 1061909 w 5868924"/>
                <a:gd name="connsiteY39" fmla="*/ 4933546 h 6724315"/>
                <a:gd name="connsiteX40" fmla="*/ 1768411 w 5868924"/>
                <a:gd name="connsiteY40" fmla="*/ 5692347 h 6724315"/>
                <a:gd name="connsiteX41" fmla="*/ 3069013 w 5868924"/>
                <a:gd name="connsiteY41" fmla="*/ 6017548 h 6724315"/>
                <a:gd name="connsiteX42" fmla="*/ 4184964 w 5868924"/>
                <a:gd name="connsiteY42" fmla="*/ 5644651 h 6724315"/>
                <a:gd name="connsiteX43" fmla="*/ 4381660 w 5868924"/>
                <a:gd name="connsiteY43" fmla="*/ 6212667 h 6724315"/>
                <a:gd name="connsiteX44" fmla="*/ 1924964 w 5868924"/>
                <a:gd name="connsiteY44" fmla="*/ 6724315 h 6724315"/>
                <a:gd name="connsiteX45" fmla="*/ 507949 w 5868924"/>
                <a:gd name="connsiteY45" fmla="*/ 5189370 h 6724315"/>
                <a:gd name="connsiteX46" fmla="*/ 26252 w 5868924"/>
                <a:gd name="connsiteY46" fmla="*/ 3281515 h 6724315"/>
                <a:gd name="connsiteX0" fmla="*/ 31901 w 5874573"/>
                <a:gd name="connsiteY0" fmla="*/ 3281515 h 6724315"/>
                <a:gd name="connsiteX1" fmla="*/ 241248 w 5874573"/>
                <a:gd name="connsiteY1" fmla="*/ 2374266 h 6724315"/>
                <a:gd name="connsiteX2" fmla="*/ 208517 w 5874573"/>
                <a:gd name="connsiteY2" fmla="*/ 2331944 h 6724315"/>
                <a:gd name="connsiteX3" fmla="*/ 280774 w 5874573"/>
                <a:gd name="connsiteY3" fmla="*/ 2067448 h 6724315"/>
                <a:gd name="connsiteX4" fmla="*/ 316490 w 5874573"/>
                <a:gd name="connsiteY4" fmla="*/ 2050403 h 6724315"/>
                <a:gd name="connsiteX5" fmla="*/ 1323847 w 5874573"/>
                <a:gd name="connsiteY5" fmla="*/ 647002 h 6724315"/>
                <a:gd name="connsiteX6" fmla="*/ 1536763 w 5874573"/>
                <a:gd name="connsiteY6" fmla="*/ 547251 h 6724315"/>
                <a:gd name="connsiteX7" fmla="*/ 1516702 w 5874573"/>
                <a:gd name="connsiteY7" fmla="*/ 432260 h 6724315"/>
                <a:gd name="connsiteX8" fmla="*/ 1712467 w 5874573"/>
                <a:gd name="connsiteY8" fmla="*/ 380302 h 6724315"/>
                <a:gd name="connsiteX9" fmla="*/ 1729840 w 5874573"/>
                <a:gd name="connsiteY9" fmla="*/ 481442 h 6724315"/>
                <a:gd name="connsiteX10" fmla="*/ 1856915 w 5874573"/>
                <a:gd name="connsiteY10" fmla="*/ 442651 h 6724315"/>
                <a:gd name="connsiteX11" fmla="*/ 1887394 w 5874573"/>
                <a:gd name="connsiteY11" fmla="*/ 393463 h 6724315"/>
                <a:gd name="connsiteX12" fmla="*/ 2123281 w 5874573"/>
                <a:gd name="connsiteY12" fmla="*/ 319342 h 6724315"/>
                <a:gd name="connsiteX13" fmla="*/ 2163736 w 5874573"/>
                <a:gd name="connsiteY13" fmla="*/ 352592 h 6724315"/>
                <a:gd name="connsiteX14" fmla="*/ 2360278 w 5874573"/>
                <a:gd name="connsiteY14" fmla="*/ 288171 h 6724315"/>
                <a:gd name="connsiteX15" fmla="*/ 2319490 w 5874573"/>
                <a:gd name="connsiteY15" fmla="*/ 119840 h 6724315"/>
                <a:gd name="connsiteX16" fmla="*/ 2702733 w 5874573"/>
                <a:gd name="connsiteY16" fmla="*/ 0 h 6724315"/>
                <a:gd name="connsiteX17" fmla="*/ 2751031 w 5874573"/>
                <a:gd name="connsiteY17" fmla="*/ 165560 h 6724315"/>
                <a:gd name="connsiteX18" fmla="*/ 4514582 w 5874573"/>
                <a:gd name="connsiteY18" fmla="*/ 680900 h 6724315"/>
                <a:gd name="connsiteX19" fmla="*/ 5064712 w 5874573"/>
                <a:gd name="connsiteY19" fmla="*/ 1291242 h 6724315"/>
                <a:gd name="connsiteX20" fmla="*/ 5126116 w 5874573"/>
                <a:gd name="connsiteY20" fmla="*/ 1298860 h 6724315"/>
                <a:gd name="connsiteX21" fmla="*/ 5290957 w 5874573"/>
                <a:gd name="connsiteY21" fmla="*/ 1479661 h 6724315"/>
                <a:gd name="connsiteX22" fmla="*/ 5291180 w 5874573"/>
                <a:gd name="connsiteY22" fmla="*/ 1535080 h 6724315"/>
                <a:gd name="connsiteX23" fmla="*/ 5452444 w 5874573"/>
                <a:gd name="connsiteY23" fmla="*/ 1726990 h 6724315"/>
                <a:gd name="connsiteX24" fmla="*/ 5832432 w 5874573"/>
                <a:gd name="connsiteY24" fmla="*/ 3519512 h 6724315"/>
                <a:gd name="connsiteX25" fmla="*/ 5640353 w 5874573"/>
                <a:gd name="connsiteY25" fmla="*/ 4385669 h 6724315"/>
                <a:gd name="connsiteX26" fmla="*/ 5770569 w 5874573"/>
                <a:gd name="connsiteY26" fmla="*/ 4452156 h 6724315"/>
                <a:gd name="connsiteX27" fmla="*/ 5701120 w 5874573"/>
                <a:gd name="connsiteY27" fmla="*/ 4870077 h 6724315"/>
                <a:gd name="connsiteX28" fmla="*/ 5543591 w 5874573"/>
                <a:gd name="connsiteY28" fmla="*/ 4807792 h 6724315"/>
                <a:gd name="connsiteX29" fmla="*/ 4416328 w 5874573"/>
                <a:gd name="connsiteY29" fmla="*/ 6199821 h 6724315"/>
                <a:gd name="connsiteX30" fmla="*/ 4234027 w 5874573"/>
                <a:gd name="connsiteY30" fmla="*/ 5610934 h 6724315"/>
                <a:gd name="connsiteX31" fmla="*/ 5020993 w 5874573"/>
                <a:gd name="connsiteY31" fmla="*/ 4596953 h 6724315"/>
                <a:gd name="connsiteX32" fmla="*/ 5301042 w 5874573"/>
                <a:gd name="connsiteY32" fmla="*/ 3352779 h 6724315"/>
                <a:gd name="connsiteX33" fmla="*/ 4982226 w 5874573"/>
                <a:gd name="connsiteY33" fmla="*/ 2049487 h 6724315"/>
                <a:gd name="connsiteX34" fmla="*/ 4164973 w 5874573"/>
                <a:gd name="connsiteY34" fmla="*/ 1163055 h 6724315"/>
                <a:gd name="connsiteX35" fmla="*/ 2870707 w 5874573"/>
                <a:gd name="connsiteY35" fmla="*/ 761302 h 6724315"/>
                <a:gd name="connsiteX36" fmla="*/ 1872487 w 5874573"/>
                <a:gd name="connsiteY36" fmla="*/ 1081342 h 6724315"/>
                <a:gd name="connsiteX37" fmla="*/ 863567 w 5874573"/>
                <a:gd name="connsiteY37" fmla="*/ 2111591 h 6724315"/>
                <a:gd name="connsiteX38" fmla="*/ 562232 w 5874573"/>
                <a:gd name="connsiteY38" fmla="*/ 3464807 h 6724315"/>
                <a:gd name="connsiteX39" fmla="*/ 1067558 w 5874573"/>
                <a:gd name="connsiteY39" fmla="*/ 4933546 h 6724315"/>
                <a:gd name="connsiteX40" fmla="*/ 1774060 w 5874573"/>
                <a:gd name="connsiteY40" fmla="*/ 5692347 h 6724315"/>
                <a:gd name="connsiteX41" fmla="*/ 3074662 w 5874573"/>
                <a:gd name="connsiteY41" fmla="*/ 6017548 h 6724315"/>
                <a:gd name="connsiteX42" fmla="*/ 4190613 w 5874573"/>
                <a:gd name="connsiteY42" fmla="*/ 5644651 h 6724315"/>
                <a:gd name="connsiteX43" fmla="*/ 4387309 w 5874573"/>
                <a:gd name="connsiteY43" fmla="*/ 6212667 h 6724315"/>
                <a:gd name="connsiteX44" fmla="*/ 1930613 w 5874573"/>
                <a:gd name="connsiteY44" fmla="*/ 6724315 h 6724315"/>
                <a:gd name="connsiteX45" fmla="*/ 513598 w 5874573"/>
                <a:gd name="connsiteY45" fmla="*/ 5189370 h 6724315"/>
                <a:gd name="connsiteX46" fmla="*/ 31901 w 5874573"/>
                <a:gd name="connsiteY46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523257 w 5884232"/>
                <a:gd name="connsiteY45" fmla="*/ 5189370 h 6724315"/>
                <a:gd name="connsiteX46" fmla="*/ 41560 w 5884232"/>
                <a:gd name="connsiteY46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559386 w 5884232"/>
                <a:gd name="connsiteY45" fmla="*/ 5224057 h 6724315"/>
                <a:gd name="connsiteX46" fmla="*/ 523257 w 5884232"/>
                <a:gd name="connsiteY46" fmla="*/ 5189370 h 6724315"/>
                <a:gd name="connsiteX47" fmla="*/ 41560 w 5884232"/>
                <a:gd name="connsiteY47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430931 w 5884232"/>
                <a:gd name="connsiteY45" fmla="*/ 5323785 h 6724315"/>
                <a:gd name="connsiteX46" fmla="*/ 523257 w 5884232"/>
                <a:gd name="connsiteY46" fmla="*/ 5189370 h 6724315"/>
                <a:gd name="connsiteX47" fmla="*/ 41560 w 5884232"/>
                <a:gd name="connsiteY47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824904 w 5884232"/>
                <a:gd name="connsiteY45" fmla="*/ 5685517 h 6724315"/>
                <a:gd name="connsiteX46" fmla="*/ 430931 w 5884232"/>
                <a:gd name="connsiteY46" fmla="*/ 5323785 h 6724315"/>
                <a:gd name="connsiteX47" fmla="*/ 523257 w 5884232"/>
                <a:gd name="connsiteY47" fmla="*/ 5189370 h 6724315"/>
                <a:gd name="connsiteX48" fmla="*/ 41560 w 5884232"/>
                <a:gd name="connsiteY4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732703 w 5884232"/>
                <a:gd name="connsiteY45" fmla="*/ 5638146 h 6724315"/>
                <a:gd name="connsiteX46" fmla="*/ 430931 w 5884232"/>
                <a:gd name="connsiteY46" fmla="*/ 5323785 h 6724315"/>
                <a:gd name="connsiteX47" fmla="*/ 523257 w 5884232"/>
                <a:gd name="connsiteY47" fmla="*/ 5189370 h 6724315"/>
                <a:gd name="connsiteX48" fmla="*/ 41560 w 5884232"/>
                <a:gd name="connsiteY4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884834 w 5884232"/>
                <a:gd name="connsiteY45" fmla="*/ 5775272 h 6724315"/>
                <a:gd name="connsiteX46" fmla="*/ 732703 w 5884232"/>
                <a:gd name="connsiteY46" fmla="*/ 5638146 h 6724315"/>
                <a:gd name="connsiteX47" fmla="*/ 430931 w 5884232"/>
                <a:gd name="connsiteY47" fmla="*/ 5323785 h 6724315"/>
                <a:gd name="connsiteX48" fmla="*/ 523257 w 5884232"/>
                <a:gd name="connsiteY48" fmla="*/ 5189370 h 6724315"/>
                <a:gd name="connsiteX49" fmla="*/ 41560 w 5884232"/>
                <a:gd name="connsiteY4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817988 w 5884232"/>
                <a:gd name="connsiteY45" fmla="*/ 5548391 h 6724315"/>
                <a:gd name="connsiteX46" fmla="*/ 732703 w 5884232"/>
                <a:gd name="connsiteY46" fmla="*/ 5638146 h 6724315"/>
                <a:gd name="connsiteX47" fmla="*/ 430931 w 5884232"/>
                <a:gd name="connsiteY47" fmla="*/ 5323785 h 6724315"/>
                <a:gd name="connsiteX48" fmla="*/ 523257 w 5884232"/>
                <a:gd name="connsiteY48" fmla="*/ 5189370 h 6724315"/>
                <a:gd name="connsiteX49" fmla="*/ 41560 w 5884232"/>
                <a:gd name="connsiteY4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283604 w 5884232"/>
                <a:gd name="connsiteY40" fmla="*/ 5151972 h 6724315"/>
                <a:gd name="connsiteX41" fmla="*/ 1783719 w 5884232"/>
                <a:gd name="connsiteY41" fmla="*/ 5692347 h 6724315"/>
                <a:gd name="connsiteX42" fmla="*/ 3084321 w 5884232"/>
                <a:gd name="connsiteY42" fmla="*/ 6017548 h 6724315"/>
                <a:gd name="connsiteX43" fmla="*/ 4200272 w 5884232"/>
                <a:gd name="connsiteY43" fmla="*/ 5644651 h 6724315"/>
                <a:gd name="connsiteX44" fmla="*/ 4396968 w 5884232"/>
                <a:gd name="connsiteY44" fmla="*/ 6212667 h 6724315"/>
                <a:gd name="connsiteX45" fmla="*/ 1940272 w 5884232"/>
                <a:gd name="connsiteY45" fmla="*/ 6724315 h 6724315"/>
                <a:gd name="connsiteX46" fmla="*/ 817988 w 5884232"/>
                <a:gd name="connsiteY46" fmla="*/ 5548391 h 6724315"/>
                <a:gd name="connsiteX47" fmla="*/ 732703 w 5884232"/>
                <a:gd name="connsiteY47" fmla="*/ 5638146 h 6724315"/>
                <a:gd name="connsiteX48" fmla="*/ 430931 w 5884232"/>
                <a:gd name="connsiteY48" fmla="*/ 5323785 h 6724315"/>
                <a:gd name="connsiteX49" fmla="*/ 523257 w 5884232"/>
                <a:gd name="connsiteY49" fmla="*/ 5189370 h 6724315"/>
                <a:gd name="connsiteX50" fmla="*/ 41560 w 5884232"/>
                <a:gd name="connsiteY50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783719 w 5884232"/>
                <a:gd name="connsiteY41" fmla="*/ 5692347 h 6724315"/>
                <a:gd name="connsiteX42" fmla="*/ 3084321 w 5884232"/>
                <a:gd name="connsiteY42" fmla="*/ 6017548 h 6724315"/>
                <a:gd name="connsiteX43" fmla="*/ 4200272 w 5884232"/>
                <a:gd name="connsiteY43" fmla="*/ 5644651 h 6724315"/>
                <a:gd name="connsiteX44" fmla="*/ 4396968 w 5884232"/>
                <a:gd name="connsiteY44" fmla="*/ 6212667 h 6724315"/>
                <a:gd name="connsiteX45" fmla="*/ 1940272 w 5884232"/>
                <a:gd name="connsiteY45" fmla="*/ 6724315 h 6724315"/>
                <a:gd name="connsiteX46" fmla="*/ 817988 w 5884232"/>
                <a:gd name="connsiteY46" fmla="*/ 5548391 h 6724315"/>
                <a:gd name="connsiteX47" fmla="*/ 732703 w 5884232"/>
                <a:gd name="connsiteY47" fmla="*/ 5638146 h 6724315"/>
                <a:gd name="connsiteX48" fmla="*/ 430931 w 5884232"/>
                <a:gd name="connsiteY48" fmla="*/ 5323785 h 6724315"/>
                <a:gd name="connsiteX49" fmla="*/ 523257 w 5884232"/>
                <a:gd name="connsiteY49" fmla="*/ 5189370 h 6724315"/>
                <a:gd name="connsiteX50" fmla="*/ 41560 w 5884232"/>
                <a:gd name="connsiteY50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86983 w 5884232"/>
                <a:gd name="connsiteY41" fmla="*/ 5580802 h 6724315"/>
                <a:gd name="connsiteX42" fmla="*/ 1783719 w 5884232"/>
                <a:gd name="connsiteY42" fmla="*/ 5692347 h 6724315"/>
                <a:gd name="connsiteX43" fmla="*/ 3084321 w 5884232"/>
                <a:gd name="connsiteY43" fmla="*/ 6017548 h 6724315"/>
                <a:gd name="connsiteX44" fmla="*/ 4200272 w 5884232"/>
                <a:gd name="connsiteY44" fmla="*/ 5644651 h 6724315"/>
                <a:gd name="connsiteX45" fmla="*/ 4396968 w 5884232"/>
                <a:gd name="connsiteY45" fmla="*/ 6212667 h 6724315"/>
                <a:gd name="connsiteX46" fmla="*/ 1940272 w 5884232"/>
                <a:gd name="connsiteY46" fmla="*/ 6724315 h 6724315"/>
                <a:gd name="connsiteX47" fmla="*/ 817988 w 5884232"/>
                <a:gd name="connsiteY47" fmla="*/ 5548391 h 6724315"/>
                <a:gd name="connsiteX48" fmla="*/ 732703 w 5884232"/>
                <a:gd name="connsiteY48" fmla="*/ 5638146 h 6724315"/>
                <a:gd name="connsiteX49" fmla="*/ 430931 w 5884232"/>
                <a:gd name="connsiteY49" fmla="*/ 5323785 h 6724315"/>
                <a:gd name="connsiteX50" fmla="*/ 523257 w 5884232"/>
                <a:gd name="connsiteY50" fmla="*/ 5189370 h 6724315"/>
                <a:gd name="connsiteX51" fmla="*/ 41560 w 5884232"/>
                <a:gd name="connsiteY5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83719 w 5884232"/>
                <a:gd name="connsiteY42" fmla="*/ 5692347 h 6724315"/>
                <a:gd name="connsiteX43" fmla="*/ 3084321 w 5884232"/>
                <a:gd name="connsiteY43" fmla="*/ 6017548 h 6724315"/>
                <a:gd name="connsiteX44" fmla="*/ 4200272 w 5884232"/>
                <a:gd name="connsiteY44" fmla="*/ 5644651 h 6724315"/>
                <a:gd name="connsiteX45" fmla="*/ 4396968 w 5884232"/>
                <a:gd name="connsiteY45" fmla="*/ 6212667 h 6724315"/>
                <a:gd name="connsiteX46" fmla="*/ 1940272 w 5884232"/>
                <a:gd name="connsiteY46" fmla="*/ 6724315 h 6724315"/>
                <a:gd name="connsiteX47" fmla="*/ 817988 w 5884232"/>
                <a:gd name="connsiteY47" fmla="*/ 5548391 h 6724315"/>
                <a:gd name="connsiteX48" fmla="*/ 732703 w 5884232"/>
                <a:gd name="connsiteY48" fmla="*/ 5638146 h 6724315"/>
                <a:gd name="connsiteX49" fmla="*/ 430931 w 5884232"/>
                <a:gd name="connsiteY49" fmla="*/ 5323785 h 6724315"/>
                <a:gd name="connsiteX50" fmla="*/ 523257 w 5884232"/>
                <a:gd name="connsiteY50" fmla="*/ 5189370 h 6724315"/>
                <a:gd name="connsiteX51" fmla="*/ 41560 w 5884232"/>
                <a:gd name="connsiteY5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35389 w 5884232"/>
                <a:gd name="connsiteY42" fmla="*/ 5605735 h 6724315"/>
                <a:gd name="connsiteX43" fmla="*/ 1783719 w 5884232"/>
                <a:gd name="connsiteY43" fmla="*/ 5692347 h 6724315"/>
                <a:gd name="connsiteX44" fmla="*/ 3084321 w 5884232"/>
                <a:gd name="connsiteY44" fmla="*/ 6017548 h 6724315"/>
                <a:gd name="connsiteX45" fmla="*/ 4200272 w 5884232"/>
                <a:gd name="connsiteY45" fmla="*/ 5644651 h 6724315"/>
                <a:gd name="connsiteX46" fmla="*/ 4396968 w 5884232"/>
                <a:gd name="connsiteY46" fmla="*/ 6212667 h 6724315"/>
                <a:gd name="connsiteX47" fmla="*/ 1940272 w 5884232"/>
                <a:gd name="connsiteY47" fmla="*/ 6724315 h 6724315"/>
                <a:gd name="connsiteX48" fmla="*/ 817988 w 5884232"/>
                <a:gd name="connsiteY48" fmla="*/ 5548391 h 6724315"/>
                <a:gd name="connsiteX49" fmla="*/ 732703 w 5884232"/>
                <a:gd name="connsiteY49" fmla="*/ 5638146 h 6724315"/>
                <a:gd name="connsiteX50" fmla="*/ 430931 w 5884232"/>
                <a:gd name="connsiteY50" fmla="*/ 5323785 h 6724315"/>
                <a:gd name="connsiteX51" fmla="*/ 523257 w 5884232"/>
                <a:gd name="connsiteY51" fmla="*/ 5189370 h 6724315"/>
                <a:gd name="connsiteX52" fmla="*/ 41560 w 5884232"/>
                <a:gd name="connsiteY52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783719 w 5884232"/>
                <a:gd name="connsiteY43" fmla="*/ 5692347 h 6724315"/>
                <a:gd name="connsiteX44" fmla="*/ 3084321 w 5884232"/>
                <a:gd name="connsiteY44" fmla="*/ 6017548 h 6724315"/>
                <a:gd name="connsiteX45" fmla="*/ 4200272 w 5884232"/>
                <a:gd name="connsiteY45" fmla="*/ 5644651 h 6724315"/>
                <a:gd name="connsiteX46" fmla="*/ 4396968 w 5884232"/>
                <a:gd name="connsiteY46" fmla="*/ 6212667 h 6724315"/>
                <a:gd name="connsiteX47" fmla="*/ 1940272 w 5884232"/>
                <a:gd name="connsiteY47" fmla="*/ 6724315 h 6724315"/>
                <a:gd name="connsiteX48" fmla="*/ 817988 w 5884232"/>
                <a:gd name="connsiteY48" fmla="*/ 5548391 h 6724315"/>
                <a:gd name="connsiteX49" fmla="*/ 732703 w 5884232"/>
                <a:gd name="connsiteY49" fmla="*/ 5638146 h 6724315"/>
                <a:gd name="connsiteX50" fmla="*/ 430931 w 5884232"/>
                <a:gd name="connsiteY50" fmla="*/ 5323785 h 6724315"/>
                <a:gd name="connsiteX51" fmla="*/ 523257 w 5884232"/>
                <a:gd name="connsiteY51" fmla="*/ 5189370 h 6724315"/>
                <a:gd name="connsiteX52" fmla="*/ 41560 w 5884232"/>
                <a:gd name="connsiteY52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744609 w 5884232"/>
                <a:gd name="connsiteY43" fmla="*/ 5618200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817988 w 5884232"/>
                <a:gd name="connsiteY49" fmla="*/ 5548391 h 6724315"/>
                <a:gd name="connsiteX50" fmla="*/ 732703 w 5884232"/>
                <a:gd name="connsiteY50" fmla="*/ 5638146 h 6724315"/>
                <a:gd name="connsiteX51" fmla="*/ 430931 w 5884232"/>
                <a:gd name="connsiteY51" fmla="*/ 5323785 h 6724315"/>
                <a:gd name="connsiteX52" fmla="*/ 523257 w 5884232"/>
                <a:gd name="connsiteY52" fmla="*/ 5189370 h 6724315"/>
                <a:gd name="connsiteX53" fmla="*/ 41560 w 5884232"/>
                <a:gd name="connsiteY53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817988 w 5884232"/>
                <a:gd name="connsiteY49" fmla="*/ 5548391 h 6724315"/>
                <a:gd name="connsiteX50" fmla="*/ 732703 w 5884232"/>
                <a:gd name="connsiteY50" fmla="*/ 5638146 h 6724315"/>
                <a:gd name="connsiteX51" fmla="*/ 430931 w 5884232"/>
                <a:gd name="connsiteY51" fmla="*/ 5323785 h 6724315"/>
                <a:gd name="connsiteX52" fmla="*/ 523257 w 5884232"/>
                <a:gd name="connsiteY52" fmla="*/ 5189370 h 6724315"/>
                <a:gd name="connsiteX53" fmla="*/ 41560 w 5884232"/>
                <a:gd name="connsiteY53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013916 w 5884232"/>
                <a:gd name="connsiteY49" fmla="*/ 5755327 h 6724315"/>
                <a:gd name="connsiteX50" fmla="*/ 817988 w 5884232"/>
                <a:gd name="connsiteY50" fmla="*/ 5548391 h 6724315"/>
                <a:gd name="connsiteX51" fmla="*/ 732703 w 5884232"/>
                <a:gd name="connsiteY51" fmla="*/ 5638146 h 6724315"/>
                <a:gd name="connsiteX52" fmla="*/ 430931 w 5884232"/>
                <a:gd name="connsiteY52" fmla="*/ 5323785 h 6724315"/>
                <a:gd name="connsiteX53" fmla="*/ 523257 w 5884232"/>
                <a:gd name="connsiteY53" fmla="*/ 5189370 h 6724315"/>
                <a:gd name="connsiteX54" fmla="*/ 41560 w 5884232"/>
                <a:gd name="connsiteY54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013916 w 5884232"/>
                <a:gd name="connsiteY50" fmla="*/ 5755327 h 6724315"/>
                <a:gd name="connsiteX51" fmla="*/ 817988 w 5884232"/>
                <a:gd name="connsiteY51" fmla="*/ 5548391 h 6724315"/>
                <a:gd name="connsiteX52" fmla="*/ 732703 w 5884232"/>
                <a:gd name="connsiteY52" fmla="*/ 5638146 h 6724315"/>
                <a:gd name="connsiteX53" fmla="*/ 430931 w 5884232"/>
                <a:gd name="connsiteY53" fmla="*/ 5323785 h 6724315"/>
                <a:gd name="connsiteX54" fmla="*/ 523257 w 5884232"/>
                <a:gd name="connsiteY54" fmla="*/ 5189370 h 6724315"/>
                <a:gd name="connsiteX55" fmla="*/ 41560 w 5884232"/>
                <a:gd name="connsiteY55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30588 w 5884232"/>
                <a:gd name="connsiteY50" fmla="*/ 5977221 h 6724315"/>
                <a:gd name="connsiteX51" fmla="*/ 1013916 w 5884232"/>
                <a:gd name="connsiteY51" fmla="*/ 5755327 h 6724315"/>
                <a:gd name="connsiteX52" fmla="*/ 817988 w 5884232"/>
                <a:gd name="connsiteY52" fmla="*/ 5548391 h 6724315"/>
                <a:gd name="connsiteX53" fmla="*/ 732703 w 5884232"/>
                <a:gd name="connsiteY53" fmla="*/ 5638146 h 6724315"/>
                <a:gd name="connsiteX54" fmla="*/ 430931 w 5884232"/>
                <a:gd name="connsiteY54" fmla="*/ 5323785 h 6724315"/>
                <a:gd name="connsiteX55" fmla="*/ 523257 w 5884232"/>
                <a:gd name="connsiteY55" fmla="*/ 5189370 h 6724315"/>
                <a:gd name="connsiteX56" fmla="*/ 41560 w 5884232"/>
                <a:gd name="connsiteY56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32893 w 5884232"/>
                <a:gd name="connsiteY50" fmla="*/ 6032071 h 6724315"/>
                <a:gd name="connsiteX51" fmla="*/ 1013916 w 5884232"/>
                <a:gd name="connsiteY51" fmla="*/ 5755327 h 6724315"/>
                <a:gd name="connsiteX52" fmla="*/ 817988 w 5884232"/>
                <a:gd name="connsiteY52" fmla="*/ 5548391 h 6724315"/>
                <a:gd name="connsiteX53" fmla="*/ 732703 w 5884232"/>
                <a:gd name="connsiteY53" fmla="*/ 5638146 h 6724315"/>
                <a:gd name="connsiteX54" fmla="*/ 430931 w 5884232"/>
                <a:gd name="connsiteY54" fmla="*/ 5323785 h 6724315"/>
                <a:gd name="connsiteX55" fmla="*/ 523257 w 5884232"/>
                <a:gd name="connsiteY55" fmla="*/ 5189370 h 6724315"/>
                <a:gd name="connsiteX56" fmla="*/ 41560 w 5884232"/>
                <a:gd name="connsiteY56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32893 w 5884232"/>
                <a:gd name="connsiteY50" fmla="*/ 6032071 h 6724315"/>
                <a:gd name="connsiteX51" fmla="*/ 1039271 w 5884232"/>
                <a:gd name="connsiteY51" fmla="*/ 5790231 h 6724315"/>
                <a:gd name="connsiteX52" fmla="*/ 1013916 w 5884232"/>
                <a:gd name="connsiteY52" fmla="*/ 5755327 h 6724315"/>
                <a:gd name="connsiteX53" fmla="*/ 817988 w 5884232"/>
                <a:gd name="connsiteY53" fmla="*/ 5548391 h 6724315"/>
                <a:gd name="connsiteX54" fmla="*/ 732703 w 5884232"/>
                <a:gd name="connsiteY54" fmla="*/ 5638146 h 6724315"/>
                <a:gd name="connsiteX55" fmla="*/ 430931 w 5884232"/>
                <a:gd name="connsiteY55" fmla="*/ 5323785 h 6724315"/>
                <a:gd name="connsiteX56" fmla="*/ 523257 w 5884232"/>
                <a:gd name="connsiteY56" fmla="*/ 5189370 h 6724315"/>
                <a:gd name="connsiteX57" fmla="*/ 41560 w 5884232"/>
                <a:gd name="connsiteY57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32893 w 5884232"/>
                <a:gd name="connsiteY50" fmla="*/ 6032071 h 6724315"/>
                <a:gd name="connsiteX51" fmla="*/ 1000086 w 5884232"/>
                <a:gd name="connsiteY51" fmla="*/ 5782751 h 6724315"/>
                <a:gd name="connsiteX52" fmla="*/ 1013916 w 5884232"/>
                <a:gd name="connsiteY52" fmla="*/ 5755327 h 6724315"/>
                <a:gd name="connsiteX53" fmla="*/ 817988 w 5884232"/>
                <a:gd name="connsiteY53" fmla="*/ 5548391 h 6724315"/>
                <a:gd name="connsiteX54" fmla="*/ 732703 w 5884232"/>
                <a:gd name="connsiteY54" fmla="*/ 5638146 h 6724315"/>
                <a:gd name="connsiteX55" fmla="*/ 430931 w 5884232"/>
                <a:gd name="connsiteY55" fmla="*/ 5323785 h 6724315"/>
                <a:gd name="connsiteX56" fmla="*/ 523257 w 5884232"/>
                <a:gd name="connsiteY56" fmla="*/ 5189370 h 6724315"/>
                <a:gd name="connsiteX57" fmla="*/ 41560 w 5884232"/>
                <a:gd name="connsiteY57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22789 w 5884232"/>
                <a:gd name="connsiteY50" fmla="*/ 6089415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66585 w 5884232"/>
                <a:gd name="connsiteY50" fmla="*/ 6176678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66585 w 5884232"/>
                <a:gd name="connsiteY50" fmla="*/ 6176678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189098 w 5884232"/>
                <a:gd name="connsiteY50" fmla="*/ 6081936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189098 w 5884232"/>
                <a:gd name="connsiteY50" fmla="*/ 6081936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81298 w 5884232"/>
                <a:gd name="connsiteY50" fmla="*/ 6114348 h 6724315"/>
                <a:gd name="connsiteX51" fmla="*/ 1189098 w 5884232"/>
                <a:gd name="connsiteY51" fmla="*/ 6081936 h 6724315"/>
                <a:gd name="connsiteX52" fmla="*/ 1232893 w 5884232"/>
                <a:gd name="connsiteY52" fmla="*/ 6032071 h 6724315"/>
                <a:gd name="connsiteX53" fmla="*/ 1000086 w 5884232"/>
                <a:gd name="connsiteY53" fmla="*/ 5782751 h 6724315"/>
                <a:gd name="connsiteX54" fmla="*/ 1013916 w 5884232"/>
                <a:gd name="connsiteY54" fmla="*/ 5755327 h 6724315"/>
                <a:gd name="connsiteX55" fmla="*/ 817988 w 5884232"/>
                <a:gd name="connsiteY55" fmla="*/ 5548391 h 6724315"/>
                <a:gd name="connsiteX56" fmla="*/ 732703 w 5884232"/>
                <a:gd name="connsiteY56" fmla="*/ 5638146 h 6724315"/>
                <a:gd name="connsiteX57" fmla="*/ 430931 w 5884232"/>
                <a:gd name="connsiteY57" fmla="*/ 5323785 h 6724315"/>
                <a:gd name="connsiteX58" fmla="*/ 523257 w 5884232"/>
                <a:gd name="connsiteY58" fmla="*/ 5189370 h 6724315"/>
                <a:gd name="connsiteX59" fmla="*/ 41560 w 5884232"/>
                <a:gd name="connsiteY5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99739 w 5884232"/>
                <a:gd name="connsiteY50" fmla="*/ 6201610 h 6724315"/>
                <a:gd name="connsiteX51" fmla="*/ 1189098 w 5884232"/>
                <a:gd name="connsiteY51" fmla="*/ 6081936 h 6724315"/>
                <a:gd name="connsiteX52" fmla="*/ 1232893 w 5884232"/>
                <a:gd name="connsiteY52" fmla="*/ 6032071 h 6724315"/>
                <a:gd name="connsiteX53" fmla="*/ 1000086 w 5884232"/>
                <a:gd name="connsiteY53" fmla="*/ 5782751 h 6724315"/>
                <a:gd name="connsiteX54" fmla="*/ 1013916 w 5884232"/>
                <a:gd name="connsiteY54" fmla="*/ 5755327 h 6724315"/>
                <a:gd name="connsiteX55" fmla="*/ 817988 w 5884232"/>
                <a:gd name="connsiteY55" fmla="*/ 5548391 h 6724315"/>
                <a:gd name="connsiteX56" fmla="*/ 732703 w 5884232"/>
                <a:gd name="connsiteY56" fmla="*/ 5638146 h 6724315"/>
                <a:gd name="connsiteX57" fmla="*/ 430931 w 5884232"/>
                <a:gd name="connsiteY57" fmla="*/ 5323785 h 6724315"/>
                <a:gd name="connsiteX58" fmla="*/ 523257 w 5884232"/>
                <a:gd name="connsiteY58" fmla="*/ 5189370 h 6724315"/>
                <a:gd name="connsiteX59" fmla="*/ 41560 w 5884232"/>
                <a:gd name="connsiteY5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99739 w 5884232"/>
                <a:gd name="connsiteY50" fmla="*/ 6201610 h 6724315"/>
                <a:gd name="connsiteX51" fmla="*/ 1189098 w 5884232"/>
                <a:gd name="connsiteY51" fmla="*/ 6081936 h 6724315"/>
                <a:gd name="connsiteX52" fmla="*/ 1232893 w 5884232"/>
                <a:gd name="connsiteY52" fmla="*/ 6032071 h 6724315"/>
                <a:gd name="connsiteX53" fmla="*/ 1000086 w 5884232"/>
                <a:gd name="connsiteY53" fmla="*/ 5782751 h 6724315"/>
                <a:gd name="connsiteX54" fmla="*/ 1013916 w 5884232"/>
                <a:gd name="connsiteY54" fmla="*/ 5755327 h 6724315"/>
                <a:gd name="connsiteX55" fmla="*/ 817988 w 5884232"/>
                <a:gd name="connsiteY55" fmla="*/ 5548391 h 6724315"/>
                <a:gd name="connsiteX56" fmla="*/ 732703 w 5884232"/>
                <a:gd name="connsiteY56" fmla="*/ 5638146 h 6724315"/>
                <a:gd name="connsiteX57" fmla="*/ 430931 w 5884232"/>
                <a:gd name="connsiteY57" fmla="*/ 5323785 h 6724315"/>
                <a:gd name="connsiteX58" fmla="*/ 523257 w 5884232"/>
                <a:gd name="connsiteY58" fmla="*/ 5189370 h 6724315"/>
                <a:gd name="connsiteX59" fmla="*/ 41560 w 5884232"/>
                <a:gd name="connsiteY5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48145 w 5884232"/>
                <a:gd name="connsiteY50" fmla="*/ 6174185 h 6724315"/>
                <a:gd name="connsiteX51" fmla="*/ 1299739 w 5884232"/>
                <a:gd name="connsiteY51" fmla="*/ 6201610 h 6724315"/>
                <a:gd name="connsiteX52" fmla="*/ 1189098 w 5884232"/>
                <a:gd name="connsiteY52" fmla="*/ 6081936 h 6724315"/>
                <a:gd name="connsiteX53" fmla="*/ 1232893 w 5884232"/>
                <a:gd name="connsiteY53" fmla="*/ 6032071 h 6724315"/>
                <a:gd name="connsiteX54" fmla="*/ 1000086 w 5884232"/>
                <a:gd name="connsiteY54" fmla="*/ 5782751 h 6724315"/>
                <a:gd name="connsiteX55" fmla="*/ 1013916 w 5884232"/>
                <a:gd name="connsiteY55" fmla="*/ 5755327 h 6724315"/>
                <a:gd name="connsiteX56" fmla="*/ 817988 w 5884232"/>
                <a:gd name="connsiteY56" fmla="*/ 5548391 h 6724315"/>
                <a:gd name="connsiteX57" fmla="*/ 732703 w 5884232"/>
                <a:gd name="connsiteY57" fmla="*/ 5638146 h 6724315"/>
                <a:gd name="connsiteX58" fmla="*/ 430931 w 5884232"/>
                <a:gd name="connsiteY58" fmla="*/ 5323785 h 6724315"/>
                <a:gd name="connsiteX59" fmla="*/ 523257 w 5884232"/>
                <a:gd name="connsiteY59" fmla="*/ 5189370 h 6724315"/>
                <a:gd name="connsiteX60" fmla="*/ 41560 w 5884232"/>
                <a:gd name="connsiteY60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45840 w 5884232"/>
                <a:gd name="connsiteY50" fmla="*/ 6151747 h 6724315"/>
                <a:gd name="connsiteX51" fmla="*/ 1299739 w 5884232"/>
                <a:gd name="connsiteY51" fmla="*/ 6201610 h 6724315"/>
                <a:gd name="connsiteX52" fmla="*/ 1189098 w 5884232"/>
                <a:gd name="connsiteY52" fmla="*/ 6081936 h 6724315"/>
                <a:gd name="connsiteX53" fmla="*/ 1232893 w 5884232"/>
                <a:gd name="connsiteY53" fmla="*/ 6032071 h 6724315"/>
                <a:gd name="connsiteX54" fmla="*/ 1000086 w 5884232"/>
                <a:gd name="connsiteY54" fmla="*/ 5782751 h 6724315"/>
                <a:gd name="connsiteX55" fmla="*/ 1013916 w 5884232"/>
                <a:gd name="connsiteY55" fmla="*/ 5755327 h 6724315"/>
                <a:gd name="connsiteX56" fmla="*/ 817988 w 5884232"/>
                <a:gd name="connsiteY56" fmla="*/ 5548391 h 6724315"/>
                <a:gd name="connsiteX57" fmla="*/ 732703 w 5884232"/>
                <a:gd name="connsiteY57" fmla="*/ 5638146 h 6724315"/>
                <a:gd name="connsiteX58" fmla="*/ 430931 w 5884232"/>
                <a:gd name="connsiteY58" fmla="*/ 5323785 h 6724315"/>
                <a:gd name="connsiteX59" fmla="*/ 523257 w 5884232"/>
                <a:gd name="connsiteY59" fmla="*/ 5189370 h 6724315"/>
                <a:gd name="connsiteX60" fmla="*/ 41560 w 5884232"/>
                <a:gd name="connsiteY60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80415 w 5884232"/>
                <a:gd name="connsiteY50" fmla="*/ 6151746 h 6724315"/>
                <a:gd name="connsiteX51" fmla="*/ 1345840 w 5884232"/>
                <a:gd name="connsiteY51" fmla="*/ 6151747 h 6724315"/>
                <a:gd name="connsiteX52" fmla="*/ 1299739 w 5884232"/>
                <a:gd name="connsiteY52" fmla="*/ 6201610 h 6724315"/>
                <a:gd name="connsiteX53" fmla="*/ 1189098 w 5884232"/>
                <a:gd name="connsiteY53" fmla="*/ 6081936 h 6724315"/>
                <a:gd name="connsiteX54" fmla="*/ 1232893 w 5884232"/>
                <a:gd name="connsiteY54" fmla="*/ 6032071 h 6724315"/>
                <a:gd name="connsiteX55" fmla="*/ 1000086 w 5884232"/>
                <a:gd name="connsiteY55" fmla="*/ 5782751 h 6724315"/>
                <a:gd name="connsiteX56" fmla="*/ 1013916 w 5884232"/>
                <a:gd name="connsiteY56" fmla="*/ 5755327 h 6724315"/>
                <a:gd name="connsiteX57" fmla="*/ 817988 w 5884232"/>
                <a:gd name="connsiteY57" fmla="*/ 5548391 h 6724315"/>
                <a:gd name="connsiteX58" fmla="*/ 732703 w 5884232"/>
                <a:gd name="connsiteY58" fmla="*/ 5638146 h 6724315"/>
                <a:gd name="connsiteX59" fmla="*/ 430931 w 5884232"/>
                <a:gd name="connsiteY59" fmla="*/ 5323785 h 6724315"/>
                <a:gd name="connsiteX60" fmla="*/ 523257 w 5884232"/>
                <a:gd name="connsiteY60" fmla="*/ 5189370 h 6724315"/>
                <a:gd name="connsiteX61" fmla="*/ 41560 w 5884232"/>
                <a:gd name="connsiteY6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71195 w 5884232"/>
                <a:gd name="connsiteY50" fmla="*/ 6184157 h 6724315"/>
                <a:gd name="connsiteX51" fmla="*/ 1345840 w 5884232"/>
                <a:gd name="connsiteY51" fmla="*/ 6151747 h 6724315"/>
                <a:gd name="connsiteX52" fmla="*/ 1299739 w 5884232"/>
                <a:gd name="connsiteY52" fmla="*/ 6201610 h 6724315"/>
                <a:gd name="connsiteX53" fmla="*/ 1189098 w 5884232"/>
                <a:gd name="connsiteY53" fmla="*/ 6081936 h 6724315"/>
                <a:gd name="connsiteX54" fmla="*/ 1232893 w 5884232"/>
                <a:gd name="connsiteY54" fmla="*/ 6032071 h 6724315"/>
                <a:gd name="connsiteX55" fmla="*/ 1000086 w 5884232"/>
                <a:gd name="connsiteY55" fmla="*/ 5782751 h 6724315"/>
                <a:gd name="connsiteX56" fmla="*/ 1013916 w 5884232"/>
                <a:gd name="connsiteY56" fmla="*/ 5755327 h 6724315"/>
                <a:gd name="connsiteX57" fmla="*/ 817988 w 5884232"/>
                <a:gd name="connsiteY57" fmla="*/ 5548391 h 6724315"/>
                <a:gd name="connsiteX58" fmla="*/ 732703 w 5884232"/>
                <a:gd name="connsiteY58" fmla="*/ 5638146 h 6724315"/>
                <a:gd name="connsiteX59" fmla="*/ 430931 w 5884232"/>
                <a:gd name="connsiteY59" fmla="*/ 5323785 h 6724315"/>
                <a:gd name="connsiteX60" fmla="*/ 523257 w 5884232"/>
                <a:gd name="connsiteY60" fmla="*/ 5189370 h 6724315"/>
                <a:gd name="connsiteX61" fmla="*/ 41560 w 5884232"/>
                <a:gd name="connsiteY6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71195 w 5884232"/>
                <a:gd name="connsiteY50" fmla="*/ 6184157 h 6724315"/>
                <a:gd name="connsiteX51" fmla="*/ 1345840 w 5884232"/>
                <a:gd name="connsiteY51" fmla="*/ 6151747 h 6724315"/>
                <a:gd name="connsiteX52" fmla="*/ 1304349 w 5884232"/>
                <a:gd name="connsiteY52" fmla="*/ 6209090 h 6724315"/>
                <a:gd name="connsiteX53" fmla="*/ 1189098 w 5884232"/>
                <a:gd name="connsiteY53" fmla="*/ 6081936 h 6724315"/>
                <a:gd name="connsiteX54" fmla="*/ 1232893 w 5884232"/>
                <a:gd name="connsiteY54" fmla="*/ 6032071 h 6724315"/>
                <a:gd name="connsiteX55" fmla="*/ 1000086 w 5884232"/>
                <a:gd name="connsiteY55" fmla="*/ 5782751 h 6724315"/>
                <a:gd name="connsiteX56" fmla="*/ 1013916 w 5884232"/>
                <a:gd name="connsiteY56" fmla="*/ 5755327 h 6724315"/>
                <a:gd name="connsiteX57" fmla="*/ 817988 w 5884232"/>
                <a:gd name="connsiteY57" fmla="*/ 5548391 h 6724315"/>
                <a:gd name="connsiteX58" fmla="*/ 732703 w 5884232"/>
                <a:gd name="connsiteY58" fmla="*/ 5638146 h 6724315"/>
                <a:gd name="connsiteX59" fmla="*/ 430931 w 5884232"/>
                <a:gd name="connsiteY59" fmla="*/ 5323785 h 6724315"/>
                <a:gd name="connsiteX60" fmla="*/ 523257 w 5884232"/>
                <a:gd name="connsiteY60" fmla="*/ 5189370 h 6724315"/>
                <a:gd name="connsiteX61" fmla="*/ 41560 w 5884232"/>
                <a:gd name="connsiteY6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85024 w 5884232"/>
                <a:gd name="connsiteY49" fmla="*/ 6164212 h 6724315"/>
                <a:gd name="connsiteX50" fmla="*/ 1371195 w 5884232"/>
                <a:gd name="connsiteY50" fmla="*/ 6184157 h 6724315"/>
                <a:gd name="connsiteX51" fmla="*/ 1345840 w 5884232"/>
                <a:gd name="connsiteY51" fmla="*/ 6151747 h 6724315"/>
                <a:gd name="connsiteX52" fmla="*/ 1304349 w 5884232"/>
                <a:gd name="connsiteY52" fmla="*/ 6209090 h 6724315"/>
                <a:gd name="connsiteX53" fmla="*/ 1189098 w 5884232"/>
                <a:gd name="connsiteY53" fmla="*/ 6081936 h 6724315"/>
                <a:gd name="connsiteX54" fmla="*/ 1232893 w 5884232"/>
                <a:gd name="connsiteY54" fmla="*/ 6032071 h 6724315"/>
                <a:gd name="connsiteX55" fmla="*/ 1000086 w 5884232"/>
                <a:gd name="connsiteY55" fmla="*/ 5782751 h 6724315"/>
                <a:gd name="connsiteX56" fmla="*/ 1013916 w 5884232"/>
                <a:gd name="connsiteY56" fmla="*/ 5755327 h 6724315"/>
                <a:gd name="connsiteX57" fmla="*/ 817988 w 5884232"/>
                <a:gd name="connsiteY57" fmla="*/ 5548391 h 6724315"/>
                <a:gd name="connsiteX58" fmla="*/ 732703 w 5884232"/>
                <a:gd name="connsiteY58" fmla="*/ 5638146 h 6724315"/>
                <a:gd name="connsiteX59" fmla="*/ 430931 w 5884232"/>
                <a:gd name="connsiteY59" fmla="*/ 5323785 h 6724315"/>
                <a:gd name="connsiteX60" fmla="*/ 523257 w 5884232"/>
                <a:gd name="connsiteY60" fmla="*/ 5189370 h 6724315"/>
                <a:gd name="connsiteX61" fmla="*/ 41560 w 5884232"/>
                <a:gd name="connsiteY6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509496 w 5884232"/>
                <a:gd name="connsiteY49" fmla="*/ 6283886 h 6724315"/>
                <a:gd name="connsiteX50" fmla="*/ 1385024 w 5884232"/>
                <a:gd name="connsiteY50" fmla="*/ 6164212 h 6724315"/>
                <a:gd name="connsiteX51" fmla="*/ 1371195 w 5884232"/>
                <a:gd name="connsiteY51" fmla="*/ 6184157 h 6724315"/>
                <a:gd name="connsiteX52" fmla="*/ 1345840 w 5884232"/>
                <a:gd name="connsiteY52" fmla="*/ 6151747 h 6724315"/>
                <a:gd name="connsiteX53" fmla="*/ 1304349 w 5884232"/>
                <a:gd name="connsiteY53" fmla="*/ 6209090 h 6724315"/>
                <a:gd name="connsiteX54" fmla="*/ 1189098 w 5884232"/>
                <a:gd name="connsiteY54" fmla="*/ 6081936 h 6724315"/>
                <a:gd name="connsiteX55" fmla="*/ 1232893 w 5884232"/>
                <a:gd name="connsiteY55" fmla="*/ 6032071 h 6724315"/>
                <a:gd name="connsiteX56" fmla="*/ 1000086 w 5884232"/>
                <a:gd name="connsiteY56" fmla="*/ 5782751 h 6724315"/>
                <a:gd name="connsiteX57" fmla="*/ 1013916 w 5884232"/>
                <a:gd name="connsiteY57" fmla="*/ 5755327 h 6724315"/>
                <a:gd name="connsiteX58" fmla="*/ 817988 w 5884232"/>
                <a:gd name="connsiteY58" fmla="*/ 5548391 h 6724315"/>
                <a:gd name="connsiteX59" fmla="*/ 732703 w 5884232"/>
                <a:gd name="connsiteY59" fmla="*/ 5638146 h 6724315"/>
                <a:gd name="connsiteX60" fmla="*/ 430931 w 5884232"/>
                <a:gd name="connsiteY60" fmla="*/ 5323785 h 6724315"/>
                <a:gd name="connsiteX61" fmla="*/ 523257 w 5884232"/>
                <a:gd name="connsiteY61" fmla="*/ 5189370 h 6724315"/>
                <a:gd name="connsiteX62" fmla="*/ 41560 w 5884232"/>
                <a:gd name="connsiteY62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541767 w 5884232"/>
                <a:gd name="connsiteY49" fmla="*/ 6338736 h 6724315"/>
                <a:gd name="connsiteX50" fmla="*/ 1385024 w 5884232"/>
                <a:gd name="connsiteY50" fmla="*/ 6164212 h 6724315"/>
                <a:gd name="connsiteX51" fmla="*/ 1371195 w 5884232"/>
                <a:gd name="connsiteY51" fmla="*/ 6184157 h 6724315"/>
                <a:gd name="connsiteX52" fmla="*/ 1345840 w 5884232"/>
                <a:gd name="connsiteY52" fmla="*/ 6151747 h 6724315"/>
                <a:gd name="connsiteX53" fmla="*/ 1304349 w 5884232"/>
                <a:gd name="connsiteY53" fmla="*/ 6209090 h 6724315"/>
                <a:gd name="connsiteX54" fmla="*/ 1189098 w 5884232"/>
                <a:gd name="connsiteY54" fmla="*/ 6081936 h 6724315"/>
                <a:gd name="connsiteX55" fmla="*/ 1232893 w 5884232"/>
                <a:gd name="connsiteY55" fmla="*/ 6032071 h 6724315"/>
                <a:gd name="connsiteX56" fmla="*/ 1000086 w 5884232"/>
                <a:gd name="connsiteY56" fmla="*/ 5782751 h 6724315"/>
                <a:gd name="connsiteX57" fmla="*/ 1013916 w 5884232"/>
                <a:gd name="connsiteY57" fmla="*/ 5755327 h 6724315"/>
                <a:gd name="connsiteX58" fmla="*/ 817988 w 5884232"/>
                <a:gd name="connsiteY58" fmla="*/ 5548391 h 6724315"/>
                <a:gd name="connsiteX59" fmla="*/ 732703 w 5884232"/>
                <a:gd name="connsiteY59" fmla="*/ 5638146 h 6724315"/>
                <a:gd name="connsiteX60" fmla="*/ 430931 w 5884232"/>
                <a:gd name="connsiteY60" fmla="*/ 5323785 h 6724315"/>
                <a:gd name="connsiteX61" fmla="*/ 523257 w 5884232"/>
                <a:gd name="connsiteY61" fmla="*/ 5189370 h 6724315"/>
                <a:gd name="connsiteX62" fmla="*/ 41560 w 5884232"/>
                <a:gd name="connsiteY62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620137 w 5884232"/>
                <a:gd name="connsiteY49" fmla="*/ 6413532 h 6724315"/>
                <a:gd name="connsiteX50" fmla="*/ 1541767 w 5884232"/>
                <a:gd name="connsiteY50" fmla="*/ 6338736 h 6724315"/>
                <a:gd name="connsiteX51" fmla="*/ 1385024 w 5884232"/>
                <a:gd name="connsiteY51" fmla="*/ 6164212 h 6724315"/>
                <a:gd name="connsiteX52" fmla="*/ 1371195 w 5884232"/>
                <a:gd name="connsiteY52" fmla="*/ 6184157 h 6724315"/>
                <a:gd name="connsiteX53" fmla="*/ 1345840 w 5884232"/>
                <a:gd name="connsiteY53" fmla="*/ 6151747 h 6724315"/>
                <a:gd name="connsiteX54" fmla="*/ 1304349 w 5884232"/>
                <a:gd name="connsiteY54" fmla="*/ 6209090 h 6724315"/>
                <a:gd name="connsiteX55" fmla="*/ 1189098 w 5884232"/>
                <a:gd name="connsiteY55" fmla="*/ 6081936 h 6724315"/>
                <a:gd name="connsiteX56" fmla="*/ 1232893 w 5884232"/>
                <a:gd name="connsiteY56" fmla="*/ 6032071 h 6724315"/>
                <a:gd name="connsiteX57" fmla="*/ 1000086 w 5884232"/>
                <a:gd name="connsiteY57" fmla="*/ 5782751 h 6724315"/>
                <a:gd name="connsiteX58" fmla="*/ 1013916 w 5884232"/>
                <a:gd name="connsiteY58" fmla="*/ 5755327 h 6724315"/>
                <a:gd name="connsiteX59" fmla="*/ 817988 w 5884232"/>
                <a:gd name="connsiteY59" fmla="*/ 5548391 h 6724315"/>
                <a:gd name="connsiteX60" fmla="*/ 732703 w 5884232"/>
                <a:gd name="connsiteY60" fmla="*/ 5638146 h 6724315"/>
                <a:gd name="connsiteX61" fmla="*/ 430931 w 5884232"/>
                <a:gd name="connsiteY61" fmla="*/ 5323785 h 6724315"/>
                <a:gd name="connsiteX62" fmla="*/ 523257 w 5884232"/>
                <a:gd name="connsiteY62" fmla="*/ 5189370 h 6724315"/>
                <a:gd name="connsiteX63" fmla="*/ 41560 w 5884232"/>
                <a:gd name="connsiteY63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578647 w 5884232"/>
                <a:gd name="connsiteY49" fmla="*/ 6346215 h 6724315"/>
                <a:gd name="connsiteX50" fmla="*/ 1541767 w 5884232"/>
                <a:gd name="connsiteY50" fmla="*/ 6338736 h 6724315"/>
                <a:gd name="connsiteX51" fmla="*/ 1385024 w 5884232"/>
                <a:gd name="connsiteY51" fmla="*/ 6164212 h 6724315"/>
                <a:gd name="connsiteX52" fmla="*/ 1371195 w 5884232"/>
                <a:gd name="connsiteY52" fmla="*/ 6184157 h 6724315"/>
                <a:gd name="connsiteX53" fmla="*/ 1345840 w 5884232"/>
                <a:gd name="connsiteY53" fmla="*/ 6151747 h 6724315"/>
                <a:gd name="connsiteX54" fmla="*/ 1304349 w 5884232"/>
                <a:gd name="connsiteY54" fmla="*/ 6209090 h 6724315"/>
                <a:gd name="connsiteX55" fmla="*/ 1189098 w 5884232"/>
                <a:gd name="connsiteY55" fmla="*/ 6081936 h 6724315"/>
                <a:gd name="connsiteX56" fmla="*/ 1232893 w 5884232"/>
                <a:gd name="connsiteY56" fmla="*/ 6032071 h 6724315"/>
                <a:gd name="connsiteX57" fmla="*/ 1000086 w 5884232"/>
                <a:gd name="connsiteY57" fmla="*/ 5782751 h 6724315"/>
                <a:gd name="connsiteX58" fmla="*/ 1013916 w 5884232"/>
                <a:gd name="connsiteY58" fmla="*/ 5755327 h 6724315"/>
                <a:gd name="connsiteX59" fmla="*/ 817988 w 5884232"/>
                <a:gd name="connsiteY59" fmla="*/ 5548391 h 6724315"/>
                <a:gd name="connsiteX60" fmla="*/ 732703 w 5884232"/>
                <a:gd name="connsiteY60" fmla="*/ 5638146 h 6724315"/>
                <a:gd name="connsiteX61" fmla="*/ 430931 w 5884232"/>
                <a:gd name="connsiteY61" fmla="*/ 5323785 h 6724315"/>
                <a:gd name="connsiteX62" fmla="*/ 523257 w 5884232"/>
                <a:gd name="connsiteY62" fmla="*/ 5189370 h 6724315"/>
                <a:gd name="connsiteX63" fmla="*/ 41560 w 5884232"/>
                <a:gd name="connsiteY63" fmla="*/ 3281515 h 6724315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1928747 w 5884232"/>
                <a:gd name="connsiteY48" fmla="*/ 6734288 h 6734288"/>
                <a:gd name="connsiteX49" fmla="*/ 1578647 w 5884232"/>
                <a:gd name="connsiteY49" fmla="*/ 6346215 h 6734288"/>
                <a:gd name="connsiteX50" fmla="*/ 1541767 w 5884232"/>
                <a:gd name="connsiteY50" fmla="*/ 6338736 h 6734288"/>
                <a:gd name="connsiteX51" fmla="*/ 1385024 w 5884232"/>
                <a:gd name="connsiteY51" fmla="*/ 6164212 h 6734288"/>
                <a:gd name="connsiteX52" fmla="*/ 1371195 w 5884232"/>
                <a:gd name="connsiteY52" fmla="*/ 6184157 h 6734288"/>
                <a:gd name="connsiteX53" fmla="*/ 1345840 w 5884232"/>
                <a:gd name="connsiteY53" fmla="*/ 6151747 h 6734288"/>
                <a:gd name="connsiteX54" fmla="*/ 1304349 w 5884232"/>
                <a:gd name="connsiteY54" fmla="*/ 6209090 h 6734288"/>
                <a:gd name="connsiteX55" fmla="*/ 1189098 w 5884232"/>
                <a:gd name="connsiteY55" fmla="*/ 6081936 h 6734288"/>
                <a:gd name="connsiteX56" fmla="*/ 1232893 w 5884232"/>
                <a:gd name="connsiteY56" fmla="*/ 6032071 h 6734288"/>
                <a:gd name="connsiteX57" fmla="*/ 1000086 w 5884232"/>
                <a:gd name="connsiteY57" fmla="*/ 5782751 h 6734288"/>
                <a:gd name="connsiteX58" fmla="*/ 1013916 w 5884232"/>
                <a:gd name="connsiteY58" fmla="*/ 5755327 h 6734288"/>
                <a:gd name="connsiteX59" fmla="*/ 817988 w 5884232"/>
                <a:gd name="connsiteY59" fmla="*/ 5548391 h 6734288"/>
                <a:gd name="connsiteX60" fmla="*/ 732703 w 5884232"/>
                <a:gd name="connsiteY60" fmla="*/ 5638146 h 6734288"/>
                <a:gd name="connsiteX61" fmla="*/ 430931 w 5884232"/>
                <a:gd name="connsiteY61" fmla="*/ 5323785 h 6734288"/>
                <a:gd name="connsiteX62" fmla="*/ 523257 w 5884232"/>
                <a:gd name="connsiteY62" fmla="*/ 5189370 h 6734288"/>
                <a:gd name="connsiteX63" fmla="*/ 41560 w 5884232"/>
                <a:gd name="connsiteY63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800310 w 5884232"/>
                <a:gd name="connsiteY48" fmla="*/ 6545671 h 6734288"/>
                <a:gd name="connsiteX49" fmla="*/ 1928747 w 5884232"/>
                <a:gd name="connsiteY49" fmla="*/ 6734288 h 6734288"/>
                <a:gd name="connsiteX50" fmla="*/ 1578647 w 5884232"/>
                <a:gd name="connsiteY50" fmla="*/ 6346215 h 6734288"/>
                <a:gd name="connsiteX51" fmla="*/ 1541767 w 5884232"/>
                <a:gd name="connsiteY51" fmla="*/ 6338736 h 6734288"/>
                <a:gd name="connsiteX52" fmla="*/ 1385024 w 5884232"/>
                <a:gd name="connsiteY52" fmla="*/ 6164212 h 6734288"/>
                <a:gd name="connsiteX53" fmla="*/ 1371195 w 5884232"/>
                <a:gd name="connsiteY53" fmla="*/ 6184157 h 6734288"/>
                <a:gd name="connsiteX54" fmla="*/ 1345840 w 5884232"/>
                <a:gd name="connsiteY54" fmla="*/ 6151747 h 6734288"/>
                <a:gd name="connsiteX55" fmla="*/ 1304349 w 5884232"/>
                <a:gd name="connsiteY55" fmla="*/ 6209090 h 6734288"/>
                <a:gd name="connsiteX56" fmla="*/ 1189098 w 5884232"/>
                <a:gd name="connsiteY56" fmla="*/ 6081936 h 6734288"/>
                <a:gd name="connsiteX57" fmla="*/ 1232893 w 5884232"/>
                <a:gd name="connsiteY57" fmla="*/ 6032071 h 6734288"/>
                <a:gd name="connsiteX58" fmla="*/ 1000086 w 5884232"/>
                <a:gd name="connsiteY58" fmla="*/ 5782751 h 6734288"/>
                <a:gd name="connsiteX59" fmla="*/ 1013916 w 5884232"/>
                <a:gd name="connsiteY59" fmla="*/ 5755327 h 6734288"/>
                <a:gd name="connsiteX60" fmla="*/ 817988 w 5884232"/>
                <a:gd name="connsiteY60" fmla="*/ 5548391 h 6734288"/>
                <a:gd name="connsiteX61" fmla="*/ 732703 w 5884232"/>
                <a:gd name="connsiteY61" fmla="*/ 5638146 h 6734288"/>
                <a:gd name="connsiteX62" fmla="*/ 430931 w 5884232"/>
                <a:gd name="connsiteY62" fmla="*/ 5323785 h 6734288"/>
                <a:gd name="connsiteX63" fmla="*/ 523257 w 5884232"/>
                <a:gd name="connsiteY63" fmla="*/ 5189370 h 6734288"/>
                <a:gd name="connsiteX64" fmla="*/ 41560 w 5884232"/>
                <a:gd name="connsiteY64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615908 w 5884232"/>
                <a:gd name="connsiteY48" fmla="*/ 6593043 h 6734288"/>
                <a:gd name="connsiteX49" fmla="*/ 1928747 w 5884232"/>
                <a:gd name="connsiteY49" fmla="*/ 6734288 h 6734288"/>
                <a:gd name="connsiteX50" fmla="*/ 1578647 w 5884232"/>
                <a:gd name="connsiteY50" fmla="*/ 6346215 h 6734288"/>
                <a:gd name="connsiteX51" fmla="*/ 1541767 w 5884232"/>
                <a:gd name="connsiteY51" fmla="*/ 6338736 h 6734288"/>
                <a:gd name="connsiteX52" fmla="*/ 1385024 w 5884232"/>
                <a:gd name="connsiteY52" fmla="*/ 6164212 h 6734288"/>
                <a:gd name="connsiteX53" fmla="*/ 1371195 w 5884232"/>
                <a:gd name="connsiteY53" fmla="*/ 6184157 h 6734288"/>
                <a:gd name="connsiteX54" fmla="*/ 1345840 w 5884232"/>
                <a:gd name="connsiteY54" fmla="*/ 6151747 h 6734288"/>
                <a:gd name="connsiteX55" fmla="*/ 1304349 w 5884232"/>
                <a:gd name="connsiteY55" fmla="*/ 6209090 h 6734288"/>
                <a:gd name="connsiteX56" fmla="*/ 1189098 w 5884232"/>
                <a:gd name="connsiteY56" fmla="*/ 6081936 h 6734288"/>
                <a:gd name="connsiteX57" fmla="*/ 1232893 w 5884232"/>
                <a:gd name="connsiteY57" fmla="*/ 6032071 h 6734288"/>
                <a:gd name="connsiteX58" fmla="*/ 1000086 w 5884232"/>
                <a:gd name="connsiteY58" fmla="*/ 5782751 h 6734288"/>
                <a:gd name="connsiteX59" fmla="*/ 1013916 w 5884232"/>
                <a:gd name="connsiteY59" fmla="*/ 5755327 h 6734288"/>
                <a:gd name="connsiteX60" fmla="*/ 817988 w 5884232"/>
                <a:gd name="connsiteY60" fmla="*/ 5548391 h 6734288"/>
                <a:gd name="connsiteX61" fmla="*/ 732703 w 5884232"/>
                <a:gd name="connsiteY61" fmla="*/ 5638146 h 6734288"/>
                <a:gd name="connsiteX62" fmla="*/ 430931 w 5884232"/>
                <a:gd name="connsiteY62" fmla="*/ 5323785 h 6734288"/>
                <a:gd name="connsiteX63" fmla="*/ 523257 w 5884232"/>
                <a:gd name="connsiteY63" fmla="*/ 5189370 h 6734288"/>
                <a:gd name="connsiteX64" fmla="*/ 41560 w 5884232"/>
                <a:gd name="connsiteY64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611297 w 5884232"/>
                <a:gd name="connsiteY48" fmla="*/ 6590550 h 6734288"/>
                <a:gd name="connsiteX49" fmla="*/ 1928747 w 5884232"/>
                <a:gd name="connsiteY49" fmla="*/ 6734288 h 6734288"/>
                <a:gd name="connsiteX50" fmla="*/ 1578647 w 5884232"/>
                <a:gd name="connsiteY50" fmla="*/ 6346215 h 6734288"/>
                <a:gd name="connsiteX51" fmla="*/ 1541767 w 5884232"/>
                <a:gd name="connsiteY51" fmla="*/ 6338736 h 6734288"/>
                <a:gd name="connsiteX52" fmla="*/ 1385024 w 5884232"/>
                <a:gd name="connsiteY52" fmla="*/ 6164212 h 6734288"/>
                <a:gd name="connsiteX53" fmla="*/ 1371195 w 5884232"/>
                <a:gd name="connsiteY53" fmla="*/ 6184157 h 6734288"/>
                <a:gd name="connsiteX54" fmla="*/ 1345840 w 5884232"/>
                <a:gd name="connsiteY54" fmla="*/ 6151747 h 6734288"/>
                <a:gd name="connsiteX55" fmla="*/ 1304349 w 5884232"/>
                <a:gd name="connsiteY55" fmla="*/ 6209090 h 6734288"/>
                <a:gd name="connsiteX56" fmla="*/ 1189098 w 5884232"/>
                <a:gd name="connsiteY56" fmla="*/ 6081936 h 6734288"/>
                <a:gd name="connsiteX57" fmla="*/ 1232893 w 5884232"/>
                <a:gd name="connsiteY57" fmla="*/ 6032071 h 6734288"/>
                <a:gd name="connsiteX58" fmla="*/ 1000086 w 5884232"/>
                <a:gd name="connsiteY58" fmla="*/ 5782751 h 6734288"/>
                <a:gd name="connsiteX59" fmla="*/ 1013916 w 5884232"/>
                <a:gd name="connsiteY59" fmla="*/ 5755327 h 6734288"/>
                <a:gd name="connsiteX60" fmla="*/ 817988 w 5884232"/>
                <a:gd name="connsiteY60" fmla="*/ 5548391 h 6734288"/>
                <a:gd name="connsiteX61" fmla="*/ 732703 w 5884232"/>
                <a:gd name="connsiteY61" fmla="*/ 5638146 h 6734288"/>
                <a:gd name="connsiteX62" fmla="*/ 430931 w 5884232"/>
                <a:gd name="connsiteY62" fmla="*/ 5323785 h 6734288"/>
                <a:gd name="connsiteX63" fmla="*/ 523257 w 5884232"/>
                <a:gd name="connsiteY63" fmla="*/ 5189370 h 6734288"/>
                <a:gd name="connsiteX64" fmla="*/ 41560 w 5884232"/>
                <a:gd name="connsiteY64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779565 w 5884232"/>
                <a:gd name="connsiteY48" fmla="*/ 6555643 h 6734288"/>
                <a:gd name="connsiteX49" fmla="*/ 2611297 w 5884232"/>
                <a:gd name="connsiteY49" fmla="*/ 6590550 h 6734288"/>
                <a:gd name="connsiteX50" fmla="*/ 1928747 w 5884232"/>
                <a:gd name="connsiteY50" fmla="*/ 6734288 h 6734288"/>
                <a:gd name="connsiteX51" fmla="*/ 1578647 w 5884232"/>
                <a:gd name="connsiteY51" fmla="*/ 6346215 h 6734288"/>
                <a:gd name="connsiteX52" fmla="*/ 1541767 w 5884232"/>
                <a:gd name="connsiteY52" fmla="*/ 6338736 h 6734288"/>
                <a:gd name="connsiteX53" fmla="*/ 1385024 w 5884232"/>
                <a:gd name="connsiteY53" fmla="*/ 6164212 h 6734288"/>
                <a:gd name="connsiteX54" fmla="*/ 1371195 w 5884232"/>
                <a:gd name="connsiteY54" fmla="*/ 6184157 h 6734288"/>
                <a:gd name="connsiteX55" fmla="*/ 1345840 w 5884232"/>
                <a:gd name="connsiteY55" fmla="*/ 6151747 h 6734288"/>
                <a:gd name="connsiteX56" fmla="*/ 1304349 w 5884232"/>
                <a:gd name="connsiteY56" fmla="*/ 6209090 h 6734288"/>
                <a:gd name="connsiteX57" fmla="*/ 1189098 w 5884232"/>
                <a:gd name="connsiteY57" fmla="*/ 6081936 h 6734288"/>
                <a:gd name="connsiteX58" fmla="*/ 1232893 w 5884232"/>
                <a:gd name="connsiteY58" fmla="*/ 6032071 h 6734288"/>
                <a:gd name="connsiteX59" fmla="*/ 1000086 w 5884232"/>
                <a:gd name="connsiteY59" fmla="*/ 5782751 h 6734288"/>
                <a:gd name="connsiteX60" fmla="*/ 1013916 w 5884232"/>
                <a:gd name="connsiteY60" fmla="*/ 5755327 h 6734288"/>
                <a:gd name="connsiteX61" fmla="*/ 817988 w 5884232"/>
                <a:gd name="connsiteY61" fmla="*/ 5548391 h 6734288"/>
                <a:gd name="connsiteX62" fmla="*/ 732703 w 5884232"/>
                <a:gd name="connsiteY62" fmla="*/ 5638146 h 6734288"/>
                <a:gd name="connsiteX63" fmla="*/ 430931 w 5884232"/>
                <a:gd name="connsiteY63" fmla="*/ 5323785 h 6734288"/>
                <a:gd name="connsiteX64" fmla="*/ 523257 w 5884232"/>
                <a:gd name="connsiteY64" fmla="*/ 5189370 h 6734288"/>
                <a:gd name="connsiteX65" fmla="*/ 41560 w 5884232"/>
                <a:gd name="connsiteY65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689669 w 5884232"/>
                <a:gd name="connsiteY48" fmla="*/ 6682796 h 6734288"/>
                <a:gd name="connsiteX49" fmla="*/ 2611297 w 5884232"/>
                <a:gd name="connsiteY49" fmla="*/ 6590550 h 6734288"/>
                <a:gd name="connsiteX50" fmla="*/ 1928747 w 5884232"/>
                <a:gd name="connsiteY50" fmla="*/ 6734288 h 6734288"/>
                <a:gd name="connsiteX51" fmla="*/ 1578647 w 5884232"/>
                <a:gd name="connsiteY51" fmla="*/ 6346215 h 6734288"/>
                <a:gd name="connsiteX52" fmla="*/ 1541767 w 5884232"/>
                <a:gd name="connsiteY52" fmla="*/ 6338736 h 6734288"/>
                <a:gd name="connsiteX53" fmla="*/ 1385024 w 5884232"/>
                <a:gd name="connsiteY53" fmla="*/ 6164212 h 6734288"/>
                <a:gd name="connsiteX54" fmla="*/ 1371195 w 5884232"/>
                <a:gd name="connsiteY54" fmla="*/ 6184157 h 6734288"/>
                <a:gd name="connsiteX55" fmla="*/ 1345840 w 5884232"/>
                <a:gd name="connsiteY55" fmla="*/ 6151747 h 6734288"/>
                <a:gd name="connsiteX56" fmla="*/ 1304349 w 5884232"/>
                <a:gd name="connsiteY56" fmla="*/ 6209090 h 6734288"/>
                <a:gd name="connsiteX57" fmla="*/ 1189098 w 5884232"/>
                <a:gd name="connsiteY57" fmla="*/ 6081936 h 6734288"/>
                <a:gd name="connsiteX58" fmla="*/ 1232893 w 5884232"/>
                <a:gd name="connsiteY58" fmla="*/ 6032071 h 6734288"/>
                <a:gd name="connsiteX59" fmla="*/ 1000086 w 5884232"/>
                <a:gd name="connsiteY59" fmla="*/ 5782751 h 6734288"/>
                <a:gd name="connsiteX60" fmla="*/ 1013916 w 5884232"/>
                <a:gd name="connsiteY60" fmla="*/ 5755327 h 6734288"/>
                <a:gd name="connsiteX61" fmla="*/ 817988 w 5884232"/>
                <a:gd name="connsiteY61" fmla="*/ 5548391 h 6734288"/>
                <a:gd name="connsiteX62" fmla="*/ 732703 w 5884232"/>
                <a:gd name="connsiteY62" fmla="*/ 5638146 h 6734288"/>
                <a:gd name="connsiteX63" fmla="*/ 430931 w 5884232"/>
                <a:gd name="connsiteY63" fmla="*/ 5323785 h 6734288"/>
                <a:gd name="connsiteX64" fmla="*/ 523257 w 5884232"/>
                <a:gd name="connsiteY64" fmla="*/ 5189370 h 6734288"/>
                <a:gd name="connsiteX65" fmla="*/ 41560 w 5884232"/>
                <a:gd name="connsiteY65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344296 w 5884232"/>
                <a:gd name="connsiteY48" fmla="*/ 6500793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76913 w 5884232"/>
                <a:gd name="connsiteY48" fmla="*/ 6657865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949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206546 w 5884232"/>
                <a:gd name="connsiteY40" fmla="*/ 5094818 h 6734288"/>
                <a:gd name="connsiteX41" fmla="*/ 1548682 w 5884232"/>
                <a:gd name="connsiteY41" fmla="*/ 5436198 h 6734288"/>
                <a:gd name="connsiteX42" fmla="*/ 1610916 w 5884232"/>
                <a:gd name="connsiteY42" fmla="*/ 5418743 h 6734288"/>
                <a:gd name="connsiteX43" fmla="*/ 1714643 w 5884232"/>
                <a:gd name="connsiteY43" fmla="*/ 5533432 h 6734288"/>
                <a:gd name="connsiteX44" fmla="*/ 1693898 w 5884232"/>
                <a:gd name="connsiteY44" fmla="*/ 5598255 h 6734288"/>
                <a:gd name="connsiteX45" fmla="*/ 1783719 w 5884232"/>
                <a:gd name="connsiteY45" fmla="*/ 5692347 h 6734288"/>
                <a:gd name="connsiteX46" fmla="*/ 3084321 w 5884232"/>
                <a:gd name="connsiteY46" fmla="*/ 6017548 h 6734288"/>
                <a:gd name="connsiteX47" fmla="*/ 4209492 w 5884232"/>
                <a:gd name="connsiteY47" fmla="*/ 5644651 h 6734288"/>
                <a:gd name="connsiteX48" fmla="*/ 4406189 w 5884232"/>
                <a:gd name="connsiteY48" fmla="*/ 6217653 h 6734288"/>
                <a:gd name="connsiteX49" fmla="*/ 3067693 w 5884232"/>
                <a:gd name="connsiteY49" fmla="*/ 6660358 h 6734288"/>
                <a:gd name="connsiteX50" fmla="*/ 2689669 w 5884232"/>
                <a:gd name="connsiteY50" fmla="*/ 6682796 h 6734288"/>
                <a:gd name="connsiteX51" fmla="*/ 2611297 w 5884232"/>
                <a:gd name="connsiteY51" fmla="*/ 6590550 h 6734288"/>
                <a:gd name="connsiteX52" fmla="*/ 1928747 w 5884232"/>
                <a:gd name="connsiteY52" fmla="*/ 6734288 h 6734288"/>
                <a:gd name="connsiteX53" fmla="*/ 1578647 w 5884232"/>
                <a:gd name="connsiteY53" fmla="*/ 6346215 h 6734288"/>
                <a:gd name="connsiteX54" fmla="*/ 1541767 w 5884232"/>
                <a:gd name="connsiteY54" fmla="*/ 6338736 h 6734288"/>
                <a:gd name="connsiteX55" fmla="*/ 1385024 w 5884232"/>
                <a:gd name="connsiteY55" fmla="*/ 6164212 h 6734288"/>
                <a:gd name="connsiteX56" fmla="*/ 1371195 w 5884232"/>
                <a:gd name="connsiteY56" fmla="*/ 6184157 h 6734288"/>
                <a:gd name="connsiteX57" fmla="*/ 1345840 w 5884232"/>
                <a:gd name="connsiteY57" fmla="*/ 6151747 h 6734288"/>
                <a:gd name="connsiteX58" fmla="*/ 1304349 w 5884232"/>
                <a:gd name="connsiteY58" fmla="*/ 6209090 h 6734288"/>
                <a:gd name="connsiteX59" fmla="*/ 1189098 w 5884232"/>
                <a:gd name="connsiteY59" fmla="*/ 6081936 h 6734288"/>
                <a:gd name="connsiteX60" fmla="*/ 1232893 w 5884232"/>
                <a:gd name="connsiteY60" fmla="*/ 6032071 h 6734288"/>
                <a:gd name="connsiteX61" fmla="*/ 1000086 w 5884232"/>
                <a:gd name="connsiteY61" fmla="*/ 5782751 h 6734288"/>
                <a:gd name="connsiteX62" fmla="*/ 1013916 w 5884232"/>
                <a:gd name="connsiteY62" fmla="*/ 5755327 h 6734288"/>
                <a:gd name="connsiteX63" fmla="*/ 817988 w 5884232"/>
                <a:gd name="connsiteY63" fmla="*/ 5548391 h 6734288"/>
                <a:gd name="connsiteX64" fmla="*/ 732703 w 5884232"/>
                <a:gd name="connsiteY64" fmla="*/ 5638146 h 6734288"/>
                <a:gd name="connsiteX65" fmla="*/ 430931 w 5884232"/>
                <a:gd name="connsiteY65" fmla="*/ 5323785 h 6734288"/>
                <a:gd name="connsiteX66" fmla="*/ 523257 w 5884232"/>
                <a:gd name="connsiteY66" fmla="*/ 5189370 h 6734288"/>
                <a:gd name="connsiteX67" fmla="*/ 41560 w 5884232"/>
                <a:gd name="connsiteY67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206546 w 5884232"/>
                <a:gd name="connsiteY40" fmla="*/ 5094818 h 6734288"/>
                <a:gd name="connsiteX41" fmla="*/ 1548682 w 5884232"/>
                <a:gd name="connsiteY41" fmla="*/ 5436198 h 6734288"/>
                <a:gd name="connsiteX42" fmla="*/ 1610916 w 5884232"/>
                <a:gd name="connsiteY42" fmla="*/ 5418743 h 6734288"/>
                <a:gd name="connsiteX43" fmla="*/ 1714643 w 5884232"/>
                <a:gd name="connsiteY43" fmla="*/ 5533432 h 6734288"/>
                <a:gd name="connsiteX44" fmla="*/ 1693898 w 5884232"/>
                <a:gd name="connsiteY44" fmla="*/ 5598255 h 6734288"/>
                <a:gd name="connsiteX45" fmla="*/ 1783719 w 5884232"/>
                <a:gd name="connsiteY45" fmla="*/ 5692347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206546 w 5884232"/>
                <a:gd name="connsiteY40" fmla="*/ 5094818 h 6734288"/>
                <a:gd name="connsiteX41" fmla="*/ 1548682 w 5884232"/>
                <a:gd name="connsiteY41" fmla="*/ 5436198 h 6734288"/>
                <a:gd name="connsiteX42" fmla="*/ 1610916 w 5884232"/>
                <a:gd name="connsiteY42" fmla="*/ 5418743 h 6734288"/>
                <a:gd name="connsiteX43" fmla="*/ 1714643 w 5884232"/>
                <a:gd name="connsiteY43" fmla="*/ 5533432 h 6734288"/>
                <a:gd name="connsiteX44" fmla="*/ 1693898 w 5884232"/>
                <a:gd name="connsiteY44" fmla="*/ 5598255 h 6734288"/>
                <a:gd name="connsiteX45" fmla="*/ 1783719 w 5884232"/>
                <a:gd name="connsiteY45" fmla="*/ 5692347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2689669 w 5884232"/>
                <a:gd name="connsiteY48" fmla="*/ 6682796 h 6734288"/>
                <a:gd name="connsiteX49" fmla="*/ 2611297 w 5884232"/>
                <a:gd name="connsiteY49" fmla="*/ 6590550 h 6734288"/>
                <a:gd name="connsiteX50" fmla="*/ 1928747 w 5884232"/>
                <a:gd name="connsiteY50" fmla="*/ 6734288 h 6734288"/>
                <a:gd name="connsiteX51" fmla="*/ 1578647 w 5884232"/>
                <a:gd name="connsiteY51" fmla="*/ 6346215 h 6734288"/>
                <a:gd name="connsiteX52" fmla="*/ 1541767 w 5884232"/>
                <a:gd name="connsiteY52" fmla="*/ 6338736 h 6734288"/>
                <a:gd name="connsiteX53" fmla="*/ 1385024 w 5884232"/>
                <a:gd name="connsiteY53" fmla="*/ 6164212 h 6734288"/>
                <a:gd name="connsiteX54" fmla="*/ 1371195 w 5884232"/>
                <a:gd name="connsiteY54" fmla="*/ 6184157 h 6734288"/>
                <a:gd name="connsiteX55" fmla="*/ 1345840 w 5884232"/>
                <a:gd name="connsiteY55" fmla="*/ 6151747 h 6734288"/>
                <a:gd name="connsiteX56" fmla="*/ 1304349 w 5884232"/>
                <a:gd name="connsiteY56" fmla="*/ 6209090 h 6734288"/>
                <a:gd name="connsiteX57" fmla="*/ 1189098 w 5884232"/>
                <a:gd name="connsiteY57" fmla="*/ 6081936 h 6734288"/>
                <a:gd name="connsiteX58" fmla="*/ 1232893 w 5884232"/>
                <a:gd name="connsiteY58" fmla="*/ 6032071 h 6734288"/>
                <a:gd name="connsiteX59" fmla="*/ 1000086 w 5884232"/>
                <a:gd name="connsiteY59" fmla="*/ 5782751 h 6734288"/>
                <a:gd name="connsiteX60" fmla="*/ 1013916 w 5884232"/>
                <a:gd name="connsiteY60" fmla="*/ 5755327 h 6734288"/>
                <a:gd name="connsiteX61" fmla="*/ 817988 w 5884232"/>
                <a:gd name="connsiteY61" fmla="*/ 5548391 h 6734288"/>
                <a:gd name="connsiteX62" fmla="*/ 732703 w 5884232"/>
                <a:gd name="connsiteY62" fmla="*/ 5638146 h 6734288"/>
                <a:gd name="connsiteX63" fmla="*/ 430931 w 5884232"/>
                <a:gd name="connsiteY63" fmla="*/ 5323785 h 6734288"/>
                <a:gd name="connsiteX64" fmla="*/ 523257 w 5884232"/>
                <a:gd name="connsiteY64" fmla="*/ 5189370 h 6734288"/>
                <a:gd name="connsiteX65" fmla="*/ 41560 w 5884232"/>
                <a:gd name="connsiteY65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206546 w 5884232"/>
                <a:gd name="connsiteY40" fmla="*/ 5094818 h 6734288"/>
                <a:gd name="connsiteX41" fmla="*/ 1548682 w 5884232"/>
                <a:gd name="connsiteY41" fmla="*/ 5436198 h 6734288"/>
                <a:gd name="connsiteX42" fmla="*/ 1610916 w 5884232"/>
                <a:gd name="connsiteY42" fmla="*/ 5418743 h 6734288"/>
                <a:gd name="connsiteX43" fmla="*/ 1714643 w 5884232"/>
                <a:gd name="connsiteY43" fmla="*/ 5533432 h 6734288"/>
                <a:gd name="connsiteX44" fmla="*/ 1693898 w 5884232"/>
                <a:gd name="connsiteY44" fmla="*/ 5598255 h 6734288"/>
                <a:gd name="connsiteX45" fmla="*/ 1783719 w 5884232"/>
                <a:gd name="connsiteY45" fmla="*/ 5692347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2611297 w 5884232"/>
                <a:gd name="connsiteY48" fmla="*/ 6590550 h 6734288"/>
                <a:gd name="connsiteX49" fmla="*/ 1928747 w 5884232"/>
                <a:gd name="connsiteY49" fmla="*/ 6734288 h 6734288"/>
                <a:gd name="connsiteX50" fmla="*/ 1578647 w 5884232"/>
                <a:gd name="connsiteY50" fmla="*/ 6346215 h 6734288"/>
                <a:gd name="connsiteX51" fmla="*/ 1541767 w 5884232"/>
                <a:gd name="connsiteY51" fmla="*/ 6338736 h 6734288"/>
                <a:gd name="connsiteX52" fmla="*/ 1385024 w 5884232"/>
                <a:gd name="connsiteY52" fmla="*/ 6164212 h 6734288"/>
                <a:gd name="connsiteX53" fmla="*/ 1371195 w 5884232"/>
                <a:gd name="connsiteY53" fmla="*/ 6184157 h 6734288"/>
                <a:gd name="connsiteX54" fmla="*/ 1345840 w 5884232"/>
                <a:gd name="connsiteY54" fmla="*/ 6151747 h 6734288"/>
                <a:gd name="connsiteX55" fmla="*/ 1304349 w 5884232"/>
                <a:gd name="connsiteY55" fmla="*/ 6209090 h 6734288"/>
                <a:gd name="connsiteX56" fmla="*/ 1189098 w 5884232"/>
                <a:gd name="connsiteY56" fmla="*/ 6081936 h 6734288"/>
                <a:gd name="connsiteX57" fmla="*/ 1232893 w 5884232"/>
                <a:gd name="connsiteY57" fmla="*/ 6032071 h 6734288"/>
                <a:gd name="connsiteX58" fmla="*/ 1000086 w 5884232"/>
                <a:gd name="connsiteY58" fmla="*/ 5782751 h 6734288"/>
                <a:gd name="connsiteX59" fmla="*/ 1013916 w 5884232"/>
                <a:gd name="connsiteY59" fmla="*/ 5755327 h 6734288"/>
                <a:gd name="connsiteX60" fmla="*/ 817988 w 5884232"/>
                <a:gd name="connsiteY60" fmla="*/ 5548391 h 6734288"/>
                <a:gd name="connsiteX61" fmla="*/ 732703 w 5884232"/>
                <a:gd name="connsiteY61" fmla="*/ 5638146 h 6734288"/>
                <a:gd name="connsiteX62" fmla="*/ 430931 w 5884232"/>
                <a:gd name="connsiteY62" fmla="*/ 5323785 h 6734288"/>
                <a:gd name="connsiteX63" fmla="*/ 523257 w 5884232"/>
                <a:gd name="connsiteY63" fmla="*/ 5189370 h 6734288"/>
                <a:gd name="connsiteX64" fmla="*/ 41560 w 5884232"/>
                <a:gd name="connsiteY64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206546 w 5884232"/>
                <a:gd name="connsiteY40" fmla="*/ 5094818 h 6734288"/>
                <a:gd name="connsiteX41" fmla="*/ 1548682 w 5884232"/>
                <a:gd name="connsiteY41" fmla="*/ 5436198 h 6734288"/>
                <a:gd name="connsiteX42" fmla="*/ 1610916 w 5884232"/>
                <a:gd name="connsiteY42" fmla="*/ 5418743 h 6734288"/>
                <a:gd name="connsiteX43" fmla="*/ 1714643 w 5884232"/>
                <a:gd name="connsiteY43" fmla="*/ 5533432 h 6734288"/>
                <a:gd name="connsiteX44" fmla="*/ 1693898 w 5884232"/>
                <a:gd name="connsiteY44" fmla="*/ 5598255 h 6734288"/>
                <a:gd name="connsiteX45" fmla="*/ 1783719 w 5884232"/>
                <a:gd name="connsiteY45" fmla="*/ 5692347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1928747 w 5884232"/>
                <a:gd name="connsiteY48" fmla="*/ 6734288 h 6734288"/>
                <a:gd name="connsiteX49" fmla="*/ 1578647 w 5884232"/>
                <a:gd name="connsiteY49" fmla="*/ 6346215 h 6734288"/>
                <a:gd name="connsiteX50" fmla="*/ 1541767 w 5884232"/>
                <a:gd name="connsiteY50" fmla="*/ 6338736 h 6734288"/>
                <a:gd name="connsiteX51" fmla="*/ 1385024 w 5884232"/>
                <a:gd name="connsiteY51" fmla="*/ 6164212 h 6734288"/>
                <a:gd name="connsiteX52" fmla="*/ 1371195 w 5884232"/>
                <a:gd name="connsiteY52" fmla="*/ 6184157 h 6734288"/>
                <a:gd name="connsiteX53" fmla="*/ 1345840 w 5884232"/>
                <a:gd name="connsiteY53" fmla="*/ 6151747 h 6734288"/>
                <a:gd name="connsiteX54" fmla="*/ 1304349 w 5884232"/>
                <a:gd name="connsiteY54" fmla="*/ 6209090 h 6734288"/>
                <a:gd name="connsiteX55" fmla="*/ 1189098 w 5884232"/>
                <a:gd name="connsiteY55" fmla="*/ 6081936 h 6734288"/>
                <a:gd name="connsiteX56" fmla="*/ 1232893 w 5884232"/>
                <a:gd name="connsiteY56" fmla="*/ 6032071 h 6734288"/>
                <a:gd name="connsiteX57" fmla="*/ 1000086 w 5884232"/>
                <a:gd name="connsiteY57" fmla="*/ 5782751 h 6734288"/>
                <a:gd name="connsiteX58" fmla="*/ 1013916 w 5884232"/>
                <a:gd name="connsiteY58" fmla="*/ 5755327 h 6734288"/>
                <a:gd name="connsiteX59" fmla="*/ 817988 w 5884232"/>
                <a:gd name="connsiteY59" fmla="*/ 5548391 h 6734288"/>
                <a:gd name="connsiteX60" fmla="*/ 732703 w 5884232"/>
                <a:gd name="connsiteY60" fmla="*/ 5638146 h 6734288"/>
                <a:gd name="connsiteX61" fmla="*/ 430931 w 5884232"/>
                <a:gd name="connsiteY61" fmla="*/ 5323785 h 6734288"/>
                <a:gd name="connsiteX62" fmla="*/ 523257 w 5884232"/>
                <a:gd name="connsiteY62" fmla="*/ 5189370 h 6734288"/>
                <a:gd name="connsiteX63" fmla="*/ 41560 w 5884232"/>
                <a:gd name="connsiteY63" fmla="*/ 3281515 h 6734288"/>
                <a:gd name="connsiteX0" fmla="*/ 41560 w 5884232"/>
                <a:gd name="connsiteY0" fmla="*/ 3281515 h 6346215"/>
                <a:gd name="connsiteX1" fmla="*/ 250907 w 5884232"/>
                <a:gd name="connsiteY1" fmla="*/ 2374266 h 6346215"/>
                <a:gd name="connsiteX2" fmla="*/ 218176 w 5884232"/>
                <a:gd name="connsiteY2" fmla="*/ 2331944 h 6346215"/>
                <a:gd name="connsiteX3" fmla="*/ 290433 w 5884232"/>
                <a:gd name="connsiteY3" fmla="*/ 2067448 h 6346215"/>
                <a:gd name="connsiteX4" fmla="*/ 326149 w 5884232"/>
                <a:gd name="connsiteY4" fmla="*/ 2050403 h 6346215"/>
                <a:gd name="connsiteX5" fmla="*/ 1333506 w 5884232"/>
                <a:gd name="connsiteY5" fmla="*/ 647002 h 6346215"/>
                <a:gd name="connsiteX6" fmla="*/ 1546422 w 5884232"/>
                <a:gd name="connsiteY6" fmla="*/ 547251 h 6346215"/>
                <a:gd name="connsiteX7" fmla="*/ 1526361 w 5884232"/>
                <a:gd name="connsiteY7" fmla="*/ 432260 h 6346215"/>
                <a:gd name="connsiteX8" fmla="*/ 1722126 w 5884232"/>
                <a:gd name="connsiteY8" fmla="*/ 380302 h 6346215"/>
                <a:gd name="connsiteX9" fmla="*/ 1739499 w 5884232"/>
                <a:gd name="connsiteY9" fmla="*/ 481442 h 6346215"/>
                <a:gd name="connsiteX10" fmla="*/ 1866574 w 5884232"/>
                <a:gd name="connsiteY10" fmla="*/ 442651 h 6346215"/>
                <a:gd name="connsiteX11" fmla="*/ 1897053 w 5884232"/>
                <a:gd name="connsiteY11" fmla="*/ 393463 h 6346215"/>
                <a:gd name="connsiteX12" fmla="*/ 2132940 w 5884232"/>
                <a:gd name="connsiteY12" fmla="*/ 319342 h 6346215"/>
                <a:gd name="connsiteX13" fmla="*/ 2173395 w 5884232"/>
                <a:gd name="connsiteY13" fmla="*/ 352592 h 6346215"/>
                <a:gd name="connsiteX14" fmla="*/ 2369937 w 5884232"/>
                <a:gd name="connsiteY14" fmla="*/ 288171 h 6346215"/>
                <a:gd name="connsiteX15" fmla="*/ 2329149 w 5884232"/>
                <a:gd name="connsiteY15" fmla="*/ 119840 h 6346215"/>
                <a:gd name="connsiteX16" fmla="*/ 2712392 w 5884232"/>
                <a:gd name="connsiteY16" fmla="*/ 0 h 6346215"/>
                <a:gd name="connsiteX17" fmla="*/ 2760690 w 5884232"/>
                <a:gd name="connsiteY17" fmla="*/ 165560 h 6346215"/>
                <a:gd name="connsiteX18" fmla="*/ 4524241 w 5884232"/>
                <a:gd name="connsiteY18" fmla="*/ 680900 h 6346215"/>
                <a:gd name="connsiteX19" fmla="*/ 5074371 w 5884232"/>
                <a:gd name="connsiteY19" fmla="*/ 1291242 h 6346215"/>
                <a:gd name="connsiteX20" fmla="*/ 5135775 w 5884232"/>
                <a:gd name="connsiteY20" fmla="*/ 1298860 h 6346215"/>
                <a:gd name="connsiteX21" fmla="*/ 5300616 w 5884232"/>
                <a:gd name="connsiteY21" fmla="*/ 1479661 h 6346215"/>
                <a:gd name="connsiteX22" fmla="*/ 5300839 w 5884232"/>
                <a:gd name="connsiteY22" fmla="*/ 1535080 h 6346215"/>
                <a:gd name="connsiteX23" fmla="*/ 5462103 w 5884232"/>
                <a:gd name="connsiteY23" fmla="*/ 1726990 h 6346215"/>
                <a:gd name="connsiteX24" fmla="*/ 5842091 w 5884232"/>
                <a:gd name="connsiteY24" fmla="*/ 3519512 h 6346215"/>
                <a:gd name="connsiteX25" fmla="*/ 5650012 w 5884232"/>
                <a:gd name="connsiteY25" fmla="*/ 4385669 h 6346215"/>
                <a:gd name="connsiteX26" fmla="*/ 5780228 w 5884232"/>
                <a:gd name="connsiteY26" fmla="*/ 4452156 h 6346215"/>
                <a:gd name="connsiteX27" fmla="*/ 5710779 w 5884232"/>
                <a:gd name="connsiteY27" fmla="*/ 4870077 h 6346215"/>
                <a:gd name="connsiteX28" fmla="*/ 5553250 w 5884232"/>
                <a:gd name="connsiteY28" fmla="*/ 4807792 h 6346215"/>
                <a:gd name="connsiteX29" fmla="*/ 4409852 w 5884232"/>
                <a:gd name="connsiteY29" fmla="*/ 6212288 h 6346215"/>
                <a:gd name="connsiteX30" fmla="*/ 4213721 w 5884232"/>
                <a:gd name="connsiteY30" fmla="*/ 5643346 h 6346215"/>
                <a:gd name="connsiteX31" fmla="*/ 5030652 w 5884232"/>
                <a:gd name="connsiteY31" fmla="*/ 4596953 h 6346215"/>
                <a:gd name="connsiteX32" fmla="*/ 5310701 w 5884232"/>
                <a:gd name="connsiteY32" fmla="*/ 3352779 h 6346215"/>
                <a:gd name="connsiteX33" fmla="*/ 4991885 w 5884232"/>
                <a:gd name="connsiteY33" fmla="*/ 2049487 h 6346215"/>
                <a:gd name="connsiteX34" fmla="*/ 4174632 w 5884232"/>
                <a:gd name="connsiteY34" fmla="*/ 1163055 h 6346215"/>
                <a:gd name="connsiteX35" fmla="*/ 2880366 w 5884232"/>
                <a:gd name="connsiteY35" fmla="*/ 761302 h 6346215"/>
                <a:gd name="connsiteX36" fmla="*/ 1882146 w 5884232"/>
                <a:gd name="connsiteY36" fmla="*/ 1081342 h 6346215"/>
                <a:gd name="connsiteX37" fmla="*/ 873226 w 5884232"/>
                <a:gd name="connsiteY37" fmla="*/ 2111591 h 6346215"/>
                <a:gd name="connsiteX38" fmla="*/ 571891 w 5884232"/>
                <a:gd name="connsiteY38" fmla="*/ 3464807 h 6346215"/>
                <a:gd name="connsiteX39" fmla="*/ 1077217 w 5884232"/>
                <a:gd name="connsiteY39" fmla="*/ 4933546 h 6346215"/>
                <a:gd name="connsiteX40" fmla="*/ 1206546 w 5884232"/>
                <a:gd name="connsiteY40" fmla="*/ 5094818 h 6346215"/>
                <a:gd name="connsiteX41" fmla="*/ 1548682 w 5884232"/>
                <a:gd name="connsiteY41" fmla="*/ 5436198 h 6346215"/>
                <a:gd name="connsiteX42" fmla="*/ 1610916 w 5884232"/>
                <a:gd name="connsiteY42" fmla="*/ 5418743 h 6346215"/>
                <a:gd name="connsiteX43" fmla="*/ 1714643 w 5884232"/>
                <a:gd name="connsiteY43" fmla="*/ 5533432 h 6346215"/>
                <a:gd name="connsiteX44" fmla="*/ 1693898 w 5884232"/>
                <a:gd name="connsiteY44" fmla="*/ 5598255 h 6346215"/>
                <a:gd name="connsiteX45" fmla="*/ 1783719 w 5884232"/>
                <a:gd name="connsiteY45" fmla="*/ 5692347 h 6346215"/>
                <a:gd name="connsiteX46" fmla="*/ 4209492 w 5884232"/>
                <a:gd name="connsiteY46" fmla="*/ 5644651 h 6346215"/>
                <a:gd name="connsiteX47" fmla="*/ 4406189 w 5884232"/>
                <a:gd name="connsiteY47" fmla="*/ 6217653 h 6346215"/>
                <a:gd name="connsiteX48" fmla="*/ 1578647 w 5884232"/>
                <a:gd name="connsiteY48" fmla="*/ 6346215 h 6346215"/>
                <a:gd name="connsiteX49" fmla="*/ 1541767 w 5884232"/>
                <a:gd name="connsiteY49" fmla="*/ 6338736 h 6346215"/>
                <a:gd name="connsiteX50" fmla="*/ 1385024 w 5884232"/>
                <a:gd name="connsiteY50" fmla="*/ 6164212 h 6346215"/>
                <a:gd name="connsiteX51" fmla="*/ 1371195 w 5884232"/>
                <a:gd name="connsiteY51" fmla="*/ 6184157 h 6346215"/>
                <a:gd name="connsiteX52" fmla="*/ 1345840 w 5884232"/>
                <a:gd name="connsiteY52" fmla="*/ 6151747 h 6346215"/>
                <a:gd name="connsiteX53" fmla="*/ 1304349 w 5884232"/>
                <a:gd name="connsiteY53" fmla="*/ 6209090 h 6346215"/>
                <a:gd name="connsiteX54" fmla="*/ 1189098 w 5884232"/>
                <a:gd name="connsiteY54" fmla="*/ 6081936 h 6346215"/>
                <a:gd name="connsiteX55" fmla="*/ 1232893 w 5884232"/>
                <a:gd name="connsiteY55" fmla="*/ 6032071 h 6346215"/>
                <a:gd name="connsiteX56" fmla="*/ 1000086 w 5884232"/>
                <a:gd name="connsiteY56" fmla="*/ 5782751 h 6346215"/>
                <a:gd name="connsiteX57" fmla="*/ 1013916 w 5884232"/>
                <a:gd name="connsiteY57" fmla="*/ 5755327 h 6346215"/>
                <a:gd name="connsiteX58" fmla="*/ 817988 w 5884232"/>
                <a:gd name="connsiteY58" fmla="*/ 5548391 h 6346215"/>
                <a:gd name="connsiteX59" fmla="*/ 732703 w 5884232"/>
                <a:gd name="connsiteY59" fmla="*/ 5638146 h 6346215"/>
                <a:gd name="connsiteX60" fmla="*/ 430931 w 5884232"/>
                <a:gd name="connsiteY60" fmla="*/ 5323785 h 6346215"/>
                <a:gd name="connsiteX61" fmla="*/ 523257 w 5884232"/>
                <a:gd name="connsiteY61" fmla="*/ 5189370 h 6346215"/>
                <a:gd name="connsiteX62" fmla="*/ 41560 w 5884232"/>
                <a:gd name="connsiteY62" fmla="*/ 3281515 h 6346215"/>
                <a:gd name="connsiteX0" fmla="*/ 41560 w 5884232"/>
                <a:gd name="connsiteY0" fmla="*/ 3281515 h 6346215"/>
                <a:gd name="connsiteX1" fmla="*/ 250907 w 5884232"/>
                <a:gd name="connsiteY1" fmla="*/ 2374266 h 6346215"/>
                <a:gd name="connsiteX2" fmla="*/ 218176 w 5884232"/>
                <a:gd name="connsiteY2" fmla="*/ 2331944 h 6346215"/>
                <a:gd name="connsiteX3" fmla="*/ 290433 w 5884232"/>
                <a:gd name="connsiteY3" fmla="*/ 2067448 h 6346215"/>
                <a:gd name="connsiteX4" fmla="*/ 326149 w 5884232"/>
                <a:gd name="connsiteY4" fmla="*/ 2050403 h 6346215"/>
                <a:gd name="connsiteX5" fmla="*/ 1333506 w 5884232"/>
                <a:gd name="connsiteY5" fmla="*/ 647002 h 6346215"/>
                <a:gd name="connsiteX6" fmla="*/ 1546422 w 5884232"/>
                <a:gd name="connsiteY6" fmla="*/ 547251 h 6346215"/>
                <a:gd name="connsiteX7" fmla="*/ 1526361 w 5884232"/>
                <a:gd name="connsiteY7" fmla="*/ 432260 h 6346215"/>
                <a:gd name="connsiteX8" fmla="*/ 1722126 w 5884232"/>
                <a:gd name="connsiteY8" fmla="*/ 380302 h 6346215"/>
                <a:gd name="connsiteX9" fmla="*/ 1739499 w 5884232"/>
                <a:gd name="connsiteY9" fmla="*/ 481442 h 6346215"/>
                <a:gd name="connsiteX10" fmla="*/ 1866574 w 5884232"/>
                <a:gd name="connsiteY10" fmla="*/ 442651 h 6346215"/>
                <a:gd name="connsiteX11" fmla="*/ 1897053 w 5884232"/>
                <a:gd name="connsiteY11" fmla="*/ 393463 h 6346215"/>
                <a:gd name="connsiteX12" fmla="*/ 2132940 w 5884232"/>
                <a:gd name="connsiteY12" fmla="*/ 319342 h 6346215"/>
                <a:gd name="connsiteX13" fmla="*/ 2173395 w 5884232"/>
                <a:gd name="connsiteY13" fmla="*/ 352592 h 6346215"/>
                <a:gd name="connsiteX14" fmla="*/ 2369937 w 5884232"/>
                <a:gd name="connsiteY14" fmla="*/ 288171 h 6346215"/>
                <a:gd name="connsiteX15" fmla="*/ 2329149 w 5884232"/>
                <a:gd name="connsiteY15" fmla="*/ 119840 h 6346215"/>
                <a:gd name="connsiteX16" fmla="*/ 2712392 w 5884232"/>
                <a:gd name="connsiteY16" fmla="*/ 0 h 6346215"/>
                <a:gd name="connsiteX17" fmla="*/ 2760690 w 5884232"/>
                <a:gd name="connsiteY17" fmla="*/ 165560 h 6346215"/>
                <a:gd name="connsiteX18" fmla="*/ 4524241 w 5884232"/>
                <a:gd name="connsiteY18" fmla="*/ 680900 h 6346215"/>
                <a:gd name="connsiteX19" fmla="*/ 5074371 w 5884232"/>
                <a:gd name="connsiteY19" fmla="*/ 1291242 h 6346215"/>
                <a:gd name="connsiteX20" fmla="*/ 5135775 w 5884232"/>
                <a:gd name="connsiteY20" fmla="*/ 1298860 h 6346215"/>
                <a:gd name="connsiteX21" fmla="*/ 5300616 w 5884232"/>
                <a:gd name="connsiteY21" fmla="*/ 1479661 h 6346215"/>
                <a:gd name="connsiteX22" fmla="*/ 5300839 w 5884232"/>
                <a:gd name="connsiteY22" fmla="*/ 1535080 h 6346215"/>
                <a:gd name="connsiteX23" fmla="*/ 5462103 w 5884232"/>
                <a:gd name="connsiteY23" fmla="*/ 1726990 h 6346215"/>
                <a:gd name="connsiteX24" fmla="*/ 5842091 w 5884232"/>
                <a:gd name="connsiteY24" fmla="*/ 3519512 h 6346215"/>
                <a:gd name="connsiteX25" fmla="*/ 5650012 w 5884232"/>
                <a:gd name="connsiteY25" fmla="*/ 4385669 h 6346215"/>
                <a:gd name="connsiteX26" fmla="*/ 5780228 w 5884232"/>
                <a:gd name="connsiteY26" fmla="*/ 4452156 h 6346215"/>
                <a:gd name="connsiteX27" fmla="*/ 5710779 w 5884232"/>
                <a:gd name="connsiteY27" fmla="*/ 4870077 h 6346215"/>
                <a:gd name="connsiteX28" fmla="*/ 5553250 w 5884232"/>
                <a:gd name="connsiteY28" fmla="*/ 4807792 h 6346215"/>
                <a:gd name="connsiteX29" fmla="*/ 4409852 w 5884232"/>
                <a:gd name="connsiteY29" fmla="*/ 6212288 h 6346215"/>
                <a:gd name="connsiteX30" fmla="*/ 4213721 w 5884232"/>
                <a:gd name="connsiteY30" fmla="*/ 5643346 h 6346215"/>
                <a:gd name="connsiteX31" fmla="*/ 5030652 w 5884232"/>
                <a:gd name="connsiteY31" fmla="*/ 4596953 h 6346215"/>
                <a:gd name="connsiteX32" fmla="*/ 5310701 w 5884232"/>
                <a:gd name="connsiteY32" fmla="*/ 3352779 h 6346215"/>
                <a:gd name="connsiteX33" fmla="*/ 4991885 w 5884232"/>
                <a:gd name="connsiteY33" fmla="*/ 2049487 h 6346215"/>
                <a:gd name="connsiteX34" fmla="*/ 4174632 w 5884232"/>
                <a:gd name="connsiteY34" fmla="*/ 1163055 h 6346215"/>
                <a:gd name="connsiteX35" fmla="*/ 2880366 w 5884232"/>
                <a:gd name="connsiteY35" fmla="*/ 761302 h 6346215"/>
                <a:gd name="connsiteX36" fmla="*/ 1882146 w 5884232"/>
                <a:gd name="connsiteY36" fmla="*/ 1081342 h 6346215"/>
                <a:gd name="connsiteX37" fmla="*/ 873226 w 5884232"/>
                <a:gd name="connsiteY37" fmla="*/ 2111591 h 6346215"/>
                <a:gd name="connsiteX38" fmla="*/ 571891 w 5884232"/>
                <a:gd name="connsiteY38" fmla="*/ 3464807 h 6346215"/>
                <a:gd name="connsiteX39" fmla="*/ 1077217 w 5884232"/>
                <a:gd name="connsiteY39" fmla="*/ 4933546 h 6346215"/>
                <a:gd name="connsiteX40" fmla="*/ 1206546 w 5884232"/>
                <a:gd name="connsiteY40" fmla="*/ 5094818 h 6346215"/>
                <a:gd name="connsiteX41" fmla="*/ 1548682 w 5884232"/>
                <a:gd name="connsiteY41" fmla="*/ 5436198 h 6346215"/>
                <a:gd name="connsiteX42" fmla="*/ 1610916 w 5884232"/>
                <a:gd name="connsiteY42" fmla="*/ 5418743 h 6346215"/>
                <a:gd name="connsiteX43" fmla="*/ 1714643 w 5884232"/>
                <a:gd name="connsiteY43" fmla="*/ 5533432 h 6346215"/>
                <a:gd name="connsiteX44" fmla="*/ 1693898 w 5884232"/>
                <a:gd name="connsiteY44" fmla="*/ 5598255 h 6346215"/>
                <a:gd name="connsiteX45" fmla="*/ 1783719 w 5884232"/>
                <a:gd name="connsiteY45" fmla="*/ 5692347 h 6346215"/>
                <a:gd name="connsiteX46" fmla="*/ 4209492 w 5884232"/>
                <a:gd name="connsiteY46" fmla="*/ 5644651 h 6346215"/>
                <a:gd name="connsiteX47" fmla="*/ 4406189 w 5884232"/>
                <a:gd name="connsiteY47" fmla="*/ 6217653 h 6346215"/>
                <a:gd name="connsiteX48" fmla="*/ 1578647 w 5884232"/>
                <a:gd name="connsiteY48" fmla="*/ 6346215 h 6346215"/>
                <a:gd name="connsiteX49" fmla="*/ 1385024 w 5884232"/>
                <a:gd name="connsiteY49" fmla="*/ 6164212 h 6346215"/>
                <a:gd name="connsiteX50" fmla="*/ 1371195 w 5884232"/>
                <a:gd name="connsiteY50" fmla="*/ 6184157 h 6346215"/>
                <a:gd name="connsiteX51" fmla="*/ 1345840 w 5884232"/>
                <a:gd name="connsiteY51" fmla="*/ 6151747 h 6346215"/>
                <a:gd name="connsiteX52" fmla="*/ 1304349 w 5884232"/>
                <a:gd name="connsiteY52" fmla="*/ 6209090 h 6346215"/>
                <a:gd name="connsiteX53" fmla="*/ 1189098 w 5884232"/>
                <a:gd name="connsiteY53" fmla="*/ 6081936 h 6346215"/>
                <a:gd name="connsiteX54" fmla="*/ 1232893 w 5884232"/>
                <a:gd name="connsiteY54" fmla="*/ 6032071 h 6346215"/>
                <a:gd name="connsiteX55" fmla="*/ 1000086 w 5884232"/>
                <a:gd name="connsiteY55" fmla="*/ 5782751 h 6346215"/>
                <a:gd name="connsiteX56" fmla="*/ 1013916 w 5884232"/>
                <a:gd name="connsiteY56" fmla="*/ 5755327 h 6346215"/>
                <a:gd name="connsiteX57" fmla="*/ 817988 w 5884232"/>
                <a:gd name="connsiteY57" fmla="*/ 5548391 h 6346215"/>
                <a:gd name="connsiteX58" fmla="*/ 732703 w 5884232"/>
                <a:gd name="connsiteY58" fmla="*/ 5638146 h 6346215"/>
                <a:gd name="connsiteX59" fmla="*/ 430931 w 5884232"/>
                <a:gd name="connsiteY59" fmla="*/ 5323785 h 6346215"/>
                <a:gd name="connsiteX60" fmla="*/ 523257 w 5884232"/>
                <a:gd name="connsiteY60" fmla="*/ 5189370 h 6346215"/>
                <a:gd name="connsiteX61" fmla="*/ 41560 w 5884232"/>
                <a:gd name="connsiteY61" fmla="*/ 3281515 h 6346215"/>
                <a:gd name="connsiteX0" fmla="*/ 41560 w 5884232"/>
                <a:gd name="connsiteY0" fmla="*/ 3281515 h 6346215"/>
                <a:gd name="connsiteX1" fmla="*/ 250907 w 5884232"/>
                <a:gd name="connsiteY1" fmla="*/ 2374266 h 6346215"/>
                <a:gd name="connsiteX2" fmla="*/ 218176 w 5884232"/>
                <a:gd name="connsiteY2" fmla="*/ 2331944 h 6346215"/>
                <a:gd name="connsiteX3" fmla="*/ 290433 w 5884232"/>
                <a:gd name="connsiteY3" fmla="*/ 2067448 h 6346215"/>
                <a:gd name="connsiteX4" fmla="*/ 326149 w 5884232"/>
                <a:gd name="connsiteY4" fmla="*/ 2050403 h 6346215"/>
                <a:gd name="connsiteX5" fmla="*/ 1333506 w 5884232"/>
                <a:gd name="connsiteY5" fmla="*/ 647002 h 6346215"/>
                <a:gd name="connsiteX6" fmla="*/ 1546422 w 5884232"/>
                <a:gd name="connsiteY6" fmla="*/ 547251 h 6346215"/>
                <a:gd name="connsiteX7" fmla="*/ 1526361 w 5884232"/>
                <a:gd name="connsiteY7" fmla="*/ 432260 h 6346215"/>
                <a:gd name="connsiteX8" fmla="*/ 1722126 w 5884232"/>
                <a:gd name="connsiteY8" fmla="*/ 380302 h 6346215"/>
                <a:gd name="connsiteX9" fmla="*/ 1739499 w 5884232"/>
                <a:gd name="connsiteY9" fmla="*/ 481442 h 6346215"/>
                <a:gd name="connsiteX10" fmla="*/ 1866574 w 5884232"/>
                <a:gd name="connsiteY10" fmla="*/ 442651 h 6346215"/>
                <a:gd name="connsiteX11" fmla="*/ 1897053 w 5884232"/>
                <a:gd name="connsiteY11" fmla="*/ 393463 h 6346215"/>
                <a:gd name="connsiteX12" fmla="*/ 2132940 w 5884232"/>
                <a:gd name="connsiteY12" fmla="*/ 319342 h 6346215"/>
                <a:gd name="connsiteX13" fmla="*/ 2173395 w 5884232"/>
                <a:gd name="connsiteY13" fmla="*/ 352592 h 6346215"/>
                <a:gd name="connsiteX14" fmla="*/ 2369937 w 5884232"/>
                <a:gd name="connsiteY14" fmla="*/ 288171 h 6346215"/>
                <a:gd name="connsiteX15" fmla="*/ 2329149 w 5884232"/>
                <a:gd name="connsiteY15" fmla="*/ 119840 h 6346215"/>
                <a:gd name="connsiteX16" fmla="*/ 2712392 w 5884232"/>
                <a:gd name="connsiteY16" fmla="*/ 0 h 6346215"/>
                <a:gd name="connsiteX17" fmla="*/ 2760690 w 5884232"/>
                <a:gd name="connsiteY17" fmla="*/ 165560 h 6346215"/>
                <a:gd name="connsiteX18" fmla="*/ 4524241 w 5884232"/>
                <a:gd name="connsiteY18" fmla="*/ 680900 h 6346215"/>
                <a:gd name="connsiteX19" fmla="*/ 5074371 w 5884232"/>
                <a:gd name="connsiteY19" fmla="*/ 1291242 h 6346215"/>
                <a:gd name="connsiteX20" fmla="*/ 5135775 w 5884232"/>
                <a:gd name="connsiteY20" fmla="*/ 1298860 h 6346215"/>
                <a:gd name="connsiteX21" fmla="*/ 5300616 w 5884232"/>
                <a:gd name="connsiteY21" fmla="*/ 1479661 h 6346215"/>
                <a:gd name="connsiteX22" fmla="*/ 5300839 w 5884232"/>
                <a:gd name="connsiteY22" fmla="*/ 1535080 h 6346215"/>
                <a:gd name="connsiteX23" fmla="*/ 5462103 w 5884232"/>
                <a:gd name="connsiteY23" fmla="*/ 1726990 h 6346215"/>
                <a:gd name="connsiteX24" fmla="*/ 5842091 w 5884232"/>
                <a:gd name="connsiteY24" fmla="*/ 3519512 h 6346215"/>
                <a:gd name="connsiteX25" fmla="*/ 5650012 w 5884232"/>
                <a:gd name="connsiteY25" fmla="*/ 4385669 h 6346215"/>
                <a:gd name="connsiteX26" fmla="*/ 5780228 w 5884232"/>
                <a:gd name="connsiteY26" fmla="*/ 4452156 h 6346215"/>
                <a:gd name="connsiteX27" fmla="*/ 5710779 w 5884232"/>
                <a:gd name="connsiteY27" fmla="*/ 4870077 h 6346215"/>
                <a:gd name="connsiteX28" fmla="*/ 5553250 w 5884232"/>
                <a:gd name="connsiteY28" fmla="*/ 4807792 h 6346215"/>
                <a:gd name="connsiteX29" fmla="*/ 4409852 w 5884232"/>
                <a:gd name="connsiteY29" fmla="*/ 6212288 h 6346215"/>
                <a:gd name="connsiteX30" fmla="*/ 4213721 w 5884232"/>
                <a:gd name="connsiteY30" fmla="*/ 5643346 h 6346215"/>
                <a:gd name="connsiteX31" fmla="*/ 5030652 w 5884232"/>
                <a:gd name="connsiteY31" fmla="*/ 4596953 h 6346215"/>
                <a:gd name="connsiteX32" fmla="*/ 5310701 w 5884232"/>
                <a:gd name="connsiteY32" fmla="*/ 3352779 h 6346215"/>
                <a:gd name="connsiteX33" fmla="*/ 4991885 w 5884232"/>
                <a:gd name="connsiteY33" fmla="*/ 2049487 h 6346215"/>
                <a:gd name="connsiteX34" fmla="*/ 4174632 w 5884232"/>
                <a:gd name="connsiteY34" fmla="*/ 1163055 h 6346215"/>
                <a:gd name="connsiteX35" fmla="*/ 2880366 w 5884232"/>
                <a:gd name="connsiteY35" fmla="*/ 761302 h 6346215"/>
                <a:gd name="connsiteX36" fmla="*/ 1882146 w 5884232"/>
                <a:gd name="connsiteY36" fmla="*/ 1081342 h 6346215"/>
                <a:gd name="connsiteX37" fmla="*/ 873226 w 5884232"/>
                <a:gd name="connsiteY37" fmla="*/ 2111591 h 6346215"/>
                <a:gd name="connsiteX38" fmla="*/ 571891 w 5884232"/>
                <a:gd name="connsiteY38" fmla="*/ 3464807 h 6346215"/>
                <a:gd name="connsiteX39" fmla="*/ 1077217 w 5884232"/>
                <a:gd name="connsiteY39" fmla="*/ 4933546 h 6346215"/>
                <a:gd name="connsiteX40" fmla="*/ 1206546 w 5884232"/>
                <a:gd name="connsiteY40" fmla="*/ 5094818 h 6346215"/>
                <a:gd name="connsiteX41" fmla="*/ 1548682 w 5884232"/>
                <a:gd name="connsiteY41" fmla="*/ 5436198 h 6346215"/>
                <a:gd name="connsiteX42" fmla="*/ 1610916 w 5884232"/>
                <a:gd name="connsiteY42" fmla="*/ 5418743 h 6346215"/>
                <a:gd name="connsiteX43" fmla="*/ 1714643 w 5884232"/>
                <a:gd name="connsiteY43" fmla="*/ 5533432 h 6346215"/>
                <a:gd name="connsiteX44" fmla="*/ 1693898 w 5884232"/>
                <a:gd name="connsiteY44" fmla="*/ 5598255 h 6346215"/>
                <a:gd name="connsiteX45" fmla="*/ 1783719 w 5884232"/>
                <a:gd name="connsiteY45" fmla="*/ 5692347 h 6346215"/>
                <a:gd name="connsiteX46" fmla="*/ 4209492 w 5884232"/>
                <a:gd name="connsiteY46" fmla="*/ 5644651 h 6346215"/>
                <a:gd name="connsiteX47" fmla="*/ 4406189 w 5884232"/>
                <a:gd name="connsiteY47" fmla="*/ 6217653 h 6346215"/>
                <a:gd name="connsiteX48" fmla="*/ 1578647 w 5884232"/>
                <a:gd name="connsiteY48" fmla="*/ 6346215 h 6346215"/>
                <a:gd name="connsiteX49" fmla="*/ 1533584 w 5884232"/>
                <a:gd name="connsiteY49" fmla="*/ 6322242 h 6346215"/>
                <a:gd name="connsiteX50" fmla="*/ 1385024 w 5884232"/>
                <a:gd name="connsiteY50" fmla="*/ 6164212 h 6346215"/>
                <a:gd name="connsiteX51" fmla="*/ 1371195 w 5884232"/>
                <a:gd name="connsiteY51" fmla="*/ 6184157 h 6346215"/>
                <a:gd name="connsiteX52" fmla="*/ 1345840 w 5884232"/>
                <a:gd name="connsiteY52" fmla="*/ 6151747 h 6346215"/>
                <a:gd name="connsiteX53" fmla="*/ 1304349 w 5884232"/>
                <a:gd name="connsiteY53" fmla="*/ 6209090 h 6346215"/>
                <a:gd name="connsiteX54" fmla="*/ 1189098 w 5884232"/>
                <a:gd name="connsiteY54" fmla="*/ 6081936 h 6346215"/>
                <a:gd name="connsiteX55" fmla="*/ 1232893 w 5884232"/>
                <a:gd name="connsiteY55" fmla="*/ 6032071 h 6346215"/>
                <a:gd name="connsiteX56" fmla="*/ 1000086 w 5884232"/>
                <a:gd name="connsiteY56" fmla="*/ 5782751 h 6346215"/>
                <a:gd name="connsiteX57" fmla="*/ 1013916 w 5884232"/>
                <a:gd name="connsiteY57" fmla="*/ 5755327 h 6346215"/>
                <a:gd name="connsiteX58" fmla="*/ 817988 w 5884232"/>
                <a:gd name="connsiteY58" fmla="*/ 5548391 h 6346215"/>
                <a:gd name="connsiteX59" fmla="*/ 732703 w 5884232"/>
                <a:gd name="connsiteY59" fmla="*/ 5638146 h 6346215"/>
                <a:gd name="connsiteX60" fmla="*/ 430931 w 5884232"/>
                <a:gd name="connsiteY60" fmla="*/ 5323785 h 6346215"/>
                <a:gd name="connsiteX61" fmla="*/ 523257 w 5884232"/>
                <a:gd name="connsiteY61" fmla="*/ 5189370 h 6346215"/>
                <a:gd name="connsiteX62" fmla="*/ 41560 w 5884232"/>
                <a:gd name="connsiteY62" fmla="*/ 3281515 h 6346215"/>
                <a:gd name="connsiteX0" fmla="*/ 41560 w 5884232"/>
                <a:gd name="connsiteY0" fmla="*/ 3281515 h 6322242"/>
                <a:gd name="connsiteX1" fmla="*/ 250907 w 5884232"/>
                <a:gd name="connsiteY1" fmla="*/ 2374266 h 6322242"/>
                <a:gd name="connsiteX2" fmla="*/ 218176 w 5884232"/>
                <a:gd name="connsiteY2" fmla="*/ 2331944 h 6322242"/>
                <a:gd name="connsiteX3" fmla="*/ 290433 w 5884232"/>
                <a:gd name="connsiteY3" fmla="*/ 2067448 h 6322242"/>
                <a:gd name="connsiteX4" fmla="*/ 326149 w 5884232"/>
                <a:gd name="connsiteY4" fmla="*/ 2050403 h 6322242"/>
                <a:gd name="connsiteX5" fmla="*/ 1333506 w 5884232"/>
                <a:gd name="connsiteY5" fmla="*/ 647002 h 6322242"/>
                <a:gd name="connsiteX6" fmla="*/ 1546422 w 5884232"/>
                <a:gd name="connsiteY6" fmla="*/ 547251 h 6322242"/>
                <a:gd name="connsiteX7" fmla="*/ 1526361 w 5884232"/>
                <a:gd name="connsiteY7" fmla="*/ 432260 h 6322242"/>
                <a:gd name="connsiteX8" fmla="*/ 1722126 w 5884232"/>
                <a:gd name="connsiteY8" fmla="*/ 380302 h 6322242"/>
                <a:gd name="connsiteX9" fmla="*/ 1739499 w 5884232"/>
                <a:gd name="connsiteY9" fmla="*/ 481442 h 6322242"/>
                <a:gd name="connsiteX10" fmla="*/ 1866574 w 5884232"/>
                <a:gd name="connsiteY10" fmla="*/ 442651 h 6322242"/>
                <a:gd name="connsiteX11" fmla="*/ 1897053 w 5884232"/>
                <a:gd name="connsiteY11" fmla="*/ 393463 h 6322242"/>
                <a:gd name="connsiteX12" fmla="*/ 2132940 w 5884232"/>
                <a:gd name="connsiteY12" fmla="*/ 319342 h 6322242"/>
                <a:gd name="connsiteX13" fmla="*/ 2173395 w 5884232"/>
                <a:gd name="connsiteY13" fmla="*/ 352592 h 6322242"/>
                <a:gd name="connsiteX14" fmla="*/ 2369937 w 5884232"/>
                <a:gd name="connsiteY14" fmla="*/ 288171 h 6322242"/>
                <a:gd name="connsiteX15" fmla="*/ 2329149 w 5884232"/>
                <a:gd name="connsiteY15" fmla="*/ 119840 h 6322242"/>
                <a:gd name="connsiteX16" fmla="*/ 2712392 w 5884232"/>
                <a:gd name="connsiteY16" fmla="*/ 0 h 6322242"/>
                <a:gd name="connsiteX17" fmla="*/ 2760690 w 5884232"/>
                <a:gd name="connsiteY17" fmla="*/ 165560 h 6322242"/>
                <a:gd name="connsiteX18" fmla="*/ 4524241 w 5884232"/>
                <a:gd name="connsiteY18" fmla="*/ 680900 h 6322242"/>
                <a:gd name="connsiteX19" fmla="*/ 5074371 w 5884232"/>
                <a:gd name="connsiteY19" fmla="*/ 1291242 h 6322242"/>
                <a:gd name="connsiteX20" fmla="*/ 5135775 w 5884232"/>
                <a:gd name="connsiteY20" fmla="*/ 1298860 h 6322242"/>
                <a:gd name="connsiteX21" fmla="*/ 5300616 w 5884232"/>
                <a:gd name="connsiteY21" fmla="*/ 1479661 h 6322242"/>
                <a:gd name="connsiteX22" fmla="*/ 5300839 w 5884232"/>
                <a:gd name="connsiteY22" fmla="*/ 1535080 h 6322242"/>
                <a:gd name="connsiteX23" fmla="*/ 5462103 w 5884232"/>
                <a:gd name="connsiteY23" fmla="*/ 1726990 h 6322242"/>
                <a:gd name="connsiteX24" fmla="*/ 5842091 w 5884232"/>
                <a:gd name="connsiteY24" fmla="*/ 3519512 h 6322242"/>
                <a:gd name="connsiteX25" fmla="*/ 5650012 w 5884232"/>
                <a:gd name="connsiteY25" fmla="*/ 4385669 h 6322242"/>
                <a:gd name="connsiteX26" fmla="*/ 5780228 w 5884232"/>
                <a:gd name="connsiteY26" fmla="*/ 4452156 h 6322242"/>
                <a:gd name="connsiteX27" fmla="*/ 5710779 w 5884232"/>
                <a:gd name="connsiteY27" fmla="*/ 4870077 h 6322242"/>
                <a:gd name="connsiteX28" fmla="*/ 5553250 w 5884232"/>
                <a:gd name="connsiteY28" fmla="*/ 4807792 h 6322242"/>
                <a:gd name="connsiteX29" fmla="*/ 4409852 w 5884232"/>
                <a:gd name="connsiteY29" fmla="*/ 6212288 h 6322242"/>
                <a:gd name="connsiteX30" fmla="*/ 4213721 w 5884232"/>
                <a:gd name="connsiteY30" fmla="*/ 5643346 h 6322242"/>
                <a:gd name="connsiteX31" fmla="*/ 5030652 w 5884232"/>
                <a:gd name="connsiteY31" fmla="*/ 4596953 h 6322242"/>
                <a:gd name="connsiteX32" fmla="*/ 5310701 w 5884232"/>
                <a:gd name="connsiteY32" fmla="*/ 3352779 h 6322242"/>
                <a:gd name="connsiteX33" fmla="*/ 4991885 w 5884232"/>
                <a:gd name="connsiteY33" fmla="*/ 2049487 h 6322242"/>
                <a:gd name="connsiteX34" fmla="*/ 4174632 w 5884232"/>
                <a:gd name="connsiteY34" fmla="*/ 1163055 h 6322242"/>
                <a:gd name="connsiteX35" fmla="*/ 2880366 w 5884232"/>
                <a:gd name="connsiteY35" fmla="*/ 761302 h 6322242"/>
                <a:gd name="connsiteX36" fmla="*/ 1882146 w 5884232"/>
                <a:gd name="connsiteY36" fmla="*/ 1081342 h 6322242"/>
                <a:gd name="connsiteX37" fmla="*/ 873226 w 5884232"/>
                <a:gd name="connsiteY37" fmla="*/ 2111591 h 6322242"/>
                <a:gd name="connsiteX38" fmla="*/ 571891 w 5884232"/>
                <a:gd name="connsiteY38" fmla="*/ 3464807 h 6322242"/>
                <a:gd name="connsiteX39" fmla="*/ 1077217 w 5884232"/>
                <a:gd name="connsiteY39" fmla="*/ 4933546 h 6322242"/>
                <a:gd name="connsiteX40" fmla="*/ 1206546 w 5884232"/>
                <a:gd name="connsiteY40" fmla="*/ 5094818 h 6322242"/>
                <a:gd name="connsiteX41" fmla="*/ 1548682 w 5884232"/>
                <a:gd name="connsiteY41" fmla="*/ 5436198 h 6322242"/>
                <a:gd name="connsiteX42" fmla="*/ 1610916 w 5884232"/>
                <a:gd name="connsiteY42" fmla="*/ 5418743 h 6322242"/>
                <a:gd name="connsiteX43" fmla="*/ 1714643 w 5884232"/>
                <a:gd name="connsiteY43" fmla="*/ 5533432 h 6322242"/>
                <a:gd name="connsiteX44" fmla="*/ 1693898 w 5884232"/>
                <a:gd name="connsiteY44" fmla="*/ 5598255 h 6322242"/>
                <a:gd name="connsiteX45" fmla="*/ 1783719 w 5884232"/>
                <a:gd name="connsiteY45" fmla="*/ 5692347 h 6322242"/>
                <a:gd name="connsiteX46" fmla="*/ 4209492 w 5884232"/>
                <a:gd name="connsiteY46" fmla="*/ 5644651 h 6322242"/>
                <a:gd name="connsiteX47" fmla="*/ 4406189 w 5884232"/>
                <a:gd name="connsiteY47" fmla="*/ 6217653 h 6322242"/>
                <a:gd name="connsiteX48" fmla="*/ 1533584 w 5884232"/>
                <a:gd name="connsiteY48" fmla="*/ 6322242 h 6322242"/>
                <a:gd name="connsiteX49" fmla="*/ 1385024 w 5884232"/>
                <a:gd name="connsiteY49" fmla="*/ 6164212 h 6322242"/>
                <a:gd name="connsiteX50" fmla="*/ 1371195 w 5884232"/>
                <a:gd name="connsiteY50" fmla="*/ 6184157 h 6322242"/>
                <a:gd name="connsiteX51" fmla="*/ 1345840 w 5884232"/>
                <a:gd name="connsiteY51" fmla="*/ 6151747 h 6322242"/>
                <a:gd name="connsiteX52" fmla="*/ 1304349 w 5884232"/>
                <a:gd name="connsiteY52" fmla="*/ 6209090 h 6322242"/>
                <a:gd name="connsiteX53" fmla="*/ 1189098 w 5884232"/>
                <a:gd name="connsiteY53" fmla="*/ 6081936 h 6322242"/>
                <a:gd name="connsiteX54" fmla="*/ 1232893 w 5884232"/>
                <a:gd name="connsiteY54" fmla="*/ 6032071 h 6322242"/>
                <a:gd name="connsiteX55" fmla="*/ 1000086 w 5884232"/>
                <a:gd name="connsiteY55" fmla="*/ 5782751 h 6322242"/>
                <a:gd name="connsiteX56" fmla="*/ 1013916 w 5884232"/>
                <a:gd name="connsiteY56" fmla="*/ 5755327 h 6322242"/>
                <a:gd name="connsiteX57" fmla="*/ 817988 w 5884232"/>
                <a:gd name="connsiteY57" fmla="*/ 5548391 h 6322242"/>
                <a:gd name="connsiteX58" fmla="*/ 732703 w 5884232"/>
                <a:gd name="connsiteY58" fmla="*/ 5638146 h 6322242"/>
                <a:gd name="connsiteX59" fmla="*/ 430931 w 5884232"/>
                <a:gd name="connsiteY59" fmla="*/ 5323785 h 6322242"/>
                <a:gd name="connsiteX60" fmla="*/ 523257 w 5884232"/>
                <a:gd name="connsiteY60" fmla="*/ 5189370 h 6322242"/>
                <a:gd name="connsiteX61" fmla="*/ 41560 w 5884232"/>
                <a:gd name="connsiteY61" fmla="*/ 3281515 h 6322242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385024 w 5884232"/>
                <a:gd name="connsiteY48" fmla="*/ 6164212 h 6217653"/>
                <a:gd name="connsiteX49" fmla="*/ 1371195 w 5884232"/>
                <a:gd name="connsiteY49" fmla="*/ 6184157 h 6217653"/>
                <a:gd name="connsiteX50" fmla="*/ 1345840 w 5884232"/>
                <a:gd name="connsiteY50" fmla="*/ 6151747 h 6217653"/>
                <a:gd name="connsiteX51" fmla="*/ 1304349 w 5884232"/>
                <a:gd name="connsiteY51" fmla="*/ 6209090 h 6217653"/>
                <a:gd name="connsiteX52" fmla="*/ 1189098 w 5884232"/>
                <a:gd name="connsiteY52" fmla="*/ 6081936 h 6217653"/>
                <a:gd name="connsiteX53" fmla="*/ 1232893 w 5884232"/>
                <a:gd name="connsiteY53" fmla="*/ 6032071 h 6217653"/>
                <a:gd name="connsiteX54" fmla="*/ 1000086 w 5884232"/>
                <a:gd name="connsiteY54" fmla="*/ 5782751 h 6217653"/>
                <a:gd name="connsiteX55" fmla="*/ 1013916 w 5884232"/>
                <a:gd name="connsiteY55" fmla="*/ 5755327 h 6217653"/>
                <a:gd name="connsiteX56" fmla="*/ 817988 w 5884232"/>
                <a:gd name="connsiteY56" fmla="*/ 5548391 h 6217653"/>
                <a:gd name="connsiteX57" fmla="*/ 732703 w 5884232"/>
                <a:gd name="connsiteY57" fmla="*/ 5638146 h 6217653"/>
                <a:gd name="connsiteX58" fmla="*/ 430931 w 5884232"/>
                <a:gd name="connsiteY58" fmla="*/ 5323785 h 6217653"/>
                <a:gd name="connsiteX59" fmla="*/ 523257 w 5884232"/>
                <a:gd name="connsiteY59" fmla="*/ 5189370 h 6217653"/>
                <a:gd name="connsiteX60" fmla="*/ 41560 w 5884232"/>
                <a:gd name="connsiteY60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385024 w 5884232"/>
                <a:gd name="connsiteY48" fmla="*/ 6164212 h 6217653"/>
                <a:gd name="connsiteX49" fmla="*/ 1345840 w 5884232"/>
                <a:gd name="connsiteY49" fmla="*/ 6151747 h 6217653"/>
                <a:gd name="connsiteX50" fmla="*/ 1304349 w 5884232"/>
                <a:gd name="connsiteY50" fmla="*/ 6209090 h 6217653"/>
                <a:gd name="connsiteX51" fmla="*/ 1189098 w 5884232"/>
                <a:gd name="connsiteY51" fmla="*/ 6081936 h 6217653"/>
                <a:gd name="connsiteX52" fmla="*/ 1232893 w 5884232"/>
                <a:gd name="connsiteY52" fmla="*/ 6032071 h 6217653"/>
                <a:gd name="connsiteX53" fmla="*/ 1000086 w 5884232"/>
                <a:gd name="connsiteY53" fmla="*/ 5782751 h 6217653"/>
                <a:gd name="connsiteX54" fmla="*/ 1013916 w 5884232"/>
                <a:gd name="connsiteY54" fmla="*/ 5755327 h 6217653"/>
                <a:gd name="connsiteX55" fmla="*/ 817988 w 5884232"/>
                <a:gd name="connsiteY55" fmla="*/ 5548391 h 6217653"/>
                <a:gd name="connsiteX56" fmla="*/ 732703 w 5884232"/>
                <a:gd name="connsiteY56" fmla="*/ 5638146 h 6217653"/>
                <a:gd name="connsiteX57" fmla="*/ 430931 w 5884232"/>
                <a:gd name="connsiteY57" fmla="*/ 5323785 h 6217653"/>
                <a:gd name="connsiteX58" fmla="*/ 523257 w 5884232"/>
                <a:gd name="connsiteY58" fmla="*/ 5189370 h 6217653"/>
                <a:gd name="connsiteX59" fmla="*/ 41560 w 5884232"/>
                <a:gd name="connsiteY5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385024 w 5884232"/>
                <a:gd name="connsiteY48" fmla="*/ 6164212 h 6217653"/>
                <a:gd name="connsiteX49" fmla="*/ 1304349 w 5884232"/>
                <a:gd name="connsiteY49" fmla="*/ 6209090 h 6217653"/>
                <a:gd name="connsiteX50" fmla="*/ 1189098 w 5884232"/>
                <a:gd name="connsiteY50" fmla="*/ 6081936 h 6217653"/>
                <a:gd name="connsiteX51" fmla="*/ 1232893 w 5884232"/>
                <a:gd name="connsiteY51" fmla="*/ 6032071 h 6217653"/>
                <a:gd name="connsiteX52" fmla="*/ 1000086 w 5884232"/>
                <a:gd name="connsiteY52" fmla="*/ 5782751 h 6217653"/>
                <a:gd name="connsiteX53" fmla="*/ 1013916 w 5884232"/>
                <a:gd name="connsiteY53" fmla="*/ 5755327 h 6217653"/>
                <a:gd name="connsiteX54" fmla="*/ 817988 w 5884232"/>
                <a:gd name="connsiteY54" fmla="*/ 5548391 h 6217653"/>
                <a:gd name="connsiteX55" fmla="*/ 732703 w 5884232"/>
                <a:gd name="connsiteY55" fmla="*/ 5638146 h 6217653"/>
                <a:gd name="connsiteX56" fmla="*/ 430931 w 5884232"/>
                <a:gd name="connsiteY56" fmla="*/ 5323785 h 6217653"/>
                <a:gd name="connsiteX57" fmla="*/ 523257 w 5884232"/>
                <a:gd name="connsiteY57" fmla="*/ 5189370 h 6217653"/>
                <a:gd name="connsiteX58" fmla="*/ 41560 w 5884232"/>
                <a:gd name="connsiteY58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304349 w 5884232"/>
                <a:gd name="connsiteY48" fmla="*/ 6209090 h 6217653"/>
                <a:gd name="connsiteX49" fmla="*/ 1189098 w 5884232"/>
                <a:gd name="connsiteY49" fmla="*/ 6081936 h 6217653"/>
                <a:gd name="connsiteX50" fmla="*/ 1232893 w 5884232"/>
                <a:gd name="connsiteY50" fmla="*/ 6032071 h 6217653"/>
                <a:gd name="connsiteX51" fmla="*/ 1000086 w 5884232"/>
                <a:gd name="connsiteY51" fmla="*/ 5782751 h 6217653"/>
                <a:gd name="connsiteX52" fmla="*/ 1013916 w 5884232"/>
                <a:gd name="connsiteY52" fmla="*/ 5755327 h 6217653"/>
                <a:gd name="connsiteX53" fmla="*/ 817988 w 5884232"/>
                <a:gd name="connsiteY53" fmla="*/ 5548391 h 6217653"/>
                <a:gd name="connsiteX54" fmla="*/ 732703 w 5884232"/>
                <a:gd name="connsiteY54" fmla="*/ 5638146 h 6217653"/>
                <a:gd name="connsiteX55" fmla="*/ 430931 w 5884232"/>
                <a:gd name="connsiteY55" fmla="*/ 5323785 h 6217653"/>
                <a:gd name="connsiteX56" fmla="*/ 523257 w 5884232"/>
                <a:gd name="connsiteY56" fmla="*/ 5189370 h 6217653"/>
                <a:gd name="connsiteX57" fmla="*/ 41560 w 5884232"/>
                <a:gd name="connsiteY57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189098 w 5884232"/>
                <a:gd name="connsiteY48" fmla="*/ 6081936 h 6217653"/>
                <a:gd name="connsiteX49" fmla="*/ 1232893 w 5884232"/>
                <a:gd name="connsiteY49" fmla="*/ 6032071 h 6217653"/>
                <a:gd name="connsiteX50" fmla="*/ 1000086 w 5884232"/>
                <a:gd name="connsiteY50" fmla="*/ 5782751 h 6217653"/>
                <a:gd name="connsiteX51" fmla="*/ 1013916 w 5884232"/>
                <a:gd name="connsiteY51" fmla="*/ 5755327 h 6217653"/>
                <a:gd name="connsiteX52" fmla="*/ 817988 w 5884232"/>
                <a:gd name="connsiteY52" fmla="*/ 5548391 h 6217653"/>
                <a:gd name="connsiteX53" fmla="*/ 732703 w 5884232"/>
                <a:gd name="connsiteY53" fmla="*/ 5638146 h 6217653"/>
                <a:gd name="connsiteX54" fmla="*/ 430931 w 5884232"/>
                <a:gd name="connsiteY54" fmla="*/ 5323785 h 6217653"/>
                <a:gd name="connsiteX55" fmla="*/ 523257 w 5884232"/>
                <a:gd name="connsiteY55" fmla="*/ 5189370 h 6217653"/>
                <a:gd name="connsiteX56" fmla="*/ 41560 w 5884232"/>
                <a:gd name="connsiteY56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232893 w 5884232"/>
                <a:gd name="connsiteY48" fmla="*/ 6032071 h 6217653"/>
                <a:gd name="connsiteX49" fmla="*/ 1000086 w 5884232"/>
                <a:gd name="connsiteY49" fmla="*/ 5782751 h 6217653"/>
                <a:gd name="connsiteX50" fmla="*/ 1013916 w 5884232"/>
                <a:gd name="connsiteY50" fmla="*/ 5755327 h 6217653"/>
                <a:gd name="connsiteX51" fmla="*/ 817988 w 5884232"/>
                <a:gd name="connsiteY51" fmla="*/ 5548391 h 6217653"/>
                <a:gd name="connsiteX52" fmla="*/ 732703 w 5884232"/>
                <a:gd name="connsiteY52" fmla="*/ 5638146 h 6217653"/>
                <a:gd name="connsiteX53" fmla="*/ 430931 w 5884232"/>
                <a:gd name="connsiteY53" fmla="*/ 5323785 h 6217653"/>
                <a:gd name="connsiteX54" fmla="*/ 523257 w 5884232"/>
                <a:gd name="connsiteY54" fmla="*/ 5189370 h 6217653"/>
                <a:gd name="connsiteX55" fmla="*/ 41560 w 5884232"/>
                <a:gd name="connsiteY55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000086 w 5884232"/>
                <a:gd name="connsiteY48" fmla="*/ 5782751 h 6217653"/>
                <a:gd name="connsiteX49" fmla="*/ 1013916 w 5884232"/>
                <a:gd name="connsiteY49" fmla="*/ 5755327 h 6217653"/>
                <a:gd name="connsiteX50" fmla="*/ 817988 w 5884232"/>
                <a:gd name="connsiteY50" fmla="*/ 5548391 h 6217653"/>
                <a:gd name="connsiteX51" fmla="*/ 732703 w 5884232"/>
                <a:gd name="connsiteY51" fmla="*/ 5638146 h 6217653"/>
                <a:gd name="connsiteX52" fmla="*/ 430931 w 5884232"/>
                <a:gd name="connsiteY52" fmla="*/ 5323785 h 6217653"/>
                <a:gd name="connsiteX53" fmla="*/ 523257 w 5884232"/>
                <a:gd name="connsiteY53" fmla="*/ 5189370 h 6217653"/>
                <a:gd name="connsiteX54" fmla="*/ 41560 w 5884232"/>
                <a:gd name="connsiteY54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000086 w 5884232"/>
                <a:gd name="connsiteY48" fmla="*/ 5782751 h 6217653"/>
                <a:gd name="connsiteX49" fmla="*/ 817988 w 5884232"/>
                <a:gd name="connsiteY49" fmla="*/ 5548391 h 6217653"/>
                <a:gd name="connsiteX50" fmla="*/ 732703 w 5884232"/>
                <a:gd name="connsiteY50" fmla="*/ 5638146 h 6217653"/>
                <a:gd name="connsiteX51" fmla="*/ 430931 w 5884232"/>
                <a:gd name="connsiteY51" fmla="*/ 5323785 h 6217653"/>
                <a:gd name="connsiteX52" fmla="*/ 523257 w 5884232"/>
                <a:gd name="connsiteY52" fmla="*/ 5189370 h 6217653"/>
                <a:gd name="connsiteX53" fmla="*/ 41560 w 5884232"/>
                <a:gd name="connsiteY53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817988 w 5884232"/>
                <a:gd name="connsiteY48" fmla="*/ 5548391 h 6217653"/>
                <a:gd name="connsiteX49" fmla="*/ 732703 w 5884232"/>
                <a:gd name="connsiteY49" fmla="*/ 5638146 h 6217653"/>
                <a:gd name="connsiteX50" fmla="*/ 430931 w 5884232"/>
                <a:gd name="connsiteY50" fmla="*/ 5323785 h 6217653"/>
                <a:gd name="connsiteX51" fmla="*/ 523257 w 5884232"/>
                <a:gd name="connsiteY51" fmla="*/ 5189370 h 6217653"/>
                <a:gd name="connsiteX52" fmla="*/ 41560 w 5884232"/>
                <a:gd name="connsiteY52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4209492 w 5884232"/>
                <a:gd name="connsiteY45" fmla="*/ 5644651 h 6217653"/>
                <a:gd name="connsiteX46" fmla="*/ 4406189 w 5884232"/>
                <a:gd name="connsiteY46" fmla="*/ 6217653 h 6217653"/>
                <a:gd name="connsiteX47" fmla="*/ 817988 w 5884232"/>
                <a:gd name="connsiteY47" fmla="*/ 5548391 h 6217653"/>
                <a:gd name="connsiteX48" fmla="*/ 732703 w 5884232"/>
                <a:gd name="connsiteY48" fmla="*/ 5638146 h 6217653"/>
                <a:gd name="connsiteX49" fmla="*/ 430931 w 5884232"/>
                <a:gd name="connsiteY49" fmla="*/ 5323785 h 6217653"/>
                <a:gd name="connsiteX50" fmla="*/ 523257 w 5884232"/>
                <a:gd name="connsiteY50" fmla="*/ 5189370 h 6217653"/>
                <a:gd name="connsiteX51" fmla="*/ 41560 w 5884232"/>
                <a:gd name="connsiteY51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4209492 w 5884232"/>
                <a:gd name="connsiteY44" fmla="*/ 5644651 h 6217653"/>
                <a:gd name="connsiteX45" fmla="*/ 4406189 w 5884232"/>
                <a:gd name="connsiteY45" fmla="*/ 6217653 h 6217653"/>
                <a:gd name="connsiteX46" fmla="*/ 817988 w 5884232"/>
                <a:gd name="connsiteY46" fmla="*/ 5548391 h 6217653"/>
                <a:gd name="connsiteX47" fmla="*/ 732703 w 5884232"/>
                <a:gd name="connsiteY47" fmla="*/ 5638146 h 6217653"/>
                <a:gd name="connsiteX48" fmla="*/ 430931 w 5884232"/>
                <a:gd name="connsiteY48" fmla="*/ 5323785 h 6217653"/>
                <a:gd name="connsiteX49" fmla="*/ 523257 w 5884232"/>
                <a:gd name="connsiteY49" fmla="*/ 5189370 h 6217653"/>
                <a:gd name="connsiteX50" fmla="*/ 41560 w 5884232"/>
                <a:gd name="connsiteY50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4209492 w 5884232"/>
                <a:gd name="connsiteY43" fmla="*/ 5644651 h 6217653"/>
                <a:gd name="connsiteX44" fmla="*/ 4406189 w 5884232"/>
                <a:gd name="connsiteY44" fmla="*/ 6217653 h 6217653"/>
                <a:gd name="connsiteX45" fmla="*/ 817988 w 5884232"/>
                <a:gd name="connsiteY45" fmla="*/ 5548391 h 6217653"/>
                <a:gd name="connsiteX46" fmla="*/ 732703 w 5884232"/>
                <a:gd name="connsiteY46" fmla="*/ 5638146 h 6217653"/>
                <a:gd name="connsiteX47" fmla="*/ 430931 w 5884232"/>
                <a:gd name="connsiteY47" fmla="*/ 5323785 h 6217653"/>
                <a:gd name="connsiteX48" fmla="*/ 523257 w 5884232"/>
                <a:gd name="connsiteY48" fmla="*/ 5189370 h 6217653"/>
                <a:gd name="connsiteX49" fmla="*/ 41560 w 5884232"/>
                <a:gd name="connsiteY4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4209492 w 5884232"/>
                <a:gd name="connsiteY42" fmla="*/ 5644651 h 6217653"/>
                <a:gd name="connsiteX43" fmla="*/ 4406189 w 5884232"/>
                <a:gd name="connsiteY43" fmla="*/ 6217653 h 6217653"/>
                <a:gd name="connsiteX44" fmla="*/ 817988 w 5884232"/>
                <a:gd name="connsiteY44" fmla="*/ 5548391 h 6217653"/>
                <a:gd name="connsiteX45" fmla="*/ 732703 w 5884232"/>
                <a:gd name="connsiteY45" fmla="*/ 5638146 h 6217653"/>
                <a:gd name="connsiteX46" fmla="*/ 430931 w 5884232"/>
                <a:gd name="connsiteY46" fmla="*/ 5323785 h 6217653"/>
                <a:gd name="connsiteX47" fmla="*/ 523257 w 5884232"/>
                <a:gd name="connsiteY47" fmla="*/ 5189370 h 6217653"/>
                <a:gd name="connsiteX48" fmla="*/ 41560 w 5884232"/>
                <a:gd name="connsiteY48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209492 w 5884232"/>
                <a:gd name="connsiteY41" fmla="*/ 5644651 h 6217653"/>
                <a:gd name="connsiteX42" fmla="*/ 4406189 w 5884232"/>
                <a:gd name="connsiteY42" fmla="*/ 6217653 h 6217653"/>
                <a:gd name="connsiteX43" fmla="*/ 817988 w 5884232"/>
                <a:gd name="connsiteY43" fmla="*/ 5548391 h 6217653"/>
                <a:gd name="connsiteX44" fmla="*/ 732703 w 5884232"/>
                <a:gd name="connsiteY44" fmla="*/ 5638146 h 6217653"/>
                <a:gd name="connsiteX45" fmla="*/ 430931 w 5884232"/>
                <a:gd name="connsiteY45" fmla="*/ 5323785 h 6217653"/>
                <a:gd name="connsiteX46" fmla="*/ 523257 w 5884232"/>
                <a:gd name="connsiteY46" fmla="*/ 5189370 h 6217653"/>
                <a:gd name="connsiteX47" fmla="*/ 41560 w 5884232"/>
                <a:gd name="connsiteY47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209492 w 5884232"/>
                <a:gd name="connsiteY41" fmla="*/ 5644651 h 6217653"/>
                <a:gd name="connsiteX42" fmla="*/ 4406189 w 5884232"/>
                <a:gd name="connsiteY42" fmla="*/ 6217653 h 6217653"/>
                <a:gd name="connsiteX43" fmla="*/ 4356065 w 5884232"/>
                <a:gd name="connsiteY43" fmla="*/ 6207172 h 6217653"/>
                <a:gd name="connsiteX44" fmla="*/ 817988 w 5884232"/>
                <a:gd name="connsiteY44" fmla="*/ 5548391 h 6217653"/>
                <a:gd name="connsiteX45" fmla="*/ 732703 w 5884232"/>
                <a:gd name="connsiteY45" fmla="*/ 5638146 h 6217653"/>
                <a:gd name="connsiteX46" fmla="*/ 430931 w 5884232"/>
                <a:gd name="connsiteY46" fmla="*/ 5323785 h 6217653"/>
                <a:gd name="connsiteX47" fmla="*/ 523257 w 5884232"/>
                <a:gd name="connsiteY47" fmla="*/ 5189370 h 6217653"/>
                <a:gd name="connsiteX48" fmla="*/ 41560 w 5884232"/>
                <a:gd name="connsiteY48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4209492 w 5884232"/>
                <a:gd name="connsiteY42" fmla="*/ 5644651 h 6217653"/>
                <a:gd name="connsiteX43" fmla="*/ 4406189 w 5884232"/>
                <a:gd name="connsiteY43" fmla="*/ 6217653 h 6217653"/>
                <a:gd name="connsiteX44" fmla="*/ 4356065 w 5884232"/>
                <a:gd name="connsiteY44" fmla="*/ 6207172 h 6217653"/>
                <a:gd name="connsiteX45" fmla="*/ 817988 w 5884232"/>
                <a:gd name="connsiteY45" fmla="*/ 5548391 h 6217653"/>
                <a:gd name="connsiteX46" fmla="*/ 732703 w 5884232"/>
                <a:gd name="connsiteY46" fmla="*/ 5638146 h 6217653"/>
                <a:gd name="connsiteX47" fmla="*/ 430931 w 5884232"/>
                <a:gd name="connsiteY47" fmla="*/ 5323785 h 6217653"/>
                <a:gd name="connsiteX48" fmla="*/ 523257 w 5884232"/>
                <a:gd name="connsiteY48" fmla="*/ 5189370 h 6217653"/>
                <a:gd name="connsiteX49" fmla="*/ 41560 w 5884232"/>
                <a:gd name="connsiteY4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3370570 w 5884232"/>
                <a:gd name="connsiteY42" fmla="*/ 5698352 h 6217653"/>
                <a:gd name="connsiteX43" fmla="*/ 4406189 w 5884232"/>
                <a:gd name="connsiteY43" fmla="*/ 6217653 h 6217653"/>
                <a:gd name="connsiteX44" fmla="*/ 4356065 w 5884232"/>
                <a:gd name="connsiteY44" fmla="*/ 6207172 h 6217653"/>
                <a:gd name="connsiteX45" fmla="*/ 817988 w 5884232"/>
                <a:gd name="connsiteY45" fmla="*/ 5548391 h 6217653"/>
                <a:gd name="connsiteX46" fmla="*/ 732703 w 5884232"/>
                <a:gd name="connsiteY46" fmla="*/ 5638146 h 6217653"/>
                <a:gd name="connsiteX47" fmla="*/ 430931 w 5884232"/>
                <a:gd name="connsiteY47" fmla="*/ 5323785 h 6217653"/>
                <a:gd name="connsiteX48" fmla="*/ 523257 w 5884232"/>
                <a:gd name="connsiteY48" fmla="*/ 5189370 h 6217653"/>
                <a:gd name="connsiteX49" fmla="*/ 41560 w 5884232"/>
                <a:gd name="connsiteY4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3370570 w 5884232"/>
                <a:gd name="connsiteY42" fmla="*/ 5698352 h 6217653"/>
                <a:gd name="connsiteX43" fmla="*/ 4406189 w 5884232"/>
                <a:gd name="connsiteY43" fmla="*/ 6217653 h 6217653"/>
                <a:gd name="connsiteX44" fmla="*/ 3154556 w 5884232"/>
                <a:gd name="connsiteY44" fmla="*/ 6122786 h 6217653"/>
                <a:gd name="connsiteX45" fmla="*/ 817988 w 5884232"/>
                <a:gd name="connsiteY45" fmla="*/ 5548391 h 6217653"/>
                <a:gd name="connsiteX46" fmla="*/ 732703 w 5884232"/>
                <a:gd name="connsiteY46" fmla="*/ 5638146 h 6217653"/>
                <a:gd name="connsiteX47" fmla="*/ 430931 w 5884232"/>
                <a:gd name="connsiteY47" fmla="*/ 5323785 h 6217653"/>
                <a:gd name="connsiteX48" fmla="*/ 523257 w 5884232"/>
                <a:gd name="connsiteY48" fmla="*/ 5189370 h 6217653"/>
                <a:gd name="connsiteX49" fmla="*/ 41560 w 5884232"/>
                <a:gd name="connsiteY4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3370570 w 5884232"/>
                <a:gd name="connsiteY42" fmla="*/ 5698352 h 6217653"/>
                <a:gd name="connsiteX43" fmla="*/ 4406189 w 5884232"/>
                <a:gd name="connsiteY43" fmla="*/ 6217653 h 6217653"/>
                <a:gd name="connsiteX44" fmla="*/ 817988 w 5884232"/>
                <a:gd name="connsiteY44" fmla="*/ 5548391 h 6217653"/>
                <a:gd name="connsiteX45" fmla="*/ 732703 w 5884232"/>
                <a:gd name="connsiteY45" fmla="*/ 5638146 h 6217653"/>
                <a:gd name="connsiteX46" fmla="*/ 430931 w 5884232"/>
                <a:gd name="connsiteY46" fmla="*/ 5323785 h 6217653"/>
                <a:gd name="connsiteX47" fmla="*/ 523257 w 5884232"/>
                <a:gd name="connsiteY47" fmla="*/ 5189370 h 6217653"/>
                <a:gd name="connsiteX48" fmla="*/ 41560 w 5884232"/>
                <a:gd name="connsiteY48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3370570 w 5884232"/>
                <a:gd name="connsiteY42" fmla="*/ 5698352 h 6217653"/>
                <a:gd name="connsiteX43" fmla="*/ 4406189 w 5884232"/>
                <a:gd name="connsiteY43" fmla="*/ 6217653 h 6217653"/>
                <a:gd name="connsiteX44" fmla="*/ 3232760 w 5884232"/>
                <a:gd name="connsiteY44" fmla="*/ 6099773 h 6217653"/>
                <a:gd name="connsiteX45" fmla="*/ 817988 w 5884232"/>
                <a:gd name="connsiteY45" fmla="*/ 5548391 h 6217653"/>
                <a:gd name="connsiteX46" fmla="*/ 732703 w 5884232"/>
                <a:gd name="connsiteY46" fmla="*/ 5638146 h 6217653"/>
                <a:gd name="connsiteX47" fmla="*/ 430931 w 5884232"/>
                <a:gd name="connsiteY47" fmla="*/ 5323785 h 6217653"/>
                <a:gd name="connsiteX48" fmla="*/ 523257 w 5884232"/>
                <a:gd name="connsiteY48" fmla="*/ 5189370 h 6217653"/>
                <a:gd name="connsiteX49" fmla="*/ 41560 w 5884232"/>
                <a:gd name="connsiteY4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3370570 w 5884232"/>
                <a:gd name="connsiteY42" fmla="*/ 5698352 h 6217653"/>
                <a:gd name="connsiteX43" fmla="*/ 4406189 w 5884232"/>
                <a:gd name="connsiteY43" fmla="*/ 6217653 h 6217653"/>
                <a:gd name="connsiteX44" fmla="*/ 817988 w 5884232"/>
                <a:gd name="connsiteY44" fmla="*/ 5548391 h 6217653"/>
                <a:gd name="connsiteX45" fmla="*/ 732703 w 5884232"/>
                <a:gd name="connsiteY45" fmla="*/ 5638146 h 6217653"/>
                <a:gd name="connsiteX46" fmla="*/ 430931 w 5884232"/>
                <a:gd name="connsiteY46" fmla="*/ 5323785 h 6217653"/>
                <a:gd name="connsiteX47" fmla="*/ 523257 w 5884232"/>
                <a:gd name="connsiteY47" fmla="*/ 5189370 h 6217653"/>
                <a:gd name="connsiteX48" fmla="*/ 41560 w 5884232"/>
                <a:gd name="connsiteY48" fmla="*/ 3281515 h 6217653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710779 w 5884232"/>
                <a:gd name="connsiteY27" fmla="*/ 4870077 h 6212288"/>
                <a:gd name="connsiteX28" fmla="*/ 5553250 w 5884232"/>
                <a:gd name="connsiteY28" fmla="*/ 4807792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4149888 w 5884232"/>
                <a:gd name="connsiteY41" fmla="*/ 5639490 h 6212288"/>
                <a:gd name="connsiteX42" fmla="*/ 3370570 w 5884232"/>
                <a:gd name="connsiteY42" fmla="*/ 5698352 h 6212288"/>
                <a:gd name="connsiteX43" fmla="*/ 3545936 w 5884232"/>
                <a:gd name="connsiteY43" fmla="*/ 6125596 h 6212288"/>
                <a:gd name="connsiteX44" fmla="*/ 817988 w 5884232"/>
                <a:gd name="connsiteY44" fmla="*/ 5548391 h 6212288"/>
                <a:gd name="connsiteX45" fmla="*/ 732703 w 5884232"/>
                <a:gd name="connsiteY45" fmla="*/ 5638146 h 6212288"/>
                <a:gd name="connsiteX46" fmla="*/ 430931 w 5884232"/>
                <a:gd name="connsiteY46" fmla="*/ 5323785 h 6212288"/>
                <a:gd name="connsiteX47" fmla="*/ 523257 w 5884232"/>
                <a:gd name="connsiteY47" fmla="*/ 5189370 h 6212288"/>
                <a:gd name="connsiteX48" fmla="*/ 41560 w 5884232"/>
                <a:gd name="connsiteY48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710779 w 5884232"/>
                <a:gd name="connsiteY27" fmla="*/ 4870077 h 6212288"/>
                <a:gd name="connsiteX28" fmla="*/ 5553250 w 5884232"/>
                <a:gd name="connsiteY28" fmla="*/ 4807792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4149888 w 5884232"/>
                <a:gd name="connsiteY41" fmla="*/ 5639490 h 6212288"/>
                <a:gd name="connsiteX42" fmla="*/ 3370570 w 5884232"/>
                <a:gd name="connsiteY42" fmla="*/ 5698352 h 6212288"/>
                <a:gd name="connsiteX43" fmla="*/ 817988 w 5884232"/>
                <a:gd name="connsiteY43" fmla="*/ 5548391 h 6212288"/>
                <a:gd name="connsiteX44" fmla="*/ 732703 w 5884232"/>
                <a:gd name="connsiteY44" fmla="*/ 5638146 h 6212288"/>
                <a:gd name="connsiteX45" fmla="*/ 430931 w 5884232"/>
                <a:gd name="connsiteY45" fmla="*/ 5323785 h 6212288"/>
                <a:gd name="connsiteX46" fmla="*/ 523257 w 5884232"/>
                <a:gd name="connsiteY46" fmla="*/ 5189370 h 6212288"/>
                <a:gd name="connsiteX47" fmla="*/ 41560 w 5884232"/>
                <a:gd name="connsiteY47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710779 w 5884232"/>
                <a:gd name="connsiteY27" fmla="*/ 4870077 h 6212288"/>
                <a:gd name="connsiteX28" fmla="*/ 5553250 w 5884232"/>
                <a:gd name="connsiteY28" fmla="*/ 4807792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3370570 w 5884232"/>
                <a:gd name="connsiteY41" fmla="*/ 5698352 h 6212288"/>
                <a:gd name="connsiteX42" fmla="*/ 817988 w 5884232"/>
                <a:gd name="connsiteY42" fmla="*/ 5548391 h 6212288"/>
                <a:gd name="connsiteX43" fmla="*/ 732703 w 5884232"/>
                <a:gd name="connsiteY43" fmla="*/ 5638146 h 6212288"/>
                <a:gd name="connsiteX44" fmla="*/ 430931 w 5884232"/>
                <a:gd name="connsiteY44" fmla="*/ 5323785 h 6212288"/>
                <a:gd name="connsiteX45" fmla="*/ 523257 w 5884232"/>
                <a:gd name="connsiteY45" fmla="*/ 5189370 h 6212288"/>
                <a:gd name="connsiteX46" fmla="*/ 41560 w 5884232"/>
                <a:gd name="connsiteY46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710779 w 5884232"/>
                <a:gd name="connsiteY27" fmla="*/ 4870077 h 6212288"/>
                <a:gd name="connsiteX28" fmla="*/ 5553250 w 5884232"/>
                <a:gd name="connsiteY28" fmla="*/ 4807792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710779 w 5884232"/>
                <a:gd name="connsiteY27" fmla="*/ 4870077 h 6212288"/>
                <a:gd name="connsiteX28" fmla="*/ 5544633 w 5884232"/>
                <a:gd name="connsiteY28" fmla="*/ 4835624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693545 w 5884232"/>
                <a:gd name="connsiteY27" fmla="*/ 4865439 h 6212288"/>
                <a:gd name="connsiteX28" fmla="*/ 5544633 w 5884232"/>
                <a:gd name="connsiteY28" fmla="*/ 4835624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693545 w 5884232"/>
                <a:gd name="connsiteY27" fmla="*/ 4865439 h 6212288"/>
                <a:gd name="connsiteX28" fmla="*/ 5557557 w 5884232"/>
                <a:gd name="connsiteY28" fmla="*/ 4817071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693545 w 5884232"/>
                <a:gd name="connsiteY27" fmla="*/ 4865439 h 6212288"/>
                <a:gd name="connsiteX28" fmla="*/ 5557557 w 5884232"/>
                <a:gd name="connsiteY28" fmla="*/ 4817071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693545 w 5884232"/>
                <a:gd name="connsiteY27" fmla="*/ 4865439 h 6212288"/>
                <a:gd name="connsiteX28" fmla="*/ 5557557 w 5884232"/>
                <a:gd name="connsiteY28" fmla="*/ 4817071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8845 w 5884232"/>
                <a:gd name="connsiteY26" fmla="*/ 4428963 h 6212288"/>
                <a:gd name="connsiteX27" fmla="*/ 5693545 w 5884232"/>
                <a:gd name="connsiteY27" fmla="*/ 4865439 h 6212288"/>
                <a:gd name="connsiteX28" fmla="*/ 5557557 w 5884232"/>
                <a:gd name="connsiteY28" fmla="*/ 4817071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57557 w 5884232"/>
                <a:gd name="connsiteY28" fmla="*/ 4817071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48942 w 5884232"/>
                <a:gd name="connsiteY28" fmla="*/ 4835626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48942 w 5884232"/>
                <a:gd name="connsiteY28" fmla="*/ 4835626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48942 w 5884232"/>
                <a:gd name="connsiteY28" fmla="*/ 4835626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76264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48942 w 5884232"/>
                <a:gd name="connsiteY28" fmla="*/ 4835626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6234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48942 w 5884232"/>
                <a:gd name="connsiteY28" fmla="*/ 4835626 h 6212288"/>
                <a:gd name="connsiteX29" fmla="*/ 4409852 w 5884232"/>
                <a:gd name="connsiteY29" fmla="*/ 6212288 h 6212288"/>
                <a:gd name="connsiteX30" fmla="*/ 4244517 w 5884232"/>
                <a:gd name="connsiteY30" fmla="*/ 5626725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6234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35626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1077217 w 5884232"/>
                <a:gd name="connsiteY39" fmla="*/ 4933546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732703 w 5884232"/>
                <a:gd name="connsiteY42" fmla="*/ 5638146 h 6198437"/>
                <a:gd name="connsiteX43" fmla="*/ 430931 w 5884232"/>
                <a:gd name="connsiteY43" fmla="*/ 5323785 h 6198437"/>
                <a:gd name="connsiteX44" fmla="*/ 523257 w 5884232"/>
                <a:gd name="connsiteY44" fmla="*/ 5189370 h 6198437"/>
                <a:gd name="connsiteX45" fmla="*/ 41560 w 5884232"/>
                <a:gd name="connsiteY45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35626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1077217 w 5884232"/>
                <a:gd name="connsiteY39" fmla="*/ 4933546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732703 w 5884232"/>
                <a:gd name="connsiteY42" fmla="*/ 5638146 h 6198437"/>
                <a:gd name="connsiteX43" fmla="*/ 430931 w 5884232"/>
                <a:gd name="connsiteY43" fmla="*/ 5323785 h 6198437"/>
                <a:gd name="connsiteX44" fmla="*/ 523257 w 5884232"/>
                <a:gd name="connsiteY44" fmla="*/ 5189370 h 6198437"/>
                <a:gd name="connsiteX45" fmla="*/ 41560 w 5884232"/>
                <a:gd name="connsiteY45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1077217 w 5884232"/>
                <a:gd name="connsiteY39" fmla="*/ 4933546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732703 w 5884232"/>
                <a:gd name="connsiteY42" fmla="*/ 5638146 h 6198437"/>
                <a:gd name="connsiteX43" fmla="*/ 430931 w 5884232"/>
                <a:gd name="connsiteY43" fmla="*/ 5323785 h 6198437"/>
                <a:gd name="connsiteX44" fmla="*/ 523257 w 5884232"/>
                <a:gd name="connsiteY44" fmla="*/ 5189370 h 6198437"/>
                <a:gd name="connsiteX45" fmla="*/ 41560 w 5884232"/>
                <a:gd name="connsiteY45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732703 w 5884232"/>
                <a:gd name="connsiteY42" fmla="*/ 5638146 h 6198437"/>
                <a:gd name="connsiteX43" fmla="*/ 430931 w 5884232"/>
                <a:gd name="connsiteY43" fmla="*/ 5323785 h 6198437"/>
                <a:gd name="connsiteX44" fmla="*/ 523257 w 5884232"/>
                <a:gd name="connsiteY44" fmla="*/ 5189370 h 6198437"/>
                <a:gd name="connsiteX45" fmla="*/ 41560 w 5884232"/>
                <a:gd name="connsiteY45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732703 w 5884232"/>
                <a:gd name="connsiteY42" fmla="*/ 5638146 h 6198437"/>
                <a:gd name="connsiteX43" fmla="*/ 430931 w 5884232"/>
                <a:gd name="connsiteY43" fmla="*/ 5323785 h 6198437"/>
                <a:gd name="connsiteX44" fmla="*/ 523257 w 5884232"/>
                <a:gd name="connsiteY44" fmla="*/ 5189370 h 6198437"/>
                <a:gd name="connsiteX45" fmla="*/ 41560 w 5884232"/>
                <a:gd name="connsiteY45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430931 w 5884232"/>
                <a:gd name="connsiteY42" fmla="*/ 5323785 h 6198437"/>
                <a:gd name="connsiteX43" fmla="*/ 523257 w 5884232"/>
                <a:gd name="connsiteY43" fmla="*/ 5189370 h 6198437"/>
                <a:gd name="connsiteX44" fmla="*/ 41560 w 5884232"/>
                <a:gd name="connsiteY44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523257 w 5884232"/>
                <a:gd name="connsiteY42" fmla="*/ 5189370 h 6198437"/>
                <a:gd name="connsiteX43" fmla="*/ 41560 w 5884232"/>
                <a:gd name="connsiteY43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1206546 w 5884232"/>
                <a:gd name="connsiteY40" fmla="*/ 5062348 h 6198437"/>
                <a:gd name="connsiteX41" fmla="*/ 523257 w 5884232"/>
                <a:gd name="connsiteY41" fmla="*/ 5189370 h 6198437"/>
                <a:gd name="connsiteX42" fmla="*/ 41560 w 5884232"/>
                <a:gd name="connsiteY42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523257 w 5884232"/>
                <a:gd name="connsiteY40" fmla="*/ 5189370 h 6198437"/>
                <a:gd name="connsiteX41" fmla="*/ 41560 w 5884232"/>
                <a:gd name="connsiteY41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32548 w 5884232"/>
                <a:gd name="connsiteY39" fmla="*/ 4771487 h 6198437"/>
                <a:gd name="connsiteX40" fmla="*/ 523257 w 5884232"/>
                <a:gd name="connsiteY40" fmla="*/ 5189370 h 6198437"/>
                <a:gd name="connsiteX41" fmla="*/ 41560 w 5884232"/>
                <a:gd name="connsiteY41" fmla="*/ 3281515 h 6198437"/>
                <a:gd name="connsiteX0" fmla="*/ 41560 w 5884232"/>
                <a:gd name="connsiteY0" fmla="*/ 3281515 h 6198437"/>
                <a:gd name="connsiteX1" fmla="*/ 93455 w 5884232"/>
                <a:gd name="connsiteY1" fmla="*/ 3106020 h 6198437"/>
                <a:gd name="connsiteX2" fmla="*/ 250907 w 5884232"/>
                <a:gd name="connsiteY2" fmla="*/ 2374266 h 6198437"/>
                <a:gd name="connsiteX3" fmla="*/ 218176 w 5884232"/>
                <a:gd name="connsiteY3" fmla="*/ 2331944 h 6198437"/>
                <a:gd name="connsiteX4" fmla="*/ 290433 w 5884232"/>
                <a:gd name="connsiteY4" fmla="*/ 2067448 h 6198437"/>
                <a:gd name="connsiteX5" fmla="*/ 326149 w 5884232"/>
                <a:gd name="connsiteY5" fmla="*/ 2050403 h 6198437"/>
                <a:gd name="connsiteX6" fmla="*/ 1333506 w 5884232"/>
                <a:gd name="connsiteY6" fmla="*/ 647002 h 6198437"/>
                <a:gd name="connsiteX7" fmla="*/ 1546422 w 5884232"/>
                <a:gd name="connsiteY7" fmla="*/ 547251 h 6198437"/>
                <a:gd name="connsiteX8" fmla="*/ 1526361 w 5884232"/>
                <a:gd name="connsiteY8" fmla="*/ 432260 h 6198437"/>
                <a:gd name="connsiteX9" fmla="*/ 1722126 w 5884232"/>
                <a:gd name="connsiteY9" fmla="*/ 380302 h 6198437"/>
                <a:gd name="connsiteX10" fmla="*/ 1739499 w 5884232"/>
                <a:gd name="connsiteY10" fmla="*/ 481442 h 6198437"/>
                <a:gd name="connsiteX11" fmla="*/ 1866574 w 5884232"/>
                <a:gd name="connsiteY11" fmla="*/ 442651 h 6198437"/>
                <a:gd name="connsiteX12" fmla="*/ 1897053 w 5884232"/>
                <a:gd name="connsiteY12" fmla="*/ 393463 h 6198437"/>
                <a:gd name="connsiteX13" fmla="*/ 2132940 w 5884232"/>
                <a:gd name="connsiteY13" fmla="*/ 319342 h 6198437"/>
                <a:gd name="connsiteX14" fmla="*/ 2173395 w 5884232"/>
                <a:gd name="connsiteY14" fmla="*/ 352592 h 6198437"/>
                <a:gd name="connsiteX15" fmla="*/ 2369937 w 5884232"/>
                <a:gd name="connsiteY15" fmla="*/ 288171 h 6198437"/>
                <a:gd name="connsiteX16" fmla="*/ 2329149 w 5884232"/>
                <a:gd name="connsiteY16" fmla="*/ 119840 h 6198437"/>
                <a:gd name="connsiteX17" fmla="*/ 2712392 w 5884232"/>
                <a:gd name="connsiteY17" fmla="*/ 0 h 6198437"/>
                <a:gd name="connsiteX18" fmla="*/ 2760690 w 5884232"/>
                <a:gd name="connsiteY18" fmla="*/ 165560 h 6198437"/>
                <a:gd name="connsiteX19" fmla="*/ 4524241 w 5884232"/>
                <a:gd name="connsiteY19" fmla="*/ 680900 h 6198437"/>
                <a:gd name="connsiteX20" fmla="*/ 5074371 w 5884232"/>
                <a:gd name="connsiteY20" fmla="*/ 1291242 h 6198437"/>
                <a:gd name="connsiteX21" fmla="*/ 5135775 w 5884232"/>
                <a:gd name="connsiteY21" fmla="*/ 1298860 h 6198437"/>
                <a:gd name="connsiteX22" fmla="*/ 5300616 w 5884232"/>
                <a:gd name="connsiteY22" fmla="*/ 1479661 h 6198437"/>
                <a:gd name="connsiteX23" fmla="*/ 5300839 w 5884232"/>
                <a:gd name="connsiteY23" fmla="*/ 1535080 h 6198437"/>
                <a:gd name="connsiteX24" fmla="*/ 5462103 w 5884232"/>
                <a:gd name="connsiteY24" fmla="*/ 1726990 h 6198437"/>
                <a:gd name="connsiteX25" fmla="*/ 5842091 w 5884232"/>
                <a:gd name="connsiteY25" fmla="*/ 3519512 h 6198437"/>
                <a:gd name="connsiteX26" fmla="*/ 5650012 w 5884232"/>
                <a:gd name="connsiteY26" fmla="*/ 4385669 h 6198437"/>
                <a:gd name="connsiteX27" fmla="*/ 5797462 w 5884232"/>
                <a:gd name="connsiteY27" fmla="*/ 4428964 h 6198437"/>
                <a:gd name="connsiteX28" fmla="*/ 5693545 w 5884232"/>
                <a:gd name="connsiteY28" fmla="*/ 4865439 h 6198437"/>
                <a:gd name="connsiteX29" fmla="*/ 5548942 w 5884232"/>
                <a:gd name="connsiteY29" fmla="*/ 4824545 h 6198437"/>
                <a:gd name="connsiteX30" fmla="*/ 4435515 w 5884232"/>
                <a:gd name="connsiteY30" fmla="*/ 6198437 h 6198437"/>
                <a:gd name="connsiteX31" fmla="*/ 4244517 w 5884232"/>
                <a:gd name="connsiteY31" fmla="*/ 5626725 h 6198437"/>
                <a:gd name="connsiteX32" fmla="*/ 5030652 w 5884232"/>
                <a:gd name="connsiteY32" fmla="*/ 4596953 h 6198437"/>
                <a:gd name="connsiteX33" fmla="*/ 5310701 w 5884232"/>
                <a:gd name="connsiteY33" fmla="*/ 3352779 h 6198437"/>
                <a:gd name="connsiteX34" fmla="*/ 4991885 w 5884232"/>
                <a:gd name="connsiteY34" fmla="*/ 2049487 h 6198437"/>
                <a:gd name="connsiteX35" fmla="*/ 4174632 w 5884232"/>
                <a:gd name="connsiteY35" fmla="*/ 1163055 h 6198437"/>
                <a:gd name="connsiteX36" fmla="*/ 2880366 w 5884232"/>
                <a:gd name="connsiteY36" fmla="*/ 761302 h 6198437"/>
                <a:gd name="connsiteX37" fmla="*/ 1882146 w 5884232"/>
                <a:gd name="connsiteY37" fmla="*/ 1081342 h 6198437"/>
                <a:gd name="connsiteX38" fmla="*/ 873226 w 5884232"/>
                <a:gd name="connsiteY38" fmla="*/ 2111591 h 6198437"/>
                <a:gd name="connsiteX39" fmla="*/ 571891 w 5884232"/>
                <a:gd name="connsiteY39" fmla="*/ 3464807 h 6198437"/>
                <a:gd name="connsiteX40" fmla="*/ 932548 w 5884232"/>
                <a:gd name="connsiteY40" fmla="*/ 4771487 h 6198437"/>
                <a:gd name="connsiteX41" fmla="*/ 523257 w 5884232"/>
                <a:gd name="connsiteY41" fmla="*/ 5189370 h 6198437"/>
                <a:gd name="connsiteX42" fmla="*/ 41560 w 5884232"/>
                <a:gd name="connsiteY42" fmla="*/ 3281515 h 6198437"/>
                <a:gd name="connsiteX0" fmla="*/ 41560 w 5884232"/>
                <a:gd name="connsiteY0" fmla="*/ 3281515 h 6198437"/>
                <a:gd name="connsiteX1" fmla="*/ 93455 w 5884232"/>
                <a:gd name="connsiteY1" fmla="*/ 3106020 h 6198437"/>
                <a:gd name="connsiteX2" fmla="*/ 250907 w 5884232"/>
                <a:gd name="connsiteY2" fmla="*/ 2374266 h 6198437"/>
                <a:gd name="connsiteX3" fmla="*/ 218176 w 5884232"/>
                <a:gd name="connsiteY3" fmla="*/ 2331944 h 6198437"/>
                <a:gd name="connsiteX4" fmla="*/ 290433 w 5884232"/>
                <a:gd name="connsiteY4" fmla="*/ 2067448 h 6198437"/>
                <a:gd name="connsiteX5" fmla="*/ 326149 w 5884232"/>
                <a:gd name="connsiteY5" fmla="*/ 2050403 h 6198437"/>
                <a:gd name="connsiteX6" fmla="*/ 1333506 w 5884232"/>
                <a:gd name="connsiteY6" fmla="*/ 647002 h 6198437"/>
                <a:gd name="connsiteX7" fmla="*/ 1546422 w 5884232"/>
                <a:gd name="connsiteY7" fmla="*/ 547251 h 6198437"/>
                <a:gd name="connsiteX8" fmla="*/ 1526361 w 5884232"/>
                <a:gd name="connsiteY8" fmla="*/ 432260 h 6198437"/>
                <a:gd name="connsiteX9" fmla="*/ 1722126 w 5884232"/>
                <a:gd name="connsiteY9" fmla="*/ 380302 h 6198437"/>
                <a:gd name="connsiteX10" fmla="*/ 1739499 w 5884232"/>
                <a:gd name="connsiteY10" fmla="*/ 481442 h 6198437"/>
                <a:gd name="connsiteX11" fmla="*/ 1866574 w 5884232"/>
                <a:gd name="connsiteY11" fmla="*/ 442651 h 6198437"/>
                <a:gd name="connsiteX12" fmla="*/ 1897053 w 5884232"/>
                <a:gd name="connsiteY12" fmla="*/ 393463 h 6198437"/>
                <a:gd name="connsiteX13" fmla="*/ 2132940 w 5884232"/>
                <a:gd name="connsiteY13" fmla="*/ 319342 h 6198437"/>
                <a:gd name="connsiteX14" fmla="*/ 2173395 w 5884232"/>
                <a:gd name="connsiteY14" fmla="*/ 352592 h 6198437"/>
                <a:gd name="connsiteX15" fmla="*/ 2369937 w 5884232"/>
                <a:gd name="connsiteY15" fmla="*/ 288171 h 6198437"/>
                <a:gd name="connsiteX16" fmla="*/ 2329149 w 5884232"/>
                <a:gd name="connsiteY16" fmla="*/ 119840 h 6198437"/>
                <a:gd name="connsiteX17" fmla="*/ 2712392 w 5884232"/>
                <a:gd name="connsiteY17" fmla="*/ 0 h 6198437"/>
                <a:gd name="connsiteX18" fmla="*/ 2760690 w 5884232"/>
                <a:gd name="connsiteY18" fmla="*/ 165560 h 6198437"/>
                <a:gd name="connsiteX19" fmla="*/ 4524241 w 5884232"/>
                <a:gd name="connsiteY19" fmla="*/ 680900 h 6198437"/>
                <a:gd name="connsiteX20" fmla="*/ 5074371 w 5884232"/>
                <a:gd name="connsiteY20" fmla="*/ 1291242 h 6198437"/>
                <a:gd name="connsiteX21" fmla="*/ 5135775 w 5884232"/>
                <a:gd name="connsiteY21" fmla="*/ 1298860 h 6198437"/>
                <a:gd name="connsiteX22" fmla="*/ 5300616 w 5884232"/>
                <a:gd name="connsiteY22" fmla="*/ 1479661 h 6198437"/>
                <a:gd name="connsiteX23" fmla="*/ 5300839 w 5884232"/>
                <a:gd name="connsiteY23" fmla="*/ 1535080 h 6198437"/>
                <a:gd name="connsiteX24" fmla="*/ 5462103 w 5884232"/>
                <a:gd name="connsiteY24" fmla="*/ 1726990 h 6198437"/>
                <a:gd name="connsiteX25" fmla="*/ 5842091 w 5884232"/>
                <a:gd name="connsiteY25" fmla="*/ 3519512 h 6198437"/>
                <a:gd name="connsiteX26" fmla="*/ 5650012 w 5884232"/>
                <a:gd name="connsiteY26" fmla="*/ 4385669 h 6198437"/>
                <a:gd name="connsiteX27" fmla="*/ 5797462 w 5884232"/>
                <a:gd name="connsiteY27" fmla="*/ 4428964 h 6198437"/>
                <a:gd name="connsiteX28" fmla="*/ 5693545 w 5884232"/>
                <a:gd name="connsiteY28" fmla="*/ 4865439 h 6198437"/>
                <a:gd name="connsiteX29" fmla="*/ 5548942 w 5884232"/>
                <a:gd name="connsiteY29" fmla="*/ 4824545 h 6198437"/>
                <a:gd name="connsiteX30" fmla="*/ 4435515 w 5884232"/>
                <a:gd name="connsiteY30" fmla="*/ 6198437 h 6198437"/>
                <a:gd name="connsiteX31" fmla="*/ 4244517 w 5884232"/>
                <a:gd name="connsiteY31" fmla="*/ 5626725 h 6198437"/>
                <a:gd name="connsiteX32" fmla="*/ 5030652 w 5884232"/>
                <a:gd name="connsiteY32" fmla="*/ 4596953 h 6198437"/>
                <a:gd name="connsiteX33" fmla="*/ 5310701 w 5884232"/>
                <a:gd name="connsiteY33" fmla="*/ 3352779 h 6198437"/>
                <a:gd name="connsiteX34" fmla="*/ 4991885 w 5884232"/>
                <a:gd name="connsiteY34" fmla="*/ 2049487 h 6198437"/>
                <a:gd name="connsiteX35" fmla="*/ 4174632 w 5884232"/>
                <a:gd name="connsiteY35" fmla="*/ 1163055 h 6198437"/>
                <a:gd name="connsiteX36" fmla="*/ 2880366 w 5884232"/>
                <a:gd name="connsiteY36" fmla="*/ 761302 h 6198437"/>
                <a:gd name="connsiteX37" fmla="*/ 1882146 w 5884232"/>
                <a:gd name="connsiteY37" fmla="*/ 1081342 h 6198437"/>
                <a:gd name="connsiteX38" fmla="*/ 873226 w 5884232"/>
                <a:gd name="connsiteY38" fmla="*/ 2111591 h 6198437"/>
                <a:gd name="connsiteX39" fmla="*/ 634507 w 5884232"/>
                <a:gd name="connsiteY39" fmla="*/ 3178546 h 6198437"/>
                <a:gd name="connsiteX40" fmla="*/ 571891 w 5884232"/>
                <a:gd name="connsiteY40" fmla="*/ 3464807 h 6198437"/>
                <a:gd name="connsiteX41" fmla="*/ 932548 w 5884232"/>
                <a:gd name="connsiteY41" fmla="*/ 4771487 h 6198437"/>
                <a:gd name="connsiteX42" fmla="*/ 523257 w 5884232"/>
                <a:gd name="connsiteY42" fmla="*/ 5189370 h 6198437"/>
                <a:gd name="connsiteX43" fmla="*/ 41560 w 5884232"/>
                <a:gd name="connsiteY43" fmla="*/ 3281515 h 6198437"/>
                <a:gd name="connsiteX0" fmla="*/ 41560 w 5884232"/>
                <a:gd name="connsiteY0" fmla="*/ 3281515 h 6198437"/>
                <a:gd name="connsiteX1" fmla="*/ 93455 w 5884232"/>
                <a:gd name="connsiteY1" fmla="*/ 3106020 h 6198437"/>
                <a:gd name="connsiteX2" fmla="*/ 250907 w 5884232"/>
                <a:gd name="connsiteY2" fmla="*/ 2374266 h 6198437"/>
                <a:gd name="connsiteX3" fmla="*/ 218176 w 5884232"/>
                <a:gd name="connsiteY3" fmla="*/ 2331944 h 6198437"/>
                <a:gd name="connsiteX4" fmla="*/ 290433 w 5884232"/>
                <a:gd name="connsiteY4" fmla="*/ 2067448 h 6198437"/>
                <a:gd name="connsiteX5" fmla="*/ 326149 w 5884232"/>
                <a:gd name="connsiteY5" fmla="*/ 2050403 h 6198437"/>
                <a:gd name="connsiteX6" fmla="*/ 1333506 w 5884232"/>
                <a:gd name="connsiteY6" fmla="*/ 647002 h 6198437"/>
                <a:gd name="connsiteX7" fmla="*/ 1546422 w 5884232"/>
                <a:gd name="connsiteY7" fmla="*/ 547251 h 6198437"/>
                <a:gd name="connsiteX8" fmla="*/ 1526361 w 5884232"/>
                <a:gd name="connsiteY8" fmla="*/ 432260 h 6198437"/>
                <a:gd name="connsiteX9" fmla="*/ 1722126 w 5884232"/>
                <a:gd name="connsiteY9" fmla="*/ 380302 h 6198437"/>
                <a:gd name="connsiteX10" fmla="*/ 1739499 w 5884232"/>
                <a:gd name="connsiteY10" fmla="*/ 481442 h 6198437"/>
                <a:gd name="connsiteX11" fmla="*/ 1866574 w 5884232"/>
                <a:gd name="connsiteY11" fmla="*/ 442651 h 6198437"/>
                <a:gd name="connsiteX12" fmla="*/ 1897053 w 5884232"/>
                <a:gd name="connsiteY12" fmla="*/ 393463 h 6198437"/>
                <a:gd name="connsiteX13" fmla="*/ 2132940 w 5884232"/>
                <a:gd name="connsiteY13" fmla="*/ 319342 h 6198437"/>
                <a:gd name="connsiteX14" fmla="*/ 2173395 w 5884232"/>
                <a:gd name="connsiteY14" fmla="*/ 352592 h 6198437"/>
                <a:gd name="connsiteX15" fmla="*/ 2369937 w 5884232"/>
                <a:gd name="connsiteY15" fmla="*/ 288171 h 6198437"/>
                <a:gd name="connsiteX16" fmla="*/ 2329149 w 5884232"/>
                <a:gd name="connsiteY16" fmla="*/ 119840 h 6198437"/>
                <a:gd name="connsiteX17" fmla="*/ 2712392 w 5884232"/>
                <a:gd name="connsiteY17" fmla="*/ 0 h 6198437"/>
                <a:gd name="connsiteX18" fmla="*/ 2760690 w 5884232"/>
                <a:gd name="connsiteY18" fmla="*/ 165560 h 6198437"/>
                <a:gd name="connsiteX19" fmla="*/ 4524241 w 5884232"/>
                <a:gd name="connsiteY19" fmla="*/ 680900 h 6198437"/>
                <a:gd name="connsiteX20" fmla="*/ 5074371 w 5884232"/>
                <a:gd name="connsiteY20" fmla="*/ 1291242 h 6198437"/>
                <a:gd name="connsiteX21" fmla="*/ 5135775 w 5884232"/>
                <a:gd name="connsiteY21" fmla="*/ 1298860 h 6198437"/>
                <a:gd name="connsiteX22" fmla="*/ 5300616 w 5884232"/>
                <a:gd name="connsiteY22" fmla="*/ 1479661 h 6198437"/>
                <a:gd name="connsiteX23" fmla="*/ 5300839 w 5884232"/>
                <a:gd name="connsiteY23" fmla="*/ 1535080 h 6198437"/>
                <a:gd name="connsiteX24" fmla="*/ 5462103 w 5884232"/>
                <a:gd name="connsiteY24" fmla="*/ 1726990 h 6198437"/>
                <a:gd name="connsiteX25" fmla="*/ 5842091 w 5884232"/>
                <a:gd name="connsiteY25" fmla="*/ 3519512 h 6198437"/>
                <a:gd name="connsiteX26" fmla="*/ 5650012 w 5884232"/>
                <a:gd name="connsiteY26" fmla="*/ 4385669 h 6198437"/>
                <a:gd name="connsiteX27" fmla="*/ 5797462 w 5884232"/>
                <a:gd name="connsiteY27" fmla="*/ 4428964 h 6198437"/>
                <a:gd name="connsiteX28" fmla="*/ 5693545 w 5884232"/>
                <a:gd name="connsiteY28" fmla="*/ 4865439 h 6198437"/>
                <a:gd name="connsiteX29" fmla="*/ 5548942 w 5884232"/>
                <a:gd name="connsiteY29" fmla="*/ 4824545 h 6198437"/>
                <a:gd name="connsiteX30" fmla="*/ 4435515 w 5884232"/>
                <a:gd name="connsiteY30" fmla="*/ 6198437 h 6198437"/>
                <a:gd name="connsiteX31" fmla="*/ 4244517 w 5884232"/>
                <a:gd name="connsiteY31" fmla="*/ 5626725 h 6198437"/>
                <a:gd name="connsiteX32" fmla="*/ 5030652 w 5884232"/>
                <a:gd name="connsiteY32" fmla="*/ 4596953 h 6198437"/>
                <a:gd name="connsiteX33" fmla="*/ 5310701 w 5884232"/>
                <a:gd name="connsiteY33" fmla="*/ 3352779 h 6198437"/>
                <a:gd name="connsiteX34" fmla="*/ 4991885 w 5884232"/>
                <a:gd name="connsiteY34" fmla="*/ 2049487 h 6198437"/>
                <a:gd name="connsiteX35" fmla="*/ 4174632 w 5884232"/>
                <a:gd name="connsiteY35" fmla="*/ 1163055 h 6198437"/>
                <a:gd name="connsiteX36" fmla="*/ 2880366 w 5884232"/>
                <a:gd name="connsiteY36" fmla="*/ 761302 h 6198437"/>
                <a:gd name="connsiteX37" fmla="*/ 1882146 w 5884232"/>
                <a:gd name="connsiteY37" fmla="*/ 1081342 h 6198437"/>
                <a:gd name="connsiteX38" fmla="*/ 873226 w 5884232"/>
                <a:gd name="connsiteY38" fmla="*/ 2111591 h 6198437"/>
                <a:gd name="connsiteX39" fmla="*/ 634507 w 5884232"/>
                <a:gd name="connsiteY39" fmla="*/ 3178546 h 6198437"/>
                <a:gd name="connsiteX40" fmla="*/ 932548 w 5884232"/>
                <a:gd name="connsiteY40" fmla="*/ 4771487 h 6198437"/>
                <a:gd name="connsiteX41" fmla="*/ 523257 w 5884232"/>
                <a:gd name="connsiteY41" fmla="*/ 5189370 h 6198437"/>
                <a:gd name="connsiteX42" fmla="*/ 41560 w 5884232"/>
                <a:gd name="connsiteY42" fmla="*/ 3281515 h 6198437"/>
                <a:gd name="connsiteX0" fmla="*/ 429802 w 5790777"/>
                <a:gd name="connsiteY0" fmla="*/ 5189370 h 6198437"/>
                <a:gd name="connsiteX1" fmla="*/ 0 w 5790777"/>
                <a:gd name="connsiteY1" fmla="*/ 3106020 h 6198437"/>
                <a:gd name="connsiteX2" fmla="*/ 157452 w 5790777"/>
                <a:gd name="connsiteY2" fmla="*/ 2374266 h 6198437"/>
                <a:gd name="connsiteX3" fmla="*/ 124721 w 5790777"/>
                <a:gd name="connsiteY3" fmla="*/ 2331944 h 6198437"/>
                <a:gd name="connsiteX4" fmla="*/ 196978 w 5790777"/>
                <a:gd name="connsiteY4" fmla="*/ 2067448 h 6198437"/>
                <a:gd name="connsiteX5" fmla="*/ 232694 w 5790777"/>
                <a:gd name="connsiteY5" fmla="*/ 2050403 h 6198437"/>
                <a:gd name="connsiteX6" fmla="*/ 1240051 w 5790777"/>
                <a:gd name="connsiteY6" fmla="*/ 647002 h 6198437"/>
                <a:gd name="connsiteX7" fmla="*/ 1452967 w 5790777"/>
                <a:gd name="connsiteY7" fmla="*/ 547251 h 6198437"/>
                <a:gd name="connsiteX8" fmla="*/ 1432906 w 5790777"/>
                <a:gd name="connsiteY8" fmla="*/ 432260 h 6198437"/>
                <a:gd name="connsiteX9" fmla="*/ 1628671 w 5790777"/>
                <a:gd name="connsiteY9" fmla="*/ 380302 h 6198437"/>
                <a:gd name="connsiteX10" fmla="*/ 1646044 w 5790777"/>
                <a:gd name="connsiteY10" fmla="*/ 481442 h 6198437"/>
                <a:gd name="connsiteX11" fmla="*/ 1773119 w 5790777"/>
                <a:gd name="connsiteY11" fmla="*/ 442651 h 6198437"/>
                <a:gd name="connsiteX12" fmla="*/ 1803598 w 5790777"/>
                <a:gd name="connsiteY12" fmla="*/ 393463 h 6198437"/>
                <a:gd name="connsiteX13" fmla="*/ 2039485 w 5790777"/>
                <a:gd name="connsiteY13" fmla="*/ 319342 h 6198437"/>
                <a:gd name="connsiteX14" fmla="*/ 2079940 w 5790777"/>
                <a:gd name="connsiteY14" fmla="*/ 352592 h 6198437"/>
                <a:gd name="connsiteX15" fmla="*/ 2276482 w 5790777"/>
                <a:gd name="connsiteY15" fmla="*/ 288171 h 6198437"/>
                <a:gd name="connsiteX16" fmla="*/ 2235694 w 5790777"/>
                <a:gd name="connsiteY16" fmla="*/ 119840 h 6198437"/>
                <a:gd name="connsiteX17" fmla="*/ 2618937 w 5790777"/>
                <a:gd name="connsiteY17" fmla="*/ 0 h 6198437"/>
                <a:gd name="connsiteX18" fmla="*/ 2667235 w 5790777"/>
                <a:gd name="connsiteY18" fmla="*/ 165560 h 6198437"/>
                <a:gd name="connsiteX19" fmla="*/ 4430786 w 5790777"/>
                <a:gd name="connsiteY19" fmla="*/ 680900 h 6198437"/>
                <a:gd name="connsiteX20" fmla="*/ 4980916 w 5790777"/>
                <a:gd name="connsiteY20" fmla="*/ 1291242 h 6198437"/>
                <a:gd name="connsiteX21" fmla="*/ 5042320 w 5790777"/>
                <a:gd name="connsiteY21" fmla="*/ 1298860 h 6198437"/>
                <a:gd name="connsiteX22" fmla="*/ 5207161 w 5790777"/>
                <a:gd name="connsiteY22" fmla="*/ 1479661 h 6198437"/>
                <a:gd name="connsiteX23" fmla="*/ 5207384 w 5790777"/>
                <a:gd name="connsiteY23" fmla="*/ 1535080 h 6198437"/>
                <a:gd name="connsiteX24" fmla="*/ 5368648 w 5790777"/>
                <a:gd name="connsiteY24" fmla="*/ 1726990 h 6198437"/>
                <a:gd name="connsiteX25" fmla="*/ 5748636 w 5790777"/>
                <a:gd name="connsiteY25" fmla="*/ 3519512 h 6198437"/>
                <a:gd name="connsiteX26" fmla="*/ 5556557 w 5790777"/>
                <a:gd name="connsiteY26" fmla="*/ 4385669 h 6198437"/>
                <a:gd name="connsiteX27" fmla="*/ 5704007 w 5790777"/>
                <a:gd name="connsiteY27" fmla="*/ 4428964 h 6198437"/>
                <a:gd name="connsiteX28" fmla="*/ 5600090 w 5790777"/>
                <a:gd name="connsiteY28" fmla="*/ 4865439 h 6198437"/>
                <a:gd name="connsiteX29" fmla="*/ 5455487 w 5790777"/>
                <a:gd name="connsiteY29" fmla="*/ 4824545 h 6198437"/>
                <a:gd name="connsiteX30" fmla="*/ 4342060 w 5790777"/>
                <a:gd name="connsiteY30" fmla="*/ 6198437 h 6198437"/>
                <a:gd name="connsiteX31" fmla="*/ 4151062 w 5790777"/>
                <a:gd name="connsiteY31" fmla="*/ 5626725 h 6198437"/>
                <a:gd name="connsiteX32" fmla="*/ 4937197 w 5790777"/>
                <a:gd name="connsiteY32" fmla="*/ 4596953 h 6198437"/>
                <a:gd name="connsiteX33" fmla="*/ 5217246 w 5790777"/>
                <a:gd name="connsiteY33" fmla="*/ 3352779 h 6198437"/>
                <a:gd name="connsiteX34" fmla="*/ 4898430 w 5790777"/>
                <a:gd name="connsiteY34" fmla="*/ 2049487 h 6198437"/>
                <a:gd name="connsiteX35" fmla="*/ 4081177 w 5790777"/>
                <a:gd name="connsiteY35" fmla="*/ 1163055 h 6198437"/>
                <a:gd name="connsiteX36" fmla="*/ 2786911 w 5790777"/>
                <a:gd name="connsiteY36" fmla="*/ 761302 h 6198437"/>
                <a:gd name="connsiteX37" fmla="*/ 1788691 w 5790777"/>
                <a:gd name="connsiteY37" fmla="*/ 1081342 h 6198437"/>
                <a:gd name="connsiteX38" fmla="*/ 779771 w 5790777"/>
                <a:gd name="connsiteY38" fmla="*/ 2111591 h 6198437"/>
                <a:gd name="connsiteX39" fmla="*/ 541052 w 5790777"/>
                <a:gd name="connsiteY39" fmla="*/ 3178546 h 6198437"/>
                <a:gd name="connsiteX40" fmla="*/ 839093 w 5790777"/>
                <a:gd name="connsiteY40" fmla="*/ 4771487 h 6198437"/>
                <a:gd name="connsiteX41" fmla="*/ 429802 w 5790777"/>
                <a:gd name="connsiteY41" fmla="*/ 5189370 h 6198437"/>
                <a:gd name="connsiteX0" fmla="*/ 429802 w 5790777"/>
                <a:gd name="connsiteY0" fmla="*/ 5189370 h 6198437"/>
                <a:gd name="connsiteX1" fmla="*/ 0 w 5790777"/>
                <a:gd name="connsiteY1" fmla="*/ 3106020 h 6198437"/>
                <a:gd name="connsiteX2" fmla="*/ 157452 w 5790777"/>
                <a:gd name="connsiteY2" fmla="*/ 2374266 h 6198437"/>
                <a:gd name="connsiteX3" fmla="*/ 124721 w 5790777"/>
                <a:gd name="connsiteY3" fmla="*/ 2331944 h 6198437"/>
                <a:gd name="connsiteX4" fmla="*/ 196978 w 5790777"/>
                <a:gd name="connsiteY4" fmla="*/ 2067448 h 6198437"/>
                <a:gd name="connsiteX5" fmla="*/ 232694 w 5790777"/>
                <a:gd name="connsiteY5" fmla="*/ 2050403 h 6198437"/>
                <a:gd name="connsiteX6" fmla="*/ 1240051 w 5790777"/>
                <a:gd name="connsiteY6" fmla="*/ 647002 h 6198437"/>
                <a:gd name="connsiteX7" fmla="*/ 1452967 w 5790777"/>
                <a:gd name="connsiteY7" fmla="*/ 547251 h 6198437"/>
                <a:gd name="connsiteX8" fmla="*/ 1432906 w 5790777"/>
                <a:gd name="connsiteY8" fmla="*/ 432260 h 6198437"/>
                <a:gd name="connsiteX9" fmla="*/ 1628671 w 5790777"/>
                <a:gd name="connsiteY9" fmla="*/ 380302 h 6198437"/>
                <a:gd name="connsiteX10" fmla="*/ 1646044 w 5790777"/>
                <a:gd name="connsiteY10" fmla="*/ 481442 h 6198437"/>
                <a:gd name="connsiteX11" fmla="*/ 1773119 w 5790777"/>
                <a:gd name="connsiteY11" fmla="*/ 442651 h 6198437"/>
                <a:gd name="connsiteX12" fmla="*/ 1803598 w 5790777"/>
                <a:gd name="connsiteY12" fmla="*/ 393463 h 6198437"/>
                <a:gd name="connsiteX13" fmla="*/ 2039485 w 5790777"/>
                <a:gd name="connsiteY13" fmla="*/ 319342 h 6198437"/>
                <a:gd name="connsiteX14" fmla="*/ 2079940 w 5790777"/>
                <a:gd name="connsiteY14" fmla="*/ 352592 h 6198437"/>
                <a:gd name="connsiteX15" fmla="*/ 2276482 w 5790777"/>
                <a:gd name="connsiteY15" fmla="*/ 288171 h 6198437"/>
                <a:gd name="connsiteX16" fmla="*/ 2235694 w 5790777"/>
                <a:gd name="connsiteY16" fmla="*/ 119840 h 6198437"/>
                <a:gd name="connsiteX17" fmla="*/ 2618937 w 5790777"/>
                <a:gd name="connsiteY17" fmla="*/ 0 h 6198437"/>
                <a:gd name="connsiteX18" fmla="*/ 2667235 w 5790777"/>
                <a:gd name="connsiteY18" fmla="*/ 165560 h 6198437"/>
                <a:gd name="connsiteX19" fmla="*/ 4430786 w 5790777"/>
                <a:gd name="connsiteY19" fmla="*/ 680900 h 6198437"/>
                <a:gd name="connsiteX20" fmla="*/ 4980916 w 5790777"/>
                <a:gd name="connsiteY20" fmla="*/ 1291242 h 6198437"/>
                <a:gd name="connsiteX21" fmla="*/ 5042320 w 5790777"/>
                <a:gd name="connsiteY21" fmla="*/ 1298860 h 6198437"/>
                <a:gd name="connsiteX22" fmla="*/ 5207161 w 5790777"/>
                <a:gd name="connsiteY22" fmla="*/ 1479661 h 6198437"/>
                <a:gd name="connsiteX23" fmla="*/ 5207384 w 5790777"/>
                <a:gd name="connsiteY23" fmla="*/ 1535080 h 6198437"/>
                <a:gd name="connsiteX24" fmla="*/ 5368648 w 5790777"/>
                <a:gd name="connsiteY24" fmla="*/ 1726990 h 6198437"/>
                <a:gd name="connsiteX25" fmla="*/ 5748636 w 5790777"/>
                <a:gd name="connsiteY25" fmla="*/ 3519512 h 6198437"/>
                <a:gd name="connsiteX26" fmla="*/ 5556557 w 5790777"/>
                <a:gd name="connsiteY26" fmla="*/ 4385669 h 6198437"/>
                <a:gd name="connsiteX27" fmla="*/ 5704007 w 5790777"/>
                <a:gd name="connsiteY27" fmla="*/ 4428964 h 6198437"/>
                <a:gd name="connsiteX28" fmla="*/ 5600090 w 5790777"/>
                <a:gd name="connsiteY28" fmla="*/ 4865439 h 6198437"/>
                <a:gd name="connsiteX29" fmla="*/ 5455487 w 5790777"/>
                <a:gd name="connsiteY29" fmla="*/ 4824545 h 6198437"/>
                <a:gd name="connsiteX30" fmla="*/ 4342060 w 5790777"/>
                <a:gd name="connsiteY30" fmla="*/ 6198437 h 6198437"/>
                <a:gd name="connsiteX31" fmla="*/ 4151062 w 5790777"/>
                <a:gd name="connsiteY31" fmla="*/ 5626725 h 6198437"/>
                <a:gd name="connsiteX32" fmla="*/ 4937197 w 5790777"/>
                <a:gd name="connsiteY32" fmla="*/ 4596953 h 6198437"/>
                <a:gd name="connsiteX33" fmla="*/ 5217246 w 5790777"/>
                <a:gd name="connsiteY33" fmla="*/ 3352779 h 6198437"/>
                <a:gd name="connsiteX34" fmla="*/ 4898430 w 5790777"/>
                <a:gd name="connsiteY34" fmla="*/ 2049487 h 6198437"/>
                <a:gd name="connsiteX35" fmla="*/ 4081177 w 5790777"/>
                <a:gd name="connsiteY35" fmla="*/ 1163055 h 6198437"/>
                <a:gd name="connsiteX36" fmla="*/ 2786911 w 5790777"/>
                <a:gd name="connsiteY36" fmla="*/ 761302 h 6198437"/>
                <a:gd name="connsiteX37" fmla="*/ 1788691 w 5790777"/>
                <a:gd name="connsiteY37" fmla="*/ 1081342 h 6198437"/>
                <a:gd name="connsiteX38" fmla="*/ 779771 w 5790777"/>
                <a:gd name="connsiteY38" fmla="*/ 2111591 h 6198437"/>
                <a:gd name="connsiteX39" fmla="*/ 541052 w 5790777"/>
                <a:gd name="connsiteY39" fmla="*/ 3178546 h 6198437"/>
                <a:gd name="connsiteX40" fmla="*/ 429802 w 5790777"/>
                <a:gd name="connsiteY40" fmla="*/ 5189370 h 6198437"/>
                <a:gd name="connsiteX0" fmla="*/ 541052 w 5790777"/>
                <a:gd name="connsiteY0" fmla="*/ 3178546 h 6198437"/>
                <a:gd name="connsiteX1" fmla="*/ 0 w 5790777"/>
                <a:gd name="connsiteY1" fmla="*/ 3106020 h 6198437"/>
                <a:gd name="connsiteX2" fmla="*/ 157452 w 5790777"/>
                <a:gd name="connsiteY2" fmla="*/ 2374266 h 6198437"/>
                <a:gd name="connsiteX3" fmla="*/ 124721 w 5790777"/>
                <a:gd name="connsiteY3" fmla="*/ 2331944 h 6198437"/>
                <a:gd name="connsiteX4" fmla="*/ 196978 w 5790777"/>
                <a:gd name="connsiteY4" fmla="*/ 2067448 h 6198437"/>
                <a:gd name="connsiteX5" fmla="*/ 232694 w 5790777"/>
                <a:gd name="connsiteY5" fmla="*/ 2050403 h 6198437"/>
                <a:gd name="connsiteX6" fmla="*/ 1240051 w 5790777"/>
                <a:gd name="connsiteY6" fmla="*/ 647002 h 6198437"/>
                <a:gd name="connsiteX7" fmla="*/ 1452967 w 5790777"/>
                <a:gd name="connsiteY7" fmla="*/ 547251 h 6198437"/>
                <a:gd name="connsiteX8" fmla="*/ 1432906 w 5790777"/>
                <a:gd name="connsiteY8" fmla="*/ 432260 h 6198437"/>
                <a:gd name="connsiteX9" fmla="*/ 1628671 w 5790777"/>
                <a:gd name="connsiteY9" fmla="*/ 380302 h 6198437"/>
                <a:gd name="connsiteX10" fmla="*/ 1646044 w 5790777"/>
                <a:gd name="connsiteY10" fmla="*/ 481442 h 6198437"/>
                <a:gd name="connsiteX11" fmla="*/ 1773119 w 5790777"/>
                <a:gd name="connsiteY11" fmla="*/ 442651 h 6198437"/>
                <a:gd name="connsiteX12" fmla="*/ 1803598 w 5790777"/>
                <a:gd name="connsiteY12" fmla="*/ 393463 h 6198437"/>
                <a:gd name="connsiteX13" fmla="*/ 2039485 w 5790777"/>
                <a:gd name="connsiteY13" fmla="*/ 319342 h 6198437"/>
                <a:gd name="connsiteX14" fmla="*/ 2079940 w 5790777"/>
                <a:gd name="connsiteY14" fmla="*/ 352592 h 6198437"/>
                <a:gd name="connsiteX15" fmla="*/ 2276482 w 5790777"/>
                <a:gd name="connsiteY15" fmla="*/ 288171 h 6198437"/>
                <a:gd name="connsiteX16" fmla="*/ 2235694 w 5790777"/>
                <a:gd name="connsiteY16" fmla="*/ 119840 h 6198437"/>
                <a:gd name="connsiteX17" fmla="*/ 2618937 w 5790777"/>
                <a:gd name="connsiteY17" fmla="*/ 0 h 6198437"/>
                <a:gd name="connsiteX18" fmla="*/ 2667235 w 5790777"/>
                <a:gd name="connsiteY18" fmla="*/ 165560 h 6198437"/>
                <a:gd name="connsiteX19" fmla="*/ 4430786 w 5790777"/>
                <a:gd name="connsiteY19" fmla="*/ 680900 h 6198437"/>
                <a:gd name="connsiteX20" fmla="*/ 4980916 w 5790777"/>
                <a:gd name="connsiteY20" fmla="*/ 1291242 h 6198437"/>
                <a:gd name="connsiteX21" fmla="*/ 5042320 w 5790777"/>
                <a:gd name="connsiteY21" fmla="*/ 1298860 h 6198437"/>
                <a:gd name="connsiteX22" fmla="*/ 5207161 w 5790777"/>
                <a:gd name="connsiteY22" fmla="*/ 1479661 h 6198437"/>
                <a:gd name="connsiteX23" fmla="*/ 5207384 w 5790777"/>
                <a:gd name="connsiteY23" fmla="*/ 1535080 h 6198437"/>
                <a:gd name="connsiteX24" fmla="*/ 5368648 w 5790777"/>
                <a:gd name="connsiteY24" fmla="*/ 1726990 h 6198437"/>
                <a:gd name="connsiteX25" fmla="*/ 5748636 w 5790777"/>
                <a:gd name="connsiteY25" fmla="*/ 3519512 h 6198437"/>
                <a:gd name="connsiteX26" fmla="*/ 5556557 w 5790777"/>
                <a:gd name="connsiteY26" fmla="*/ 4385669 h 6198437"/>
                <a:gd name="connsiteX27" fmla="*/ 5704007 w 5790777"/>
                <a:gd name="connsiteY27" fmla="*/ 4428964 h 6198437"/>
                <a:gd name="connsiteX28" fmla="*/ 5600090 w 5790777"/>
                <a:gd name="connsiteY28" fmla="*/ 4865439 h 6198437"/>
                <a:gd name="connsiteX29" fmla="*/ 5455487 w 5790777"/>
                <a:gd name="connsiteY29" fmla="*/ 4824545 h 6198437"/>
                <a:gd name="connsiteX30" fmla="*/ 4342060 w 5790777"/>
                <a:gd name="connsiteY30" fmla="*/ 6198437 h 6198437"/>
                <a:gd name="connsiteX31" fmla="*/ 4151062 w 5790777"/>
                <a:gd name="connsiteY31" fmla="*/ 5626725 h 6198437"/>
                <a:gd name="connsiteX32" fmla="*/ 4937197 w 5790777"/>
                <a:gd name="connsiteY32" fmla="*/ 4596953 h 6198437"/>
                <a:gd name="connsiteX33" fmla="*/ 5217246 w 5790777"/>
                <a:gd name="connsiteY33" fmla="*/ 3352779 h 6198437"/>
                <a:gd name="connsiteX34" fmla="*/ 4898430 w 5790777"/>
                <a:gd name="connsiteY34" fmla="*/ 2049487 h 6198437"/>
                <a:gd name="connsiteX35" fmla="*/ 4081177 w 5790777"/>
                <a:gd name="connsiteY35" fmla="*/ 1163055 h 6198437"/>
                <a:gd name="connsiteX36" fmla="*/ 2786911 w 5790777"/>
                <a:gd name="connsiteY36" fmla="*/ 761302 h 6198437"/>
                <a:gd name="connsiteX37" fmla="*/ 1788691 w 5790777"/>
                <a:gd name="connsiteY37" fmla="*/ 1081342 h 6198437"/>
                <a:gd name="connsiteX38" fmla="*/ 779771 w 5790777"/>
                <a:gd name="connsiteY38" fmla="*/ 2111591 h 6198437"/>
                <a:gd name="connsiteX39" fmla="*/ 541052 w 5790777"/>
                <a:gd name="connsiteY39" fmla="*/ 3178546 h 6198437"/>
                <a:gd name="connsiteX0" fmla="*/ 573843 w 5823568"/>
                <a:gd name="connsiteY0" fmla="*/ 3178546 h 6198437"/>
                <a:gd name="connsiteX1" fmla="*/ 0 w 5823568"/>
                <a:gd name="connsiteY1" fmla="*/ 3178546 h 6198437"/>
                <a:gd name="connsiteX2" fmla="*/ 190243 w 5823568"/>
                <a:gd name="connsiteY2" fmla="*/ 2374266 h 6198437"/>
                <a:gd name="connsiteX3" fmla="*/ 157512 w 5823568"/>
                <a:gd name="connsiteY3" fmla="*/ 2331944 h 6198437"/>
                <a:gd name="connsiteX4" fmla="*/ 229769 w 5823568"/>
                <a:gd name="connsiteY4" fmla="*/ 2067448 h 6198437"/>
                <a:gd name="connsiteX5" fmla="*/ 265485 w 5823568"/>
                <a:gd name="connsiteY5" fmla="*/ 2050403 h 6198437"/>
                <a:gd name="connsiteX6" fmla="*/ 1272842 w 5823568"/>
                <a:gd name="connsiteY6" fmla="*/ 647002 h 6198437"/>
                <a:gd name="connsiteX7" fmla="*/ 1485758 w 5823568"/>
                <a:gd name="connsiteY7" fmla="*/ 547251 h 6198437"/>
                <a:gd name="connsiteX8" fmla="*/ 1465697 w 5823568"/>
                <a:gd name="connsiteY8" fmla="*/ 432260 h 6198437"/>
                <a:gd name="connsiteX9" fmla="*/ 1661462 w 5823568"/>
                <a:gd name="connsiteY9" fmla="*/ 380302 h 6198437"/>
                <a:gd name="connsiteX10" fmla="*/ 1678835 w 5823568"/>
                <a:gd name="connsiteY10" fmla="*/ 481442 h 6198437"/>
                <a:gd name="connsiteX11" fmla="*/ 1805910 w 5823568"/>
                <a:gd name="connsiteY11" fmla="*/ 442651 h 6198437"/>
                <a:gd name="connsiteX12" fmla="*/ 1836389 w 5823568"/>
                <a:gd name="connsiteY12" fmla="*/ 393463 h 6198437"/>
                <a:gd name="connsiteX13" fmla="*/ 2072276 w 5823568"/>
                <a:gd name="connsiteY13" fmla="*/ 319342 h 6198437"/>
                <a:gd name="connsiteX14" fmla="*/ 2112731 w 5823568"/>
                <a:gd name="connsiteY14" fmla="*/ 352592 h 6198437"/>
                <a:gd name="connsiteX15" fmla="*/ 2309273 w 5823568"/>
                <a:gd name="connsiteY15" fmla="*/ 288171 h 6198437"/>
                <a:gd name="connsiteX16" fmla="*/ 2268485 w 5823568"/>
                <a:gd name="connsiteY16" fmla="*/ 119840 h 6198437"/>
                <a:gd name="connsiteX17" fmla="*/ 2651728 w 5823568"/>
                <a:gd name="connsiteY17" fmla="*/ 0 h 6198437"/>
                <a:gd name="connsiteX18" fmla="*/ 2700026 w 5823568"/>
                <a:gd name="connsiteY18" fmla="*/ 165560 h 6198437"/>
                <a:gd name="connsiteX19" fmla="*/ 4463577 w 5823568"/>
                <a:gd name="connsiteY19" fmla="*/ 680900 h 6198437"/>
                <a:gd name="connsiteX20" fmla="*/ 5013707 w 5823568"/>
                <a:gd name="connsiteY20" fmla="*/ 1291242 h 6198437"/>
                <a:gd name="connsiteX21" fmla="*/ 5075111 w 5823568"/>
                <a:gd name="connsiteY21" fmla="*/ 1298860 h 6198437"/>
                <a:gd name="connsiteX22" fmla="*/ 5239952 w 5823568"/>
                <a:gd name="connsiteY22" fmla="*/ 1479661 h 6198437"/>
                <a:gd name="connsiteX23" fmla="*/ 5240175 w 5823568"/>
                <a:gd name="connsiteY23" fmla="*/ 1535080 h 6198437"/>
                <a:gd name="connsiteX24" fmla="*/ 5401439 w 5823568"/>
                <a:gd name="connsiteY24" fmla="*/ 1726990 h 6198437"/>
                <a:gd name="connsiteX25" fmla="*/ 5781427 w 5823568"/>
                <a:gd name="connsiteY25" fmla="*/ 3519512 h 6198437"/>
                <a:gd name="connsiteX26" fmla="*/ 5589348 w 5823568"/>
                <a:gd name="connsiteY26" fmla="*/ 4385669 h 6198437"/>
                <a:gd name="connsiteX27" fmla="*/ 5736798 w 5823568"/>
                <a:gd name="connsiteY27" fmla="*/ 4428964 h 6198437"/>
                <a:gd name="connsiteX28" fmla="*/ 5632881 w 5823568"/>
                <a:gd name="connsiteY28" fmla="*/ 4865439 h 6198437"/>
                <a:gd name="connsiteX29" fmla="*/ 5488278 w 5823568"/>
                <a:gd name="connsiteY29" fmla="*/ 4824545 h 6198437"/>
                <a:gd name="connsiteX30" fmla="*/ 4374851 w 5823568"/>
                <a:gd name="connsiteY30" fmla="*/ 6198437 h 6198437"/>
                <a:gd name="connsiteX31" fmla="*/ 4183853 w 5823568"/>
                <a:gd name="connsiteY31" fmla="*/ 5626725 h 6198437"/>
                <a:gd name="connsiteX32" fmla="*/ 4969988 w 5823568"/>
                <a:gd name="connsiteY32" fmla="*/ 4596953 h 6198437"/>
                <a:gd name="connsiteX33" fmla="*/ 5250037 w 5823568"/>
                <a:gd name="connsiteY33" fmla="*/ 3352779 h 6198437"/>
                <a:gd name="connsiteX34" fmla="*/ 4931221 w 5823568"/>
                <a:gd name="connsiteY34" fmla="*/ 2049487 h 6198437"/>
                <a:gd name="connsiteX35" fmla="*/ 4113968 w 5823568"/>
                <a:gd name="connsiteY35" fmla="*/ 1163055 h 6198437"/>
                <a:gd name="connsiteX36" fmla="*/ 2819702 w 5823568"/>
                <a:gd name="connsiteY36" fmla="*/ 761302 h 6198437"/>
                <a:gd name="connsiteX37" fmla="*/ 1821482 w 5823568"/>
                <a:gd name="connsiteY37" fmla="*/ 1081342 h 6198437"/>
                <a:gd name="connsiteX38" fmla="*/ 812562 w 5823568"/>
                <a:gd name="connsiteY38" fmla="*/ 2111591 h 6198437"/>
                <a:gd name="connsiteX39" fmla="*/ 573843 w 5823568"/>
                <a:gd name="connsiteY39" fmla="*/ 3178546 h 6198437"/>
                <a:gd name="connsiteX0" fmla="*/ 518530 w 5768255"/>
                <a:gd name="connsiteY0" fmla="*/ 3178546 h 6198437"/>
                <a:gd name="connsiteX1" fmla="*/ 0 w 5768255"/>
                <a:gd name="connsiteY1" fmla="*/ 3111230 h 6198437"/>
                <a:gd name="connsiteX2" fmla="*/ 134930 w 5768255"/>
                <a:gd name="connsiteY2" fmla="*/ 2374266 h 6198437"/>
                <a:gd name="connsiteX3" fmla="*/ 102199 w 5768255"/>
                <a:gd name="connsiteY3" fmla="*/ 2331944 h 6198437"/>
                <a:gd name="connsiteX4" fmla="*/ 174456 w 5768255"/>
                <a:gd name="connsiteY4" fmla="*/ 2067448 h 6198437"/>
                <a:gd name="connsiteX5" fmla="*/ 210172 w 5768255"/>
                <a:gd name="connsiteY5" fmla="*/ 2050403 h 6198437"/>
                <a:gd name="connsiteX6" fmla="*/ 1217529 w 5768255"/>
                <a:gd name="connsiteY6" fmla="*/ 647002 h 6198437"/>
                <a:gd name="connsiteX7" fmla="*/ 1430445 w 5768255"/>
                <a:gd name="connsiteY7" fmla="*/ 547251 h 6198437"/>
                <a:gd name="connsiteX8" fmla="*/ 1410384 w 5768255"/>
                <a:gd name="connsiteY8" fmla="*/ 432260 h 6198437"/>
                <a:gd name="connsiteX9" fmla="*/ 1606149 w 5768255"/>
                <a:gd name="connsiteY9" fmla="*/ 380302 h 6198437"/>
                <a:gd name="connsiteX10" fmla="*/ 1623522 w 5768255"/>
                <a:gd name="connsiteY10" fmla="*/ 481442 h 6198437"/>
                <a:gd name="connsiteX11" fmla="*/ 1750597 w 5768255"/>
                <a:gd name="connsiteY11" fmla="*/ 442651 h 6198437"/>
                <a:gd name="connsiteX12" fmla="*/ 1781076 w 5768255"/>
                <a:gd name="connsiteY12" fmla="*/ 393463 h 6198437"/>
                <a:gd name="connsiteX13" fmla="*/ 2016963 w 5768255"/>
                <a:gd name="connsiteY13" fmla="*/ 319342 h 6198437"/>
                <a:gd name="connsiteX14" fmla="*/ 2057418 w 5768255"/>
                <a:gd name="connsiteY14" fmla="*/ 352592 h 6198437"/>
                <a:gd name="connsiteX15" fmla="*/ 2253960 w 5768255"/>
                <a:gd name="connsiteY15" fmla="*/ 288171 h 6198437"/>
                <a:gd name="connsiteX16" fmla="*/ 2213172 w 5768255"/>
                <a:gd name="connsiteY16" fmla="*/ 119840 h 6198437"/>
                <a:gd name="connsiteX17" fmla="*/ 2596415 w 5768255"/>
                <a:gd name="connsiteY17" fmla="*/ 0 h 6198437"/>
                <a:gd name="connsiteX18" fmla="*/ 2644713 w 5768255"/>
                <a:gd name="connsiteY18" fmla="*/ 165560 h 6198437"/>
                <a:gd name="connsiteX19" fmla="*/ 4408264 w 5768255"/>
                <a:gd name="connsiteY19" fmla="*/ 680900 h 6198437"/>
                <a:gd name="connsiteX20" fmla="*/ 4958394 w 5768255"/>
                <a:gd name="connsiteY20" fmla="*/ 1291242 h 6198437"/>
                <a:gd name="connsiteX21" fmla="*/ 5019798 w 5768255"/>
                <a:gd name="connsiteY21" fmla="*/ 1298860 h 6198437"/>
                <a:gd name="connsiteX22" fmla="*/ 5184639 w 5768255"/>
                <a:gd name="connsiteY22" fmla="*/ 1479661 h 6198437"/>
                <a:gd name="connsiteX23" fmla="*/ 5184862 w 5768255"/>
                <a:gd name="connsiteY23" fmla="*/ 1535080 h 6198437"/>
                <a:gd name="connsiteX24" fmla="*/ 5346126 w 5768255"/>
                <a:gd name="connsiteY24" fmla="*/ 1726990 h 6198437"/>
                <a:gd name="connsiteX25" fmla="*/ 5726114 w 5768255"/>
                <a:gd name="connsiteY25" fmla="*/ 3519512 h 6198437"/>
                <a:gd name="connsiteX26" fmla="*/ 5534035 w 5768255"/>
                <a:gd name="connsiteY26" fmla="*/ 4385669 h 6198437"/>
                <a:gd name="connsiteX27" fmla="*/ 5681485 w 5768255"/>
                <a:gd name="connsiteY27" fmla="*/ 4428964 h 6198437"/>
                <a:gd name="connsiteX28" fmla="*/ 5577568 w 5768255"/>
                <a:gd name="connsiteY28" fmla="*/ 4865439 h 6198437"/>
                <a:gd name="connsiteX29" fmla="*/ 5432965 w 5768255"/>
                <a:gd name="connsiteY29" fmla="*/ 4824545 h 6198437"/>
                <a:gd name="connsiteX30" fmla="*/ 4319538 w 5768255"/>
                <a:gd name="connsiteY30" fmla="*/ 6198437 h 6198437"/>
                <a:gd name="connsiteX31" fmla="*/ 4128540 w 5768255"/>
                <a:gd name="connsiteY31" fmla="*/ 5626725 h 6198437"/>
                <a:gd name="connsiteX32" fmla="*/ 4914675 w 5768255"/>
                <a:gd name="connsiteY32" fmla="*/ 4596953 h 6198437"/>
                <a:gd name="connsiteX33" fmla="*/ 5194724 w 5768255"/>
                <a:gd name="connsiteY33" fmla="*/ 3352779 h 6198437"/>
                <a:gd name="connsiteX34" fmla="*/ 4875908 w 5768255"/>
                <a:gd name="connsiteY34" fmla="*/ 2049487 h 6198437"/>
                <a:gd name="connsiteX35" fmla="*/ 4058655 w 5768255"/>
                <a:gd name="connsiteY35" fmla="*/ 1163055 h 6198437"/>
                <a:gd name="connsiteX36" fmla="*/ 2764389 w 5768255"/>
                <a:gd name="connsiteY36" fmla="*/ 761302 h 6198437"/>
                <a:gd name="connsiteX37" fmla="*/ 1766169 w 5768255"/>
                <a:gd name="connsiteY37" fmla="*/ 1081342 h 6198437"/>
                <a:gd name="connsiteX38" fmla="*/ 757249 w 5768255"/>
                <a:gd name="connsiteY38" fmla="*/ 2111591 h 6198437"/>
                <a:gd name="connsiteX39" fmla="*/ 518530 w 5768255"/>
                <a:gd name="connsiteY39" fmla="*/ 3178546 h 6198437"/>
                <a:gd name="connsiteX0" fmla="*/ 566929 w 5816654"/>
                <a:gd name="connsiteY0" fmla="*/ 3178546 h 6198437"/>
                <a:gd name="connsiteX1" fmla="*/ 0 w 5816654"/>
                <a:gd name="connsiteY1" fmla="*/ 3186025 h 6198437"/>
                <a:gd name="connsiteX2" fmla="*/ 183329 w 5816654"/>
                <a:gd name="connsiteY2" fmla="*/ 2374266 h 6198437"/>
                <a:gd name="connsiteX3" fmla="*/ 150598 w 5816654"/>
                <a:gd name="connsiteY3" fmla="*/ 2331944 h 6198437"/>
                <a:gd name="connsiteX4" fmla="*/ 222855 w 5816654"/>
                <a:gd name="connsiteY4" fmla="*/ 2067448 h 6198437"/>
                <a:gd name="connsiteX5" fmla="*/ 258571 w 5816654"/>
                <a:gd name="connsiteY5" fmla="*/ 2050403 h 6198437"/>
                <a:gd name="connsiteX6" fmla="*/ 1265928 w 5816654"/>
                <a:gd name="connsiteY6" fmla="*/ 647002 h 6198437"/>
                <a:gd name="connsiteX7" fmla="*/ 1478844 w 5816654"/>
                <a:gd name="connsiteY7" fmla="*/ 547251 h 6198437"/>
                <a:gd name="connsiteX8" fmla="*/ 1458783 w 5816654"/>
                <a:gd name="connsiteY8" fmla="*/ 432260 h 6198437"/>
                <a:gd name="connsiteX9" fmla="*/ 1654548 w 5816654"/>
                <a:gd name="connsiteY9" fmla="*/ 380302 h 6198437"/>
                <a:gd name="connsiteX10" fmla="*/ 1671921 w 5816654"/>
                <a:gd name="connsiteY10" fmla="*/ 481442 h 6198437"/>
                <a:gd name="connsiteX11" fmla="*/ 1798996 w 5816654"/>
                <a:gd name="connsiteY11" fmla="*/ 442651 h 6198437"/>
                <a:gd name="connsiteX12" fmla="*/ 1829475 w 5816654"/>
                <a:gd name="connsiteY12" fmla="*/ 393463 h 6198437"/>
                <a:gd name="connsiteX13" fmla="*/ 2065362 w 5816654"/>
                <a:gd name="connsiteY13" fmla="*/ 319342 h 6198437"/>
                <a:gd name="connsiteX14" fmla="*/ 2105817 w 5816654"/>
                <a:gd name="connsiteY14" fmla="*/ 352592 h 6198437"/>
                <a:gd name="connsiteX15" fmla="*/ 2302359 w 5816654"/>
                <a:gd name="connsiteY15" fmla="*/ 288171 h 6198437"/>
                <a:gd name="connsiteX16" fmla="*/ 2261571 w 5816654"/>
                <a:gd name="connsiteY16" fmla="*/ 119840 h 6198437"/>
                <a:gd name="connsiteX17" fmla="*/ 2644814 w 5816654"/>
                <a:gd name="connsiteY17" fmla="*/ 0 h 6198437"/>
                <a:gd name="connsiteX18" fmla="*/ 2693112 w 5816654"/>
                <a:gd name="connsiteY18" fmla="*/ 165560 h 6198437"/>
                <a:gd name="connsiteX19" fmla="*/ 4456663 w 5816654"/>
                <a:gd name="connsiteY19" fmla="*/ 680900 h 6198437"/>
                <a:gd name="connsiteX20" fmla="*/ 5006793 w 5816654"/>
                <a:gd name="connsiteY20" fmla="*/ 1291242 h 6198437"/>
                <a:gd name="connsiteX21" fmla="*/ 5068197 w 5816654"/>
                <a:gd name="connsiteY21" fmla="*/ 1298860 h 6198437"/>
                <a:gd name="connsiteX22" fmla="*/ 5233038 w 5816654"/>
                <a:gd name="connsiteY22" fmla="*/ 1479661 h 6198437"/>
                <a:gd name="connsiteX23" fmla="*/ 5233261 w 5816654"/>
                <a:gd name="connsiteY23" fmla="*/ 1535080 h 6198437"/>
                <a:gd name="connsiteX24" fmla="*/ 5394525 w 5816654"/>
                <a:gd name="connsiteY24" fmla="*/ 1726990 h 6198437"/>
                <a:gd name="connsiteX25" fmla="*/ 5774513 w 5816654"/>
                <a:gd name="connsiteY25" fmla="*/ 3519512 h 6198437"/>
                <a:gd name="connsiteX26" fmla="*/ 5582434 w 5816654"/>
                <a:gd name="connsiteY26" fmla="*/ 4385669 h 6198437"/>
                <a:gd name="connsiteX27" fmla="*/ 5729884 w 5816654"/>
                <a:gd name="connsiteY27" fmla="*/ 4428964 h 6198437"/>
                <a:gd name="connsiteX28" fmla="*/ 5625967 w 5816654"/>
                <a:gd name="connsiteY28" fmla="*/ 4865439 h 6198437"/>
                <a:gd name="connsiteX29" fmla="*/ 5481364 w 5816654"/>
                <a:gd name="connsiteY29" fmla="*/ 4824545 h 6198437"/>
                <a:gd name="connsiteX30" fmla="*/ 4367937 w 5816654"/>
                <a:gd name="connsiteY30" fmla="*/ 6198437 h 6198437"/>
                <a:gd name="connsiteX31" fmla="*/ 4176939 w 5816654"/>
                <a:gd name="connsiteY31" fmla="*/ 5626725 h 6198437"/>
                <a:gd name="connsiteX32" fmla="*/ 4963074 w 5816654"/>
                <a:gd name="connsiteY32" fmla="*/ 4596953 h 6198437"/>
                <a:gd name="connsiteX33" fmla="*/ 5243123 w 5816654"/>
                <a:gd name="connsiteY33" fmla="*/ 3352779 h 6198437"/>
                <a:gd name="connsiteX34" fmla="*/ 4924307 w 5816654"/>
                <a:gd name="connsiteY34" fmla="*/ 2049487 h 6198437"/>
                <a:gd name="connsiteX35" fmla="*/ 4107054 w 5816654"/>
                <a:gd name="connsiteY35" fmla="*/ 1163055 h 6198437"/>
                <a:gd name="connsiteX36" fmla="*/ 2812788 w 5816654"/>
                <a:gd name="connsiteY36" fmla="*/ 761302 h 6198437"/>
                <a:gd name="connsiteX37" fmla="*/ 1814568 w 5816654"/>
                <a:gd name="connsiteY37" fmla="*/ 1081342 h 6198437"/>
                <a:gd name="connsiteX38" fmla="*/ 805648 w 5816654"/>
                <a:gd name="connsiteY38" fmla="*/ 2111591 h 6198437"/>
                <a:gd name="connsiteX39" fmla="*/ 566929 w 5816654"/>
                <a:gd name="connsiteY39" fmla="*/ 3178546 h 6198437"/>
                <a:gd name="connsiteX0" fmla="*/ 541577 w 5816654"/>
                <a:gd name="connsiteY0" fmla="*/ 3288247 h 6198437"/>
                <a:gd name="connsiteX1" fmla="*/ 0 w 5816654"/>
                <a:gd name="connsiteY1" fmla="*/ 3186025 h 6198437"/>
                <a:gd name="connsiteX2" fmla="*/ 183329 w 5816654"/>
                <a:gd name="connsiteY2" fmla="*/ 2374266 h 6198437"/>
                <a:gd name="connsiteX3" fmla="*/ 150598 w 5816654"/>
                <a:gd name="connsiteY3" fmla="*/ 2331944 h 6198437"/>
                <a:gd name="connsiteX4" fmla="*/ 222855 w 5816654"/>
                <a:gd name="connsiteY4" fmla="*/ 2067448 h 6198437"/>
                <a:gd name="connsiteX5" fmla="*/ 258571 w 5816654"/>
                <a:gd name="connsiteY5" fmla="*/ 2050403 h 6198437"/>
                <a:gd name="connsiteX6" fmla="*/ 1265928 w 5816654"/>
                <a:gd name="connsiteY6" fmla="*/ 647002 h 6198437"/>
                <a:gd name="connsiteX7" fmla="*/ 1478844 w 5816654"/>
                <a:gd name="connsiteY7" fmla="*/ 547251 h 6198437"/>
                <a:gd name="connsiteX8" fmla="*/ 1458783 w 5816654"/>
                <a:gd name="connsiteY8" fmla="*/ 432260 h 6198437"/>
                <a:gd name="connsiteX9" fmla="*/ 1654548 w 5816654"/>
                <a:gd name="connsiteY9" fmla="*/ 380302 h 6198437"/>
                <a:gd name="connsiteX10" fmla="*/ 1671921 w 5816654"/>
                <a:gd name="connsiteY10" fmla="*/ 481442 h 6198437"/>
                <a:gd name="connsiteX11" fmla="*/ 1798996 w 5816654"/>
                <a:gd name="connsiteY11" fmla="*/ 442651 h 6198437"/>
                <a:gd name="connsiteX12" fmla="*/ 1829475 w 5816654"/>
                <a:gd name="connsiteY12" fmla="*/ 393463 h 6198437"/>
                <a:gd name="connsiteX13" fmla="*/ 2065362 w 5816654"/>
                <a:gd name="connsiteY13" fmla="*/ 319342 h 6198437"/>
                <a:gd name="connsiteX14" fmla="*/ 2105817 w 5816654"/>
                <a:gd name="connsiteY14" fmla="*/ 352592 h 6198437"/>
                <a:gd name="connsiteX15" fmla="*/ 2302359 w 5816654"/>
                <a:gd name="connsiteY15" fmla="*/ 288171 h 6198437"/>
                <a:gd name="connsiteX16" fmla="*/ 2261571 w 5816654"/>
                <a:gd name="connsiteY16" fmla="*/ 119840 h 6198437"/>
                <a:gd name="connsiteX17" fmla="*/ 2644814 w 5816654"/>
                <a:gd name="connsiteY17" fmla="*/ 0 h 6198437"/>
                <a:gd name="connsiteX18" fmla="*/ 2693112 w 5816654"/>
                <a:gd name="connsiteY18" fmla="*/ 165560 h 6198437"/>
                <a:gd name="connsiteX19" fmla="*/ 4456663 w 5816654"/>
                <a:gd name="connsiteY19" fmla="*/ 680900 h 6198437"/>
                <a:gd name="connsiteX20" fmla="*/ 5006793 w 5816654"/>
                <a:gd name="connsiteY20" fmla="*/ 1291242 h 6198437"/>
                <a:gd name="connsiteX21" fmla="*/ 5068197 w 5816654"/>
                <a:gd name="connsiteY21" fmla="*/ 1298860 h 6198437"/>
                <a:gd name="connsiteX22" fmla="*/ 5233038 w 5816654"/>
                <a:gd name="connsiteY22" fmla="*/ 1479661 h 6198437"/>
                <a:gd name="connsiteX23" fmla="*/ 5233261 w 5816654"/>
                <a:gd name="connsiteY23" fmla="*/ 1535080 h 6198437"/>
                <a:gd name="connsiteX24" fmla="*/ 5394525 w 5816654"/>
                <a:gd name="connsiteY24" fmla="*/ 1726990 h 6198437"/>
                <a:gd name="connsiteX25" fmla="*/ 5774513 w 5816654"/>
                <a:gd name="connsiteY25" fmla="*/ 3519512 h 6198437"/>
                <a:gd name="connsiteX26" fmla="*/ 5582434 w 5816654"/>
                <a:gd name="connsiteY26" fmla="*/ 4385669 h 6198437"/>
                <a:gd name="connsiteX27" fmla="*/ 5729884 w 5816654"/>
                <a:gd name="connsiteY27" fmla="*/ 4428964 h 6198437"/>
                <a:gd name="connsiteX28" fmla="*/ 5625967 w 5816654"/>
                <a:gd name="connsiteY28" fmla="*/ 4865439 h 6198437"/>
                <a:gd name="connsiteX29" fmla="*/ 5481364 w 5816654"/>
                <a:gd name="connsiteY29" fmla="*/ 4824545 h 6198437"/>
                <a:gd name="connsiteX30" fmla="*/ 4367937 w 5816654"/>
                <a:gd name="connsiteY30" fmla="*/ 6198437 h 6198437"/>
                <a:gd name="connsiteX31" fmla="*/ 4176939 w 5816654"/>
                <a:gd name="connsiteY31" fmla="*/ 5626725 h 6198437"/>
                <a:gd name="connsiteX32" fmla="*/ 4963074 w 5816654"/>
                <a:gd name="connsiteY32" fmla="*/ 4596953 h 6198437"/>
                <a:gd name="connsiteX33" fmla="*/ 5243123 w 5816654"/>
                <a:gd name="connsiteY33" fmla="*/ 3352779 h 6198437"/>
                <a:gd name="connsiteX34" fmla="*/ 4924307 w 5816654"/>
                <a:gd name="connsiteY34" fmla="*/ 2049487 h 6198437"/>
                <a:gd name="connsiteX35" fmla="*/ 4107054 w 5816654"/>
                <a:gd name="connsiteY35" fmla="*/ 1163055 h 6198437"/>
                <a:gd name="connsiteX36" fmla="*/ 2812788 w 5816654"/>
                <a:gd name="connsiteY36" fmla="*/ 761302 h 6198437"/>
                <a:gd name="connsiteX37" fmla="*/ 1814568 w 5816654"/>
                <a:gd name="connsiteY37" fmla="*/ 1081342 h 6198437"/>
                <a:gd name="connsiteX38" fmla="*/ 805648 w 5816654"/>
                <a:gd name="connsiteY38" fmla="*/ 2111591 h 6198437"/>
                <a:gd name="connsiteX39" fmla="*/ 541577 w 5816654"/>
                <a:gd name="connsiteY39" fmla="*/ 3288247 h 6198437"/>
                <a:gd name="connsiteX0" fmla="*/ 543881 w 5818958"/>
                <a:gd name="connsiteY0" fmla="*/ 3288247 h 6198437"/>
                <a:gd name="connsiteX1" fmla="*/ 0 w 5818958"/>
                <a:gd name="connsiteY1" fmla="*/ 3193505 h 6198437"/>
                <a:gd name="connsiteX2" fmla="*/ 185633 w 5818958"/>
                <a:gd name="connsiteY2" fmla="*/ 2374266 h 6198437"/>
                <a:gd name="connsiteX3" fmla="*/ 152902 w 5818958"/>
                <a:gd name="connsiteY3" fmla="*/ 2331944 h 6198437"/>
                <a:gd name="connsiteX4" fmla="*/ 225159 w 5818958"/>
                <a:gd name="connsiteY4" fmla="*/ 2067448 h 6198437"/>
                <a:gd name="connsiteX5" fmla="*/ 260875 w 5818958"/>
                <a:gd name="connsiteY5" fmla="*/ 2050403 h 6198437"/>
                <a:gd name="connsiteX6" fmla="*/ 1268232 w 5818958"/>
                <a:gd name="connsiteY6" fmla="*/ 647002 h 6198437"/>
                <a:gd name="connsiteX7" fmla="*/ 1481148 w 5818958"/>
                <a:gd name="connsiteY7" fmla="*/ 547251 h 6198437"/>
                <a:gd name="connsiteX8" fmla="*/ 1461087 w 5818958"/>
                <a:gd name="connsiteY8" fmla="*/ 432260 h 6198437"/>
                <a:gd name="connsiteX9" fmla="*/ 1656852 w 5818958"/>
                <a:gd name="connsiteY9" fmla="*/ 380302 h 6198437"/>
                <a:gd name="connsiteX10" fmla="*/ 1674225 w 5818958"/>
                <a:gd name="connsiteY10" fmla="*/ 481442 h 6198437"/>
                <a:gd name="connsiteX11" fmla="*/ 1801300 w 5818958"/>
                <a:gd name="connsiteY11" fmla="*/ 442651 h 6198437"/>
                <a:gd name="connsiteX12" fmla="*/ 1831779 w 5818958"/>
                <a:gd name="connsiteY12" fmla="*/ 393463 h 6198437"/>
                <a:gd name="connsiteX13" fmla="*/ 2067666 w 5818958"/>
                <a:gd name="connsiteY13" fmla="*/ 319342 h 6198437"/>
                <a:gd name="connsiteX14" fmla="*/ 2108121 w 5818958"/>
                <a:gd name="connsiteY14" fmla="*/ 352592 h 6198437"/>
                <a:gd name="connsiteX15" fmla="*/ 2304663 w 5818958"/>
                <a:gd name="connsiteY15" fmla="*/ 288171 h 6198437"/>
                <a:gd name="connsiteX16" fmla="*/ 2263875 w 5818958"/>
                <a:gd name="connsiteY16" fmla="*/ 119840 h 6198437"/>
                <a:gd name="connsiteX17" fmla="*/ 2647118 w 5818958"/>
                <a:gd name="connsiteY17" fmla="*/ 0 h 6198437"/>
                <a:gd name="connsiteX18" fmla="*/ 2695416 w 5818958"/>
                <a:gd name="connsiteY18" fmla="*/ 165560 h 6198437"/>
                <a:gd name="connsiteX19" fmla="*/ 4458967 w 5818958"/>
                <a:gd name="connsiteY19" fmla="*/ 680900 h 6198437"/>
                <a:gd name="connsiteX20" fmla="*/ 5009097 w 5818958"/>
                <a:gd name="connsiteY20" fmla="*/ 1291242 h 6198437"/>
                <a:gd name="connsiteX21" fmla="*/ 5070501 w 5818958"/>
                <a:gd name="connsiteY21" fmla="*/ 1298860 h 6198437"/>
                <a:gd name="connsiteX22" fmla="*/ 5235342 w 5818958"/>
                <a:gd name="connsiteY22" fmla="*/ 1479661 h 6198437"/>
                <a:gd name="connsiteX23" fmla="*/ 5235565 w 5818958"/>
                <a:gd name="connsiteY23" fmla="*/ 1535080 h 6198437"/>
                <a:gd name="connsiteX24" fmla="*/ 5396829 w 5818958"/>
                <a:gd name="connsiteY24" fmla="*/ 1726990 h 6198437"/>
                <a:gd name="connsiteX25" fmla="*/ 5776817 w 5818958"/>
                <a:gd name="connsiteY25" fmla="*/ 3519512 h 6198437"/>
                <a:gd name="connsiteX26" fmla="*/ 5584738 w 5818958"/>
                <a:gd name="connsiteY26" fmla="*/ 4385669 h 6198437"/>
                <a:gd name="connsiteX27" fmla="*/ 5732188 w 5818958"/>
                <a:gd name="connsiteY27" fmla="*/ 4428964 h 6198437"/>
                <a:gd name="connsiteX28" fmla="*/ 5628271 w 5818958"/>
                <a:gd name="connsiteY28" fmla="*/ 4865439 h 6198437"/>
                <a:gd name="connsiteX29" fmla="*/ 5483668 w 5818958"/>
                <a:gd name="connsiteY29" fmla="*/ 4824545 h 6198437"/>
                <a:gd name="connsiteX30" fmla="*/ 4370241 w 5818958"/>
                <a:gd name="connsiteY30" fmla="*/ 6198437 h 6198437"/>
                <a:gd name="connsiteX31" fmla="*/ 4179243 w 5818958"/>
                <a:gd name="connsiteY31" fmla="*/ 5626725 h 6198437"/>
                <a:gd name="connsiteX32" fmla="*/ 4965378 w 5818958"/>
                <a:gd name="connsiteY32" fmla="*/ 4596953 h 6198437"/>
                <a:gd name="connsiteX33" fmla="*/ 5245427 w 5818958"/>
                <a:gd name="connsiteY33" fmla="*/ 3352779 h 6198437"/>
                <a:gd name="connsiteX34" fmla="*/ 4926611 w 5818958"/>
                <a:gd name="connsiteY34" fmla="*/ 2049487 h 6198437"/>
                <a:gd name="connsiteX35" fmla="*/ 4109358 w 5818958"/>
                <a:gd name="connsiteY35" fmla="*/ 1163055 h 6198437"/>
                <a:gd name="connsiteX36" fmla="*/ 2815092 w 5818958"/>
                <a:gd name="connsiteY36" fmla="*/ 761302 h 6198437"/>
                <a:gd name="connsiteX37" fmla="*/ 1816872 w 5818958"/>
                <a:gd name="connsiteY37" fmla="*/ 1081342 h 6198437"/>
                <a:gd name="connsiteX38" fmla="*/ 807952 w 5818958"/>
                <a:gd name="connsiteY38" fmla="*/ 2111591 h 6198437"/>
                <a:gd name="connsiteX39" fmla="*/ 543881 w 5818958"/>
                <a:gd name="connsiteY39" fmla="*/ 3288247 h 6198437"/>
                <a:gd name="connsiteX0" fmla="*/ 807952 w 5818958"/>
                <a:gd name="connsiteY0" fmla="*/ 2111591 h 6198437"/>
                <a:gd name="connsiteX1" fmla="*/ 0 w 5818958"/>
                <a:gd name="connsiteY1" fmla="*/ 3193505 h 6198437"/>
                <a:gd name="connsiteX2" fmla="*/ 185633 w 5818958"/>
                <a:gd name="connsiteY2" fmla="*/ 2374266 h 6198437"/>
                <a:gd name="connsiteX3" fmla="*/ 152902 w 5818958"/>
                <a:gd name="connsiteY3" fmla="*/ 2331944 h 6198437"/>
                <a:gd name="connsiteX4" fmla="*/ 225159 w 5818958"/>
                <a:gd name="connsiteY4" fmla="*/ 2067448 h 6198437"/>
                <a:gd name="connsiteX5" fmla="*/ 260875 w 5818958"/>
                <a:gd name="connsiteY5" fmla="*/ 2050403 h 6198437"/>
                <a:gd name="connsiteX6" fmla="*/ 1268232 w 5818958"/>
                <a:gd name="connsiteY6" fmla="*/ 647002 h 6198437"/>
                <a:gd name="connsiteX7" fmla="*/ 1481148 w 5818958"/>
                <a:gd name="connsiteY7" fmla="*/ 547251 h 6198437"/>
                <a:gd name="connsiteX8" fmla="*/ 1461087 w 5818958"/>
                <a:gd name="connsiteY8" fmla="*/ 432260 h 6198437"/>
                <a:gd name="connsiteX9" fmla="*/ 1656852 w 5818958"/>
                <a:gd name="connsiteY9" fmla="*/ 380302 h 6198437"/>
                <a:gd name="connsiteX10" fmla="*/ 1674225 w 5818958"/>
                <a:gd name="connsiteY10" fmla="*/ 481442 h 6198437"/>
                <a:gd name="connsiteX11" fmla="*/ 1801300 w 5818958"/>
                <a:gd name="connsiteY11" fmla="*/ 442651 h 6198437"/>
                <a:gd name="connsiteX12" fmla="*/ 1831779 w 5818958"/>
                <a:gd name="connsiteY12" fmla="*/ 393463 h 6198437"/>
                <a:gd name="connsiteX13" fmla="*/ 2067666 w 5818958"/>
                <a:gd name="connsiteY13" fmla="*/ 319342 h 6198437"/>
                <a:gd name="connsiteX14" fmla="*/ 2108121 w 5818958"/>
                <a:gd name="connsiteY14" fmla="*/ 352592 h 6198437"/>
                <a:gd name="connsiteX15" fmla="*/ 2304663 w 5818958"/>
                <a:gd name="connsiteY15" fmla="*/ 288171 h 6198437"/>
                <a:gd name="connsiteX16" fmla="*/ 2263875 w 5818958"/>
                <a:gd name="connsiteY16" fmla="*/ 119840 h 6198437"/>
                <a:gd name="connsiteX17" fmla="*/ 2647118 w 5818958"/>
                <a:gd name="connsiteY17" fmla="*/ 0 h 6198437"/>
                <a:gd name="connsiteX18" fmla="*/ 2695416 w 5818958"/>
                <a:gd name="connsiteY18" fmla="*/ 165560 h 6198437"/>
                <a:gd name="connsiteX19" fmla="*/ 4458967 w 5818958"/>
                <a:gd name="connsiteY19" fmla="*/ 680900 h 6198437"/>
                <a:gd name="connsiteX20" fmla="*/ 5009097 w 5818958"/>
                <a:gd name="connsiteY20" fmla="*/ 1291242 h 6198437"/>
                <a:gd name="connsiteX21" fmla="*/ 5070501 w 5818958"/>
                <a:gd name="connsiteY21" fmla="*/ 1298860 h 6198437"/>
                <a:gd name="connsiteX22" fmla="*/ 5235342 w 5818958"/>
                <a:gd name="connsiteY22" fmla="*/ 1479661 h 6198437"/>
                <a:gd name="connsiteX23" fmla="*/ 5235565 w 5818958"/>
                <a:gd name="connsiteY23" fmla="*/ 1535080 h 6198437"/>
                <a:gd name="connsiteX24" fmla="*/ 5396829 w 5818958"/>
                <a:gd name="connsiteY24" fmla="*/ 1726990 h 6198437"/>
                <a:gd name="connsiteX25" fmla="*/ 5776817 w 5818958"/>
                <a:gd name="connsiteY25" fmla="*/ 3519512 h 6198437"/>
                <a:gd name="connsiteX26" fmla="*/ 5584738 w 5818958"/>
                <a:gd name="connsiteY26" fmla="*/ 4385669 h 6198437"/>
                <a:gd name="connsiteX27" fmla="*/ 5732188 w 5818958"/>
                <a:gd name="connsiteY27" fmla="*/ 4428964 h 6198437"/>
                <a:gd name="connsiteX28" fmla="*/ 5628271 w 5818958"/>
                <a:gd name="connsiteY28" fmla="*/ 4865439 h 6198437"/>
                <a:gd name="connsiteX29" fmla="*/ 5483668 w 5818958"/>
                <a:gd name="connsiteY29" fmla="*/ 4824545 h 6198437"/>
                <a:gd name="connsiteX30" fmla="*/ 4370241 w 5818958"/>
                <a:gd name="connsiteY30" fmla="*/ 6198437 h 6198437"/>
                <a:gd name="connsiteX31" fmla="*/ 4179243 w 5818958"/>
                <a:gd name="connsiteY31" fmla="*/ 5626725 h 6198437"/>
                <a:gd name="connsiteX32" fmla="*/ 4965378 w 5818958"/>
                <a:gd name="connsiteY32" fmla="*/ 4596953 h 6198437"/>
                <a:gd name="connsiteX33" fmla="*/ 5245427 w 5818958"/>
                <a:gd name="connsiteY33" fmla="*/ 3352779 h 6198437"/>
                <a:gd name="connsiteX34" fmla="*/ 4926611 w 5818958"/>
                <a:gd name="connsiteY34" fmla="*/ 2049487 h 6198437"/>
                <a:gd name="connsiteX35" fmla="*/ 4109358 w 5818958"/>
                <a:gd name="connsiteY35" fmla="*/ 1163055 h 6198437"/>
                <a:gd name="connsiteX36" fmla="*/ 2815092 w 5818958"/>
                <a:gd name="connsiteY36" fmla="*/ 761302 h 6198437"/>
                <a:gd name="connsiteX37" fmla="*/ 1816872 w 5818958"/>
                <a:gd name="connsiteY37" fmla="*/ 1081342 h 6198437"/>
                <a:gd name="connsiteX38" fmla="*/ 807952 w 5818958"/>
                <a:gd name="connsiteY38" fmla="*/ 2111591 h 6198437"/>
                <a:gd name="connsiteX0" fmla="*/ 655050 w 5666056"/>
                <a:gd name="connsiteY0" fmla="*/ 2111591 h 6198437"/>
                <a:gd name="connsiteX1" fmla="*/ 32731 w 5666056"/>
                <a:gd name="connsiteY1" fmla="*/ 2374266 h 6198437"/>
                <a:gd name="connsiteX2" fmla="*/ 0 w 5666056"/>
                <a:gd name="connsiteY2" fmla="*/ 2331944 h 6198437"/>
                <a:gd name="connsiteX3" fmla="*/ 72257 w 5666056"/>
                <a:gd name="connsiteY3" fmla="*/ 2067448 h 6198437"/>
                <a:gd name="connsiteX4" fmla="*/ 107973 w 5666056"/>
                <a:gd name="connsiteY4" fmla="*/ 2050403 h 6198437"/>
                <a:gd name="connsiteX5" fmla="*/ 1115330 w 5666056"/>
                <a:gd name="connsiteY5" fmla="*/ 647002 h 6198437"/>
                <a:gd name="connsiteX6" fmla="*/ 1328246 w 5666056"/>
                <a:gd name="connsiteY6" fmla="*/ 547251 h 6198437"/>
                <a:gd name="connsiteX7" fmla="*/ 1308185 w 5666056"/>
                <a:gd name="connsiteY7" fmla="*/ 432260 h 6198437"/>
                <a:gd name="connsiteX8" fmla="*/ 1503950 w 5666056"/>
                <a:gd name="connsiteY8" fmla="*/ 380302 h 6198437"/>
                <a:gd name="connsiteX9" fmla="*/ 1521323 w 5666056"/>
                <a:gd name="connsiteY9" fmla="*/ 481442 h 6198437"/>
                <a:gd name="connsiteX10" fmla="*/ 1648398 w 5666056"/>
                <a:gd name="connsiteY10" fmla="*/ 442651 h 6198437"/>
                <a:gd name="connsiteX11" fmla="*/ 1678877 w 5666056"/>
                <a:gd name="connsiteY11" fmla="*/ 393463 h 6198437"/>
                <a:gd name="connsiteX12" fmla="*/ 1914764 w 5666056"/>
                <a:gd name="connsiteY12" fmla="*/ 319342 h 6198437"/>
                <a:gd name="connsiteX13" fmla="*/ 1955219 w 5666056"/>
                <a:gd name="connsiteY13" fmla="*/ 352592 h 6198437"/>
                <a:gd name="connsiteX14" fmla="*/ 2151761 w 5666056"/>
                <a:gd name="connsiteY14" fmla="*/ 288171 h 6198437"/>
                <a:gd name="connsiteX15" fmla="*/ 2110973 w 5666056"/>
                <a:gd name="connsiteY15" fmla="*/ 119840 h 6198437"/>
                <a:gd name="connsiteX16" fmla="*/ 2494216 w 5666056"/>
                <a:gd name="connsiteY16" fmla="*/ 0 h 6198437"/>
                <a:gd name="connsiteX17" fmla="*/ 2542514 w 5666056"/>
                <a:gd name="connsiteY17" fmla="*/ 165560 h 6198437"/>
                <a:gd name="connsiteX18" fmla="*/ 4306065 w 5666056"/>
                <a:gd name="connsiteY18" fmla="*/ 680900 h 6198437"/>
                <a:gd name="connsiteX19" fmla="*/ 4856195 w 5666056"/>
                <a:gd name="connsiteY19" fmla="*/ 1291242 h 6198437"/>
                <a:gd name="connsiteX20" fmla="*/ 4917599 w 5666056"/>
                <a:gd name="connsiteY20" fmla="*/ 1298860 h 6198437"/>
                <a:gd name="connsiteX21" fmla="*/ 5082440 w 5666056"/>
                <a:gd name="connsiteY21" fmla="*/ 1479661 h 6198437"/>
                <a:gd name="connsiteX22" fmla="*/ 5082663 w 5666056"/>
                <a:gd name="connsiteY22" fmla="*/ 1535080 h 6198437"/>
                <a:gd name="connsiteX23" fmla="*/ 5243927 w 5666056"/>
                <a:gd name="connsiteY23" fmla="*/ 1726990 h 6198437"/>
                <a:gd name="connsiteX24" fmla="*/ 5623915 w 5666056"/>
                <a:gd name="connsiteY24" fmla="*/ 3519512 h 6198437"/>
                <a:gd name="connsiteX25" fmla="*/ 5431836 w 5666056"/>
                <a:gd name="connsiteY25" fmla="*/ 4385669 h 6198437"/>
                <a:gd name="connsiteX26" fmla="*/ 5579286 w 5666056"/>
                <a:gd name="connsiteY26" fmla="*/ 4428964 h 6198437"/>
                <a:gd name="connsiteX27" fmla="*/ 5475369 w 5666056"/>
                <a:gd name="connsiteY27" fmla="*/ 4865439 h 6198437"/>
                <a:gd name="connsiteX28" fmla="*/ 5330766 w 5666056"/>
                <a:gd name="connsiteY28" fmla="*/ 4824545 h 6198437"/>
                <a:gd name="connsiteX29" fmla="*/ 4217339 w 5666056"/>
                <a:gd name="connsiteY29" fmla="*/ 6198437 h 6198437"/>
                <a:gd name="connsiteX30" fmla="*/ 4026341 w 5666056"/>
                <a:gd name="connsiteY30" fmla="*/ 5626725 h 6198437"/>
                <a:gd name="connsiteX31" fmla="*/ 4812476 w 5666056"/>
                <a:gd name="connsiteY31" fmla="*/ 4596953 h 6198437"/>
                <a:gd name="connsiteX32" fmla="*/ 5092525 w 5666056"/>
                <a:gd name="connsiteY32" fmla="*/ 3352779 h 6198437"/>
                <a:gd name="connsiteX33" fmla="*/ 4773709 w 5666056"/>
                <a:gd name="connsiteY33" fmla="*/ 2049487 h 6198437"/>
                <a:gd name="connsiteX34" fmla="*/ 3956456 w 5666056"/>
                <a:gd name="connsiteY34" fmla="*/ 1163055 h 6198437"/>
                <a:gd name="connsiteX35" fmla="*/ 2662190 w 5666056"/>
                <a:gd name="connsiteY35" fmla="*/ 761302 h 6198437"/>
                <a:gd name="connsiteX36" fmla="*/ 1663970 w 5666056"/>
                <a:gd name="connsiteY36" fmla="*/ 1081342 h 6198437"/>
                <a:gd name="connsiteX37" fmla="*/ 655050 w 5666056"/>
                <a:gd name="connsiteY37" fmla="*/ 2111591 h 6198437"/>
                <a:gd name="connsiteX0" fmla="*/ 655050 w 5666056"/>
                <a:gd name="connsiteY0" fmla="*/ 2111591 h 6198437"/>
                <a:gd name="connsiteX1" fmla="*/ 0 w 5666056"/>
                <a:gd name="connsiteY1" fmla="*/ 2331944 h 6198437"/>
                <a:gd name="connsiteX2" fmla="*/ 72257 w 5666056"/>
                <a:gd name="connsiteY2" fmla="*/ 2067448 h 6198437"/>
                <a:gd name="connsiteX3" fmla="*/ 107973 w 5666056"/>
                <a:gd name="connsiteY3" fmla="*/ 2050403 h 6198437"/>
                <a:gd name="connsiteX4" fmla="*/ 1115330 w 5666056"/>
                <a:gd name="connsiteY4" fmla="*/ 647002 h 6198437"/>
                <a:gd name="connsiteX5" fmla="*/ 1328246 w 5666056"/>
                <a:gd name="connsiteY5" fmla="*/ 547251 h 6198437"/>
                <a:gd name="connsiteX6" fmla="*/ 1308185 w 5666056"/>
                <a:gd name="connsiteY6" fmla="*/ 432260 h 6198437"/>
                <a:gd name="connsiteX7" fmla="*/ 1503950 w 5666056"/>
                <a:gd name="connsiteY7" fmla="*/ 380302 h 6198437"/>
                <a:gd name="connsiteX8" fmla="*/ 1521323 w 5666056"/>
                <a:gd name="connsiteY8" fmla="*/ 481442 h 6198437"/>
                <a:gd name="connsiteX9" fmla="*/ 1648398 w 5666056"/>
                <a:gd name="connsiteY9" fmla="*/ 442651 h 6198437"/>
                <a:gd name="connsiteX10" fmla="*/ 1678877 w 5666056"/>
                <a:gd name="connsiteY10" fmla="*/ 393463 h 6198437"/>
                <a:gd name="connsiteX11" fmla="*/ 1914764 w 5666056"/>
                <a:gd name="connsiteY11" fmla="*/ 319342 h 6198437"/>
                <a:gd name="connsiteX12" fmla="*/ 1955219 w 5666056"/>
                <a:gd name="connsiteY12" fmla="*/ 352592 h 6198437"/>
                <a:gd name="connsiteX13" fmla="*/ 2151761 w 5666056"/>
                <a:gd name="connsiteY13" fmla="*/ 288171 h 6198437"/>
                <a:gd name="connsiteX14" fmla="*/ 2110973 w 5666056"/>
                <a:gd name="connsiteY14" fmla="*/ 119840 h 6198437"/>
                <a:gd name="connsiteX15" fmla="*/ 2494216 w 5666056"/>
                <a:gd name="connsiteY15" fmla="*/ 0 h 6198437"/>
                <a:gd name="connsiteX16" fmla="*/ 2542514 w 5666056"/>
                <a:gd name="connsiteY16" fmla="*/ 165560 h 6198437"/>
                <a:gd name="connsiteX17" fmla="*/ 4306065 w 5666056"/>
                <a:gd name="connsiteY17" fmla="*/ 680900 h 6198437"/>
                <a:gd name="connsiteX18" fmla="*/ 4856195 w 5666056"/>
                <a:gd name="connsiteY18" fmla="*/ 1291242 h 6198437"/>
                <a:gd name="connsiteX19" fmla="*/ 4917599 w 5666056"/>
                <a:gd name="connsiteY19" fmla="*/ 1298860 h 6198437"/>
                <a:gd name="connsiteX20" fmla="*/ 5082440 w 5666056"/>
                <a:gd name="connsiteY20" fmla="*/ 1479661 h 6198437"/>
                <a:gd name="connsiteX21" fmla="*/ 5082663 w 5666056"/>
                <a:gd name="connsiteY21" fmla="*/ 1535080 h 6198437"/>
                <a:gd name="connsiteX22" fmla="*/ 5243927 w 5666056"/>
                <a:gd name="connsiteY22" fmla="*/ 1726990 h 6198437"/>
                <a:gd name="connsiteX23" fmla="*/ 5623915 w 5666056"/>
                <a:gd name="connsiteY23" fmla="*/ 3519512 h 6198437"/>
                <a:gd name="connsiteX24" fmla="*/ 5431836 w 5666056"/>
                <a:gd name="connsiteY24" fmla="*/ 4385669 h 6198437"/>
                <a:gd name="connsiteX25" fmla="*/ 5579286 w 5666056"/>
                <a:gd name="connsiteY25" fmla="*/ 4428964 h 6198437"/>
                <a:gd name="connsiteX26" fmla="*/ 5475369 w 5666056"/>
                <a:gd name="connsiteY26" fmla="*/ 4865439 h 6198437"/>
                <a:gd name="connsiteX27" fmla="*/ 5330766 w 5666056"/>
                <a:gd name="connsiteY27" fmla="*/ 4824545 h 6198437"/>
                <a:gd name="connsiteX28" fmla="*/ 4217339 w 5666056"/>
                <a:gd name="connsiteY28" fmla="*/ 6198437 h 6198437"/>
                <a:gd name="connsiteX29" fmla="*/ 4026341 w 5666056"/>
                <a:gd name="connsiteY29" fmla="*/ 5626725 h 6198437"/>
                <a:gd name="connsiteX30" fmla="*/ 4812476 w 5666056"/>
                <a:gd name="connsiteY30" fmla="*/ 4596953 h 6198437"/>
                <a:gd name="connsiteX31" fmla="*/ 5092525 w 5666056"/>
                <a:gd name="connsiteY31" fmla="*/ 3352779 h 6198437"/>
                <a:gd name="connsiteX32" fmla="*/ 4773709 w 5666056"/>
                <a:gd name="connsiteY32" fmla="*/ 2049487 h 6198437"/>
                <a:gd name="connsiteX33" fmla="*/ 3956456 w 5666056"/>
                <a:gd name="connsiteY33" fmla="*/ 1163055 h 6198437"/>
                <a:gd name="connsiteX34" fmla="*/ 2662190 w 5666056"/>
                <a:gd name="connsiteY34" fmla="*/ 761302 h 6198437"/>
                <a:gd name="connsiteX35" fmla="*/ 1663970 w 5666056"/>
                <a:gd name="connsiteY35" fmla="*/ 1081342 h 6198437"/>
                <a:gd name="connsiteX36" fmla="*/ 655050 w 5666056"/>
                <a:gd name="connsiteY36" fmla="*/ 2111591 h 6198437"/>
                <a:gd name="connsiteX0" fmla="*/ 582793 w 5593799"/>
                <a:gd name="connsiteY0" fmla="*/ 2111591 h 6198437"/>
                <a:gd name="connsiteX1" fmla="*/ 0 w 5593799"/>
                <a:gd name="connsiteY1" fmla="*/ 2067448 h 6198437"/>
                <a:gd name="connsiteX2" fmla="*/ 35716 w 5593799"/>
                <a:gd name="connsiteY2" fmla="*/ 2050403 h 6198437"/>
                <a:gd name="connsiteX3" fmla="*/ 1043073 w 5593799"/>
                <a:gd name="connsiteY3" fmla="*/ 647002 h 6198437"/>
                <a:gd name="connsiteX4" fmla="*/ 1255989 w 5593799"/>
                <a:gd name="connsiteY4" fmla="*/ 547251 h 6198437"/>
                <a:gd name="connsiteX5" fmla="*/ 1235928 w 5593799"/>
                <a:gd name="connsiteY5" fmla="*/ 432260 h 6198437"/>
                <a:gd name="connsiteX6" fmla="*/ 1431693 w 5593799"/>
                <a:gd name="connsiteY6" fmla="*/ 380302 h 6198437"/>
                <a:gd name="connsiteX7" fmla="*/ 1449066 w 5593799"/>
                <a:gd name="connsiteY7" fmla="*/ 481442 h 6198437"/>
                <a:gd name="connsiteX8" fmla="*/ 1576141 w 5593799"/>
                <a:gd name="connsiteY8" fmla="*/ 442651 h 6198437"/>
                <a:gd name="connsiteX9" fmla="*/ 1606620 w 5593799"/>
                <a:gd name="connsiteY9" fmla="*/ 393463 h 6198437"/>
                <a:gd name="connsiteX10" fmla="*/ 1842507 w 5593799"/>
                <a:gd name="connsiteY10" fmla="*/ 319342 h 6198437"/>
                <a:gd name="connsiteX11" fmla="*/ 1882962 w 5593799"/>
                <a:gd name="connsiteY11" fmla="*/ 352592 h 6198437"/>
                <a:gd name="connsiteX12" fmla="*/ 2079504 w 5593799"/>
                <a:gd name="connsiteY12" fmla="*/ 288171 h 6198437"/>
                <a:gd name="connsiteX13" fmla="*/ 2038716 w 5593799"/>
                <a:gd name="connsiteY13" fmla="*/ 119840 h 6198437"/>
                <a:gd name="connsiteX14" fmla="*/ 2421959 w 5593799"/>
                <a:gd name="connsiteY14" fmla="*/ 0 h 6198437"/>
                <a:gd name="connsiteX15" fmla="*/ 2470257 w 5593799"/>
                <a:gd name="connsiteY15" fmla="*/ 165560 h 6198437"/>
                <a:gd name="connsiteX16" fmla="*/ 4233808 w 5593799"/>
                <a:gd name="connsiteY16" fmla="*/ 680900 h 6198437"/>
                <a:gd name="connsiteX17" fmla="*/ 4783938 w 5593799"/>
                <a:gd name="connsiteY17" fmla="*/ 1291242 h 6198437"/>
                <a:gd name="connsiteX18" fmla="*/ 4845342 w 5593799"/>
                <a:gd name="connsiteY18" fmla="*/ 1298860 h 6198437"/>
                <a:gd name="connsiteX19" fmla="*/ 5010183 w 5593799"/>
                <a:gd name="connsiteY19" fmla="*/ 1479661 h 6198437"/>
                <a:gd name="connsiteX20" fmla="*/ 5010406 w 5593799"/>
                <a:gd name="connsiteY20" fmla="*/ 1535080 h 6198437"/>
                <a:gd name="connsiteX21" fmla="*/ 5171670 w 5593799"/>
                <a:gd name="connsiteY21" fmla="*/ 1726990 h 6198437"/>
                <a:gd name="connsiteX22" fmla="*/ 5551658 w 5593799"/>
                <a:gd name="connsiteY22" fmla="*/ 3519512 h 6198437"/>
                <a:gd name="connsiteX23" fmla="*/ 5359579 w 5593799"/>
                <a:gd name="connsiteY23" fmla="*/ 4385669 h 6198437"/>
                <a:gd name="connsiteX24" fmla="*/ 5507029 w 5593799"/>
                <a:gd name="connsiteY24" fmla="*/ 4428964 h 6198437"/>
                <a:gd name="connsiteX25" fmla="*/ 5403112 w 5593799"/>
                <a:gd name="connsiteY25" fmla="*/ 4865439 h 6198437"/>
                <a:gd name="connsiteX26" fmla="*/ 5258509 w 5593799"/>
                <a:gd name="connsiteY26" fmla="*/ 4824545 h 6198437"/>
                <a:gd name="connsiteX27" fmla="*/ 4145082 w 5593799"/>
                <a:gd name="connsiteY27" fmla="*/ 6198437 h 6198437"/>
                <a:gd name="connsiteX28" fmla="*/ 3954084 w 5593799"/>
                <a:gd name="connsiteY28" fmla="*/ 5626725 h 6198437"/>
                <a:gd name="connsiteX29" fmla="*/ 4740219 w 5593799"/>
                <a:gd name="connsiteY29" fmla="*/ 4596953 h 6198437"/>
                <a:gd name="connsiteX30" fmla="*/ 5020268 w 5593799"/>
                <a:gd name="connsiteY30" fmla="*/ 3352779 h 6198437"/>
                <a:gd name="connsiteX31" fmla="*/ 4701452 w 5593799"/>
                <a:gd name="connsiteY31" fmla="*/ 2049487 h 6198437"/>
                <a:gd name="connsiteX32" fmla="*/ 3884199 w 5593799"/>
                <a:gd name="connsiteY32" fmla="*/ 1163055 h 6198437"/>
                <a:gd name="connsiteX33" fmla="*/ 2589933 w 5593799"/>
                <a:gd name="connsiteY33" fmla="*/ 761302 h 6198437"/>
                <a:gd name="connsiteX34" fmla="*/ 1591713 w 5593799"/>
                <a:gd name="connsiteY34" fmla="*/ 1081342 h 6198437"/>
                <a:gd name="connsiteX35" fmla="*/ 582793 w 5593799"/>
                <a:gd name="connsiteY35" fmla="*/ 2111591 h 6198437"/>
                <a:gd name="connsiteX0" fmla="*/ 582793 w 5593799"/>
                <a:gd name="connsiteY0" fmla="*/ 2111591 h 6198437"/>
                <a:gd name="connsiteX1" fmla="*/ 0 w 5593799"/>
                <a:gd name="connsiteY1" fmla="*/ 2067448 h 6198437"/>
                <a:gd name="connsiteX2" fmla="*/ 1043073 w 5593799"/>
                <a:gd name="connsiteY2" fmla="*/ 647002 h 6198437"/>
                <a:gd name="connsiteX3" fmla="*/ 1255989 w 5593799"/>
                <a:gd name="connsiteY3" fmla="*/ 547251 h 6198437"/>
                <a:gd name="connsiteX4" fmla="*/ 1235928 w 5593799"/>
                <a:gd name="connsiteY4" fmla="*/ 432260 h 6198437"/>
                <a:gd name="connsiteX5" fmla="*/ 1431693 w 5593799"/>
                <a:gd name="connsiteY5" fmla="*/ 380302 h 6198437"/>
                <a:gd name="connsiteX6" fmla="*/ 1449066 w 5593799"/>
                <a:gd name="connsiteY6" fmla="*/ 481442 h 6198437"/>
                <a:gd name="connsiteX7" fmla="*/ 1576141 w 5593799"/>
                <a:gd name="connsiteY7" fmla="*/ 442651 h 6198437"/>
                <a:gd name="connsiteX8" fmla="*/ 1606620 w 5593799"/>
                <a:gd name="connsiteY8" fmla="*/ 393463 h 6198437"/>
                <a:gd name="connsiteX9" fmla="*/ 1842507 w 5593799"/>
                <a:gd name="connsiteY9" fmla="*/ 319342 h 6198437"/>
                <a:gd name="connsiteX10" fmla="*/ 1882962 w 5593799"/>
                <a:gd name="connsiteY10" fmla="*/ 352592 h 6198437"/>
                <a:gd name="connsiteX11" fmla="*/ 2079504 w 5593799"/>
                <a:gd name="connsiteY11" fmla="*/ 288171 h 6198437"/>
                <a:gd name="connsiteX12" fmla="*/ 2038716 w 5593799"/>
                <a:gd name="connsiteY12" fmla="*/ 119840 h 6198437"/>
                <a:gd name="connsiteX13" fmla="*/ 2421959 w 5593799"/>
                <a:gd name="connsiteY13" fmla="*/ 0 h 6198437"/>
                <a:gd name="connsiteX14" fmla="*/ 2470257 w 5593799"/>
                <a:gd name="connsiteY14" fmla="*/ 165560 h 6198437"/>
                <a:gd name="connsiteX15" fmla="*/ 4233808 w 5593799"/>
                <a:gd name="connsiteY15" fmla="*/ 680900 h 6198437"/>
                <a:gd name="connsiteX16" fmla="*/ 4783938 w 5593799"/>
                <a:gd name="connsiteY16" fmla="*/ 1291242 h 6198437"/>
                <a:gd name="connsiteX17" fmla="*/ 4845342 w 5593799"/>
                <a:gd name="connsiteY17" fmla="*/ 1298860 h 6198437"/>
                <a:gd name="connsiteX18" fmla="*/ 5010183 w 5593799"/>
                <a:gd name="connsiteY18" fmla="*/ 1479661 h 6198437"/>
                <a:gd name="connsiteX19" fmla="*/ 5010406 w 5593799"/>
                <a:gd name="connsiteY19" fmla="*/ 1535080 h 6198437"/>
                <a:gd name="connsiteX20" fmla="*/ 5171670 w 5593799"/>
                <a:gd name="connsiteY20" fmla="*/ 1726990 h 6198437"/>
                <a:gd name="connsiteX21" fmla="*/ 5551658 w 5593799"/>
                <a:gd name="connsiteY21" fmla="*/ 3519512 h 6198437"/>
                <a:gd name="connsiteX22" fmla="*/ 5359579 w 5593799"/>
                <a:gd name="connsiteY22" fmla="*/ 4385669 h 6198437"/>
                <a:gd name="connsiteX23" fmla="*/ 5507029 w 5593799"/>
                <a:gd name="connsiteY23" fmla="*/ 4428964 h 6198437"/>
                <a:gd name="connsiteX24" fmla="*/ 5403112 w 5593799"/>
                <a:gd name="connsiteY24" fmla="*/ 4865439 h 6198437"/>
                <a:gd name="connsiteX25" fmla="*/ 5258509 w 5593799"/>
                <a:gd name="connsiteY25" fmla="*/ 4824545 h 6198437"/>
                <a:gd name="connsiteX26" fmla="*/ 4145082 w 5593799"/>
                <a:gd name="connsiteY26" fmla="*/ 6198437 h 6198437"/>
                <a:gd name="connsiteX27" fmla="*/ 3954084 w 5593799"/>
                <a:gd name="connsiteY27" fmla="*/ 5626725 h 6198437"/>
                <a:gd name="connsiteX28" fmla="*/ 4740219 w 5593799"/>
                <a:gd name="connsiteY28" fmla="*/ 4596953 h 6198437"/>
                <a:gd name="connsiteX29" fmla="*/ 5020268 w 5593799"/>
                <a:gd name="connsiteY29" fmla="*/ 3352779 h 6198437"/>
                <a:gd name="connsiteX30" fmla="*/ 4701452 w 5593799"/>
                <a:gd name="connsiteY30" fmla="*/ 2049487 h 6198437"/>
                <a:gd name="connsiteX31" fmla="*/ 3884199 w 5593799"/>
                <a:gd name="connsiteY31" fmla="*/ 1163055 h 6198437"/>
                <a:gd name="connsiteX32" fmla="*/ 2589933 w 5593799"/>
                <a:gd name="connsiteY32" fmla="*/ 761302 h 6198437"/>
                <a:gd name="connsiteX33" fmla="*/ 1591713 w 5593799"/>
                <a:gd name="connsiteY33" fmla="*/ 1081342 h 6198437"/>
                <a:gd name="connsiteX34" fmla="*/ 582793 w 5593799"/>
                <a:gd name="connsiteY34" fmla="*/ 2111591 h 6198437"/>
                <a:gd name="connsiteX0" fmla="*/ 0 w 5011006"/>
                <a:gd name="connsiteY0" fmla="*/ 2111591 h 6198437"/>
                <a:gd name="connsiteX1" fmla="*/ 460280 w 5011006"/>
                <a:gd name="connsiteY1" fmla="*/ 647002 h 6198437"/>
                <a:gd name="connsiteX2" fmla="*/ 673196 w 5011006"/>
                <a:gd name="connsiteY2" fmla="*/ 547251 h 6198437"/>
                <a:gd name="connsiteX3" fmla="*/ 653135 w 5011006"/>
                <a:gd name="connsiteY3" fmla="*/ 432260 h 6198437"/>
                <a:gd name="connsiteX4" fmla="*/ 848900 w 5011006"/>
                <a:gd name="connsiteY4" fmla="*/ 380302 h 6198437"/>
                <a:gd name="connsiteX5" fmla="*/ 866273 w 5011006"/>
                <a:gd name="connsiteY5" fmla="*/ 481442 h 6198437"/>
                <a:gd name="connsiteX6" fmla="*/ 993348 w 5011006"/>
                <a:gd name="connsiteY6" fmla="*/ 442651 h 6198437"/>
                <a:gd name="connsiteX7" fmla="*/ 1023827 w 5011006"/>
                <a:gd name="connsiteY7" fmla="*/ 393463 h 6198437"/>
                <a:gd name="connsiteX8" fmla="*/ 1259714 w 5011006"/>
                <a:gd name="connsiteY8" fmla="*/ 319342 h 6198437"/>
                <a:gd name="connsiteX9" fmla="*/ 1300169 w 5011006"/>
                <a:gd name="connsiteY9" fmla="*/ 352592 h 6198437"/>
                <a:gd name="connsiteX10" fmla="*/ 1496711 w 5011006"/>
                <a:gd name="connsiteY10" fmla="*/ 288171 h 6198437"/>
                <a:gd name="connsiteX11" fmla="*/ 1455923 w 5011006"/>
                <a:gd name="connsiteY11" fmla="*/ 119840 h 6198437"/>
                <a:gd name="connsiteX12" fmla="*/ 1839166 w 5011006"/>
                <a:gd name="connsiteY12" fmla="*/ 0 h 6198437"/>
                <a:gd name="connsiteX13" fmla="*/ 1887464 w 5011006"/>
                <a:gd name="connsiteY13" fmla="*/ 165560 h 6198437"/>
                <a:gd name="connsiteX14" fmla="*/ 3651015 w 5011006"/>
                <a:gd name="connsiteY14" fmla="*/ 680900 h 6198437"/>
                <a:gd name="connsiteX15" fmla="*/ 4201145 w 5011006"/>
                <a:gd name="connsiteY15" fmla="*/ 1291242 h 6198437"/>
                <a:gd name="connsiteX16" fmla="*/ 4262549 w 5011006"/>
                <a:gd name="connsiteY16" fmla="*/ 1298860 h 6198437"/>
                <a:gd name="connsiteX17" fmla="*/ 4427390 w 5011006"/>
                <a:gd name="connsiteY17" fmla="*/ 1479661 h 6198437"/>
                <a:gd name="connsiteX18" fmla="*/ 4427613 w 5011006"/>
                <a:gd name="connsiteY18" fmla="*/ 1535080 h 6198437"/>
                <a:gd name="connsiteX19" fmla="*/ 4588877 w 5011006"/>
                <a:gd name="connsiteY19" fmla="*/ 1726990 h 6198437"/>
                <a:gd name="connsiteX20" fmla="*/ 4968865 w 5011006"/>
                <a:gd name="connsiteY20" fmla="*/ 3519512 h 6198437"/>
                <a:gd name="connsiteX21" fmla="*/ 4776786 w 5011006"/>
                <a:gd name="connsiteY21" fmla="*/ 4385669 h 6198437"/>
                <a:gd name="connsiteX22" fmla="*/ 4924236 w 5011006"/>
                <a:gd name="connsiteY22" fmla="*/ 4428964 h 6198437"/>
                <a:gd name="connsiteX23" fmla="*/ 4820319 w 5011006"/>
                <a:gd name="connsiteY23" fmla="*/ 4865439 h 6198437"/>
                <a:gd name="connsiteX24" fmla="*/ 4675716 w 5011006"/>
                <a:gd name="connsiteY24" fmla="*/ 4824545 h 6198437"/>
                <a:gd name="connsiteX25" fmla="*/ 3562289 w 5011006"/>
                <a:gd name="connsiteY25" fmla="*/ 6198437 h 6198437"/>
                <a:gd name="connsiteX26" fmla="*/ 3371291 w 5011006"/>
                <a:gd name="connsiteY26" fmla="*/ 5626725 h 6198437"/>
                <a:gd name="connsiteX27" fmla="*/ 4157426 w 5011006"/>
                <a:gd name="connsiteY27" fmla="*/ 4596953 h 6198437"/>
                <a:gd name="connsiteX28" fmla="*/ 4437475 w 5011006"/>
                <a:gd name="connsiteY28" fmla="*/ 3352779 h 6198437"/>
                <a:gd name="connsiteX29" fmla="*/ 4118659 w 5011006"/>
                <a:gd name="connsiteY29" fmla="*/ 2049487 h 6198437"/>
                <a:gd name="connsiteX30" fmla="*/ 3301406 w 5011006"/>
                <a:gd name="connsiteY30" fmla="*/ 1163055 h 6198437"/>
                <a:gd name="connsiteX31" fmla="*/ 2007140 w 5011006"/>
                <a:gd name="connsiteY31" fmla="*/ 761302 h 6198437"/>
                <a:gd name="connsiteX32" fmla="*/ 1008920 w 5011006"/>
                <a:gd name="connsiteY32" fmla="*/ 1081342 h 6198437"/>
                <a:gd name="connsiteX33" fmla="*/ 0 w 5011006"/>
                <a:gd name="connsiteY33" fmla="*/ 2111591 h 6198437"/>
                <a:gd name="connsiteX0" fmla="*/ 548640 w 4550726"/>
                <a:gd name="connsiteY0" fmla="*/ 1081342 h 6198437"/>
                <a:gd name="connsiteX1" fmla="*/ 0 w 4550726"/>
                <a:gd name="connsiteY1" fmla="*/ 647002 h 6198437"/>
                <a:gd name="connsiteX2" fmla="*/ 212916 w 4550726"/>
                <a:gd name="connsiteY2" fmla="*/ 547251 h 6198437"/>
                <a:gd name="connsiteX3" fmla="*/ 192855 w 4550726"/>
                <a:gd name="connsiteY3" fmla="*/ 432260 h 6198437"/>
                <a:gd name="connsiteX4" fmla="*/ 388620 w 4550726"/>
                <a:gd name="connsiteY4" fmla="*/ 380302 h 6198437"/>
                <a:gd name="connsiteX5" fmla="*/ 405993 w 4550726"/>
                <a:gd name="connsiteY5" fmla="*/ 481442 h 6198437"/>
                <a:gd name="connsiteX6" fmla="*/ 533068 w 4550726"/>
                <a:gd name="connsiteY6" fmla="*/ 442651 h 6198437"/>
                <a:gd name="connsiteX7" fmla="*/ 563547 w 4550726"/>
                <a:gd name="connsiteY7" fmla="*/ 393463 h 6198437"/>
                <a:gd name="connsiteX8" fmla="*/ 799434 w 4550726"/>
                <a:gd name="connsiteY8" fmla="*/ 319342 h 6198437"/>
                <a:gd name="connsiteX9" fmla="*/ 839889 w 4550726"/>
                <a:gd name="connsiteY9" fmla="*/ 352592 h 6198437"/>
                <a:gd name="connsiteX10" fmla="*/ 1036431 w 4550726"/>
                <a:gd name="connsiteY10" fmla="*/ 288171 h 6198437"/>
                <a:gd name="connsiteX11" fmla="*/ 995643 w 4550726"/>
                <a:gd name="connsiteY11" fmla="*/ 119840 h 6198437"/>
                <a:gd name="connsiteX12" fmla="*/ 1378886 w 4550726"/>
                <a:gd name="connsiteY12" fmla="*/ 0 h 6198437"/>
                <a:gd name="connsiteX13" fmla="*/ 1427184 w 4550726"/>
                <a:gd name="connsiteY13" fmla="*/ 165560 h 6198437"/>
                <a:gd name="connsiteX14" fmla="*/ 3190735 w 4550726"/>
                <a:gd name="connsiteY14" fmla="*/ 680900 h 6198437"/>
                <a:gd name="connsiteX15" fmla="*/ 3740865 w 4550726"/>
                <a:gd name="connsiteY15" fmla="*/ 1291242 h 6198437"/>
                <a:gd name="connsiteX16" fmla="*/ 3802269 w 4550726"/>
                <a:gd name="connsiteY16" fmla="*/ 1298860 h 6198437"/>
                <a:gd name="connsiteX17" fmla="*/ 3967110 w 4550726"/>
                <a:gd name="connsiteY17" fmla="*/ 1479661 h 6198437"/>
                <a:gd name="connsiteX18" fmla="*/ 3967333 w 4550726"/>
                <a:gd name="connsiteY18" fmla="*/ 1535080 h 6198437"/>
                <a:gd name="connsiteX19" fmla="*/ 4128597 w 4550726"/>
                <a:gd name="connsiteY19" fmla="*/ 1726990 h 6198437"/>
                <a:gd name="connsiteX20" fmla="*/ 4508585 w 4550726"/>
                <a:gd name="connsiteY20" fmla="*/ 3519512 h 6198437"/>
                <a:gd name="connsiteX21" fmla="*/ 4316506 w 4550726"/>
                <a:gd name="connsiteY21" fmla="*/ 4385669 h 6198437"/>
                <a:gd name="connsiteX22" fmla="*/ 4463956 w 4550726"/>
                <a:gd name="connsiteY22" fmla="*/ 4428964 h 6198437"/>
                <a:gd name="connsiteX23" fmla="*/ 4360039 w 4550726"/>
                <a:gd name="connsiteY23" fmla="*/ 4865439 h 6198437"/>
                <a:gd name="connsiteX24" fmla="*/ 4215436 w 4550726"/>
                <a:gd name="connsiteY24" fmla="*/ 4824545 h 6198437"/>
                <a:gd name="connsiteX25" fmla="*/ 3102009 w 4550726"/>
                <a:gd name="connsiteY25" fmla="*/ 6198437 h 6198437"/>
                <a:gd name="connsiteX26" fmla="*/ 2911011 w 4550726"/>
                <a:gd name="connsiteY26" fmla="*/ 5626725 h 6198437"/>
                <a:gd name="connsiteX27" fmla="*/ 3697146 w 4550726"/>
                <a:gd name="connsiteY27" fmla="*/ 4596953 h 6198437"/>
                <a:gd name="connsiteX28" fmla="*/ 3977195 w 4550726"/>
                <a:gd name="connsiteY28" fmla="*/ 3352779 h 6198437"/>
                <a:gd name="connsiteX29" fmla="*/ 3658379 w 4550726"/>
                <a:gd name="connsiteY29" fmla="*/ 2049487 h 6198437"/>
                <a:gd name="connsiteX30" fmla="*/ 2841126 w 4550726"/>
                <a:gd name="connsiteY30" fmla="*/ 1163055 h 6198437"/>
                <a:gd name="connsiteX31" fmla="*/ 1546860 w 4550726"/>
                <a:gd name="connsiteY31" fmla="*/ 761302 h 6198437"/>
                <a:gd name="connsiteX32" fmla="*/ 548640 w 4550726"/>
                <a:gd name="connsiteY32" fmla="*/ 1081342 h 6198437"/>
                <a:gd name="connsiteX0" fmla="*/ 355785 w 4357871"/>
                <a:gd name="connsiteY0" fmla="*/ 1081342 h 6198437"/>
                <a:gd name="connsiteX1" fmla="*/ 20061 w 4357871"/>
                <a:gd name="connsiteY1" fmla="*/ 547251 h 6198437"/>
                <a:gd name="connsiteX2" fmla="*/ 0 w 4357871"/>
                <a:gd name="connsiteY2" fmla="*/ 432260 h 6198437"/>
                <a:gd name="connsiteX3" fmla="*/ 195765 w 4357871"/>
                <a:gd name="connsiteY3" fmla="*/ 380302 h 6198437"/>
                <a:gd name="connsiteX4" fmla="*/ 213138 w 4357871"/>
                <a:gd name="connsiteY4" fmla="*/ 481442 h 6198437"/>
                <a:gd name="connsiteX5" fmla="*/ 340213 w 4357871"/>
                <a:gd name="connsiteY5" fmla="*/ 442651 h 6198437"/>
                <a:gd name="connsiteX6" fmla="*/ 370692 w 4357871"/>
                <a:gd name="connsiteY6" fmla="*/ 393463 h 6198437"/>
                <a:gd name="connsiteX7" fmla="*/ 606579 w 4357871"/>
                <a:gd name="connsiteY7" fmla="*/ 319342 h 6198437"/>
                <a:gd name="connsiteX8" fmla="*/ 647034 w 4357871"/>
                <a:gd name="connsiteY8" fmla="*/ 352592 h 6198437"/>
                <a:gd name="connsiteX9" fmla="*/ 843576 w 4357871"/>
                <a:gd name="connsiteY9" fmla="*/ 288171 h 6198437"/>
                <a:gd name="connsiteX10" fmla="*/ 802788 w 4357871"/>
                <a:gd name="connsiteY10" fmla="*/ 119840 h 6198437"/>
                <a:gd name="connsiteX11" fmla="*/ 1186031 w 4357871"/>
                <a:gd name="connsiteY11" fmla="*/ 0 h 6198437"/>
                <a:gd name="connsiteX12" fmla="*/ 1234329 w 4357871"/>
                <a:gd name="connsiteY12" fmla="*/ 165560 h 6198437"/>
                <a:gd name="connsiteX13" fmla="*/ 2997880 w 4357871"/>
                <a:gd name="connsiteY13" fmla="*/ 680900 h 6198437"/>
                <a:gd name="connsiteX14" fmla="*/ 3548010 w 4357871"/>
                <a:gd name="connsiteY14" fmla="*/ 1291242 h 6198437"/>
                <a:gd name="connsiteX15" fmla="*/ 3609414 w 4357871"/>
                <a:gd name="connsiteY15" fmla="*/ 1298860 h 6198437"/>
                <a:gd name="connsiteX16" fmla="*/ 3774255 w 4357871"/>
                <a:gd name="connsiteY16" fmla="*/ 1479661 h 6198437"/>
                <a:gd name="connsiteX17" fmla="*/ 3774478 w 4357871"/>
                <a:gd name="connsiteY17" fmla="*/ 1535080 h 6198437"/>
                <a:gd name="connsiteX18" fmla="*/ 3935742 w 4357871"/>
                <a:gd name="connsiteY18" fmla="*/ 1726990 h 6198437"/>
                <a:gd name="connsiteX19" fmla="*/ 4315730 w 4357871"/>
                <a:gd name="connsiteY19" fmla="*/ 3519512 h 6198437"/>
                <a:gd name="connsiteX20" fmla="*/ 4123651 w 4357871"/>
                <a:gd name="connsiteY20" fmla="*/ 4385669 h 6198437"/>
                <a:gd name="connsiteX21" fmla="*/ 4271101 w 4357871"/>
                <a:gd name="connsiteY21" fmla="*/ 4428964 h 6198437"/>
                <a:gd name="connsiteX22" fmla="*/ 4167184 w 4357871"/>
                <a:gd name="connsiteY22" fmla="*/ 4865439 h 6198437"/>
                <a:gd name="connsiteX23" fmla="*/ 4022581 w 4357871"/>
                <a:gd name="connsiteY23" fmla="*/ 4824545 h 6198437"/>
                <a:gd name="connsiteX24" fmla="*/ 2909154 w 4357871"/>
                <a:gd name="connsiteY24" fmla="*/ 6198437 h 6198437"/>
                <a:gd name="connsiteX25" fmla="*/ 2718156 w 4357871"/>
                <a:gd name="connsiteY25" fmla="*/ 5626725 h 6198437"/>
                <a:gd name="connsiteX26" fmla="*/ 3504291 w 4357871"/>
                <a:gd name="connsiteY26" fmla="*/ 4596953 h 6198437"/>
                <a:gd name="connsiteX27" fmla="*/ 3784340 w 4357871"/>
                <a:gd name="connsiteY27" fmla="*/ 3352779 h 6198437"/>
                <a:gd name="connsiteX28" fmla="*/ 3465524 w 4357871"/>
                <a:gd name="connsiteY28" fmla="*/ 2049487 h 6198437"/>
                <a:gd name="connsiteX29" fmla="*/ 2648271 w 4357871"/>
                <a:gd name="connsiteY29" fmla="*/ 1163055 h 6198437"/>
                <a:gd name="connsiteX30" fmla="*/ 1354005 w 4357871"/>
                <a:gd name="connsiteY30" fmla="*/ 761302 h 6198437"/>
                <a:gd name="connsiteX31" fmla="*/ 355785 w 4357871"/>
                <a:gd name="connsiteY31" fmla="*/ 1081342 h 6198437"/>
                <a:gd name="connsiteX0" fmla="*/ 355785 w 4357871"/>
                <a:gd name="connsiteY0" fmla="*/ 1081342 h 6198437"/>
                <a:gd name="connsiteX1" fmla="*/ 0 w 4357871"/>
                <a:gd name="connsiteY1" fmla="*/ 432260 h 6198437"/>
                <a:gd name="connsiteX2" fmla="*/ 195765 w 4357871"/>
                <a:gd name="connsiteY2" fmla="*/ 380302 h 6198437"/>
                <a:gd name="connsiteX3" fmla="*/ 213138 w 4357871"/>
                <a:gd name="connsiteY3" fmla="*/ 481442 h 6198437"/>
                <a:gd name="connsiteX4" fmla="*/ 340213 w 4357871"/>
                <a:gd name="connsiteY4" fmla="*/ 442651 h 6198437"/>
                <a:gd name="connsiteX5" fmla="*/ 370692 w 4357871"/>
                <a:gd name="connsiteY5" fmla="*/ 393463 h 6198437"/>
                <a:gd name="connsiteX6" fmla="*/ 606579 w 4357871"/>
                <a:gd name="connsiteY6" fmla="*/ 319342 h 6198437"/>
                <a:gd name="connsiteX7" fmla="*/ 647034 w 4357871"/>
                <a:gd name="connsiteY7" fmla="*/ 352592 h 6198437"/>
                <a:gd name="connsiteX8" fmla="*/ 843576 w 4357871"/>
                <a:gd name="connsiteY8" fmla="*/ 288171 h 6198437"/>
                <a:gd name="connsiteX9" fmla="*/ 802788 w 4357871"/>
                <a:gd name="connsiteY9" fmla="*/ 119840 h 6198437"/>
                <a:gd name="connsiteX10" fmla="*/ 1186031 w 4357871"/>
                <a:gd name="connsiteY10" fmla="*/ 0 h 6198437"/>
                <a:gd name="connsiteX11" fmla="*/ 1234329 w 4357871"/>
                <a:gd name="connsiteY11" fmla="*/ 165560 h 6198437"/>
                <a:gd name="connsiteX12" fmla="*/ 2997880 w 4357871"/>
                <a:gd name="connsiteY12" fmla="*/ 680900 h 6198437"/>
                <a:gd name="connsiteX13" fmla="*/ 3548010 w 4357871"/>
                <a:gd name="connsiteY13" fmla="*/ 1291242 h 6198437"/>
                <a:gd name="connsiteX14" fmla="*/ 3609414 w 4357871"/>
                <a:gd name="connsiteY14" fmla="*/ 1298860 h 6198437"/>
                <a:gd name="connsiteX15" fmla="*/ 3774255 w 4357871"/>
                <a:gd name="connsiteY15" fmla="*/ 1479661 h 6198437"/>
                <a:gd name="connsiteX16" fmla="*/ 3774478 w 4357871"/>
                <a:gd name="connsiteY16" fmla="*/ 1535080 h 6198437"/>
                <a:gd name="connsiteX17" fmla="*/ 3935742 w 4357871"/>
                <a:gd name="connsiteY17" fmla="*/ 1726990 h 6198437"/>
                <a:gd name="connsiteX18" fmla="*/ 4315730 w 4357871"/>
                <a:gd name="connsiteY18" fmla="*/ 3519512 h 6198437"/>
                <a:gd name="connsiteX19" fmla="*/ 4123651 w 4357871"/>
                <a:gd name="connsiteY19" fmla="*/ 4385669 h 6198437"/>
                <a:gd name="connsiteX20" fmla="*/ 4271101 w 4357871"/>
                <a:gd name="connsiteY20" fmla="*/ 4428964 h 6198437"/>
                <a:gd name="connsiteX21" fmla="*/ 4167184 w 4357871"/>
                <a:gd name="connsiteY21" fmla="*/ 4865439 h 6198437"/>
                <a:gd name="connsiteX22" fmla="*/ 4022581 w 4357871"/>
                <a:gd name="connsiteY22" fmla="*/ 4824545 h 6198437"/>
                <a:gd name="connsiteX23" fmla="*/ 2909154 w 4357871"/>
                <a:gd name="connsiteY23" fmla="*/ 6198437 h 6198437"/>
                <a:gd name="connsiteX24" fmla="*/ 2718156 w 4357871"/>
                <a:gd name="connsiteY24" fmla="*/ 5626725 h 6198437"/>
                <a:gd name="connsiteX25" fmla="*/ 3504291 w 4357871"/>
                <a:gd name="connsiteY25" fmla="*/ 4596953 h 6198437"/>
                <a:gd name="connsiteX26" fmla="*/ 3784340 w 4357871"/>
                <a:gd name="connsiteY26" fmla="*/ 3352779 h 6198437"/>
                <a:gd name="connsiteX27" fmla="*/ 3465524 w 4357871"/>
                <a:gd name="connsiteY27" fmla="*/ 2049487 h 6198437"/>
                <a:gd name="connsiteX28" fmla="*/ 2648271 w 4357871"/>
                <a:gd name="connsiteY28" fmla="*/ 1163055 h 6198437"/>
                <a:gd name="connsiteX29" fmla="*/ 1354005 w 4357871"/>
                <a:gd name="connsiteY29" fmla="*/ 761302 h 6198437"/>
                <a:gd name="connsiteX30" fmla="*/ 355785 w 4357871"/>
                <a:gd name="connsiteY30" fmla="*/ 1081342 h 6198437"/>
                <a:gd name="connsiteX0" fmla="*/ 160020 w 4162106"/>
                <a:gd name="connsiteY0" fmla="*/ 1081342 h 6198437"/>
                <a:gd name="connsiteX1" fmla="*/ 0 w 4162106"/>
                <a:gd name="connsiteY1" fmla="*/ 380302 h 6198437"/>
                <a:gd name="connsiteX2" fmla="*/ 17373 w 4162106"/>
                <a:gd name="connsiteY2" fmla="*/ 481442 h 6198437"/>
                <a:gd name="connsiteX3" fmla="*/ 144448 w 4162106"/>
                <a:gd name="connsiteY3" fmla="*/ 442651 h 6198437"/>
                <a:gd name="connsiteX4" fmla="*/ 174927 w 4162106"/>
                <a:gd name="connsiteY4" fmla="*/ 393463 h 6198437"/>
                <a:gd name="connsiteX5" fmla="*/ 410814 w 4162106"/>
                <a:gd name="connsiteY5" fmla="*/ 319342 h 6198437"/>
                <a:gd name="connsiteX6" fmla="*/ 451269 w 4162106"/>
                <a:gd name="connsiteY6" fmla="*/ 352592 h 6198437"/>
                <a:gd name="connsiteX7" fmla="*/ 647811 w 4162106"/>
                <a:gd name="connsiteY7" fmla="*/ 288171 h 6198437"/>
                <a:gd name="connsiteX8" fmla="*/ 607023 w 4162106"/>
                <a:gd name="connsiteY8" fmla="*/ 119840 h 6198437"/>
                <a:gd name="connsiteX9" fmla="*/ 990266 w 4162106"/>
                <a:gd name="connsiteY9" fmla="*/ 0 h 6198437"/>
                <a:gd name="connsiteX10" fmla="*/ 1038564 w 4162106"/>
                <a:gd name="connsiteY10" fmla="*/ 165560 h 6198437"/>
                <a:gd name="connsiteX11" fmla="*/ 2802115 w 4162106"/>
                <a:gd name="connsiteY11" fmla="*/ 680900 h 6198437"/>
                <a:gd name="connsiteX12" fmla="*/ 3352245 w 4162106"/>
                <a:gd name="connsiteY12" fmla="*/ 1291242 h 6198437"/>
                <a:gd name="connsiteX13" fmla="*/ 3413649 w 4162106"/>
                <a:gd name="connsiteY13" fmla="*/ 1298860 h 6198437"/>
                <a:gd name="connsiteX14" fmla="*/ 3578490 w 4162106"/>
                <a:gd name="connsiteY14" fmla="*/ 1479661 h 6198437"/>
                <a:gd name="connsiteX15" fmla="*/ 3578713 w 4162106"/>
                <a:gd name="connsiteY15" fmla="*/ 1535080 h 6198437"/>
                <a:gd name="connsiteX16" fmla="*/ 3739977 w 4162106"/>
                <a:gd name="connsiteY16" fmla="*/ 1726990 h 6198437"/>
                <a:gd name="connsiteX17" fmla="*/ 4119965 w 4162106"/>
                <a:gd name="connsiteY17" fmla="*/ 3519512 h 6198437"/>
                <a:gd name="connsiteX18" fmla="*/ 3927886 w 4162106"/>
                <a:gd name="connsiteY18" fmla="*/ 4385669 h 6198437"/>
                <a:gd name="connsiteX19" fmla="*/ 4075336 w 4162106"/>
                <a:gd name="connsiteY19" fmla="*/ 4428964 h 6198437"/>
                <a:gd name="connsiteX20" fmla="*/ 3971419 w 4162106"/>
                <a:gd name="connsiteY20" fmla="*/ 4865439 h 6198437"/>
                <a:gd name="connsiteX21" fmla="*/ 3826816 w 4162106"/>
                <a:gd name="connsiteY21" fmla="*/ 4824545 h 6198437"/>
                <a:gd name="connsiteX22" fmla="*/ 2713389 w 4162106"/>
                <a:gd name="connsiteY22" fmla="*/ 6198437 h 6198437"/>
                <a:gd name="connsiteX23" fmla="*/ 2522391 w 4162106"/>
                <a:gd name="connsiteY23" fmla="*/ 5626725 h 6198437"/>
                <a:gd name="connsiteX24" fmla="*/ 3308526 w 4162106"/>
                <a:gd name="connsiteY24" fmla="*/ 4596953 h 6198437"/>
                <a:gd name="connsiteX25" fmla="*/ 3588575 w 4162106"/>
                <a:gd name="connsiteY25" fmla="*/ 3352779 h 6198437"/>
                <a:gd name="connsiteX26" fmla="*/ 3269759 w 4162106"/>
                <a:gd name="connsiteY26" fmla="*/ 2049487 h 6198437"/>
                <a:gd name="connsiteX27" fmla="*/ 2452506 w 4162106"/>
                <a:gd name="connsiteY27" fmla="*/ 1163055 h 6198437"/>
                <a:gd name="connsiteX28" fmla="*/ 1158240 w 4162106"/>
                <a:gd name="connsiteY28" fmla="*/ 761302 h 6198437"/>
                <a:gd name="connsiteX29" fmla="*/ 160020 w 4162106"/>
                <a:gd name="connsiteY29" fmla="*/ 1081342 h 6198437"/>
                <a:gd name="connsiteX0" fmla="*/ 146766 w 4148852"/>
                <a:gd name="connsiteY0" fmla="*/ 1081342 h 6198437"/>
                <a:gd name="connsiteX1" fmla="*/ 4119 w 4148852"/>
                <a:gd name="connsiteY1" fmla="*/ 481442 h 6198437"/>
                <a:gd name="connsiteX2" fmla="*/ 131194 w 4148852"/>
                <a:gd name="connsiteY2" fmla="*/ 442651 h 6198437"/>
                <a:gd name="connsiteX3" fmla="*/ 161673 w 4148852"/>
                <a:gd name="connsiteY3" fmla="*/ 393463 h 6198437"/>
                <a:gd name="connsiteX4" fmla="*/ 397560 w 4148852"/>
                <a:gd name="connsiteY4" fmla="*/ 319342 h 6198437"/>
                <a:gd name="connsiteX5" fmla="*/ 438015 w 4148852"/>
                <a:gd name="connsiteY5" fmla="*/ 352592 h 6198437"/>
                <a:gd name="connsiteX6" fmla="*/ 634557 w 4148852"/>
                <a:gd name="connsiteY6" fmla="*/ 288171 h 6198437"/>
                <a:gd name="connsiteX7" fmla="*/ 593769 w 4148852"/>
                <a:gd name="connsiteY7" fmla="*/ 119840 h 6198437"/>
                <a:gd name="connsiteX8" fmla="*/ 977012 w 4148852"/>
                <a:gd name="connsiteY8" fmla="*/ 0 h 6198437"/>
                <a:gd name="connsiteX9" fmla="*/ 1025310 w 4148852"/>
                <a:gd name="connsiteY9" fmla="*/ 165560 h 6198437"/>
                <a:gd name="connsiteX10" fmla="*/ 2788861 w 4148852"/>
                <a:gd name="connsiteY10" fmla="*/ 680900 h 6198437"/>
                <a:gd name="connsiteX11" fmla="*/ 3338991 w 4148852"/>
                <a:gd name="connsiteY11" fmla="*/ 1291242 h 6198437"/>
                <a:gd name="connsiteX12" fmla="*/ 3400395 w 4148852"/>
                <a:gd name="connsiteY12" fmla="*/ 1298860 h 6198437"/>
                <a:gd name="connsiteX13" fmla="*/ 3565236 w 4148852"/>
                <a:gd name="connsiteY13" fmla="*/ 1479661 h 6198437"/>
                <a:gd name="connsiteX14" fmla="*/ 3565459 w 4148852"/>
                <a:gd name="connsiteY14" fmla="*/ 1535080 h 6198437"/>
                <a:gd name="connsiteX15" fmla="*/ 3726723 w 4148852"/>
                <a:gd name="connsiteY15" fmla="*/ 1726990 h 6198437"/>
                <a:gd name="connsiteX16" fmla="*/ 4106711 w 4148852"/>
                <a:gd name="connsiteY16" fmla="*/ 3519512 h 6198437"/>
                <a:gd name="connsiteX17" fmla="*/ 3914632 w 4148852"/>
                <a:gd name="connsiteY17" fmla="*/ 4385669 h 6198437"/>
                <a:gd name="connsiteX18" fmla="*/ 4062082 w 4148852"/>
                <a:gd name="connsiteY18" fmla="*/ 4428964 h 6198437"/>
                <a:gd name="connsiteX19" fmla="*/ 3958165 w 4148852"/>
                <a:gd name="connsiteY19" fmla="*/ 4865439 h 6198437"/>
                <a:gd name="connsiteX20" fmla="*/ 3813562 w 4148852"/>
                <a:gd name="connsiteY20" fmla="*/ 4824545 h 6198437"/>
                <a:gd name="connsiteX21" fmla="*/ 2700135 w 4148852"/>
                <a:gd name="connsiteY21" fmla="*/ 6198437 h 6198437"/>
                <a:gd name="connsiteX22" fmla="*/ 2509137 w 4148852"/>
                <a:gd name="connsiteY22" fmla="*/ 5626725 h 6198437"/>
                <a:gd name="connsiteX23" fmla="*/ 3295272 w 4148852"/>
                <a:gd name="connsiteY23" fmla="*/ 4596953 h 6198437"/>
                <a:gd name="connsiteX24" fmla="*/ 3575321 w 4148852"/>
                <a:gd name="connsiteY24" fmla="*/ 3352779 h 6198437"/>
                <a:gd name="connsiteX25" fmla="*/ 3256505 w 4148852"/>
                <a:gd name="connsiteY25" fmla="*/ 2049487 h 6198437"/>
                <a:gd name="connsiteX26" fmla="*/ 2439252 w 4148852"/>
                <a:gd name="connsiteY26" fmla="*/ 1163055 h 6198437"/>
                <a:gd name="connsiteX27" fmla="*/ 1144986 w 4148852"/>
                <a:gd name="connsiteY27" fmla="*/ 761302 h 6198437"/>
                <a:gd name="connsiteX28" fmla="*/ 146766 w 4148852"/>
                <a:gd name="connsiteY28" fmla="*/ 1081342 h 6198437"/>
                <a:gd name="connsiteX0" fmla="*/ 142647 w 4144733"/>
                <a:gd name="connsiteY0" fmla="*/ 1081342 h 6198437"/>
                <a:gd name="connsiteX1" fmla="*/ 0 w 4144733"/>
                <a:gd name="connsiteY1" fmla="*/ 481442 h 6198437"/>
                <a:gd name="connsiteX2" fmla="*/ 127075 w 4144733"/>
                <a:gd name="connsiteY2" fmla="*/ 442651 h 6198437"/>
                <a:gd name="connsiteX3" fmla="*/ 157554 w 4144733"/>
                <a:gd name="connsiteY3" fmla="*/ 393463 h 6198437"/>
                <a:gd name="connsiteX4" fmla="*/ 393441 w 4144733"/>
                <a:gd name="connsiteY4" fmla="*/ 319342 h 6198437"/>
                <a:gd name="connsiteX5" fmla="*/ 433896 w 4144733"/>
                <a:gd name="connsiteY5" fmla="*/ 352592 h 6198437"/>
                <a:gd name="connsiteX6" fmla="*/ 630438 w 4144733"/>
                <a:gd name="connsiteY6" fmla="*/ 288171 h 6198437"/>
                <a:gd name="connsiteX7" fmla="*/ 589650 w 4144733"/>
                <a:gd name="connsiteY7" fmla="*/ 119840 h 6198437"/>
                <a:gd name="connsiteX8" fmla="*/ 972893 w 4144733"/>
                <a:gd name="connsiteY8" fmla="*/ 0 h 6198437"/>
                <a:gd name="connsiteX9" fmla="*/ 1021191 w 4144733"/>
                <a:gd name="connsiteY9" fmla="*/ 165560 h 6198437"/>
                <a:gd name="connsiteX10" fmla="*/ 2784742 w 4144733"/>
                <a:gd name="connsiteY10" fmla="*/ 680900 h 6198437"/>
                <a:gd name="connsiteX11" fmla="*/ 3334872 w 4144733"/>
                <a:gd name="connsiteY11" fmla="*/ 1291242 h 6198437"/>
                <a:gd name="connsiteX12" fmla="*/ 3396276 w 4144733"/>
                <a:gd name="connsiteY12" fmla="*/ 1298860 h 6198437"/>
                <a:gd name="connsiteX13" fmla="*/ 3561117 w 4144733"/>
                <a:gd name="connsiteY13" fmla="*/ 1479661 h 6198437"/>
                <a:gd name="connsiteX14" fmla="*/ 3561340 w 4144733"/>
                <a:gd name="connsiteY14" fmla="*/ 1535080 h 6198437"/>
                <a:gd name="connsiteX15" fmla="*/ 3722604 w 4144733"/>
                <a:gd name="connsiteY15" fmla="*/ 1726990 h 6198437"/>
                <a:gd name="connsiteX16" fmla="*/ 4102592 w 4144733"/>
                <a:gd name="connsiteY16" fmla="*/ 3519512 h 6198437"/>
                <a:gd name="connsiteX17" fmla="*/ 3910513 w 4144733"/>
                <a:gd name="connsiteY17" fmla="*/ 4385669 h 6198437"/>
                <a:gd name="connsiteX18" fmla="*/ 4057963 w 4144733"/>
                <a:gd name="connsiteY18" fmla="*/ 4428964 h 6198437"/>
                <a:gd name="connsiteX19" fmla="*/ 3954046 w 4144733"/>
                <a:gd name="connsiteY19" fmla="*/ 4865439 h 6198437"/>
                <a:gd name="connsiteX20" fmla="*/ 3809443 w 4144733"/>
                <a:gd name="connsiteY20" fmla="*/ 4824545 h 6198437"/>
                <a:gd name="connsiteX21" fmla="*/ 2696016 w 4144733"/>
                <a:gd name="connsiteY21" fmla="*/ 6198437 h 6198437"/>
                <a:gd name="connsiteX22" fmla="*/ 2505018 w 4144733"/>
                <a:gd name="connsiteY22" fmla="*/ 5626725 h 6198437"/>
                <a:gd name="connsiteX23" fmla="*/ 3291153 w 4144733"/>
                <a:gd name="connsiteY23" fmla="*/ 4596953 h 6198437"/>
                <a:gd name="connsiteX24" fmla="*/ 3571202 w 4144733"/>
                <a:gd name="connsiteY24" fmla="*/ 3352779 h 6198437"/>
                <a:gd name="connsiteX25" fmla="*/ 3252386 w 4144733"/>
                <a:gd name="connsiteY25" fmla="*/ 2049487 h 6198437"/>
                <a:gd name="connsiteX26" fmla="*/ 2435133 w 4144733"/>
                <a:gd name="connsiteY26" fmla="*/ 1163055 h 6198437"/>
                <a:gd name="connsiteX27" fmla="*/ 1140867 w 4144733"/>
                <a:gd name="connsiteY27" fmla="*/ 761302 h 6198437"/>
                <a:gd name="connsiteX28" fmla="*/ 142647 w 4144733"/>
                <a:gd name="connsiteY28" fmla="*/ 1081342 h 6198437"/>
                <a:gd name="connsiteX0" fmla="*/ 142647 w 4144733"/>
                <a:gd name="connsiteY0" fmla="*/ 1081342 h 6198437"/>
                <a:gd name="connsiteX1" fmla="*/ 0 w 4144733"/>
                <a:gd name="connsiteY1" fmla="*/ 481442 h 6198437"/>
                <a:gd name="connsiteX2" fmla="*/ 127075 w 4144733"/>
                <a:gd name="connsiteY2" fmla="*/ 442651 h 6198437"/>
                <a:gd name="connsiteX3" fmla="*/ 157554 w 4144733"/>
                <a:gd name="connsiteY3" fmla="*/ 393463 h 6198437"/>
                <a:gd name="connsiteX4" fmla="*/ 393441 w 4144733"/>
                <a:gd name="connsiteY4" fmla="*/ 319342 h 6198437"/>
                <a:gd name="connsiteX5" fmla="*/ 433896 w 4144733"/>
                <a:gd name="connsiteY5" fmla="*/ 352592 h 6198437"/>
                <a:gd name="connsiteX6" fmla="*/ 630438 w 4144733"/>
                <a:gd name="connsiteY6" fmla="*/ 288171 h 6198437"/>
                <a:gd name="connsiteX7" fmla="*/ 589650 w 4144733"/>
                <a:gd name="connsiteY7" fmla="*/ 119840 h 6198437"/>
                <a:gd name="connsiteX8" fmla="*/ 972893 w 4144733"/>
                <a:gd name="connsiteY8" fmla="*/ 0 h 6198437"/>
                <a:gd name="connsiteX9" fmla="*/ 1021191 w 4144733"/>
                <a:gd name="connsiteY9" fmla="*/ 165560 h 6198437"/>
                <a:gd name="connsiteX10" fmla="*/ 2784742 w 4144733"/>
                <a:gd name="connsiteY10" fmla="*/ 680900 h 6198437"/>
                <a:gd name="connsiteX11" fmla="*/ 3334872 w 4144733"/>
                <a:gd name="connsiteY11" fmla="*/ 1291242 h 6198437"/>
                <a:gd name="connsiteX12" fmla="*/ 3396276 w 4144733"/>
                <a:gd name="connsiteY12" fmla="*/ 1298860 h 6198437"/>
                <a:gd name="connsiteX13" fmla="*/ 3561117 w 4144733"/>
                <a:gd name="connsiteY13" fmla="*/ 1479661 h 6198437"/>
                <a:gd name="connsiteX14" fmla="*/ 3561340 w 4144733"/>
                <a:gd name="connsiteY14" fmla="*/ 1535080 h 6198437"/>
                <a:gd name="connsiteX15" fmla="*/ 3722604 w 4144733"/>
                <a:gd name="connsiteY15" fmla="*/ 1726990 h 6198437"/>
                <a:gd name="connsiteX16" fmla="*/ 4102592 w 4144733"/>
                <a:gd name="connsiteY16" fmla="*/ 3519512 h 6198437"/>
                <a:gd name="connsiteX17" fmla="*/ 3910513 w 4144733"/>
                <a:gd name="connsiteY17" fmla="*/ 4385669 h 6198437"/>
                <a:gd name="connsiteX18" fmla="*/ 4057963 w 4144733"/>
                <a:gd name="connsiteY18" fmla="*/ 4428964 h 6198437"/>
                <a:gd name="connsiteX19" fmla="*/ 3954046 w 4144733"/>
                <a:gd name="connsiteY19" fmla="*/ 4865439 h 6198437"/>
                <a:gd name="connsiteX20" fmla="*/ 3809443 w 4144733"/>
                <a:gd name="connsiteY20" fmla="*/ 4824545 h 6198437"/>
                <a:gd name="connsiteX21" fmla="*/ 2696016 w 4144733"/>
                <a:gd name="connsiteY21" fmla="*/ 6198437 h 6198437"/>
                <a:gd name="connsiteX22" fmla="*/ 2505018 w 4144733"/>
                <a:gd name="connsiteY22" fmla="*/ 5626725 h 6198437"/>
                <a:gd name="connsiteX23" fmla="*/ 3291153 w 4144733"/>
                <a:gd name="connsiteY23" fmla="*/ 4596953 h 6198437"/>
                <a:gd name="connsiteX24" fmla="*/ 3571202 w 4144733"/>
                <a:gd name="connsiteY24" fmla="*/ 3352779 h 6198437"/>
                <a:gd name="connsiteX25" fmla="*/ 3252386 w 4144733"/>
                <a:gd name="connsiteY25" fmla="*/ 2049487 h 6198437"/>
                <a:gd name="connsiteX26" fmla="*/ 2435133 w 4144733"/>
                <a:gd name="connsiteY26" fmla="*/ 1163055 h 6198437"/>
                <a:gd name="connsiteX27" fmla="*/ 1140867 w 4144733"/>
                <a:gd name="connsiteY27" fmla="*/ 761302 h 6198437"/>
                <a:gd name="connsiteX28" fmla="*/ 142647 w 4144733"/>
                <a:gd name="connsiteY28" fmla="*/ 1081342 h 6198437"/>
                <a:gd name="connsiteX0" fmla="*/ 150413 w 4144733"/>
                <a:gd name="connsiteY0" fmla="*/ 1077187 h 6198437"/>
                <a:gd name="connsiteX1" fmla="*/ 0 w 4144733"/>
                <a:gd name="connsiteY1" fmla="*/ 481442 h 6198437"/>
                <a:gd name="connsiteX2" fmla="*/ 127075 w 4144733"/>
                <a:gd name="connsiteY2" fmla="*/ 442651 h 6198437"/>
                <a:gd name="connsiteX3" fmla="*/ 157554 w 4144733"/>
                <a:gd name="connsiteY3" fmla="*/ 393463 h 6198437"/>
                <a:gd name="connsiteX4" fmla="*/ 393441 w 4144733"/>
                <a:gd name="connsiteY4" fmla="*/ 319342 h 6198437"/>
                <a:gd name="connsiteX5" fmla="*/ 433896 w 4144733"/>
                <a:gd name="connsiteY5" fmla="*/ 352592 h 6198437"/>
                <a:gd name="connsiteX6" fmla="*/ 630438 w 4144733"/>
                <a:gd name="connsiteY6" fmla="*/ 288171 h 6198437"/>
                <a:gd name="connsiteX7" fmla="*/ 589650 w 4144733"/>
                <a:gd name="connsiteY7" fmla="*/ 119840 h 6198437"/>
                <a:gd name="connsiteX8" fmla="*/ 972893 w 4144733"/>
                <a:gd name="connsiteY8" fmla="*/ 0 h 6198437"/>
                <a:gd name="connsiteX9" fmla="*/ 1021191 w 4144733"/>
                <a:gd name="connsiteY9" fmla="*/ 165560 h 6198437"/>
                <a:gd name="connsiteX10" fmla="*/ 2784742 w 4144733"/>
                <a:gd name="connsiteY10" fmla="*/ 680900 h 6198437"/>
                <a:gd name="connsiteX11" fmla="*/ 3334872 w 4144733"/>
                <a:gd name="connsiteY11" fmla="*/ 1291242 h 6198437"/>
                <a:gd name="connsiteX12" fmla="*/ 3396276 w 4144733"/>
                <a:gd name="connsiteY12" fmla="*/ 1298860 h 6198437"/>
                <a:gd name="connsiteX13" fmla="*/ 3561117 w 4144733"/>
                <a:gd name="connsiteY13" fmla="*/ 1479661 h 6198437"/>
                <a:gd name="connsiteX14" fmla="*/ 3561340 w 4144733"/>
                <a:gd name="connsiteY14" fmla="*/ 1535080 h 6198437"/>
                <a:gd name="connsiteX15" fmla="*/ 3722604 w 4144733"/>
                <a:gd name="connsiteY15" fmla="*/ 1726990 h 6198437"/>
                <a:gd name="connsiteX16" fmla="*/ 4102592 w 4144733"/>
                <a:gd name="connsiteY16" fmla="*/ 3519512 h 6198437"/>
                <a:gd name="connsiteX17" fmla="*/ 3910513 w 4144733"/>
                <a:gd name="connsiteY17" fmla="*/ 4385669 h 6198437"/>
                <a:gd name="connsiteX18" fmla="*/ 4057963 w 4144733"/>
                <a:gd name="connsiteY18" fmla="*/ 4428964 h 6198437"/>
                <a:gd name="connsiteX19" fmla="*/ 3954046 w 4144733"/>
                <a:gd name="connsiteY19" fmla="*/ 4865439 h 6198437"/>
                <a:gd name="connsiteX20" fmla="*/ 3809443 w 4144733"/>
                <a:gd name="connsiteY20" fmla="*/ 4824545 h 6198437"/>
                <a:gd name="connsiteX21" fmla="*/ 2696016 w 4144733"/>
                <a:gd name="connsiteY21" fmla="*/ 6198437 h 6198437"/>
                <a:gd name="connsiteX22" fmla="*/ 2505018 w 4144733"/>
                <a:gd name="connsiteY22" fmla="*/ 5626725 h 6198437"/>
                <a:gd name="connsiteX23" fmla="*/ 3291153 w 4144733"/>
                <a:gd name="connsiteY23" fmla="*/ 4596953 h 6198437"/>
                <a:gd name="connsiteX24" fmla="*/ 3571202 w 4144733"/>
                <a:gd name="connsiteY24" fmla="*/ 3352779 h 6198437"/>
                <a:gd name="connsiteX25" fmla="*/ 3252386 w 4144733"/>
                <a:gd name="connsiteY25" fmla="*/ 2049487 h 6198437"/>
                <a:gd name="connsiteX26" fmla="*/ 2435133 w 4144733"/>
                <a:gd name="connsiteY26" fmla="*/ 1163055 h 6198437"/>
                <a:gd name="connsiteX27" fmla="*/ 1140867 w 4144733"/>
                <a:gd name="connsiteY27" fmla="*/ 761302 h 6198437"/>
                <a:gd name="connsiteX28" fmla="*/ 150413 w 4144733"/>
                <a:gd name="connsiteY28" fmla="*/ 1077187 h 6198437"/>
                <a:gd name="connsiteX0" fmla="*/ 150413 w 4144733"/>
                <a:gd name="connsiteY0" fmla="*/ 1077187 h 6198437"/>
                <a:gd name="connsiteX1" fmla="*/ 0 w 4144733"/>
                <a:gd name="connsiteY1" fmla="*/ 481442 h 6198437"/>
                <a:gd name="connsiteX2" fmla="*/ 127075 w 4144733"/>
                <a:gd name="connsiteY2" fmla="*/ 442651 h 6198437"/>
                <a:gd name="connsiteX3" fmla="*/ 157554 w 4144733"/>
                <a:gd name="connsiteY3" fmla="*/ 393463 h 6198437"/>
                <a:gd name="connsiteX4" fmla="*/ 393441 w 4144733"/>
                <a:gd name="connsiteY4" fmla="*/ 319342 h 6198437"/>
                <a:gd name="connsiteX5" fmla="*/ 433896 w 4144733"/>
                <a:gd name="connsiteY5" fmla="*/ 352592 h 6198437"/>
                <a:gd name="connsiteX6" fmla="*/ 630438 w 4144733"/>
                <a:gd name="connsiteY6" fmla="*/ 288171 h 6198437"/>
                <a:gd name="connsiteX7" fmla="*/ 589650 w 4144733"/>
                <a:gd name="connsiteY7" fmla="*/ 119840 h 6198437"/>
                <a:gd name="connsiteX8" fmla="*/ 972893 w 4144733"/>
                <a:gd name="connsiteY8" fmla="*/ 0 h 6198437"/>
                <a:gd name="connsiteX9" fmla="*/ 1021191 w 4144733"/>
                <a:gd name="connsiteY9" fmla="*/ 165560 h 6198437"/>
                <a:gd name="connsiteX10" fmla="*/ 2784742 w 4144733"/>
                <a:gd name="connsiteY10" fmla="*/ 680900 h 6198437"/>
                <a:gd name="connsiteX11" fmla="*/ 3334872 w 4144733"/>
                <a:gd name="connsiteY11" fmla="*/ 1291242 h 6198437"/>
                <a:gd name="connsiteX12" fmla="*/ 3396276 w 4144733"/>
                <a:gd name="connsiteY12" fmla="*/ 1298860 h 6198437"/>
                <a:gd name="connsiteX13" fmla="*/ 3561117 w 4144733"/>
                <a:gd name="connsiteY13" fmla="*/ 1479661 h 6198437"/>
                <a:gd name="connsiteX14" fmla="*/ 3561340 w 4144733"/>
                <a:gd name="connsiteY14" fmla="*/ 1535080 h 6198437"/>
                <a:gd name="connsiteX15" fmla="*/ 3722604 w 4144733"/>
                <a:gd name="connsiteY15" fmla="*/ 1726990 h 6198437"/>
                <a:gd name="connsiteX16" fmla="*/ 4102592 w 4144733"/>
                <a:gd name="connsiteY16" fmla="*/ 3519512 h 6198437"/>
                <a:gd name="connsiteX17" fmla="*/ 3910513 w 4144733"/>
                <a:gd name="connsiteY17" fmla="*/ 4385669 h 6198437"/>
                <a:gd name="connsiteX18" fmla="*/ 4057963 w 4144733"/>
                <a:gd name="connsiteY18" fmla="*/ 4428964 h 6198437"/>
                <a:gd name="connsiteX19" fmla="*/ 3954046 w 4144733"/>
                <a:gd name="connsiteY19" fmla="*/ 4865439 h 6198437"/>
                <a:gd name="connsiteX20" fmla="*/ 3809443 w 4144733"/>
                <a:gd name="connsiteY20" fmla="*/ 4824545 h 6198437"/>
                <a:gd name="connsiteX21" fmla="*/ 2696016 w 4144733"/>
                <a:gd name="connsiteY21" fmla="*/ 6198437 h 6198437"/>
                <a:gd name="connsiteX22" fmla="*/ 2505018 w 4144733"/>
                <a:gd name="connsiteY22" fmla="*/ 5626725 h 6198437"/>
                <a:gd name="connsiteX23" fmla="*/ 3291153 w 4144733"/>
                <a:gd name="connsiteY23" fmla="*/ 4596953 h 6198437"/>
                <a:gd name="connsiteX24" fmla="*/ 3571202 w 4144733"/>
                <a:gd name="connsiteY24" fmla="*/ 3352779 h 6198437"/>
                <a:gd name="connsiteX25" fmla="*/ 3252386 w 4144733"/>
                <a:gd name="connsiteY25" fmla="*/ 2049487 h 6198437"/>
                <a:gd name="connsiteX26" fmla="*/ 2435133 w 4144733"/>
                <a:gd name="connsiteY26" fmla="*/ 1163055 h 6198437"/>
                <a:gd name="connsiteX27" fmla="*/ 1140867 w 4144733"/>
                <a:gd name="connsiteY27" fmla="*/ 761302 h 6198437"/>
                <a:gd name="connsiteX28" fmla="*/ 150413 w 4144733"/>
                <a:gd name="connsiteY28" fmla="*/ 1077187 h 6198437"/>
                <a:gd name="connsiteX0" fmla="*/ 150413 w 4144733"/>
                <a:gd name="connsiteY0" fmla="*/ 1077187 h 6198437"/>
                <a:gd name="connsiteX1" fmla="*/ 0 w 4144733"/>
                <a:gd name="connsiteY1" fmla="*/ 481442 h 6198437"/>
                <a:gd name="connsiteX2" fmla="*/ 127075 w 4144733"/>
                <a:gd name="connsiteY2" fmla="*/ 442651 h 6198437"/>
                <a:gd name="connsiteX3" fmla="*/ 157554 w 4144733"/>
                <a:gd name="connsiteY3" fmla="*/ 393463 h 6198437"/>
                <a:gd name="connsiteX4" fmla="*/ 393441 w 4144733"/>
                <a:gd name="connsiteY4" fmla="*/ 319342 h 6198437"/>
                <a:gd name="connsiteX5" fmla="*/ 433896 w 4144733"/>
                <a:gd name="connsiteY5" fmla="*/ 352592 h 6198437"/>
                <a:gd name="connsiteX6" fmla="*/ 630438 w 4144733"/>
                <a:gd name="connsiteY6" fmla="*/ 288171 h 6198437"/>
                <a:gd name="connsiteX7" fmla="*/ 589650 w 4144733"/>
                <a:gd name="connsiteY7" fmla="*/ 119840 h 6198437"/>
                <a:gd name="connsiteX8" fmla="*/ 972893 w 4144733"/>
                <a:gd name="connsiteY8" fmla="*/ 0 h 6198437"/>
                <a:gd name="connsiteX9" fmla="*/ 1021191 w 4144733"/>
                <a:gd name="connsiteY9" fmla="*/ 165560 h 6198437"/>
                <a:gd name="connsiteX10" fmla="*/ 2784742 w 4144733"/>
                <a:gd name="connsiteY10" fmla="*/ 680900 h 6198437"/>
                <a:gd name="connsiteX11" fmla="*/ 3334872 w 4144733"/>
                <a:gd name="connsiteY11" fmla="*/ 1291242 h 6198437"/>
                <a:gd name="connsiteX12" fmla="*/ 3396276 w 4144733"/>
                <a:gd name="connsiteY12" fmla="*/ 1298860 h 6198437"/>
                <a:gd name="connsiteX13" fmla="*/ 3561117 w 4144733"/>
                <a:gd name="connsiteY13" fmla="*/ 1479661 h 6198437"/>
                <a:gd name="connsiteX14" fmla="*/ 3561340 w 4144733"/>
                <a:gd name="connsiteY14" fmla="*/ 1535080 h 6198437"/>
                <a:gd name="connsiteX15" fmla="*/ 3722604 w 4144733"/>
                <a:gd name="connsiteY15" fmla="*/ 1726990 h 6198437"/>
                <a:gd name="connsiteX16" fmla="*/ 4102592 w 4144733"/>
                <a:gd name="connsiteY16" fmla="*/ 3519512 h 6198437"/>
                <a:gd name="connsiteX17" fmla="*/ 3910513 w 4144733"/>
                <a:gd name="connsiteY17" fmla="*/ 4385669 h 6198437"/>
                <a:gd name="connsiteX18" fmla="*/ 4057963 w 4144733"/>
                <a:gd name="connsiteY18" fmla="*/ 4428964 h 6198437"/>
                <a:gd name="connsiteX19" fmla="*/ 3954046 w 4144733"/>
                <a:gd name="connsiteY19" fmla="*/ 4865439 h 6198437"/>
                <a:gd name="connsiteX20" fmla="*/ 3809443 w 4144733"/>
                <a:gd name="connsiteY20" fmla="*/ 4824545 h 6198437"/>
                <a:gd name="connsiteX21" fmla="*/ 2696016 w 4144733"/>
                <a:gd name="connsiteY21" fmla="*/ 6198437 h 6198437"/>
                <a:gd name="connsiteX22" fmla="*/ 3291153 w 4144733"/>
                <a:gd name="connsiteY22" fmla="*/ 4596953 h 6198437"/>
                <a:gd name="connsiteX23" fmla="*/ 3571202 w 4144733"/>
                <a:gd name="connsiteY23" fmla="*/ 3352779 h 6198437"/>
                <a:gd name="connsiteX24" fmla="*/ 3252386 w 4144733"/>
                <a:gd name="connsiteY24" fmla="*/ 2049487 h 6198437"/>
                <a:gd name="connsiteX25" fmla="*/ 2435133 w 4144733"/>
                <a:gd name="connsiteY25" fmla="*/ 1163055 h 6198437"/>
                <a:gd name="connsiteX26" fmla="*/ 1140867 w 4144733"/>
                <a:gd name="connsiteY26" fmla="*/ 761302 h 6198437"/>
                <a:gd name="connsiteX27" fmla="*/ 150413 w 4144733"/>
                <a:gd name="connsiteY27" fmla="*/ 1077187 h 6198437"/>
                <a:gd name="connsiteX0" fmla="*/ 150413 w 4144733"/>
                <a:gd name="connsiteY0" fmla="*/ 1077187 h 4865439"/>
                <a:gd name="connsiteX1" fmla="*/ 0 w 4144733"/>
                <a:gd name="connsiteY1" fmla="*/ 481442 h 4865439"/>
                <a:gd name="connsiteX2" fmla="*/ 127075 w 4144733"/>
                <a:gd name="connsiteY2" fmla="*/ 442651 h 4865439"/>
                <a:gd name="connsiteX3" fmla="*/ 157554 w 4144733"/>
                <a:gd name="connsiteY3" fmla="*/ 393463 h 4865439"/>
                <a:gd name="connsiteX4" fmla="*/ 393441 w 4144733"/>
                <a:gd name="connsiteY4" fmla="*/ 319342 h 4865439"/>
                <a:gd name="connsiteX5" fmla="*/ 433896 w 4144733"/>
                <a:gd name="connsiteY5" fmla="*/ 352592 h 4865439"/>
                <a:gd name="connsiteX6" fmla="*/ 630438 w 4144733"/>
                <a:gd name="connsiteY6" fmla="*/ 288171 h 4865439"/>
                <a:gd name="connsiteX7" fmla="*/ 589650 w 4144733"/>
                <a:gd name="connsiteY7" fmla="*/ 119840 h 4865439"/>
                <a:gd name="connsiteX8" fmla="*/ 972893 w 4144733"/>
                <a:gd name="connsiteY8" fmla="*/ 0 h 4865439"/>
                <a:gd name="connsiteX9" fmla="*/ 1021191 w 4144733"/>
                <a:gd name="connsiteY9" fmla="*/ 165560 h 4865439"/>
                <a:gd name="connsiteX10" fmla="*/ 2784742 w 4144733"/>
                <a:gd name="connsiteY10" fmla="*/ 680900 h 4865439"/>
                <a:gd name="connsiteX11" fmla="*/ 3334872 w 4144733"/>
                <a:gd name="connsiteY11" fmla="*/ 1291242 h 4865439"/>
                <a:gd name="connsiteX12" fmla="*/ 3396276 w 4144733"/>
                <a:gd name="connsiteY12" fmla="*/ 1298860 h 4865439"/>
                <a:gd name="connsiteX13" fmla="*/ 3561117 w 4144733"/>
                <a:gd name="connsiteY13" fmla="*/ 1479661 h 4865439"/>
                <a:gd name="connsiteX14" fmla="*/ 3561340 w 4144733"/>
                <a:gd name="connsiteY14" fmla="*/ 1535080 h 4865439"/>
                <a:gd name="connsiteX15" fmla="*/ 3722604 w 4144733"/>
                <a:gd name="connsiteY15" fmla="*/ 1726990 h 4865439"/>
                <a:gd name="connsiteX16" fmla="*/ 4102592 w 4144733"/>
                <a:gd name="connsiteY16" fmla="*/ 3519512 h 4865439"/>
                <a:gd name="connsiteX17" fmla="*/ 3910513 w 4144733"/>
                <a:gd name="connsiteY17" fmla="*/ 4385669 h 4865439"/>
                <a:gd name="connsiteX18" fmla="*/ 4057963 w 4144733"/>
                <a:gd name="connsiteY18" fmla="*/ 4428964 h 4865439"/>
                <a:gd name="connsiteX19" fmla="*/ 3954046 w 4144733"/>
                <a:gd name="connsiteY19" fmla="*/ 4865439 h 4865439"/>
                <a:gd name="connsiteX20" fmla="*/ 3809443 w 4144733"/>
                <a:gd name="connsiteY20" fmla="*/ 4824545 h 4865439"/>
                <a:gd name="connsiteX21" fmla="*/ 3291153 w 4144733"/>
                <a:gd name="connsiteY21" fmla="*/ 4596953 h 4865439"/>
                <a:gd name="connsiteX22" fmla="*/ 3571202 w 4144733"/>
                <a:gd name="connsiteY22" fmla="*/ 3352779 h 4865439"/>
                <a:gd name="connsiteX23" fmla="*/ 3252386 w 4144733"/>
                <a:gd name="connsiteY23" fmla="*/ 2049487 h 4865439"/>
                <a:gd name="connsiteX24" fmla="*/ 2435133 w 4144733"/>
                <a:gd name="connsiteY24" fmla="*/ 1163055 h 4865439"/>
                <a:gd name="connsiteX25" fmla="*/ 1140867 w 4144733"/>
                <a:gd name="connsiteY25" fmla="*/ 761302 h 4865439"/>
                <a:gd name="connsiteX26" fmla="*/ 150413 w 4144733"/>
                <a:gd name="connsiteY26" fmla="*/ 1077187 h 4865439"/>
                <a:gd name="connsiteX0" fmla="*/ 150413 w 4144733"/>
                <a:gd name="connsiteY0" fmla="*/ 1077187 h 4865439"/>
                <a:gd name="connsiteX1" fmla="*/ 0 w 4144733"/>
                <a:gd name="connsiteY1" fmla="*/ 481442 h 4865439"/>
                <a:gd name="connsiteX2" fmla="*/ 127075 w 4144733"/>
                <a:gd name="connsiteY2" fmla="*/ 442651 h 4865439"/>
                <a:gd name="connsiteX3" fmla="*/ 157554 w 4144733"/>
                <a:gd name="connsiteY3" fmla="*/ 393463 h 4865439"/>
                <a:gd name="connsiteX4" fmla="*/ 393441 w 4144733"/>
                <a:gd name="connsiteY4" fmla="*/ 319342 h 4865439"/>
                <a:gd name="connsiteX5" fmla="*/ 433896 w 4144733"/>
                <a:gd name="connsiteY5" fmla="*/ 352592 h 4865439"/>
                <a:gd name="connsiteX6" fmla="*/ 630438 w 4144733"/>
                <a:gd name="connsiteY6" fmla="*/ 288171 h 4865439"/>
                <a:gd name="connsiteX7" fmla="*/ 589650 w 4144733"/>
                <a:gd name="connsiteY7" fmla="*/ 119840 h 4865439"/>
                <a:gd name="connsiteX8" fmla="*/ 972893 w 4144733"/>
                <a:gd name="connsiteY8" fmla="*/ 0 h 4865439"/>
                <a:gd name="connsiteX9" fmla="*/ 1021191 w 4144733"/>
                <a:gd name="connsiteY9" fmla="*/ 165560 h 4865439"/>
                <a:gd name="connsiteX10" fmla="*/ 2784742 w 4144733"/>
                <a:gd name="connsiteY10" fmla="*/ 680900 h 4865439"/>
                <a:gd name="connsiteX11" fmla="*/ 3334872 w 4144733"/>
                <a:gd name="connsiteY11" fmla="*/ 1291242 h 4865439"/>
                <a:gd name="connsiteX12" fmla="*/ 3396276 w 4144733"/>
                <a:gd name="connsiteY12" fmla="*/ 1298860 h 4865439"/>
                <a:gd name="connsiteX13" fmla="*/ 3561117 w 4144733"/>
                <a:gd name="connsiteY13" fmla="*/ 1479661 h 4865439"/>
                <a:gd name="connsiteX14" fmla="*/ 3561340 w 4144733"/>
                <a:gd name="connsiteY14" fmla="*/ 1535080 h 4865439"/>
                <a:gd name="connsiteX15" fmla="*/ 3722604 w 4144733"/>
                <a:gd name="connsiteY15" fmla="*/ 1726990 h 4865439"/>
                <a:gd name="connsiteX16" fmla="*/ 4102592 w 4144733"/>
                <a:gd name="connsiteY16" fmla="*/ 3519512 h 4865439"/>
                <a:gd name="connsiteX17" fmla="*/ 3910513 w 4144733"/>
                <a:gd name="connsiteY17" fmla="*/ 4385669 h 4865439"/>
                <a:gd name="connsiteX18" fmla="*/ 4057963 w 4144733"/>
                <a:gd name="connsiteY18" fmla="*/ 4428964 h 4865439"/>
                <a:gd name="connsiteX19" fmla="*/ 3954046 w 4144733"/>
                <a:gd name="connsiteY19" fmla="*/ 4865439 h 4865439"/>
                <a:gd name="connsiteX20" fmla="*/ 3809443 w 4144733"/>
                <a:gd name="connsiteY20" fmla="*/ 4824545 h 4865439"/>
                <a:gd name="connsiteX21" fmla="*/ 3571202 w 4144733"/>
                <a:gd name="connsiteY21" fmla="*/ 3352779 h 4865439"/>
                <a:gd name="connsiteX22" fmla="*/ 3252386 w 4144733"/>
                <a:gd name="connsiteY22" fmla="*/ 2049487 h 4865439"/>
                <a:gd name="connsiteX23" fmla="*/ 2435133 w 4144733"/>
                <a:gd name="connsiteY23" fmla="*/ 1163055 h 4865439"/>
                <a:gd name="connsiteX24" fmla="*/ 1140867 w 4144733"/>
                <a:gd name="connsiteY24" fmla="*/ 761302 h 4865439"/>
                <a:gd name="connsiteX25" fmla="*/ 150413 w 4144733"/>
                <a:gd name="connsiteY25" fmla="*/ 1077187 h 4865439"/>
                <a:gd name="connsiteX0" fmla="*/ 150413 w 4144733"/>
                <a:gd name="connsiteY0" fmla="*/ 1077187 h 4865439"/>
                <a:gd name="connsiteX1" fmla="*/ 0 w 4144733"/>
                <a:gd name="connsiteY1" fmla="*/ 481442 h 4865439"/>
                <a:gd name="connsiteX2" fmla="*/ 127075 w 4144733"/>
                <a:gd name="connsiteY2" fmla="*/ 442651 h 4865439"/>
                <a:gd name="connsiteX3" fmla="*/ 157554 w 4144733"/>
                <a:gd name="connsiteY3" fmla="*/ 393463 h 4865439"/>
                <a:gd name="connsiteX4" fmla="*/ 393441 w 4144733"/>
                <a:gd name="connsiteY4" fmla="*/ 319342 h 4865439"/>
                <a:gd name="connsiteX5" fmla="*/ 433896 w 4144733"/>
                <a:gd name="connsiteY5" fmla="*/ 352592 h 4865439"/>
                <a:gd name="connsiteX6" fmla="*/ 630438 w 4144733"/>
                <a:gd name="connsiteY6" fmla="*/ 288171 h 4865439"/>
                <a:gd name="connsiteX7" fmla="*/ 589650 w 4144733"/>
                <a:gd name="connsiteY7" fmla="*/ 119840 h 4865439"/>
                <a:gd name="connsiteX8" fmla="*/ 972893 w 4144733"/>
                <a:gd name="connsiteY8" fmla="*/ 0 h 4865439"/>
                <a:gd name="connsiteX9" fmla="*/ 1021191 w 4144733"/>
                <a:gd name="connsiteY9" fmla="*/ 165560 h 4865439"/>
                <a:gd name="connsiteX10" fmla="*/ 2784742 w 4144733"/>
                <a:gd name="connsiteY10" fmla="*/ 680900 h 4865439"/>
                <a:gd name="connsiteX11" fmla="*/ 3334872 w 4144733"/>
                <a:gd name="connsiteY11" fmla="*/ 1291242 h 4865439"/>
                <a:gd name="connsiteX12" fmla="*/ 3396276 w 4144733"/>
                <a:gd name="connsiteY12" fmla="*/ 1298860 h 4865439"/>
                <a:gd name="connsiteX13" fmla="*/ 3561117 w 4144733"/>
                <a:gd name="connsiteY13" fmla="*/ 1479661 h 4865439"/>
                <a:gd name="connsiteX14" fmla="*/ 3561340 w 4144733"/>
                <a:gd name="connsiteY14" fmla="*/ 1535080 h 4865439"/>
                <a:gd name="connsiteX15" fmla="*/ 3722604 w 4144733"/>
                <a:gd name="connsiteY15" fmla="*/ 1726990 h 4865439"/>
                <a:gd name="connsiteX16" fmla="*/ 4102592 w 4144733"/>
                <a:gd name="connsiteY16" fmla="*/ 3519512 h 4865439"/>
                <a:gd name="connsiteX17" fmla="*/ 3910513 w 4144733"/>
                <a:gd name="connsiteY17" fmla="*/ 4385669 h 4865439"/>
                <a:gd name="connsiteX18" fmla="*/ 4057963 w 4144733"/>
                <a:gd name="connsiteY18" fmla="*/ 4428964 h 4865439"/>
                <a:gd name="connsiteX19" fmla="*/ 3954046 w 4144733"/>
                <a:gd name="connsiteY19" fmla="*/ 4865439 h 4865439"/>
                <a:gd name="connsiteX20" fmla="*/ 3571202 w 4144733"/>
                <a:gd name="connsiteY20" fmla="*/ 3352779 h 4865439"/>
                <a:gd name="connsiteX21" fmla="*/ 3252386 w 4144733"/>
                <a:gd name="connsiteY21" fmla="*/ 2049487 h 4865439"/>
                <a:gd name="connsiteX22" fmla="*/ 2435133 w 4144733"/>
                <a:gd name="connsiteY22" fmla="*/ 1163055 h 4865439"/>
                <a:gd name="connsiteX23" fmla="*/ 1140867 w 4144733"/>
                <a:gd name="connsiteY23" fmla="*/ 761302 h 4865439"/>
                <a:gd name="connsiteX24" fmla="*/ 150413 w 4144733"/>
                <a:gd name="connsiteY24" fmla="*/ 1077187 h 4865439"/>
                <a:gd name="connsiteX0" fmla="*/ 150413 w 4144733"/>
                <a:gd name="connsiteY0" fmla="*/ 1077187 h 4428964"/>
                <a:gd name="connsiteX1" fmla="*/ 0 w 4144733"/>
                <a:gd name="connsiteY1" fmla="*/ 481442 h 4428964"/>
                <a:gd name="connsiteX2" fmla="*/ 127075 w 4144733"/>
                <a:gd name="connsiteY2" fmla="*/ 442651 h 4428964"/>
                <a:gd name="connsiteX3" fmla="*/ 157554 w 4144733"/>
                <a:gd name="connsiteY3" fmla="*/ 393463 h 4428964"/>
                <a:gd name="connsiteX4" fmla="*/ 393441 w 4144733"/>
                <a:gd name="connsiteY4" fmla="*/ 319342 h 4428964"/>
                <a:gd name="connsiteX5" fmla="*/ 433896 w 4144733"/>
                <a:gd name="connsiteY5" fmla="*/ 352592 h 4428964"/>
                <a:gd name="connsiteX6" fmla="*/ 630438 w 4144733"/>
                <a:gd name="connsiteY6" fmla="*/ 288171 h 4428964"/>
                <a:gd name="connsiteX7" fmla="*/ 589650 w 4144733"/>
                <a:gd name="connsiteY7" fmla="*/ 119840 h 4428964"/>
                <a:gd name="connsiteX8" fmla="*/ 972893 w 4144733"/>
                <a:gd name="connsiteY8" fmla="*/ 0 h 4428964"/>
                <a:gd name="connsiteX9" fmla="*/ 1021191 w 4144733"/>
                <a:gd name="connsiteY9" fmla="*/ 165560 h 4428964"/>
                <a:gd name="connsiteX10" fmla="*/ 2784742 w 4144733"/>
                <a:gd name="connsiteY10" fmla="*/ 680900 h 4428964"/>
                <a:gd name="connsiteX11" fmla="*/ 3334872 w 4144733"/>
                <a:gd name="connsiteY11" fmla="*/ 1291242 h 4428964"/>
                <a:gd name="connsiteX12" fmla="*/ 3396276 w 4144733"/>
                <a:gd name="connsiteY12" fmla="*/ 1298860 h 4428964"/>
                <a:gd name="connsiteX13" fmla="*/ 3561117 w 4144733"/>
                <a:gd name="connsiteY13" fmla="*/ 1479661 h 4428964"/>
                <a:gd name="connsiteX14" fmla="*/ 3561340 w 4144733"/>
                <a:gd name="connsiteY14" fmla="*/ 1535080 h 4428964"/>
                <a:gd name="connsiteX15" fmla="*/ 3722604 w 4144733"/>
                <a:gd name="connsiteY15" fmla="*/ 1726990 h 4428964"/>
                <a:gd name="connsiteX16" fmla="*/ 4102592 w 4144733"/>
                <a:gd name="connsiteY16" fmla="*/ 3519512 h 4428964"/>
                <a:gd name="connsiteX17" fmla="*/ 3910513 w 4144733"/>
                <a:gd name="connsiteY17" fmla="*/ 4385669 h 4428964"/>
                <a:gd name="connsiteX18" fmla="*/ 4057963 w 4144733"/>
                <a:gd name="connsiteY18" fmla="*/ 4428964 h 4428964"/>
                <a:gd name="connsiteX19" fmla="*/ 3571202 w 4144733"/>
                <a:gd name="connsiteY19" fmla="*/ 3352779 h 4428964"/>
                <a:gd name="connsiteX20" fmla="*/ 3252386 w 4144733"/>
                <a:gd name="connsiteY20" fmla="*/ 2049487 h 4428964"/>
                <a:gd name="connsiteX21" fmla="*/ 2435133 w 4144733"/>
                <a:gd name="connsiteY21" fmla="*/ 1163055 h 4428964"/>
                <a:gd name="connsiteX22" fmla="*/ 1140867 w 4144733"/>
                <a:gd name="connsiteY22" fmla="*/ 761302 h 4428964"/>
                <a:gd name="connsiteX23" fmla="*/ 150413 w 4144733"/>
                <a:gd name="connsiteY23" fmla="*/ 1077187 h 4428964"/>
                <a:gd name="connsiteX0" fmla="*/ 150413 w 4144733"/>
                <a:gd name="connsiteY0" fmla="*/ 1077187 h 4385668"/>
                <a:gd name="connsiteX1" fmla="*/ 0 w 4144733"/>
                <a:gd name="connsiteY1" fmla="*/ 481442 h 4385668"/>
                <a:gd name="connsiteX2" fmla="*/ 127075 w 4144733"/>
                <a:gd name="connsiteY2" fmla="*/ 442651 h 4385668"/>
                <a:gd name="connsiteX3" fmla="*/ 157554 w 4144733"/>
                <a:gd name="connsiteY3" fmla="*/ 393463 h 4385668"/>
                <a:gd name="connsiteX4" fmla="*/ 393441 w 4144733"/>
                <a:gd name="connsiteY4" fmla="*/ 319342 h 4385668"/>
                <a:gd name="connsiteX5" fmla="*/ 433896 w 4144733"/>
                <a:gd name="connsiteY5" fmla="*/ 352592 h 4385668"/>
                <a:gd name="connsiteX6" fmla="*/ 630438 w 4144733"/>
                <a:gd name="connsiteY6" fmla="*/ 288171 h 4385668"/>
                <a:gd name="connsiteX7" fmla="*/ 589650 w 4144733"/>
                <a:gd name="connsiteY7" fmla="*/ 119840 h 4385668"/>
                <a:gd name="connsiteX8" fmla="*/ 972893 w 4144733"/>
                <a:gd name="connsiteY8" fmla="*/ 0 h 4385668"/>
                <a:gd name="connsiteX9" fmla="*/ 1021191 w 4144733"/>
                <a:gd name="connsiteY9" fmla="*/ 165560 h 4385668"/>
                <a:gd name="connsiteX10" fmla="*/ 2784742 w 4144733"/>
                <a:gd name="connsiteY10" fmla="*/ 680900 h 4385668"/>
                <a:gd name="connsiteX11" fmla="*/ 3334872 w 4144733"/>
                <a:gd name="connsiteY11" fmla="*/ 1291242 h 4385668"/>
                <a:gd name="connsiteX12" fmla="*/ 3396276 w 4144733"/>
                <a:gd name="connsiteY12" fmla="*/ 1298860 h 4385668"/>
                <a:gd name="connsiteX13" fmla="*/ 3561117 w 4144733"/>
                <a:gd name="connsiteY13" fmla="*/ 1479661 h 4385668"/>
                <a:gd name="connsiteX14" fmla="*/ 3561340 w 4144733"/>
                <a:gd name="connsiteY14" fmla="*/ 1535080 h 4385668"/>
                <a:gd name="connsiteX15" fmla="*/ 3722604 w 4144733"/>
                <a:gd name="connsiteY15" fmla="*/ 1726990 h 4385668"/>
                <a:gd name="connsiteX16" fmla="*/ 4102592 w 4144733"/>
                <a:gd name="connsiteY16" fmla="*/ 3519512 h 4385668"/>
                <a:gd name="connsiteX17" fmla="*/ 3910513 w 4144733"/>
                <a:gd name="connsiteY17" fmla="*/ 4385669 h 4385668"/>
                <a:gd name="connsiteX18" fmla="*/ 3571202 w 4144733"/>
                <a:gd name="connsiteY18" fmla="*/ 3352779 h 4385668"/>
                <a:gd name="connsiteX19" fmla="*/ 3252386 w 4144733"/>
                <a:gd name="connsiteY19" fmla="*/ 2049487 h 4385668"/>
                <a:gd name="connsiteX20" fmla="*/ 2435133 w 4144733"/>
                <a:gd name="connsiteY20" fmla="*/ 1163055 h 4385668"/>
                <a:gd name="connsiteX21" fmla="*/ 1140867 w 4144733"/>
                <a:gd name="connsiteY21" fmla="*/ 761302 h 4385668"/>
                <a:gd name="connsiteX22" fmla="*/ 150413 w 4144733"/>
                <a:gd name="connsiteY22" fmla="*/ 1077187 h 4385668"/>
                <a:gd name="connsiteX0" fmla="*/ 150413 w 4144733"/>
                <a:gd name="connsiteY0" fmla="*/ 1077187 h 3519512"/>
                <a:gd name="connsiteX1" fmla="*/ 0 w 4144733"/>
                <a:gd name="connsiteY1" fmla="*/ 481442 h 3519512"/>
                <a:gd name="connsiteX2" fmla="*/ 127075 w 4144733"/>
                <a:gd name="connsiteY2" fmla="*/ 442651 h 3519512"/>
                <a:gd name="connsiteX3" fmla="*/ 157554 w 4144733"/>
                <a:gd name="connsiteY3" fmla="*/ 393463 h 3519512"/>
                <a:gd name="connsiteX4" fmla="*/ 393441 w 4144733"/>
                <a:gd name="connsiteY4" fmla="*/ 319342 h 3519512"/>
                <a:gd name="connsiteX5" fmla="*/ 433896 w 4144733"/>
                <a:gd name="connsiteY5" fmla="*/ 352592 h 3519512"/>
                <a:gd name="connsiteX6" fmla="*/ 630438 w 4144733"/>
                <a:gd name="connsiteY6" fmla="*/ 288171 h 3519512"/>
                <a:gd name="connsiteX7" fmla="*/ 589650 w 4144733"/>
                <a:gd name="connsiteY7" fmla="*/ 119840 h 3519512"/>
                <a:gd name="connsiteX8" fmla="*/ 972893 w 4144733"/>
                <a:gd name="connsiteY8" fmla="*/ 0 h 3519512"/>
                <a:gd name="connsiteX9" fmla="*/ 1021191 w 4144733"/>
                <a:gd name="connsiteY9" fmla="*/ 165560 h 3519512"/>
                <a:gd name="connsiteX10" fmla="*/ 2784742 w 4144733"/>
                <a:gd name="connsiteY10" fmla="*/ 680900 h 3519512"/>
                <a:gd name="connsiteX11" fmla="*/ 3334872 w 4144733"/>
                <a:gd name="connsiteY11" fmla="*/ 1291242 h 3519512"/>
                <a:gd name="connsiteX12" fmla="*/ 3396276 w 4144733"/>
                <a:gd name="connsiteY12" fmla="*/ 1298860 h 3519512"/>
                <a:gd name="connsiteX13" fmla="*/ 3561117 w 4144733"/>
                <a:gd name="connsiteY13" fmla="*/ 1479661 h 3519512"/>
                <a:gd name="connsiteX14" fmla="*/ 3561340 w 4144733"/>
                <a:gd name="connsiteY14" fmla="*/ 1535080 h 3519512"/>
                <a:gd name="connsiteX15" fmla="*/ 3722604 w 4144733"/>
                <a:gd name="connsiteY15" fmla="*/ 1726990 h 3519512"/>
                <a:gd name="connsiteX16" fmla="*/ 4102592 w 4144733"/>
                <a:gd name="connsiteY16" fmla="*/ 3519512 h 3519512"/>
                <a:gd name="connsiteX17" fmla="*/ 3571202 w 4144733"/>
                <a:gd name="connsiteY17" fmla="*/ 3352779 h 3519512"/>
                <a:gd name="connsiteX18" fmla="*/ 3252386 w 4144733"/>
                <a:gd name="connsiteY18" fmla="*/ 2049487 h 3519512"/>
                <a:gd name="connsiteX19" fmla="*/ 2435133 w 4144733"/>
                <a:gd name="connsiteY19" fmla="*/ 1163055 h 3519512"/>
                <a:gd name="connsiteX20" fmla="*/ 1140867 w 4144733"/>
                <a:gd name="connsiteY20" fmla="*/ 761302 h 3519512"/>
                <a:gd name="connsiteX21" fmla="*/ 150413 w 4144733"/>
                <a:gd name="connsiteY21" fmla="*/ 1077187 h 3519512"/>
                <a:gd name="connsiteX0" fmla="*/ 150413 w 3722630"/>
                <a:gd name="connsiteY0" fmla="*/ 1077187 h 3352779"/>
                <a:gd name="connsiteX1" fmla="*/ 0 w 3722630"/>
                <a:gd name="connsiteY1" fmla="*/ 481442 h 3352779"/>
                <a:gd name="connsiteX2" fmla="*/ 127075 w 3722630"/>
                <a:gd name="connsiteY2" fmla="*/ 442651 h 3352779"/>
                <a:gd name="connsiteX3" fmla="*/ 157554 w 3722630"/>
                <a:gd name="connsiteY3" fmla="*/ 393463 h 3352779"/>
                <a:gd name="connsiteX4" fmla="*/ 393441 w 3722630"/>
                <a:gd name="connsiteY4" fmla="*/ 319342 h 3352779"/>
                <a:gd name="connsiteX5" fmla="*/ 433896 w 3722630"/>
                <a:gd name="connsiteY5" fmla="*/ 352592 h 3352779"/>
                <a:gd name="connsiteX6" fmla="*/ 630438 w 3722630"/>
                <a:gd name="connsiteY6" fmla="*/ 288171 h 3352779"/>
                <a:gd name="connsiteX7" fmla="*/ 589650 w 3722630"/>
                <a:gd name="connsiteY7" fmla="*/ 119840 h 3352779"/>
                <a:gd name="connsiteX8" fmla="*/ 972893 w 3722630"/>
                <a:gd name="connsiteY8" fmla="*/ 0 h 3352779"/>
                <a:gd name="connsiteX9" fmla="*/ 1021191 w 3722630"/>
                <a:gd name="connsiteY9" fmla="*/ 165560 h 3352779"/>
                <a:gd name="connsiteX10" fmla="*/ 2784742 w 3722630"/>
                <a:gd name="connsiteY10" fmla="*/ 680900 h 3352779"/>
                <a:gd name="connsiteX11" fmla="*/ 3334872 w 3722630"/>
                <a:gd name="connsiteY11" fmla="*/ 1291242 h 3352779"/>
                <a:gd name="connsiteX12" fmla="*/ 3396276 w 3722630"/>
                <a:gd name="connsiteY12" fmla="*/ 1298860 h 3352779"/>
                <a:gd name="connsiteX13" fmla="*/ 3561117 w 3722630"/>
                <a:gd name="connsiteY13" fmla="*/ 1479661 h 3352779"/>
                <a:gd name="connsiteX14" fmla="*/ 3561340 w 3722630"/>
                <a:gd name="connsiteY14" fmla="*/ 1535080 h 3352779"/>
                <a:gd name="connsiteX15" fmla="*/ 3722604 w 3722630"/>
                <a:gd name="connsiteY15" fmla="*/ 1726990 h 3352779"/>
                <a:gd name="connsiteX16" fmla="*/ 3571202 w 3722630"/>
                <a:gd name="connsiteY16" fmla="*/ 3352779 h 3352779"/>
                <a:gd name="connsiteX17" fmla="*/ 3252386 w 3722630"/>
                <a:gd name="connsiteY17" fmla="*/ 2049487 h 3352779"/>
                <a:gd name="connsiteX18" fmla="*/ 2435133 w 3722630"/>
                <a:gd name="connsiteY18" fmla="*/ 1163055 h 3352779"/>
                <a:gd name="connsiteX19" fmla="*/ 1140867 w 3722630"/>
                <a:gd name="connsiteY19" fmla="*/ 761302 h 3352779"/>
                <a:gd name="connsiteX20" fmla="*/ 150413 w 3722630"/>
                <a:gd name="connsiteY20" fmla="*/ 1077187 h 3352779"/>
                <a:gd name="connsiteX0" fmla="*/ 150413 w 3722604"/>
                <a:gd name="connsiteY0" fmla="*/ 1077187 h 2066137"/>
                <a:gd name="connsiteX1" fmla="*/ 0 w 3722604"/>
                <a:gd name="connsiteY1" fmla="*/ 481442 h 2066137"/>
                <a:gd name="connsiteX2" fmla="*/ 127075 w 3722604"/>
                <a:gd name="connsiteY2" fmla="*/ 442651 h 2066137"/>
                <a:gd name="connsiteX3" fmla="*/ 157554 w 3722604"/>
                <a:gd name="connsiteY3" fmla="*/ 393463 h 2066137"/>
                <a:gd name="connsiteX4" fmla="*/ 393441 w 3722604"/>
                <a:gd name="connsiteY4" fmla="*/ 319342 h 2066137"/>
                <a:gd name="connsiteX5" fmla="*/ 433896 w 3722604"/>
                <a:gd name="connsiteY5" fmla="*/ 352592 h 2066137"/>
                <a:gd name="connsiteX6" fmla="*/ 630438 w 3722604"/>
                <a:gd name="connsiteY6" fmla="*/ 288171 h 2066137"/>
                <a:gd name="connsiteX7" fmla="*/ 589650 w 3722604"/>
                <a:gd name="connsiteY7" fmla="*/ 119840 h 2066137"/>
                <a:gd name="connsiteX8" fmla="*/ 972893 w 3722604"/>
                <a:gd name="connsiteY8" fmla="*/ 0 h 2066137"/>
                <a:gd name="connsiteX9" fmla="*/ 1021191 w 3722604"/>
                <a:gd name="connsiteY9" fmla="*/ 165560 h 2066137"/>
                <a:gd name="connsiteX10" fmla="*/ 2784742 w 3722604"/>
                <a:gd name="connsiteY10" fmla="*/ 680900 h 2066137"/>
                <a:gd name="connsiteX11" fmla="*/ 3334872 w 3722604"/>
                <a:gd name="connsiteY11" fmla="*/ 1291242 h 2066137"/>
                <a:gd name="connsiteX12" fmla="*/ 3396276 w 3722604"/>
                <a:gd name="connsiteY12" fmla="*/ 1298860 h 2066137"/>
                <a:gd name="connsiteX13" fmla="*/ 3561117 w 3722604"/>
                <a:gd name="connsiteY13" fmla="*/ 1479661 h 2066137"/>
                <a:gd name="connsiteX14" fmla="*/ 3561340 w 3722604"/>
                <a:gd name="connsiteY14" fmla="*/ 1535080 h 2066137"/>
                <a:gd name="connsiteX15" fmla="*/ 3722604 w 3722604"/>
                <a:gd name="connsiteY15" fmla="*/ 1726990 h 2066137"/>
                <a:gd name="connsiteX16" fmla="*/ 3252386 w 3722604"/>
                <a:gd name="connsiteY16" fmla="*/ 2049487 h 2066137"/>
                <a:gd name="connsiteX17" fmla="*/ 2435133 w 3722604"/>
                <a:gd name="connsiteY17" fmla="*/ 1163055 h 2066137"/>
                <a:gd name="connsiteX18" fmla="*/ 1140867 w 3722604"/>
                <a:gd name="connsiteY18" fmla="*/ 761302 h 2066137"/>
                <a:gd name="connsiteX19" fmla="*/ 150413 w 3722604"/>
                <a:gd name="connsiteY19" fmla="*/ 1077187 h 2066137"/>
                <a:gd name="connsiteX0" fmla="*/ 150413 w 3722604"/>
                <a:gd name="connsiteY0" fmla="*/ 1077187 h 1726990"/>
                <a:gd name="connsiteX1" fmla="*/ 0 w 3722604"/>
                <a:gd name="connsiteY1" fmla="*/ 481442 h 1726990"/>
                <a:gd name="connsiteX2" fmla="*/ 127075 w 3722604"/>
                <a:gd name="connsiteY2" fmla="*/ 442651 h 1726990"/>
                <a:gd name="connsiteX3" fmla="*/ 157554 w 3722604"/>
                <a:gd name="connsiteY3" fmla="*/ 393463 h 1726990"/>
                <a:gd name="connsiteX4" fmla="*/ 393441 w 3722604"/>
                <a:gd name="connsiteY4" fmla="*/ 319342 h 1726990"/>
                <a:gd name="connsiteX5" fmla="*/ 433896 w 3722604"/>
                <a:gd name="connsiteY5" fmla="*/ 352592 h 1726990"/>
                <a:gd name="connsiteX6" fmla="*/ 630438 w 3722604"/>
                <a:gd name="connsiteY6" fmla="*/ 288171 h 1726990"/>
                <a:gd name="connsiteX7" fmla="*/ 589650 w 3722604"/>
                <a:gd name="connsiteY7" fmla="*/ 119840 h 1726990"/>
                <a:gd name="connsiteX8" fmla="*/ 972893 w 3722604"/>
                <a:gd name="connsiteY8" fmla="*/ 0 h 1726990"/>
                <a:gd name="connsiteX9" fmla="*/ 1021191 w 3722604"/>
                <a:gd name="connsiteY9" fmla="*/ 165560 h 1726990"/>
                <a:gd name="connsiteX10" fmla="*/ 2784742 w 3722604"/>
                <a:gd name="connsiteY10" fmla="*/ 680900 h 1726990"/>
                <a:gd name="connsiteX11" fmla="*/ 3334872 w 3722604"/>
                <a:gd name="connsiteY11" fmla="*/ 1291242 h 1726990"/>
                <a:gd name="connsiteX12" fmla="*/ 3396276 w 3722604"/>
                <a:gd name="connsiteY12" fmla="*/ 1298860 h 1726990"/>
                <a:gd name="connsiteX13" fmla="*/ 3561117 w 3722604"/>
                <a:gd name="connsiteY13" fmla="*/ 1479661 h 1726990"/>
                <a:gd name="connsiteX14" fmla="*/ 3561340 w 3722604"/>
                <a:gd name="connsiteY14" fmla="*/ 1535080 h 1726990"/>
                <a:gd name="connsiteX15" fmla="*/ 3722604 w 3722604"/>
                <a:gd name="connsiteY15" fmla="*/ 1726990 h 1726990"/>
                <a:gd name="connsiteX16" fmla="*/ 2435133 w 3722604"/>
                <a:gd name="connsiteY16" fmla="*/ 1163055 h 1726990"/>
                <a:gd name="connsiteX17" fmla="*/ 1140867 w 3722604"/>
                <a:gd name="connsiteY17" fmla="*/ 761302 h 1726990"/>
                <a:gd name="connsiteX18" fmla="*/ 150413 w 3722604"/>
                <a:gd name="connsiteY18" fmla="*/ 1077187 h 1726990"/>
                <a:gd name="connsiteX0" fmla="*/ 150413 w 3561340"/>
                <a:gd name="connsiteY0" fmla="*/ 1077187 h 1535080"/>
                <a:gd name="connsiteX1" fmla="*/ 0 w 3561340"/>
                <a:gd name="connsiteY1" fmla="*/ 481442 h 1535080"/>
                <a:gd name="connsiteX2" fmla="*/ 127075 w 3561340"/>
                <a:gd name="connsiteY2" fmla="*/ 442651 h 1535080"/>
                <a:gd name="connsiteX3" fmla="*/ 157554 w 3561340"/>
                <a:gd name="connsiteY3" fmla="*/ 393463 h 1535080"/>
                <a:gd name="connsiteX4" fmla="*/ 393441 w 3561340"/>
                <a:gd name="connsiteY4" fmla="*/ 319342 h 1535080"/>
                <a:gd name="connsiteX5" fmla="*/ 433896 w 3561340"/>
                <a:gd name="connsiteY5" fmla="*/ 352592 h 1535080"/>
                <a:gd name="connsiteX6" fmla="*/ 630438 w 3561340"/>
                <a:gd name="connsiteY6" fmla="*/ 288171 h 1535080"/>
                <a:gd name="connsiteX7" fmla="*/ 589650 w 3561340"/>
                <a:gd name="connsiteY7" fmla="*/ 119840 h 1535080"/>
                <a:gd name="connsiteX8" fmla="*/ 972893 w 3561340"/>
                <a:gd name="connsiteY8" fmla="*/ 0 h 1535080"/>
                <a:gd name="connsiteX9" fmla="*/ 1021191 w 3561340"/>
                <a:gd name="connsiteY9" fmla="*/ 165560 h 1535080"/>
                <a:gd name="connsiteX10" fmla="*/ 2784742 w 3561340"/>
                <a:gd name="connsiteY10" fmla="*/ 680900 h 1535080"/>
                <a:gd name="connsiteX11" fmla="*/ 3334872 w 3561340"/>
                <a:gd name="connsiteY11" fmla="*/ 1291242 h 1535080"/>
                <a:gd name="connsiteX12" fmla="*/ 3396276 w 3561340"/>
                <a:gd name="connsiteY12" fmla="*/ 1298860 h 1535080"/>
                <a:gd name="connsiteX13" fmla="*/ 3561117 w 3561340"/>
                <a:gd name="connsiteY13" fmla="*/ 1479661 h 1535080"/>
                <a:gd name="connsiteX14" fmla="*/ 3561340 w 3561340"/>
                <a:gd name="connsiteY14" fmla="*/ 1535080 h 1535080"/>
                <a:gd name="connsiteX15" fmla="*/ 2435133 w 3561340"/>
                <a:gd name="connsiteY15" fmla="*/ 1163055 h 1535080"/>
                <a:gd name="connsiteX16" fmla="*/ 1140867 w 3561340"/>
                <a:gd name="connsiteY16" fmla="*/ 761302 h 1535080"/>
                <a:gd name="connsiteX17" fmla="*/ 150413 w 3561340"/>
                <a:gd name="connsiteY17" fmla="*/ 1077187 h 1535080"/>
                <a:gd name="connsiteX0" fmla="*/ 150413 w 3561117"/>
                <a:gd name="connsiteY0" fmla="*/ 1077187 h 1479661"/>
                <a:gd name="connsiteX1" fmla="*/ 0 w 3561117"/>
                <a:gd name="connsiteY1" fmla="*/ 481442 h 1479661"/>
                <a:gd name="connsiteX2" fmla="*/ 127075 w 3561117"/>
                <a:gd name="connsiteY2" fmla="*/ 442651 h 1479661"/>
                <a:gd name="connsiteX3" fmla="*/ 157554 w 3561117"/>
                <a:gd name="connsiteY3" fmla="*/ 393463 h 1479661"/>
                <a:gd name="connsiteX4" fmla="*/ 393441 w 3561117"/>
                <a:gd name="connsiteY4" fmla="*/ 319342 h 1479661"/>
                <a:gd name="connsiteX5" fmla="*/ 433896 w 3561117"/>
                <a:gd name="connsiteY5" fmla="*/ 352592 h 1479661"/>
                <a:gd name="connsiteX6" fmla="*/ 630438 w 3561117"/>
                <a:gd name="connsiteY6" fmla="*/ 288171 h 1479661"/>
                <a:gd name="connsiteX7" fmla="*/ 589650 w 3561117"/>
                <a:gd name="connsiteY7" fmla="*/ 119840 h 1479661"/>
                <a:gd name="connsiteX8" fmla="*/ 972893 w 3561117"/>
                <a:gd name="connsiteY8" fmla="*/ 0 h 1479661"/>
                <a:gd name="connsiteX9" fmla="*/ 1021191 w 3561117"/>
                <a:gd name="connsiteY9" fmla="*/ 165560 h 1479661"/>
                <a:gd name="connsiteX10" fmla="*/ 2784742 w 3561117"/>
                <a:gd name="connsiteY10" fmla="*/ 680900 h 1479661"/>
                <a:gd name="connsiteX11" fmla="*/ 3334872 w 3561117"/>
                <a:gd name="connsiteY11" fmla="*/ 1291242 h 1479661"/>
                <a:gd name="connsiteX12" fmla="*/ 3396276 w 3561117"/>
                <a:gd name="connsiteY12" fmla="*/ 1298860 h 1479661"/>
                <a:gd name="connsiteX13" fmla="*/ 3561117 w 3561117"/>
                <a:gd name="connsiteY13" fmla="*/ 1479661 h 1479661"/>
                <a:gd name="connsiteX14" fmla="*/ 2435133 w 3561117"/>
                <a:gd name="connsiteY14" fmla="*/ 1163055 h 1479661"/>
                <a:gd name="connsiteX15" fmla="*/ 1140867 w 3561117"/>
                <a:gd name="connsiteY15" fmla="*/ 761302 h 1479661"/>
                <a:gd name="connsiteX16" fmla="*/ 150413 w 3561117"/>
                <a:gd name="connsiteY16" fmla="*/ 1077187 h 1479661"/>
                <a:gd name="connsiteX0" fmla="*/ 150413 w 3396276"/>
                <a:gd name="connsiteY0" fmla="*/ 1077187 h 1298860"/>
                <a:gd name="connsiteX1" fmla="*/ 0 w 3396276"/>
                <a:gd name="connsiteY1" fmla="*/ 481442 h 1298860"/>
                <a:gd name="connsiteX2" fmla="*/ 127075 w 3396276"/>
                <a:gd name="connsiteY2" fmla="*/ 442651 h 1298860"/>
                <a:gd name="connsiteX3" fmla="*/ 157554 w 3396276"/>
                <a:gd name="connsiteY3" fmla="*/ 393463 h 1298860"/>
                <a:gd name="connsiteX4" fmla="*/ 393441 w 3396276"/>
                <a:gd name="connsiteY4" fmla="*/ 319342 h 1298860"/>
                <a:gd name="connsiteX5" fmla="*/ 433896 w 3396276"/>
                <a:gd name="connsiteY5" fmla="*/ 352592 h 1298860"/>
                <a:gd name="connsiteX6" fmla="*/ 630438 w 3396276"/>
                <a:gd name="connsiteY6" fmla="*/ 288171 h 1298860"/>
                <a:gd name="connsiteX7" fmla="*/ 589650 w 3396276"/>
                <a:gd name="connsiteY7" fmla="*/ 119840 h 1298860"/>
                <a:gd name="connsiteX8" fmla="*/ 972893 w 3396276"/>
                <a:gd name="connsiteY8" fmla="*/ 0 h 1298860"/>
                <a:gd name="connsiteX9" fmla="*/ 1021191 w 3396276"/>
                <a:gd name="connsiteY9" fmla="*/ 165560 h 1298860"/>
                <a:gd name="connsiteX10" fmla="*/ 2784742 w 3396276"/>
                <a:gd name="connsiteY10" fmla="*/ 680900 h 1298860"/>
                <a:gd name="connsiteX11" fmla="*/ 3334872 w 3396276"/>
                <a:gd name="connsiteY11" fmla="*/ 1291242 h 1298860"/>
                <a:gd name="connsiteX12" fmla="*/ 3396276 w 3396276"/>
                <a:gd name="connsiteY12" fmla="*/ 1298860 h 1298860"/>
                <a:gd name="connsiteX13" fmla="*/ 2435133 w 3396276"/>
                <a:gd name="connsiteY13" fmla="*/ 1163055 h 1298860"/>
                <a:gd name="connsiteX14" fmla="*/ 1140867 w 3396276"/>
                <a:gd name="connsiteY14" fmla="*/ 761302 h 1298860"/>
                <a:gd name="connsiteX15" fmla="*/ 150413 w 3396276"/>
                <a:gd name="connsiteY15" fmla="*/ 1077187 h 1298860"/>
                <a:gd name="connsiteX0" fmla="*/ 150413 w 3334872"/>
                <a:gd name="connsiteY0" fmla="*/ 1077187 h 1291242"/>
                <a:gd name="connsiteX1" fmla="*/ 0 w 3334872"/>
                <a:gd name="connsiteY1" fmla="*/ 481442 h 1291242"/>
                <a:gd name="connsiteX2" fmla="*/ 127075 w 3334872"/>
                <a:gd name="connsiteY2" fmla="*/ 442651 h 1291242"/>
                <a:gd name="connsiteX3" fmla="*/ 157554 w 3334872"/>
                <a:gd name="connsiteY3" fmla="*/ 393463 h 1291242"/>
                <a:gd name="connsiteX4" fmla="*/ 393441 w 3334872"/>
                <a:gd name="connsiteY4" fmla="*/ 319342 h 1291242"/>
                <a:gd name="connsiteX5" fmla="*/ 433896 w 3334872"/>
                <a:gd name="connsiteY5" fmla="*/ 352592 h 1291242"/>
                <a:gd name="connsiteX6" fmla="*/ 630438 w 3334872"/>
                <a:gd name="connsiteY6" fmla="*/ 288171 h 1291242"/>
                <a:gd name="connsiteX7" fmla="*/ 589650 w 3334872"/>
                <a:gd name="connsiteY7" fmla="*/ 119840 h 1291242"/>
                <a:gd name="connsiteX8" fmla="*/ 972893 w 3334872"/>
                <a:gd name="connsiteY8" fmla="*/ 0 h 1291242"/>
                <a:gd name="connsiteX9" fmla="*/ 1021191 w 3334872"/>
                <a:gd name="connsiteY9" fmla="*/ 165560 h 1291242"/>
                <a:gd name="connsiteX10" fmla="*/ 2784742 w 3334872"/>
                <a:gd name="connsiteY10" fmla="*/ 680900 h 1291242"/>
                <a:gd name="connsiteX11" fmla="*/ 3334872 w 3334872"/>
                <a:gd name="connsiteY11" fmla="*/ 1291242 h 1291242"/>
                <a:gd name="connsiteX12" fmla="*/ 2435133 w 3334872"/>
                <a:gd name="connsiteY12" fmla="*/ 1163055 h 1291242"/>
                <a:gd name="connsiteX13" fmla="*/ 1140867 w 3334872"/>
                <a:gd name="connsiteY13" fmla="*/ 761302 h 1291242"/>
                <a:gd name="connsiteX14" fmla="*/ 150413 w 3334872"/>
                <a:gd name="connsiteY14" fmla="*/ 1077187 h 1291242"/>
                <a:gd name="connsiteX0" fmla="*/ 150413 w 2784742"/>
                <a:gd name="connsiteY0" fmla="*/ 1077187 h 1163055"/>
                <a:gd name="connsiteX1" fmla="*/ 0 w 2784742"/>
                <a:gd name="connsiteY1" fmla="*/ 481442 h 1163055"/>
                <a:gd name="connsiteX2" fmla="*/ 127075 w 2784742"/>
                <a:gd name="connsiteY2" fmla="*/ 442651 h 1163055"/>
                <a:gd name="connsiteX3" fmla="*/ 157554 w 2784742"/>
                <a:gd name="connsiteY3" fmla="*/ 393463 h 1163055"/>
                <a:gd name="connsiteX4" fmla="*/ 393441 w 2784742"/>
                <a:gd name="connsiteY4" fmla="*/ 319342 h 1163055"/>
                <a:gd name="connsiteX5" fmla="*/ 433896 w 2784742"/>
                <a:gd name="connsiteY5" fmla="*/ 352592 h 1163055"/>
                <a:gd name="connsiteX6" fmla="*/ 630438 w 2784742"/>
                <a:gd name="connsiteY6" fmla="*/ 288171 h 1163055"/>
                <a:gd name="connsiteX7" fmla="*/ 589650 w 2784742"/>
                <a:gd name="connsiteY7" fmla="*/ 119840 h 1163055"/>
                <a:gd name="connsiteX8" fmla="*/ 972893 w 2784742"/>
                <a:gd name="connsiteY8" fmla="*/ 0 h 1163055"/>
                <a:gd name="connsiteX9" fmla="*/ 1021191 w 2784742"/>
                <a:gd name="connsiteY9" fmla="*/ 165560 h 1163055"/>
                <a:gd name="connsiteX10" fmla="*/ 2784742 w 2784742"/>
                <a:gd name="connsiteY10" fmla="*/ 680900 h 1163055"/>
                <a:gd name="connsiteX11" fmla="*/ 2435133 w 2784742"/>
                <a:gd name="connsiteY11" fmla="*/ 1163055 h 1163055"/>
                <a:gd name="connsiteX12" fmla="*/ 1140867 w 2784742"/>
                <a:gd name="connsiteY12" fmla="*/ 761302 h 1163055"/>
                <a:gd name="connsiteX13" fmla="*/ 150413 w 2784742"/>
                <a:gd name="connsiteY13" fmla="*/ 1077187 h 1163055"/>
                <a:gd name="connsiteX0" fmla="*/ 150413 w 2820877"/>
                <a:gd name="connsiteY0" fmla="*/ 1077187 h 1163055"/>
                <a:gd name="connsiteX1" fmla="*/ 0 w 2820877"/>
                <a:gd name="connsiteY1" fmla="*/ 481442 h 1163055"/>
                <a:gd name="connsiteX2" fmla="*/ 127075 w 2820877"/>
                <a:gd name="connsiteY2" fmla="*/ 442651 h 1163055"/>
                <a:gd name="connsiteX3" fmla="*/ 157554 w 2820877"/>
                <a:gd name="connsiteY3" fmla="*/ 393463 h 1163055"/>
                <a:gd name="connsiteX4" fmla="*/ 393441 w 2820877"/>
                <a:gd name="connsiteY4" fmla="*/ 319342 h 1163055"/>
                <a:gd name="connsiteX5" fmla="*/ 433896 w 2820877"/>
                <a:gd name="connsiteY5" fmla="*/ 352592 h 1163055"/>
                <a:gd name="connsiteX6" fmla="*/ 630438 w 2820877"/>
                <a:gd name="connsiteY6" fmla="*/ 288171 h 1163055"/>
                <a:gd name="connsiteX7" fmla="*/ 589650 w 2820877"/>
                <a:gd name="connsiteY7" fmla="*/ 119840 h 1163055"/>
                <a:gd name="connsiteX8" fmla="*/ 972893 w 2820877"/>
                <a:gd name="connsiteY8" fmla="*/ 0 h 1163055"/>
                <a:gd name="connsiteX9" fmla="*/ 1021191 w 2820877"/>
                <a:gd name="connsiteY9" fmla="*/ 165560 h 1163055"/>
                <a:gd name="connsiteX10" fmla="*/ 2820877 w 2820877"/>
                <a:gd name="connsiteY10" fmla="*/ 707493 h 1163055"/>
                <a:gd name="connsiteX11" fmla="*/ 2435133 w 2820877"/>
                <a:gd name="connsiteY11" fmla="*/ 1163055 h 1163055"/>
                <a:gd name="connsiteX12" fmla="*/ 1140867 w 2820877"/>
                <a:gd name="connsiteY12" fmla="*/ 761302 h 1163055"/>
                <a:gd name="connsiteX13" fmla="*/ 150413 w 2820877"/>
                <a:gd name="connsiteY13" fmla="*/ 1077187 h 1163055"/>
                <a:gd name="connsiteX0" fmla="*/ 150413 w 2820877"/>
                <a:gd name="connsiteY0" fmla="*/ 1077187 h 1108694"/>
                <a:gd name="connsiteX1" fmla="*/ 0 w 2820877"/>
                <a:gd name="connsiteY1" fmla="*/ 481442 h 1108694"/>
                <a:gd name="connsiteX2" fmla="*/ 127075 w 2820877"/>
                <a:gd name="connsiteY2" fmla="*/ 442651 h 1108694"/>
                <a:gd name="connsiteX3" fmla="*/ 157554 w 2820877"/>
                <a:gd name="connsiteY3" fmla="*/ 393463 h 1108694"/>
                <a:gd name="connsiteX4" fmla="*/ 393441 w 2820877"/>
                <a:gd name="connsiteY4" fmla="*/ 319342 h 1108694"/>
                <a:gd name="connsiteX5" fmla="*/ 433896 w 2820877"/>
                <a:gd name="connsiteY5" fmla="*/ 352592 h 1108694"/>
                <a:gd name="connsiteX6" fmla="*/ 630438 w 2820877"/>
                <a:gd name="connsiteY6" fmla="*/ 288171 h 1108694"/>
                <a:gd name="connsiteX7" fmla="*/ 589650 w 2820877"/>
                <a:gd name="connsiteY7" fmla="*/ 119840 h 1108694"/>
                <a:gd name="connsiteX8" fmla="*/ 972893 w 2820877"/>
                <a:gd name="connsiteY8" fmla="*/ 0 h 1108694"/>
                <a:gd name="connsiteX9" fmla="*/ 1021191 w 2820877"/>
                <a:gd name="connsiteY9" fmla="*/ 165560 h 1108694"/>
                <a:gd name="connsiteX10" fmla="*/ 2820877 w 2820877"/>
                <a:gd name="connsiteY10" fmla="*/ 707493 h 1108694"/>
                <a:gd name="connsiteX11" fmla="*/ 2373894 w 2820877"/>
                <a:gd name="connsiteY11" fmla="*/ 1108694 h 1108694"/>
                <a:gd name="connsiteX12" fmla="*/ 1140867 w 2820877"/>
                <a:gd name="connsiteY12" fmla="*/ 761302 h 1108694"/>
                <a:gd name="connsiteX13" fmla="*/ 150413 w 2820877"/>
                <a:gd name="connsiteY13" fmla="*/ 1077187 h 1108694"/>
                <a:gd name="connsiteX0" fmla="*/ 150413 w 2820877"/>
                <a:gd name="connsiteY0" fmla="*/ 1077187 h 1108694"/>
                <a:gd name="connsiteX1" fmla="*/ 0 w 2820877"/>
                <a:gd name="connsiteY1" fmla="*/ 481442 h 1108694"/>
                <a:gd name="connsiteX2" fmla="*/ 127075 w 2820877"/>
                <a:gd name="connsiteY2" fmla="*/ 442651 h 1108694"/>
                <a:gd name="connsiteX3" fmla="*/ 157554 w 2820877"/>
                <a:gd name="connsiteY3" fmla="*/ 393463 h 1108694"/>
                <a:gd name="connsiteX4" fmla="*/ 393441 w 2820877"/>
                <a:gd name="connsiteY4" fmla="*/ 319342 h 1108694"/>
                <a:gd name="connsiteX5" fmla="*/ 433896 w 2820877"/>
                <a:gd name="connsiteY5" fmla="*/ 352592 h 1108694"/>
                <a:gd name="connsiteX6" fmla="*/ 630438 w 2820877"/>
                <a:gd name="connsiteY6" fmla="*/ 288171 h 1108694"/>
                <a:gd name="connsiteX7" fmla="*/ 589650 w 2820877"/>
                <a:gd name="connsiteY7" fmla="*/ 119840 h 1108694"/>
                <a:gd name="connsiteX8" fmla="*/ 972893 w 2820877"/>
                <a:gd name="connsiteY8" fmla="*/ 0 h 1108694"/>
                <a:gd name="connsiteX9" fmla="*/ 1021191 w 2820877"/>
                <a:gd name="connsiteY9" fmla="*/ 165560 h 1108694"/>
                <a:gd name="connsiteX10" fmla="*/ 2820877 w 2820877"/>
                <a:gd name="connsiteY10" fmla="*/ 707493 h 1108694"/>
                <a:gd name="connsiteX11" fmla="*/ 2373894 w 2820877"/>
                <a:gd name="connsiteY11" fmla="*/ 1108694 h 1108694"/>
                <a:gd name="connsiteX12" fmla="*/ 1140867 w 2820877"/>
                <a:gd name="connsiteY12" fmla="*/ 761302 h 1108694"/>
                <a:gd name="connsiteX13" fmla="*/ 150413 w 2820877"/>
                <a:gd name="connsiteY13" fmla="*/ 1077187 h 1108694"/>
                <a:gd name="connsiteX0" fmla="*/ 150413 w 2770772"/>
                <a:gd name="connsiteY0" fmla="*/ 1077187 h 1108694"/>
                <a:gd name="connsiteX1" fmla="*/ 0 w 2770772"/>
                <a:gd name="connsiteY1" fmla="*/ 481442 h 1108694"/>
                <a:gd name="connsiteX2" fmla="*/ 127075 w 2770772"/>
                <a:gd name="connsiteY2" fmla="*/ 442651 h 1108694"/>
                <a:gd name="connsiteX3" fmla="*/ 157554 w 2770772"/>
                <a:gd name="connsiteY3" fmla="*/ 393463 h 1108694"/>
                <a:gd name="connsiteX4" fmla="*/ 393441 w 2770772"/>
                <a:gd name="connsiteY4" fmla="*/ 319342 h 1108694"/>
                <a:gd name="connsiteX5" fmla="*/ 433896 w 2770772"/>
                <a:gd name="connsiteY5" fmla="*/ 352592 h 1108694"/>
                <a:gd name="connsiteX6" fmla="*/ 630438 w 2770772"/>
                <a:gd name="connsiteY6" fmla="*/ 288171 h 1108694"/>
                <a:gd name="connsiteX7" fmla="*/ 589650 w 2770772"/>
                <a:gd name="connsiteY7" fmla="*/ 119840 h 1108694"/>
                <a:gd name="connsiteX8" fmla="*/ 972893 w 2770772"/>
                <a:gd name="connsiteY8" fmla="*/ 0 h 1108694"/>
                <a:gd name="connsiteX9" fmla="*/ 1021191 w 2770772"/>
                <a:gd name="connsiteY9" fmla="*/ 165560 h 1108694"/>
                <a:gd name="connsiteX10" fmla="*/ 2770772 w 2770772"/>
                <a:gd name="connsiteY10" fmla="*/ 665211 h 1108694"/>
                <a:gd name="connsiteX11" fmla="*/ 2373894 w 2770772"/>
                <a:gd name="connsiteY11" fmla="*/ 1108694 h 1108694"/>
                <a:gd name="connsiteX12" fmla="*/ 1140867 w 2770772"/>
                <a:gd name="connsiteY12" fmla="*/ 761302 h 1108694"/>
                <a:gd name="connsiteX13" fmla="*/ 150413 w 2770772"/>
                <a:gd name="connsiteY13" fmla="*/ 1077187 h 1108694"/>
                <a:gd name="connsiteX0" fmla="*/ 150413 w 2770772"/>
                <a:gd name="connsiteY0" fmla="*/ 1077187 h 1108694"/>
                <a:gd name="connsiteX1" fmla="*/ 0 w 2770772"/>
                <a:gd name="connsiteY1" fmla="*/ 481442 h 1108694"/>
                <a:gd name="connsiteX2" fmla="*/ 127075 w 2770772"/>
                <a:gd name="connsiteY2" fmla="*/ 442651 h 1108694"/>
                <a:gd name="connsiteX3" fmla="*/ 157554 w 2770772"/>
                <a:gd name="connsiteY3" fmla="*/ 393463 h 1108694"/>
                <a:gd name="connsiteX4" fmla="*/ 393441 w 2770772"/>
                <a:gd name="connsiteY4" fmla="*/ 319342 h 1108694"/>
                <a:gd name="connsiteX5" fmla="*/ 433896 w 2770772"/>
                <a:gd name="connsiteY5" fmla="*/ 352592 h 1108694"/>
                <a:gd name="connsiteX6" fmla="*/ 630438 w 2770772"/>
                <a:gd name="connsiteY6" fmla="*/ 288171 h 1108694"/>
                <a:gd name="connsiteX7" fmla="*/ 589650 w 2770772"/>
                <a:gd name="connsiteY7" fmla="*/ 119840 h 1108694"/>
                <a:gd name="connsiteX8" fmla="*/ 972893 w 2770772"/>
                <a:gd name="connsiteY8" fmla="*/ 0 h 1108694"/>
                <a:gd name="connsiteX9" fmla="*/ 1021191 w 2770772"/>
                <a:gd name="connsiteY9" fmla="*/ 165560 h 1108694"/>
                <a:gd name="connsiteX10" fmla="*/ 2770772 w 2770772"/>
                <a:gd name="connsiteY10" fmla="*/ 665211 h 1108694"/>
                <a:gd name="connsiteX11" fmla="*/ 2373894 w 2770772"/>
                <a:gd name="connsiteY11" fmla="*/ 1108694 h 1108694"/>
                <a:gd name="connsiteX12" fmla="*/ 1140867 w 2770772"/>
                <a:gd name="connsiteY12" fmla="*/ 761302 h 1108694"/>
                <a:gd name="connsiteX13" fmla="*/ 150413 w 2770772"/>
                <a:gd name="connsiteY13" fmla="*/ 1077187 h 1108694"/>
                <a:gd name="connsiteX0" fmla="*/ 150413 w 2770772"/>
                <a:gd name="connsiteY0" fmla="*/ 1077187 h 1126815"/>
                <a:gd name="connsiteX1" fmla="*/ 0 w 2770772"/>
                <a:gd name="connsiteY1" fmla="*/ 481442 h 1126815"/>
                <a:gd name="connsiteX2" fmla="*/ 127075 w 2770772"/>
                <a:gd name="connsiteY2" fmla="*/ 442651 h 1126815"/>
                <a:gd name="connsiteX3" fmla="*/ 157554 w 2770772"/>
                <a:gd name="connsiteY3" fmla="*/ 393463 h 1126815"/>
                <a:gd name="connsiteX4" fmla="*/ 393441 w 2770772"/>
                <a:gd name="connsiteY4" fmla="*/ 319342 h 1126815"/>
                <a:gd name="connsiteX5" fmla="*/ 433896 w 2770772"/>
                <a:gd name="connsiteY5" fmla="*/ 352592 h 1126815"/>
                <a:gd name="connsiteX6" fmla="*/ 630438 w 2770772"/>
                <a:gd name="connsiteY6" fmla="*/ 288171 h 1126815"/>
                <a:gd name="connsiteX7" fmla="*/ 589650 w 2770772"/>
                <a:gd name="connsiteY7" fmla="*/ 119840 h 1126815"/>
                <a:gd name="connsiteX8" fmla="*/ 972893 w 2770772"/>
                <a:gd name="connsiteY8" fmla="*/ 0 h 1126815"/>
                <a:gd name="connsiteX9" fmla="*/ 1021191 w 2770772"/>
                <a:gd name="connsiteY9" fmla="*/ 165560 h 1126815"/>
                <a:gd name="connsiteX10" fmla="*/ 2770772 w 2770772"/>
                <a:gd name="connsiteY10" fmla="*/ 665211 h 1126815"/>
                <a:gd name="connsiteX11" fmla="*/ 2407298 w 2770772"/>
                <a:gd name="connsiteY11" fmla="*/ 1126815 h 1126815"/>
                <a:gd name="connsiteX12" fmla="*/ 1140867 w 2770772"/>
                <a:gd name="connsiteY12" fmla="*/ 761302 h 1126815"/>
                <a:gd name="connsiteX13" fmla="*/ 150413 w 2770772"/>
                <a:gd name="connsiteY13" fmla="*/ 1077187 h 1126815"/>
                <a:gd name="connsiteX0" fmla="*/ 155222 w 2770772"/>
                <a:gd name="connsiteY0" fmla="*/ 1093736 h 1126815"/>
                <a:gd name="connsiteX1" fmla="*/ 0 w 2770772"/>
                <a:gd name="connsiteY1" fmla="*/ 481442 h 1126815"/>
                <a:gd name="connsiteX2" fmla="*/ 127075 w 2770772"/>
                <a:gd name="connsiteY2" fmla="*/ 442651 h 1126815"/>
                <a:gd name="connsiteX3" fmla="*/ 157554 w 2770772"/>
                <a:gd name="connsiteY3" fmla="*/ 393463 h 1126815"/>
                <a:gd name="connsiteX4" fmla="*/ 393441 w 2770772"/>
                <a:gd name="connsiteY4" fmla="*/ 319342 h 1126815"/>
                <a:gd name="connsiteX5" fmla="*/ 433896 w 2770772"/>
                <a:gd name="connsiteY5" fmla="*/ 352592 h 1126815"/>
                <a:gd name="connsiteX6" fmla="*/ 630438 w 2770772"/>
                <a:gd name="connsiteY6" fmla="*/ 288171 h 1126815"/>
                <a:gd name="connsiteX7" fmla="*/ 589650 w 2770772"/>
                <a:gd name="connsiteY7" fmla="*/ 119840 h 1126815"/>
                <a:gd name="connsiteX8" fmla="*/ 972893 w 2770772"/>
                <a:gd name="connsiteY8" fmla="*/ 0 h 1126815"/>
                <a:gd name="connsiteX9" fmla="*/ 1021191 w 2770772"/>
                <a:gd name="connsiteY9" fmla="*/ 165560 h 1126815"/>
                <a:gd name="connsiteX10" fmla="*/ 2770772 w 2770772"/>
                <a:gd name="connsiteY10" fmla="*/ 665211 h 1126815"/>
                <a:gd name="connsiteX11" fmla="*/ 2407298 w 2770772"/>
                <a:gd name="connsiteY11" fmla="*/ 1126815 h 1126815"/>
                <a:gd name="connsiteX12" fmla="*/ 1140867 w 2770772"/>
                <a:gd name="connsiteY12" fmla="*/ 761302 h 1126815"/>
                <a:gd name="connsiteX13" fmla="*/ 155222 w 2770772"/>
                <a:gd name="connsiteY13" fmla="*/ 1093736 h 1126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770772" h="1126815">
                  <a:moveTo>
                    <a:pt x="155222" y="1093736"/>
                  </a:moveTo>
                  <a:cubicBezTo>
                    <a:pt x="144565" y="1001765"/>
                    <a:pt x="37543" y="625290"/>
                    <a:pt x="0" y="481442"/>
                  </a:cubicBezTo>
                  <a:lnTo>
                    <a:pt x="127075" y="442651"/>
                  </a:lnTo>
                  <a:lnTo>
                    <a:pt x="157554" y="393463"/>
                  </a:lnTo>
                  <a:lnTo>
                    <a:pt x="393441" y="319342"/>
                  </a:lnTo>
                  <a:lnTo>
                    <a:pt x="433896" y="352592"/>
                  </a:lnTo>
                  <a:lnTo>
                    <a:pt x="630438" y="288171"/>
                  </a:lnTo>
                  <a:lnTo>
                    <a:pt x="589650" y="119840"/>
                  </a:lnTo>
                  <a:lnTo>
                    <a:pt x="972893" y="0"/>
                  </a:lnTo>
                  <a:lnTo>
                    <a:pt x="1021191" y="165560"/>
                  </a:lnTo>
                  <a:cubicBezTo>
                    <a:pt x="1946630" y="-44957"/>
                    <a:pt x="2491752" y="419633"/>
                    <a:pt x="2770772" y="665211"/>
                  </a:cubicBezTo>
                  <a:lnTo>
                    <a:pt x="2407298" y="1126815"/>
                  </a:lnTo>
                  <a:cubicBezTo>
                    <a:pt x="2221835" y="968421"/>
                    <a:pt x="1827414" y="618194"/>
                    <a:pt x="1140867" y="761302"/>
                  </a:cubicBezTo>
                  <a:cubicBezTo>
                    <a:pt x="810716" y="866597"/>
                    <a:pt x="485373" y="988441"/>
                    <a:pt x="155222" y="1093736"/>
                  </a:cubicBezTo>
                  <a:close/>
                </a:path>
              </a:pathLst>
            </a:custGeom>
            <a:solidFill>
              <a:srgbClr val="008000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DE" sz="6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" name="Text_T110N_BA4">
              <a:extLst>
                <a:ext uri="{FF2B5EF4-FFF2-40B4-BE49-F238E27FC236}">
                  <a16:creationId xmlns:a16="http://schemas.microsoft.com/office/drawing/2014/main" id="{41BBBBD4-2625-482C-8C6D-E3DD9A866392}"/>
                </a:ext>
              </a:extLst>
            </p:cNvPr>
            <p:cNvSpPr/>
            <p:nvPr/>
          </p:nvSpPr>
          <p:spPr>
            <a:xfrm>
              <a:off x="7693439" y="1865569"/>
              <a:ext cx="782618" cy="189333"/>
            </a:xfrm>
            <a:prstGeom prst="borderCallout1">
              <a:avLst>
                <a:gd name="adj1" fmla="val 50659"/>
                <a:gd name="adj2" fmla="val -489"/>
                <a:gd name="adj3" fmla="val 51141"/>
                <a:gd name="adj4" fmla="val -77852"/>
              </a:avLst>
            </a:prstGeom>
            <a:solidFill>
              <a:schemeClr val="tx2">
                <a:lumMod val="20000"/>
                <a:lumOff val="80000"/>
              </a:schemeClr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257312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>
                  <a:solidFill>
                    <a:sysClr val="windowText" lastClr="000000"/>
                  </a:solidFill>
                </a:rPr>
                <a:t>T110N, 4. BA</a:t>
              </a:r>
            </a:p>
          </p:txBody>
        </p:sp>
        <p:sp>
          <p:nvSpPr>
            <p:cNvPr id="18" name="Text_T110N_BA4">
              <a:extLst>
                <a:ext uri="{FF2B5EF4-FFF2-40B4-BE49-F238E27FC236}">
                  <a16:creationId xmlns:a16="http://schemas.microsoft.com/office/drawing/2014/main" id="{6E580632-DB09-4F1B-B101-1074C5E654F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062605" y="1948822"/>
              <a:ext cx="24924" cy="24697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de-DE" dirty="0"/>
            </a:p>
          </p:txBody>
        </p:sp>
        <p:sp>
          <p:nvSpPr>
            <p:cNvPr id="19" name="T110N_BA3">
              <a:extLst>
                <a:ext uri="{FF2B5EF4-FFF2-40B4-BE49-F238E27FC236}">
                  <a16:creationId xmlns:a16="http://schemas.microsoft.com/office/drawing/2014/main" id="{CC10E554-701A-4ED7-BB08-D09A5D8682C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156384" y="2016352"/>
              <a:ext cx="960266" cy="1382161"/>
            </a:xfrm>
            <a:custGeom>
              <a:avLst/>
              <a:gdLst>
                <a:gd name="connsiteX0" fmla="*/ 0 w 5234940"/>
                <a:gd name="connsiteY0" fmla="*/ 1219200 h 4191000"/>
                <a:gd name="connsiteX1" fmla="*/ 190500 w 5234940"/>
                <a:gd name="connsiteY1" fmla="*/ 990600 h 4191000"/>
                <a:gd name="connsiteX2" fmla="*/ 434340 w 5234940"/>
                <a:gd name="connsiteY2" fmla="*/ 792480 h 4191000"/>
                <a:gd name="connsiteX3" fmla="*/ 662940 w 5234940"/>
                <a:gd name="connsiteY3" fmla="*/ 624840 h 4191000"/>
                <a:gd name="connsiteX4" fmla="*/ 906780 w 5234940"/>
                <a:gd name="connsiteY4" fmla="*/ 533400 h 4191000"/>
                <a:gd name="connsiteX5" fmla="*/ 868680 w 5234940"/>
                <a:gd name="connsiteY5" fmla="*/ 426720 h 4191000"/>
                <a:gd name="connsiteX6" fmla="*/ 1051560 w 5234940"/>
                <a:gd name="connsiteY6" fmla="*/ 358140 h 4191000"/>
                <a:gd name="connsiteX7" fmla="*/ 1097280 w 5234940"/>
                <a:gd name="connsiteY7" fmla="*/ 464820 h 4191000"/>
                <a:gd name="connsiteX8" fmla="*/ 1219200 w 5234940"/>
                <a:gd name="connsiteY8" fmla="*/ 434340 h 4191000"/>
                <a:gd name="connsiteX9" fmla="*/ 1249680 w 5234940"/>
                <a:gd name="connsiteY9" fmla="*/ 365760 h 4191000"/>
                <a:gd name="connsiteX10" fmla="*/ 1508760 w 5234940"/>
                <a:gd name="connsiteY10" fmla="*/ 297180 h 4191000"/>
                <a:gd name="connsiteX11" fmla="*/ 1562100 w 5234940"/>
                <a:gd name="connsiteY11" fmla="*/ 327660 h 4191000"/>
                <a:gd name="connsiteX12" fmla="*/ 1691640 w 5234940"/>
                <a:gd name="connsiteY12" fmla="*/ 274320 h 4191000"/>
                <a:gd name="connsiteX13" fmla="*/ 1661160 w 5234940"/>
                <a:gd name="connsiteY13" fmla="*/ 114300 h 4191000"/>
                <a:gd name="connsiteX14" fmla="*/ 2065020 w 5234940"/>
                <a:gd name="connsiteY14" fmla="*/ 0 h 4191000"/>
                <a:gd name="connsiteX15" fmla="*/ 2110740 w 5234940"/>
                <a:gd name="connsiteY15" fmla="*/ 160020 h 4191000"/>
                <a:gd name="connsiteX16" fmla="*/ 2362200 w 5234940"/>
                <a:gd name="connsiteY16" fmla="*/ 106680 h 4191000"/>
                <a:gd name="connsiteX17" fmla="*/ 2621280 w 5234940"/>
                <a:gd name="connsiteY17" fmla="*/ 99060 h 4191000"/>
                <a:gd name="connsiteX18" fmla="*/ 2948940 w 5234940"/>
                <a:gd name="connsiteY18" fmla="*/ 152400 h 4191000"/>
                <a:gd name="connsiteX19" fmla="*/ 3276600 w 5234940"/>
                <a:gd name="connsiteY19" fmla="*/ 251460 h 4191000"/>
                <a:gd name="connsiteX20" fmla="*/ 3642360 w 5234940"/>
                <a:gd name="connsiteY20" fmla="*/ 464820 h 4191000"/>
                <a:gd name="connsiteX21" fmla="*/ 3931920 w 5234940"/>
                <a:gd name="connsiteY21" fmla="*/ 723900 h 4191000"/>
                <a:gd name="connsiteX22" fmla="*/ 4442460 w 5234940"/>
                <a:gd name="connsiteY22" fmla="*/ 1280160 h 4191000"/>
                <a:gd name="connsiteX23" fmla="*/ 4472940 w 5234940"/>
                <a:gd name="connsiteY23" fmla="*/ 1287780 h 4191000"/>
                <a:gd name="connsiteX24" fmla="*/ 4655820 w 5234940"/>
                <a:gd name="connsiteY24" fmla="*/ 1463040 h 4191000"/>
                <a:gd name="connsiteX25" fmla="*/ 4640580 w 5234940"/>
                <a:gd name="connsiteY25" fmla="*/ 1524000 h 4191000"/>
                <a:gd name="connsiteX26" fmla="*/ 4892040 w 5234940"/>
                <a:gd name="connsiteY26" fmla="*/ 1821180 h 4191000"/>
                <a:gd name="connsiteX27" fmla="*/ 5082540 w 5234940"/>
                <a:gd name="connsiteY27" fmla="*/ 2217420 h 4191000"/>
                <a:gd name="connsiteX28" fmla="*/ 5204460 w 5234940"/>
                <a:gd name="connsiteY28" fmla="*/ 2636520 h 4191000"/>
                <a:gd name="connsiteX29" fmla="*/ 5234940 w 5234940"/>
                <a:gd name="connsiteY29" fmla="*/ 3086100 h 4191000"/>
                <a:gd name="connsiteX30" fmla="*/ 5181600 w 5234940"/>
                <a:gd name="connsiteY30" fmla="*/ 3611880 h 4191000"/>
                <a:gd name="connsiteX31" fmla="*/ 5029200 w 5234940"/>
                <a:gd name="connsiteY31" fmla="*/ 4175760 h 4191000"/>
                <a:gd name="connsiteX32" fmla="*/ 4450080 w 5234940"/>
                <a:gd name="connsiteY32" fmla="*/ 4191000 h 4191000"/>
                <a:gd name="connsiteX33" fmla="*/ 4671060 w 5234940"/>
                <a:gd name="connsiteY33" fmla="*/ 3261360 h 4191000"/>
                <a:gd name="connsiteX34" fmla="*/ 4678680 w 5234940"/>
                <a:gd name="connsiteY34" fmla="*/ 2834640 h 4191000"/>
                <a:gd name="connsiteX35" fmla="*/ 4556760 w 5234940"/>
                <a:gd name="connsiteY35" fmla="*/ 2415540 h 4191000"/>
                <a:gd name="connsiteX36" fmla="*/ 4351020 w 5234940"/>
                <a:gd name="connsiteY36" fmla="*/ 2057400 h 4191000"/>
                <a:gd name="connsiteX37" fmla="*/ 3406140 w 5234940"/>
                <a:gd name="connsiteY37" fmla="*/ 1013460 h 4191000"/>
                <a:gd name="connsiteX38" fmla="*/ 3169920 w 5234940"/>
                <a:gd name="connsiteY38" fmla="*/ 853440 h 4191000"/>
                <a:gd name="connsiteX39" fmla="*/ 2887980 w 5234940"/>
                <a:gd name="connsiteY39" fmla="*/ 739140 h 4191000"/>
                <a:gd name="connsiteX40" fmla="*/ 2491740 w 5234940"/>
                <a:gd name="connsiteY40" fmla="*/ 693420 h 4191000"/>
                <a:gd name="connsiteX41" fmla="*/ 2209800 w 5234940"/>
                <a:gd name="connsiteY41" fmla="*/ 739140 h 4191000"/>
                <a:gd name="connsiteX42" fmla="*/ 1211580 w 5234940"/>
                <a:gd name="connsiteY42" fmla="*/ 1059180 h 4191000"/>
                <a:gd name="connsiteX43" fmla="*/ 937260 w 5234940"/>
                <a:gd name="connsiteY43" fmla="*/ 1165860 h 4191000"/>
                <a:gd name="connsiteX44" fmla="*/ 792480 w 5234940"/>
                <a:gd name="connsiteY44" fmla="*/ 1257300 h 4191000"/>
                <a:gd name="connsiteX45" fmla="*/ 0 w 5234940"/>
                <a:gd name="connsiteY45" fmla="*/ 1219200 h 4191000"/>
                <a:gd name="connsiteX0" fmla="*/ 0 w 5257800"/>
                <a:gd name="connsiteY0" fmla="*/ 1234440 h 4191000"/>
                <a:gd name="connsiteX1" fmla="*/ 213360 w 5257800"/>
                <a:gd name="connsiteY1" fmla="*/ 990600 h 4191000"/>
                <a:gd name="connsiteX2" fmla="*/ 457200 w 5257800"/>
                <a:gd name="connsiteY2" fmla="*/ 792480 h 4191000"/>
                <a:gd name="connsiteX3" fmla="*/ 685800 w 5257800"/>
                <a:gd name="connsiteY3" fmla="*/ 624840 h 4191000"/>
                <a:gd name="connsiteX4" fmla="*/ 929640 w 5257800"/>
                <a:gd name="connsiteY4" fmla="*/ 533400 h 4191000"/>
                <a:gd name="connsiteX5" fmla="*/ 891540 w 5257800"/>
                <a:gd name="connsiteY5" fmla="*/ 426720 h 4191000"/>
                <a:gd name="connsiteX6" fmla="*/ 1074420 w 5257800"/>
                <a:gd name="connsiteY6" fmla="*/ 358140 h 4191000"/>
                <a:gd name="connsiteX7" fmla="*/ 1120140 w 5257800"/>
                <a:gd name="connsiteY7" fmla="*/ 464820 h 4191000"/>
                <a:gd name="connsiteX8" fmla="*/ 1242060 w 5257800"/>
                <a:gd name="connsiteY8" fmla="*/ 434340 h 4191000"/>
                <a:gd name="connsiteX9" fmla="*/ 1272540 w 5257800"/>
                <a:gd name="connsiteY9" fmla="*/ 365760 h 4191000"/>
                <a:gd name="connsiteX10" fmla="*/ 1531620 w 5257800"/>
                <a:gd name="connsiteY10" fmla="*/ 297180 h 4191000"/>
                <a:gd name="connsiteX11" fmla="*/ 1584960 w 5257800"/>
                <a:gd name="connsiteY11" fmla="*/ 327660 h 4191000"/>
                <a:gd name="connsiteX12" fmla="*/ 1714500 w 5257800"/>
                <a:gd name="connsiteY12" fmla="*/ 274320 h 4191000"/>
                <a:gd name="connsiteX13" fmla="*/ 1684020 w 5257800"/>
                <a:gd name="connsiteY13" fmla="*/ 114300 h 4191000"/>
                <a:gd name="connsiteX14" fmla="*/ 2087880 w 5257800"/>
                <a:gd name="connsiteY14" fmla="*/ 0 h 4191000"/>
                <a:gd name="connsiteX15" fmla="*/ 2133600 w 5257800"/>
                <a:gd name="connsiteY15" fmla="*/ 160020 h 4191000"/>
                <a:gd name="connsiteX16" fmla="*/ 2385060 w 5257800"/>
                <a:gd name="connsiteY16" fmla="*/ 106680 h 4191000"/>
                <a:gd name="connsiteX17" fmla="*/ 2644140 w 5257800"/>
                <a:gd name="connsiteY17" fmla="*/ 99060 h 4191000"/>
                <a:gd name="connsiteX18" fmla="*/ 2971800 w 5257800"/>
                <a:gd name="connsiteY18" fmla="*/ 152400 h 4191000"/>
                <a:gd name="connsiteX19" fmla="*/ 3299460 w 5257800"/>
                <a:gd name="connsiteY19" fmla="*/ 251460 h 4191000"/>
                <a:gd name="connsiteX20" fmla="*/ 3665220 w 5257800"/>
                <a:gd name="connsiteY20" fmla="*/ 464820 h 4191000"/>
                <a:gd name="connsiteX21" fmla="*/ 3954780 w 5257800"/>
                <a:gd name="connsiteY21" fmla="*/ 723900 h 4191000"/>
                <a:gd name="connsiteX22" fmla="*/ 4465320 w 5257800"/>
                <a:gd name="connsiteY22" fmla="*/ 1280160 h 4191000"/>
                <a:gd name="connsiteX23" fmla="*/ 4495800 w 5257800"/>
                <a:gd name="connsiteY23" fmla="*/ 1287780 h 4191000"/>
                <a:gd name="connsiteX24" fmla="*/ 4678680 w 5257800"/>
                <a:gd name="connsiteY24" fmla="*/ 1463040 h 4191000"/>
                <a:gd name="connsiteX25" fmla="*/ 4663440 w 5257800"/>
                <a:gd name="connsiteY25" fmla="*/ 1524000 h 4191000"/>
                <a:gd name="connsiteX26" fmla="*/ 4914900 w 5257800"/>
                <a:gd name="connsiteY26" fmla="*/ 1821180 h 4191000"/>
                <a:gd name="connsiteX27" fmla="*/ 5105400 w 5257800"/>
                <a:gd name="connsiteY27" fmla="*/ 2217420 h 4191000"/>
                <a:gd name="connsiteX28" fmla="*/ 5227320 w 5257800"/>
                <a:gd name="connsiteY28" fmla="*/ 2636520 h 4191000"/>
                <a:gd name="connsiteX29" fmla="*/ 5257800 w 5257800"/>
                <a:gd name="connsiteY29" fmla="*/ 3086100 h 4191000"/>
                <a:gd name="connsiteX30" fmla="*/ 5204460 w 5257800"/>
                <a:gd name="connsiteY30" fmla="*/ 3611880 h 4191000"/>
                <a:gd name="connsiteX31" fmla="*/ 5052060 w 5257800"/>
                <a:gd name="connsiteY31" fmla="*/ 4175760 h 4191000"/>
                <a:gd name="connsiteX32" fmla="*/ 4472940 w 5257800"/>
                <a:gd name="connsiteY32" fmla="*/ 4191000 h 4191000"/>
                <a:gd name="connsiteX33" fmla="*/ 4693920 w 5257800"/>
                <a:gd name="connsiteY33" fmla="*/ 3261360 h 4191000"/>
                <a:gd name="connsiteX34" fmla="*/ 4701540 w 5257800"/>
                <a:gd name="connsiteY34" fmla="*/ 2834640 h 4191000"/>
                <a:gd name="connsiteX35" fmla="*/ 4579620 w 5257800"/>
                <a:gd name="connsiteY35" fmla="*/ 2415540 h 4191000"/>
                <a:gd name="connsiteX36" fmla="*/ 4373880 w 5257800"/>
                <a:gd name="connsiteY36" fmla="*/ 2057400 h 4191000"/>
                <a:gd name="connsiteX37" fmla="*/ 3429000 w 5257800"/>
                <a:gd name="connsiteY37" fmla="*/ 1013460 h 4191000"/>
                <a:gd name="connsiteX38" fmla="*/ 3192780 w 5257800"/>
                <a:gd name="connsiteY38" fmla="*/ 853440 h 4191000"/>
                <a:gd name="connsiteX39" fmla="*/ 2910840 w 5257800"/>
                <a:gd name="connsiteY39" fmla="*/ 739140 h 4191000"/>
                <a:gd name="connsiteX40" fmla="*/ 2514600 w 5257800"/>
                <a:gd name="connsiteY40" fmla="*/ 693420 h 4191000"/>
                <a:gd name="connsiteX41" fmla="*/ 2232660 w 5257800"/>
                <a:gd name="connsiteY41" fmla="*/ 739140 h 4191000"/>
                <a:gd name="connsiteX42" fmla="*/ 1234440 w 5257800"/>
                <a:gd name="connsiteY42" fmla="*/ 1059180 h 4191000"/>
                <a:gd name="connsiteX43" fmla="*/ 960120 w 5257800"/>
                <a:gd name="connsiteY43" fmla="*/ 1165860 h 4191000"/>
                <a:gd name="connsiteX44" fmla="*/ 815340 w 5257800"/>
                <a:gd name="connsiteY44" fmla="*/ 1257300 h 4191000"/>
                <a:gd name="connsiteX45" fmla="*/ 0 w 5257800"/>
                <a:gd name="connsiteY45" fmla="*/ 1234440 h 4191000"/>
                <a:gd name="connsiteX0" fmla="*/ 0 w 5257800"/>
                <a:gd name="connsiteY0" fmla="*/ 1234440 h 4206240"/>
                <a:gd name="connsiteX1" fmla="*/ 213360 w 5257800"/>
                <a:gd name="connsiteY1" fmla="*/ 990600 h 4206240"/>
                <a:gd name="connsiteX2" fmla="*/ 457200 w 5257800"/>
                <a:gd name="connsiteY2" fmla="*/ 792480 h 4206240"/>
                <a:gd name="connsiteX3" fmla="*/ 685800 w 5257800"/>
                <a:gd name="connsiteY3" fmla="*/ 624840 h 4206240"/>
                <a:gd name="connsiteX4" fmla="*/ 929640 w 5257800"/>
                <a:gd name="connsiteY4" fmla="*/ 533400 h 4206240"/>
                <a:gd name="connsiteX5" fmla="*/ 891540 w 5257800"/>
                <a:gd name="connsiteY5" fmla="*/ 426720 h 4206240"/>
                <a:gd name="connsiteX6" fmla="*/ 1074420 w 5257800"/>
                <a:gd name="connsiteY6" fmla="*/ 358140 h 4206240"/>
                <a:gd name="connsiteX7" fmla="*/ 1120140 w 5257800"/>
                <a:gd name="connsiteY7" fmla="*/ 464820 h 4206240"/>
                <a:gd name="connsiteX8" fmla="*/ 1242060 w 5257800"/>
                <a:gd name="connsiteY8" fmla="*/ 434340 h 4206240"/>
                <a:gd name="connsiteX9" fmla="*/ 1272540 w 5257800"/>
                <a:gd name="connsiteY9" fmla="*/ 365760 h 4206240"/>
                <a:gd name="connsiteX10" fmla="*/ 1531620 w 5257800"/>
                <a:gd name="connsiteY10" fmla="*/ 297180 h 4206240"/>
                <a:gd name="connsiteX11" fmla="*/ 1584960 w 5257800"/>
                <a:gd name="connsiteY11" fmla="*/ 327660 h 4206240"/>
                <a:gd name="connsiteX12" fmla="*/ 1714500 w 5257800"/>
                <a:gd name="connsiteY12" fmla="*/ 274320 h 4206240"/>
                <a:gd name="connsiteX13" fmla="*/ 1684020 w 5257800"/>
                <a:gd name="connsiteY13" fmla="*/ 114300 h 4206240"/>
                <a:gd name="connsiteX14" fmla="*/ 2087880 w 5257800"/>
                <a:gd name="connsiteY14" fmla="*/ 0 h 4206240"/>
                <a:gd name="connsiteX15" fmla="*/ 2133600 w 5257800"/>
                <a:gd name="connsiteY15" fmla="*/ 160020 h 4206240"/>
                <a:gd name="connsiteX16" fmla="*/ 2385060 w 5257800"/>
                <a:gd name="connsiteY16" fmla="*/ 106680 h 4206240"/>
                <a:gd name="connsiteX17" fmla="*/ 2644140 w 5257800"/>
                <a:gd name="connsiteY17" fmla="*/ 99060 h 4206240"/>
                <a:gd name="connsiteX18" fmla="*/ 2971800 w 5257800"/>
                <a:gd name="connsiteY18" fmla="*/ 152400 h 4206240"/>
                <a:gd name="connsiteX19" fmla="*/ 3299460 w 5257800"/>
                <a:gd name="connsiteY19" fmla="*/ 251460 h 4206240"/>
                <a:gd name="connsiteX20" fmla="*/ 3665220 w 5257800"/>
                <a:gd name="connsiteY20" fmla="*/ 464820 h 4206240"/>
                <a:gd name="connsiteX21" fmla="*/ 3954780 w 5257800"/>
                <a:gd name="connsiteY21" fmla="*/ 723900 h 4206240"/>
                <a:gd name="connsiteX22" fmla="*/ 4465320 w 5257800"/>
                <a:gd name="connsiteY22" fmla="*/ 1280160 h 4206240"/>
                <a:gd name="connsiteX23" fmla="*/ 4495800 w 5257800"/>
                <a:gd name="connsiteY23" fmla="*/ 1287780 h 4206240"/>
                <a:gd name="connsiteX24" fmla="*/ 4678680 w 5257800"/>
                <a:gd name="connsiteY24" fmla="*/ 1463040 h 4206240"/>
                <a:gd name="connsiteX25" fmla="*/ 4663440 w 5257800"/>
                <a:gd name="connsiteY25" fmla="*/ 1524000 h 4206240"/>
                <a:gd name="connsiteX26" fmla="*/ 4914900 w 5257800"/>
                <a:gd name="connsiteY26" fmla="*/ 1821180 h 4206240"/>
                <a:gd name="connsiteX27" fmla="*/ 5105400 w 5257800"/>
                <a:gd name="connsiteY27" fmla="*/ 2217420 h 4206240"/>
                <a:gd name="connsiteX28" fmla="*/ 5227320 w 5257800"/>
                <a:gd name="connsiteY28" fmla="*/ 2636520 h 4206240"/>
                <a:gd name="connsiteX29" fmla="*/ 5257800 w 5257800"/>
                <a:gd name="connsiteY29" fmla="*/ 3086100 h 4206240"/>
                <a:gd name="connsiteX30" fmla="*/ 5204460 w 5257800"/>
                <a:gd name="connsiteY30" fmla="*/ 3611880 h 4206240"/>
                <a:gd name="connsiteX31" fmla="*/ 5044440 w 5257800"/>
                <a:gd name="connsiteY31" fmla="*/ 4206240 h 4206240"/>
                <a:gd name="connsiteX32" fmla="*/ 4472940 w 5257800"/>
                <a:gd name="connsiteY32" fmla="*/ 4191000 h 4206240"/>
                <a:gd name="connsiteX33" fmla="*/ 4693920 w 5257800"/>
                <a:gd name="connsiteY33" fmla="*/ 3261360 h 4206240"/>
                <a:gd name="connsiteX34" fmla="*/ 4701540 w 5257800"/>
                <a:gd name="connsiteY34" fmla="*/ 2834640 h 4206240"/>
                <a:gd name="connsiteX35" fmla="*/ 4579620 w 5257800"/>
                <a:gd name="connsiteY35" fmla="*/ 2415540 h 4206240"/>
                <a:gd name="connsiteX36" fmla="*/ 4373880 w 5257800"/>
                <a:gd name="connsiteY36" fmla="*/ 2057400 h 4206240"/>
                <a:gd name="connsiteX37" fmla="*/ 3429000 w 5257800"/>
                <a:gd name="connsiteY37" fmla="*/ 1013460 h 4206240"/>
                <a:gd name="connsiteX38" fmla="*/ 3192780 w 5257800"/>
                <a:gd name="connsiteY38" fmla="*/ 853440 h 4206240"/>
                <a:gd name="connsiteX39" fmla="*/ 2910840 w 5257800"/>
                <a:gd name="connsiteY39" fmla="*/ 739140 h 4206240"/>
                <a:gd name="connsiteX40" fmla="*/ 2514600 w 5257800"/>
                <a:gd name="connsiteY40" fmla="*/ 693420 h 4206240"/>
                <a:gd name="connsiteX41" fmla="*/ 2232660 w 5257800"/>
                <a:gd name="connsiteY41" fmla="*/ 739140 h 4206240"/>
                <a:gd name="connsiteX42" fmla="*/ 1234440 w 5257800"/>
                <a:gd name="connsiteY42" fmla="*/ 1059180 h 4206240"/>
                <a:gd name="connsiteX43" fmla="*/ 960120 w 5257800"/>
                <a:gd name="connsiteY43" fmla="*/ 1165860 h 4206240"/>
                <a:gd name="connsiteX44" fmla="*/ 815340 w 5257800"/>
                <a:gd name="connsiteY44" fmla="*/ 1257300 h 4206240"/>
                <a:gd name="connsiteX45" fmla="*/ 0 w 5257800"/>
                <a:gd name="connsiteY45" fmla="*/ 1234440 h 4206240"/>
                <a:gd name="connsiteX0" fmla="*/ 0 w 5257800"/>
                <a:gd name="connsiteY0" fmla="*/ 1234440 h 4213860"/>
                <a:gd name="connsiteX1" fmla="*/ 213360 w 5257800"/>
                <a:gd name="connsiteY1" fmla="*/ 990600 h 4213860"/>
                <a:gd name="connsiteX2" fmla="*/ 457200 w 5257800"/>
                <a:gd name="connsiteY2" fmla="*/ 792480 h 4213860"/>
                <a:gd name="connsiteX3" fmla="*/ 685800 w 5257800"/>
                <a:gd name="connsiteY3" fmla="*/ 624840 h 4213860"/>
                <a:gd name="connsiteX4" fmla="*/ 929640 w 5257800"/>
                <a:gd name="connsiteY4" fmla="*/ 533400 h 4213860"/>
                <a:gd name="connsiteX5" fmla="*/ 891540 w 5257800"/>
                <a:gd name="connsiteY5" fmla="*/ 426720 h 4213860"/>
                <a:gd name="connsiteX6" fmla="*/ 1074420 w 5257800"/>
                <a:gd name="connsiteY6" fmla="*/ 358140 h 4213860"/>
                <a:gd name="connsiteX7" fmla="*/ 1120140 w 5257800"/>
                <a:gd name="connsiteY7" fmla="*/ 464820 h 4213860"/>
                <a:gd name="connsiteX8" fmla="*/ 1242060 w 5257800"/>
                <a:gd name="connsiteY8" fmla="*/ 434340 h 4213860"/>
                <a:gd name="connsiteX9" fmla="*/ 1272540 w 5257800"/>
                <a:gd name="connsiteY9" fmla="*/ 365760 h 4213860"/>
                <a:gd name="connsiteX10" fmla="*/ 1531620 w 5257800"/>
                <a:gd name="connsiteY10" fmla="*/ 297180 h 4213860"/>
                <a:gd name="connsiteX11" fmla="*/ 1584960 w 5257800"/>
                <a:gd name="connsiteY11" fmla="*/ 327660 h 4213860"/>
                <a:gd name="connsiteX12" fmla="*/ 1714500 w 5257800"/>
                <a:gd name="connsiteY12" fmla="*/ 274320 h 4213860"/>
                <a:gd name="connsiteX13" fmla="*/ 1684020 w 5257800"/>
                <a:gd name="connsiteY13" fmla="*/ 114300 h 4213860"/>
                <a:gd name="connsiteX14" fmla="*/ 2087880 w 5257800"/>
                <a:gd name="connsiteY14" fmla="*/ 0 h 4213860"/>
                <a:gd name="connsiteX15" fmla="*/ 2133600 w 5257800"/>
                <a:gd name="connsiteY15" fmla="*/ 160020 h 4213860"/>
                <a:gd name="connsiteX16" fmla="*/ 2385060 w 5257800"/>
                <a:gd name="connsiteY16" fmla="*/ 106680 h 4213860"/>
                <a:gd name="connsiteX17" fmla="*/ 2644140 w 5257800"/>
                <a:gd name="connsiteY17" fmla="*/ 99060 h 4213860"/>
                <a:gd name="connsiteX18" fmla="*/ 2971800 w 5257800"/>
                <a:gd name="connsiteY18" fmla="*/ 152400 h 4213860"/>
                <a:gd name="connsiteX19" fmla="*/ 3299460 w 5257800"/>
                <a:gd name="connsiteY19" fmla="*/ 251460 h 4213860"/>
                <a:gd name="connsiteX20" fmla="*/ 3665220 w 5257800"/>
                <a:gd name="connsiteY20" fmla="*/ 464820 h 4213860"/>
                <a:gd name="connsiteX21" fmla="*/ 3954780 w 5257800"/>
                <a:gd name="connsiteY21" fmla="*/ 723900 h 4213860"/>
                <a:gd name="connsiteX22" fmla="*/ 4465320 w 5257800"/>
                <a:gd name="connsiteY22" fmla="*/ 1280160 h 4213860"/>
                <a:gd name="connsiteX23" fmla="*/ 4495800 w 5257800"/>
                <a:gd name="connsiteY23" fmla="*/ 1287780 h 4213860"/>
                <a:gd name="connsiteX24" fmla="*/ 4678680 w 5257800"/>
                <a:gd name="connsiteY24" fmla="*/ 1463040 h 4213860"/>
                <a:gd name="connsiteX25" fmla="*/ 4663440 w 5257800"/>
                <a:gd name="connsiteY25" fmla="*/ 1524000 h 4213860"/>
                <a:gd name="connsiteX26" fmla="*/ 4914900 w 5257800"/>
                <a:gd name="connsiteY26" fmla="*/ 1821180 h 4213860"/>
                <a:gd name="connsiteX27" fmla="*/ 5105400 w 5257800"/>
                <a:gd name="connsiteY27" fmla="*/ 2217420 h 4213860"/>
                <a:gd name="connsiteX28" fmla="*/ 5227320 w 5257800"/>
                <a:gd name="connsiteY28" fmla="*/ 2636520 h 4213860"/>
                <a:gd name="connsiteX29" fmla="*/ 5257800 w 5257800"/>
                <a:gd name="connsiteY29" fmla="*/ 3086100 h 4213860"/>
                <a:gd name="connsiteX30" fmla="*/ 5204460 w 5257800"/>
                <a:gd name="connsiteY30" fmla="*/ 3611880 h 4213860"/>
                <a:gd name="connsiteX31" fmla="*/ 5044440 w 5257800"/>
                <a:gd name="connsiteY31" fmla="*/ 4206240 h 4213860"/>
                <a:gd name="connsiteX32" fmla="*/ 4495800 w 5257800"/>
                <a:gd name="connsiteY32" fmla="*/ 4213860 h 4213860"/>
                <a:gd name="connsiteX33" fmla="*/ 4693920 w 5257800"/>
                <a:gd name="connsiteY33" fmla="*/ 3261360 h 4213860"/>
                <a:gd name="connsiteX34" fmla="*/ 4701540 w 5257800"/>
                <a:gd name="connsiteY34" fmla="*/ 2834640 h 4213860"/>
                <a:gd name="connsiteX35" fmla="*/ 4579620 w 5257800"/>
                <a:gd name="connsiteY35" fmla="*/ 2415540 h 4213860"/>
                <a:gd name="connsiteX36" fmla="*/ 4373880 w 5257800"/>
                <a:gd name="connsiteY36" fmla="*/ 2057400 h 4213860"/>
                <a:gd name="connsiteX37" fmla="*/ 3429000 w 5257800"/>
                <a:gd name="connsiteY37" fmla="*/ 1013460 h 4213860"/>
                <a:gd name="connsiteX38" fmla="*/ 3192780 w 5257800"/>
                <a:gd name="connsiteY38" fmla="*/ 853440 h 4213860"/>
                <a:gd name="connsiteX39" fmla="*/ 2910840 w 5257800"/>
                <a:gd name="connsiteY39" fmla="*/ 739140 h 4213860"/>
                <a:gd name="connsiteX40" fmla="*/ 2514600 w 5257800"/>
                <a:gd name="connsiteY40" fmla="*/ 693420 h 4213860"/>
                <a:gd name="connsiteX41" fmla="*/ 2232660 w 5257800"/>
                <a:gd name="connsiteY41" fmla="*/ 739140 h 4213860"/>
                <a:gd name="connsiteX42" fmla="*/ 1234440 w 5257800"/>
                <a:gd name="connsiteY42" fmla="*/ 1059180 h 4213860"/>
                <a:gd name="connsiteX43" fmla="*/ 960120 w 5257800"/>
                <a:gd name="connsiteY43" fmla="*/ 1165860 h 4213860"/>
                <a:gd name="connsiteX44" fmla="*/ 815340 w 5257800"/>
                <a:gd name="connsiteY44" fmla="*/ 1257300 h 4213860"/>
                <a:gd name="connsiteX45" fmla="*/ 0 w 5257800"/>
                <a:gd name="connsiteY45" fmla="*/ 1234440 h 4213860"/>
                <a:gd name="connsiteX0" fmla="*/ 0 w 5257800"/>
                <a:gd name="connsiteY0" fmla="*/ 1234440 h 4213860"/>
                <a:gd name="connsiteX1" fmla="*/ 213360 w 5257800"/>
                <a:gd name="connsiteY1" fmla="*/ 990600 h 4213860"/>
                <a:gd name="connsiteX2" fmla="*/ 457200 w 5257800"/>
                <a:gd name="connsiteY2" fmla="*/ 792480 h 4213860"/>
                <a:gd name="connsiteX3" fmla="*/ 685800 w 5257800"/>
                <a:gd name="connsiteY3" fmla="*/ 624840 h 4213860"/>
                <a:gd name="connsiteX4" fmla="*/ 929640 w 5257800"/>
                <a:gd name="connsiteY4" fmla="*/ 533400 h 4213860"/>
                <a:gd name="connsiteX5" fmla="*/ 891540 w 5257800"/>
                <a:gd name="connsiteY5" fmla="*/ 426720 h 4213860"/>
                <a:gd name="connsiteX6" fmla="*/ 1074420 w 5257800"/>
                <a:gd name="connsiteY6" fmla="*/ 358140 h 4213860"/>
                <a:gd name="connsiteX7" fmla="*/ 1120140 w 5257800"/>
                <a:gd name="connsiteY7" fmla="*/ 464820 h 4213860"/>
                <a:gd name="connsiteX8" fmla="*/ 1242060 w 5257800"/>
                <a:gd name="connsiteY8" fmla="*/ 434340 h 4213860"/>
                <a:gd name="connsiteX9" fmla="*/ 1272540 w 5257800"/>
                <a:gd name="connsiteY9" fmla="*/ 365760 h 4213860"/>
                <a:gd name="connsiteX10" fmla="*/ 1531620 w 5257800"/>
                <a:gd name="connsiteY10" fmla="*/ 297180 h 4213860"/>
                <a:gd name="connsiteX11" fmla="*/ 1584960 w 5257800"/>
                <a:gd name="connsiteY11" fmla="*/ 327660 h 4213860"/>
                <a:gd name="connsiteX12" fmla="*/ 1714500 w 5257800"/>
                <a:gd name="connsiteY12" fmla="*/ 274320 h 4213860"/>
                <a:gd name="connsiteX13" fmla="*/ 1684020 w 5257800"/>
                <a:gd name="connsiteY13" fmla="*/ 114300 h 4213860"/>
                <a:gd name="connsiteX14" fmla="*/ 2087880 w 5257800"/>
                <a:gd name="connsiteY14" fmla="*/ 0 h 4213860"/>
                <a:gd name="connsiteX15" fmla="*/ 2133600 w 5257800"/>
                <a:gd name="connsiteY15" fmla="*/ 160020 h 4213860"/>
                <a:gd name="connsiteX16" fmla="*/ 2385060 w 5257800"/>
                <a:gd name="connsiteY16" fmla="*/ 106680 h 4213860"/>
                <a:gd name="connsiteX17" fmla="*/ 2644140 w 5257800"/>
                <a:gd name="connsiteY17" fmla="*/ 99060 h 4213860"/>
                <a:gd name="connsiteX18" fmla="*/ 2971800 w 5257800"/>
                <a:gd name="connsiteY18" fmla="*/ 152400 h 4213860"/>
                <a:gd name="connsiteX19" fmla="*/ 3299460 w 5257800"/>
                <a:gd name="connsiteY19" fmla="*/ 251460 h 4213860"/>
                <a:gd name="connsiteX20" fmla="*/ 3665220 w 5257800"/>
                <a:gd name="connsiteY20" fmla="*/ 464820 h 4213860"/>
                <a:gd name="connsiteX21" fmla="*/ 3954780 w 5257800"/>
                <a:gd name="connsiteY21" fmla="*/ 723900 h 4213860"/>
                <a:gd name="connsiteX22" fmla="*/ 4465320 w 5257800"/>
                <a:gd name="connsiteY22" fmla="*/ 1280160 h 4213860"/>
                <a:gd name="connsiteX23" fmla="*/ 4495800 w 5257800"/>
                <a:gd name="connsiteY23" fmla="*/ 1287780 h 4213860"/>
                <a:gd name="connsiteX24" fmla="*/ 4678680 w 5257800"/>
                <a:gd name="connsiteY24" fmla="*/ 1463040 h 4213860"/>
                <a:gd name="connsiteX25" fmla="*/ 4663440 w 5257800"/>
                <a:gd name="connsiteY25" fmla="*/ 1524000 h 4213860"/>
                <a:gd name="connsiteX26" fmla="*/ 4914900 w 5257800"/>
                <a:gd name="connsiteY26" fmla="*/ 1821180 h 4213860"/>
                <a:gd name="connsiteX27" fmla="*/ 5105400 w 5257800"/>
                <a:gd name="connsiteY27" fmla="*/ 2217420 h 4213860"/>
                <a:gd name="connsiteX28" fmla="*/ 5227320 w 5257800"/>
                <a:gd name="connsiteY28" fmla="*/ 2636520 h 4213860"/>
                <a:gd name="connsiteX29" fmla="*/ 5257800 w 5257800"/>
                <a:gd name="connsiteY29" fmla="*/ 3086100 h 4213860"/>
                <a:gd name="connsiteX30" fmla="*/ 5204460 w 5257800"/>
                <a:gd name="connsiteY30" fmla="*/ 3611880 h 4213860"/>
                <a:gd name="connsiteX31" fmla="*/ 5044440 w 5257800"/>
                <a:gd name="connsiteY31" fmla="*/ 4206240 h 4213860"/>
                <a:gd name="connsiteX32" fmla="*/ 4495800 w 5257800"/>
                <a:gd name="connsiteY32" fmla="*/ 4213860 h 4213860"/>
                <a:gd name="connsiteX33" fmla="*/ 4693920 w 5257800"/>
                <a:gd name="connsiteY33" fmla="*/ 3261360 h 4213860"/>
                <a:gd name="connsiteX34" fmla="*/ 4701540 w 5257800"/>
                <a:gd name="connsiteY34" fmla="*/ 2834640 h 4213860"/>
                <a:gd name="connsiteX35" fmla="*/ 4579620 w 5257800"/>
                <a:gd name="connsiteY35" fmla="*/ 2415540 h 4213860"/>
                <a:gd name="connsiteX36" fmla="*/ 4373880 w 5257800"/>
                <a:gd name="connsiteY36" fmla="*/ 2057400 h 4213860"/>
                <a:gd name="connsiteX37" fmla="*/ 3429000 w 5257800"/>
                <a:gd name="connsiteY37" fmla="*/ 1013460 h 4213860"/>
                <a:gd name="connsiteX38" fmla="*/ 3192780 w 5257800"/>
                <a:gd name="connsiteY38" fmla="*/ 853440 h 4213860"/>
                <a:gd name="connsiteX39" fmla="*/ 2910840 w 5257800"/>
                <a:gd name="connsiteY39" fmla="*/ 739140 h 4213860"/>
                <a:gd name="connsiteX40" fmla="*/ 2514600 w 5257800"/>
                <a:gd name="connsiteY40" fmla="*/ 693420 h 4213860"/>
                <a:gd name="connsiteX41" fmla="*/ 2232660 w 5257800"/>
                <a:gd name="connsiteY41" fmla="*/ 739140 h 4213860"/>
                <a:gd name="connsiteX42" fmla="*/ 1234440 w 5257800"/>
                <a:gd name="connsiteY42" fmla="*/ 1059180 h 4213860"/>
                <a:gd name="connsiteX43" fmla="*/ 960120 w 5257800"/>
                <a:gd name="connsiteY43" fmla="*/ 1165860 h 4213860"/>
                <a:gd name="connsiteX44" fmla="*/ 815340 w 5257800"/>
                <a:gd name="connsiteY44" fmla="*/ 1257300 h 4213860"/>
                <a:gd name="connsiteX45" fmla="*/ 0 w 5257800"/>
                <a:gd name="connsiteY45" fmla="*/ 1234440 h 4213860"/>
                <a:gd name="connsiteX0" fmla="*/ 0 w 5257800"/>
                <a:gd name="connsiteY0" fmla="*/ 1234440 h 4213860"/>
                <a:gd name="connsiteX1" fmla="*/ 213360 w 5257800"/>
                <a:gd name="connsiteY1" fmla="*/ 990600 h 4213860"/>
                <a:gd name="connsiteX2" fmla="*/ 457200 w 5257800"/>
                <a:gd name="connsiteY2" fmla="*/ 792480 h 4213860"/>
                <a:gd name="connsiteX3" fmla="*/ 685800 w 5257800"/>
                <a:gd name="connsiteY3" fmla="*/ 624840 h 4213860"/>
                <a:gd name="connsiteX4" fmla="*/ 929640 w 5257800"/>
                <a:gd name="connsiteY4" fmla="*/ 533400 h 4213860"/>
                <a:gd name="connsiteX5" fmla="*/ 891540 w 5257800"/>
                <a:gd name="connsiteY5" fmla="*/ 426720 h 4213860"/>
                <a:gd name="connsiteX6" fmla="*/ 1074420 w 5257800"/>
                <a:gd name="connsiteY6" fmla="*/ 358140 h 4213860"/>
                <a:gd name="connsiteX7" fmla="*/ 1120140 w 5257800"/>
                <a:gd name="connsiteY7" fmla="*/ 464820 h 4213860"/>
                <a:gd name="connsiteX8" fmla="*/ 1242060 w 5257800"/>
                <a:gd name="connsiteY8" fmla="*/ 434340 h 4213860"/>
                <a:gd name="connsiteX9" fmla="*/ 1272540 w 5257800"/>
                <a:gd name="connsiteY9" fmla="*/ 365760 h 4213860"/>
                <a:gd name="connsiteX10" fmla="*/ 1531620 w 5257800"/>
                <a:gd name="connsiteY10" fmla="*/ 297180 h 4213860"/>
                <a:gd name="connsiteX11" fmla="*/ 1584960 w 5257800"/>
                <a:gd name="connsiteY11" fmla="*/ 327660 h 4213860"/>
                <a:gd name="connsiteX12" fmla="*/ 1714500 w 5257800"/>
                <a:gd name="connsiteY12" fmla="*/ 274320 h 4213860"/>
                <a:gd name="connsiteX13" fmla="*/ 1684020 w 5257800"/>
                <a:gd name="connsiteY13" fmla="*/ 114300 h 4213860"/>
                <a:gd name="connsiteX14" fmla="*/ 2087880 w 5257800"/>
                <a:gd name="connsiteY14" fmla="*/ 0 h 4213860"/>
                <a:gd name="connsiteX15" fmla="*/ 2133600 w 5257800"/>
                <a:gd name="connsiteY15" fmla="*/ 160020 h 4213860"/>
                <a:gd name="connsiteX16" fmla="*/ 2385060 w 5257800"/>
                <a:gd name="connsiteY16" fmla="*/ 106680 h 4213860"/>
                <a:gd name="connsiteX17" fmla="*/ 2644140 w 5257800"/>
                <a:gd name="connsiteY17" fmla="*/ 99060 h 4213860"/>
                <a:gd name="connsiteX18" fmla="*/ 2971800 w 5257800"/>
                <a:gd name="connsiteY18" fmla="*/ 152400 h 4213860"/>
                <a:gd name="connsiteX19" fmla="*/ 3299460 w 5257800"/>
                <a:gd name="connsiteY19" fmla="*/ 251460 h 4213860"/>
                <a:gd name="connsiteX20" fmla="*/ 3665220 w 5257800"/>
                <a:gd name="connsiteY20" fmla="*/ 464820 h 4213860"/>
                <a:gd name="connsiteX21" fmla="*/ 3954780 w 5257800"/>
                <a:gd name="connsiteY21" fmla="*/ 723900 h 4213860"/>
                <a:gd name="connsiteX22" fmla="*/ 4465320 w 5257800"/>
                <a:gd name="connsiteY22" fmla="*/ 1280160 h 4213860"/>
                <a:gd name="connsiteX23" fmla="*/ 4495800 w 5257800"/>
                <a:gd name="connsiteY23" fmla="*/ 1287780 h 4213860"/>
                <a:gd name="connsiteX24" fmla="*/ 4678680 w 5257800"/>
                <a:gd name="connsiteY24" fmla="*/ 1463040 h 4213860"/>
                <a:gd name="connsiteX25" fmla="*/ 4663440 w 5257800"/>
                <a:gd name="connsiteY25" fmla="*/ 1524000 h 4213860"/>
                <a:gd name="connsiteX26" fmla="*/ 4914900 w 5257800"/>
                <a:gd name="connsiteY26" fmla="*/ 1821180 h 4213860"/>
                <a:gd name="connsiteX27" fmla="*/ 5105400 w 5257800"/>
                <a:gd name="connsiteY27" fmla="*/ 2217420 h 4213860"/>
                <a:gd name="connsiteX28" fmla="*/ 5227320 w 5257800"/>
                <a:gd name="connsiteY28" fmla="*/ 2636520 h 4213860"/>
                <a:gd name="connsiteX29" fmla="*/ 5257800 w 5257800"/>
                <a:gd name="connsiteY29" fmla="*/ 3086100 h 4213860"/>
                <a:gd name="connsiteX30" fmla="*/ 5204460 w 5257800"/>
                <a:gd name="connsiteY30" fmla="*/ 3611880 h 4213860"/>
                <a:gd name="connsiteX31" fmla="*/ 5044440 w 5257800"/>
                <a:gd name="connsiteY31" fmla="*/ 4206240 h 4213860"/>
                <a:gd name="connsiteX32" fmla="*/ 4495800 w 5257800"/>
                <a:gd name="connsiteY32" fmla="*/ 4213860 h 4213860"/>
                <a:gd name="connsiteX33" fmla="*/ 4693920 w 5257800"/>
                <a:gd name="connsiteY33" fmla="*/ 3261360 h 4213860"/>
                <a:gd name="connsiteX34" fmla="*/ 4701540 w 5257800"/>
                <a:gd name="connsiteY34" fmla="*/ 2834640 h 4213860"/>
                <a:gd name="connsiteX35" fmla="*/ 4579620 w 5257800"/>
                <a:gd name="connsiteY35" fmla="*/ 2415540 h 4213860"/>
                <a:gd name="connsiteX36" fmla="*/ 4373880 w 5257800"/>
                <a:gd name="connsiteY36" fmla="*/ 2057400 h 4213860"/>
                <a:gd name="connsiteX37" fmla="*/ 3429000 w 5257800"/>
                <a:gd name="connsiteY37" fmla="*/ 1013460 h 4213860"/>
                <a:gd name="connsiteX38" fmla="*/ 3192780 w 5257800"/>
                <a:gd name="connsiteY38" fmla="*/ 853440 h 4213860"/>
                <a:gd name="connsiteX39" fmla="*/ 2910840 w 5257800"/>
                <a:gd name="connsiteY39" fmla="*/ 739140 h 4213860"/>
                <a:gd name="connsiteX40" fmla="*/ 2514600 w 5257800"/>
                <a:gd name="connsiteY40" fmla="*/ 693420 h 4213860"/>
                <a:gd name="connsiteX41" fmla="*/ 2232660 w 5257800"/>
                <a:gd name="connsiteY41" fmla="*/ 739140 h 4213860"/>
                <a:gd name="connsiteX42" fmla="*/ 1234440 w 5257800"/>
                <a:gd name="connsiteY42" fmla="*/ 1059180 h 4213860"/>
                <a:gd name="connsiteX43" fmla="*/ 960120 w 5257800"/>
                <a:gd name="connsiteY43" fmla="*/ 1165860 h 4213860"/>
                <a:gd name="connsiteX44" fmla="*/ 815340 w 5257800"/>
                <a:gd name="connsiteY44" fmla="*/ 1257300 h 4213860"/>
                <a:gd name="connsiteX45" fmla="*/ 0 w 5257800"/>
                <a:gd name="connsiteY45" fmla="*/ 1234440 h 4213860"/>
                <a:gd name="connsiteX0" fmla="*/ 0 w 5257800"/>
                <a:gd name="connsiteY0" fmla="*/ 1234440 h 4213860"/>
                <a:gd name="connsiteX1" fmla="*/ 213360 w 5257800"/>
                <a:gd name="connsiteY1" fmla="*/ 990600 h 4213860"/>
                <a:gd name="connsiteX2" fmla="*/ 457200 w 5257800"/>
                <a:gd name="connsiteY2" fmla="*/ 792480 h 4213860"/>
                <a:gd name="connsiteX3" fmla="*/ 685800 w 5257800"/>
                <a:gd name="connsiteY3" fmla="*/ 624840 h 4213860"/>
                <a:gd name="connsiteX4" fmla="*/ 929640 w 5257800"/>
                <a:gd name="connsiteY4" fmla="*/ 533400 h 4213860"/>
                <a:gd name="connsiteX5" fmla="*/ 891540 w 5257800"/>
                <a:gd name="connsiteY5" fmla="*/ 426720 h 4213860"/>
                <a:gd name="connsiteX6" fmla="*/ 1074420 w 5257800"/>
                <a:gd name="connsiteY6" fmla="*/ 358140 h 4213860"/>
                <a:gd name="connsiteX7" fmla="*/ 1120140 w 5257800"/>
                <a:gd name="connsiteY7" fmla="*/ 464820 h 4213860"/>
                <a:gd name="connsiteX8" fmla="*/ 1242060 w 5257800"/>
                <a:gd name="connsiteY8" fmla="*/ 434340 h 4213860"/>
                <a:gd name="connsiteX9" fmla="*/ 1272540 w 5257800"/>
                <a:gd name="connsiteY9" fmla="*/ 365760 h 4213860"/>
                <a:gd name="connsiteX10" fmla="*/ 1531620 w 5257800"/>
                <a:gd name="connsiteY10" fmla="*/ 297180 h 4213860"/>
                <a:gd name="connsiteX11" fmla="*/ 1584960 w 5257800"/>
                <a:gd name="connsiteY11" fmla="*/ 327660 h 4213860"/>
                <a:gd name="connsiteX12" fmla="*/ 1714500 w 5257800"/>
                <a:gd name="connsiteY12" fmla="*/ 274320 h 4213860"/>
                <a:gd name="connsiteX13" fmla="*/ 1684020 w 5257800"/>
                <a:gd name="connsiteY13" fmla="*/ 114300 h 4213860"/>
                <a:gd name="connsiteX14" fmla="*/ 2087880 w 5257800"/>
                <a:gd name="connsiteY14" fmla="*/ 0 h 4213860"/>
                <a:gd name="connsiteX15" fmla="*/ 2133600 w 5257800"/>
                <a:gd name="connsiteY15" fmla="*/ 160020 h 4213860"/>
                <a:gd name="connsiteX16" fmla="*/ 2385060 w 5257800"/>
                <a:gd name="connsiteY16" fmla="*/ 106680 h 4213860"/>
                <a:gd name="connsiteX17" fmla="*/ 2644140 w 5257800"/>
                <a:gd name="connsiteY17" fmla="*/ 99060 h 4213860"/>
                <a:gd name="connsiteX18" fmla="*/ 2971800 w 5257800"/>
                <a:gd name="connsiteY18" fmla="*/ 152400 h 4213860"/>
                <a:gd name="connsiteX19" fmla="*/ 3299460 w 5257800"/>
                <a:gd name="connsiteY19" fmla="*/ 251460 h 4213860"/>
                <a:gd name="connsiteX20" fmla="*/ 3665220 w 5257800"/>
                <a:gd name="connsiteY20" fmla="*/ 464820 h 4213860"/>
                <a:gd name="connsiteX21" fmla="*/ 3954780 w 5257800"/>
                <a:gd name="connsiteY21" fmla="*/ 723900 h 4213860"/>
                <a:gd name="connsiteX22" fmla="*/ 4465320 w 5257800"/>
                <a:gd name="connsiteY22" fmla="*/ 1280160 h 4213860"/>
                <a:gd name="connsiteX23" fmla="*/ 4495800 w 5257800"/>
                <a:gd name="connsiteY23" fmla="*/ 1287780 h 4213860"/>
                <a:gd name="connsiteX24" fmla="*/ 4678680 w 5257800"/>
                <a:gd name="connsiteY24" fmla="*/ 1463040 h 4213860"/>
                <a:gd name="connsiteX25" fmla="*/ 4663440 w 5257800"/>
                <a:gd name="connsiteY25" fmla="*/ 1524000 h 4213860"/>
                <a:gd name="connsiteX26" fmla="*/ 4914900 w 5257800"/>
                <a:gd name="connsiteY26" fmla="*/ 1821180 h 4213860"/>
                <a:gd name="connsiteX27" fmla="*/ 5105400 w 5257800"/>
                <a:gd name="connsiteY27" fmla="*/ 2217420 h 4213860"/>
                <a:gd name="connsiteX28" fmla="*/ 5227320 w 5257800"/>
                <a:gd name="connsiteY28" fmla="*/ 2636520 h 4213860"/>
                <a:gd name="connsiteX29" fmla="*/ 5257800 w 5257800"/>
                <a:gd name="connsiteY29" fmla="*/ 3086100 h 4213860"/>
                <a:gd name="connsiteX30" fmla="*/ 5204460 w 5257800"/>
                <a:gd name="connsiteY30" fmla="*/ 3611880 h 4213860"/>
                <a:gd name="connsiteX31" fmla="*/ 5044440 w 5257800"/>
                <a:gd name="connsiteY31" fmla="*/ 4206240 h 4213860"/>
                <a:gd name="connsiteX32" fmla="*/ 4495800 w 5257800"/>
                <a:gd name="connsiteY32" fmla="*/ 4213860 h 4213860"/>
                <a:gd name="connsiteX33" fmla="*/ 4693920 w 5257800"/>
                <a:gd name="connsiteY33" fmla="*/ 3261360 h 4213860"/>
                <a:gd name="connsiteX34" fmla="*/ 4701540 w 5257800"/>
                <a:gd name="connsiteY34" fmla="*/ 2834640 h 4213860"/>
                <a:gd name="connsiteX35" fmla="*/ 4579620 w 5257800"/>
                <a:gd name="connsiteY35" fmla="*/ 2415540 h 4213860"/>
                <a:gd name="connsiteX36" fmla="*/ 4373880 w 5257800"/>
                <a:gd name="connsiteY36" fmla="*/ 2057400 h 4213860"/>
                <a:gd name="connsiteX37" fmla="*/ 3429000 w 5257800"/>
                <a:gd name="connsiteY37" fmla="*/ 1013460 h 4213860"/>
                <a:gd name="connsiteX38" fmla="*/ 3192780 w 5257800"/>
                <a:gd name="connsiteY38" fmla="*/ 853440 h 4213860"/>
                <a:gd name="connsiteX39" fmla="*/ 2910840 w 5257800"/>
                <a:gd name="connsiteY39" fmla="*/ 739140 h 4213860"/>
                <a:gd name="connsiteX40" fmla="*/ 2514600 w 5257800"/>
                <a:gd name="connsiteY40" fmla="*/ 693420 h 4213860"/>
                <a:gd name="connsiteX41" fmla="*/ 2232660 w 5257800"/>
                <a:gd name="connsiteY41" fmla="*/ 739140 h 4213860"/>
                <a:gd name="connsiteX42" fmla="*/ 1234440 w 5257800"/>
                <a:gd name="connsiteY42" fmla="*/ 1059180 h 4213860"/>
                <a:gd name="connsiteX43" fmla="*/ 960120 w 5257800"/>
                <a:gd name="connsiteY43" fmla="*/ 1165860 h 4213860"/>
                <a:gd name="connsiteX44" fmla="*/ 815340 w 5257800"/>
                <a:gd name="connsiteY44" fmla="*/ 1257300 h 4213860"/>
                <a:gd name="connsiteX45" fmla="*/ 0 w 5257800"/>
                <a:gd name="connsiteY45" fmla="*/ 1234440 h 4213860"/>
                <a:gd name="connsiteX0" fmla="*/ 0 w 5257800"/>
                <a:gd name="connsiteY0" fmla="*/ 1234440 h 4574791"/>
                <a:gd name="connsiteX1" fmla="*/ 213360 w 5257800"/>
                <a:gd name="connsiteY1" fmla="*/ 990600 h 4574791"/>
                <a:gd name="connsiteX2" fmla="*/ 457200 w 5257800"/>
                <a:gd name="connsiteY2" fmla="*/ 792480 h 4574791"/>
                <a:gd name="connsiteX3" fmla="*/ 685800 w 5257800"/>
                <a:gd name="connsiteY3" fmla="*/ 624840 h 4574791"/>
                <a:gd name="connsiteX4" fmla="*/ 929640 w 5257800"/>
                <a:gd name="connsiteY4" fmla="*/ 533400 h 4574791"/>
                <a:gd name="connsiteX5" fmla="*/ 891540 w 5257800"/>
                <a:gd name="connsiteY5" fmla="*/ 426720 h 4574791"/>
                <a:gd name="connsiteX6" fmla="*/ 1074420 w 5257800"/>
                <a:gd name="connsiteY6" fmla="*/ 358140 h 4574791"/>
                <a:gd name="connsiteX7" fmla="*/ 1120140 w 5257800"/>
                <a:gd name="connsiteY7" fmla="*/ 464820 h 4574791"/>
                <a:gd name="connsiteX8" fmla="*/ 1242060 w 5257800"/>
                <a:gd name="connsiteY8" fmla="*/ 434340 h 4574791"/>
                <a:gd name="connsiteX9" fmla="*/ 1272540 w 5257800"/>
                <a:gd name="connsiteY9" fmla="*/ 365760 h 4574791"/>
                <a:gd name="connsiteX10" fmla="*/ 1531620 w 5257800"/>
                <a:gd name="connsiteY10" fmla="*/ 297180 h 4574791"/>
                <a:gd name="connsiteX11" fmla="*/ 1584960 w 5257800"/>
                <a:gd name="connsiteY11" fmla="*/ 327660 h 4574791"/>
                <a:gd name="connsiteX12" fmla="*/ 1714500 w 5257800"/>
                <a:gd name="connsiteY12" fmla="*/ 274320 h 4574791"/>
                <a:gd name="connsiteX13" fmla="*/ 1684020 w 5257800"/>
                <a:gd name="connsiteY13" fmla="*/ 114300 h 4574791"/>
                <a:gd name="connsiteX14" fmla="*/ 2087880 w 5257800"/>
                <a:gd name="connsiteY14" fmla="*/ 0 h 4574791"/>
                <a:gd name="connsiteX15" fmla="*/ 2133600 w 5257800"/>
                <a:gd name="connsiteY15" fmla="*/ 160020 h 4574791"/>
                <a:gd name="connsiteX16" fmla="*/ 2385060 w 5257800"/>
                <a:gd name="connsiteY16" fmla="*/ 106680 h 4574791"/>
                <a:gd name="connsiteX17" fmla="*/ 2644140 w 5257800"/>
                <a:gd name="connsiteY17" fmla="*/ 99060 h 4574791"/>
                <a:gd name="connsiteX18" fmla="*/ 2971800 w 5257800"/>
                <a:gd name="connsiteY18" fmla="*/ 152400 h 4574791"/>
                <a:gd name="connsiteX19" fmla="*/ 3299460 w 5257800"/>
                <a:gd name="connsiteY19" fmla="*/ 251460 h 4574791"/>
                <a:gd name="connsiteX20" fmla="*/ 3665220 w 5257800"/>
                <a:gd name="connsiteY20" fmla="*/ 464820 h 4574791"/>
                <a:gd name="connsiteX21" fmla="*/ 3954780 w 5257800"/>
                <a:gd name="connsiteY21" fmla="*/ 723900 h 4574791"/>
                <a:gd name="connsiteX22" fmla="*/ 4465320 w 5257800"/>
                <a:gd name="connsiteY22" fmla="*/ 1280160 h 4574791"/>
                <a:gd name="connsiteX23" fmla="*/ 4495800 w 5257800"/>
                <a:gd name="connsiteY23" fmla="*/ 1287780 h 4574791"/>
                <a:gd name="connsiteX24" fmla="*/ 4678680 w 5257800"/>
                <a:gd name="connsiteY24" fmla="*/ 1463040 h 4574791"/>
                <a:gd name="connsiteX25" fmla="*/ 4663440 w 5257800"/>
                <a:gd name="connsiteY25" fmla="*/ 1524000 h 4574791"/>
                <a:gd name="connsiteX26" fmla="*/ 4914900 w 5257800"/>
                <a:gd name="connsiteY26" fmla="*/ 1821180 h 4574791"/>
                <a:gd name="connsiteX27" fmla="*/ 5105400 w 5257800"/>
                <a:gd name="connsiteY27" fmla="*/ 2217420 h 4574791"/>
                <a:gd name="connsiteX28" fmla="*/ 5227320 w 5257800"/>
                <a:gd name="connsiteY28" fmla="*/ 2636520 h 4574791"/>
                <a:gd name="connsiteX29" fmla="*/ 5257800 w 5257800"/>
                <a:gd name="connsiteY29" fmla="*/ 3086100 h 4574791"/>
                <a:gd name="connsiteX30" fmla="*/ 5204460 w 5257800"/>
                <a:gd name="connsiteY30" fmla="*/ 3611880 h 4574791"/>
                <a:gd name="connsiteX31" fmla="*/ 5044440 w 5257800"/>
                <a:gd name="connsiteY31" fmla="*/ 4206240 h 4574791"/>
                <a:gd name="connsiteX32" fmla="*/ 4382946 w 5257800"/>
                <a:gd name="connsiteY32" fmla="*/ 4574791 h 4574791"/>
                <a:gd name="connsiteX33" fmla="*/ 4693920 w 5257800"/>
                <a:gd name="connsiteY33" fmla="*/ 3261360 h 4574791"/>
                <a:gd name="connsiteX34" fmla="*/ 4701540 w 5257800"/>
                <a:gd name="connsiteY34" fmla="*/ 2834640 h 4574791"/>
                <a:gd name="connsiteX35" fmla="*/ 4579620 w 5257800"/>
                <a:gd name="connsiteY35" fmla="*/ 2415540 h 4574791"/>
                <a:gd name="connsiteX36" fmla="*/ 4373880 w 5257800"/>
                <a:gd name="connsiteY36" fmla="*/ 2057400 h 4574791"/>
                <a:gd name="connsiteX37" fmla="*/ 3429000 w 5257800"/>
                <a:gd name="connsiteY37" fmla="*/ 1013460 h 4574791"/>
                <a:gd name="connsiteX38" fmla="*/ 3192780 w 5257800"/>
                <a:gd name="connsiteY38" fmla="*/ 853440 h 4574791"/>
                <a:gd name="connsiteX39" fmla="*/ 2910840 w 5257800"/>
                <a:gd name="connsiteY39" fmla="*/ 739140 h 4574791"/>
                <a:gd name="connsiteX40" fmla="*/ 2514600 w 5257800"/>
                <a:gd name="connsiteY40" fmla="*/ 693420 h 4574791"/>
                <a:gd name="connsiteX41" fmla="*/ 2232660 w 5257800"/>
                <a:gd name="connsiteY41" fmla="*/ 739140 h 4574791"/>
                <a:gd name="connsiteX42" fmla="*/ 1234440 w 5257800"/>
                <a:gd name="connsiteY42" fmla="*/ 1059180 h 4574791"/>
                <a:gd name="connsiteX43" fmla="*/ 960120 w 5257800"/>
                <a:gd name="connsiteY43" fmla="*/ 1165860 h 4574791"/>
                <a:gd name="connsiteX44" fmla="*/ 815340 w 5257800"/>
                <a:gd name="connsiteY44" fmla="*/ 1257300 h 4574791"/>
                <a:gd name="connsiteX45" fmla="*/ 0 w 5257800"/>
                <a:gd name="connsiteY45" fmla="*/ 1234440 h 4574791"/>
                <a:gd name="connsiteX0" fmla="*/ 0 w 5257800"/>
                <a:gd name="connsiteY0" fmla="*/ 1234440 h 4785630"/>
                <a:gd name="connsiteX1" fmla="*/ 213360 w 5257800"/>
                <a:gd name="connsiteY1" fmla="*/ 990600 h 4785630"/>
                <a:gd name="connsiteX2" fmla="*/ 457200 w 5257800"/>
                <a:gd name="connsiteY2" fmla="*/ 792480 h 4785630"/>
                <a:gd name="connsiteX3" fmla="*/ 685800 w 5257800"/>
                <a:gd name="connsiteY3" fmla="*/ 624840 h 4785630"/>
                <a:gd name="connsiteX4" fmla="*/ 929640 w 5257800"/>
                <a:gd name="connsiteY4" fmla="*/ 533400 h 4785630"/>
                <a:gd name="connsiteX5" fmla="*/ 891540 w 5257800"/>
                <a:gd name="connsiteY5" fmla="*/ 426720 h 4785630"/>
                <a:gd name="connsiteX6" fmla="*/ 1074420 w 5257800"/>
                <a:gd name="connsiteY6" fmla="*/ 358140 h 4785630"/>
                <a:gd name="connsiteX7" fmla="*/ 1120140 w 5257800"/>
                <a:gd name="connsiteY7" fmla="*/ 464820 h 4785630"/>
                <a:gd name="connsiteX8" fmla="*/ 1242060 w 5257800"/>
                <a:gd name="connsiteY8" fmla="*/ 434340 h 4785630"/>
                <a:gd name="connsiteX9" fmla="*/ 1272540 w 5257800"/>
                <a:gd name="connsiteY9" fmla="*/ 365760 h 4785630"/>
                <a:gd name="connsiteX10" fmla="*/ 1531620 w 5257800"/>
                <a:gd name="connsiteY10" fmla="*/ 297180 h 4785630"/>
                <a:gd name="connsiteX11" fmla="*/ 1584960 w 5257800"/>
                <a:gd name="connsiteY11" fmla="*/ 327660 h 4785630"/>
                <a:gd name="connsiteX12" fmla="*/ 1714500 w 5257800"/>
                <a:gd name="connsiteY12" fmla="*/ 274320 h 4785630"/>
                <a:gd name="connsiteX13" fmla="*/ 1684020 w 5257800"/>
                <a:gd name="connsiteY13" fmla="*/ 114300 h 4785630"/>
                <a:gd name="connsiteX14" fmla="*/ 2087880 w 5257800"/>
                <a:gd name="connsiteY14" fmla="*/ 0 h 4785630"/>
                <a:gd name="connsiteX15" fmla="*/ 2133600 w 5257800"/>
                <a:gd name="connsiteY15" fmla="*/ 160020 h 4785630"/>
                <a:gd name="connsiteX16" fmla="*/ 2385060 w 5257800"/>
                <a:gd name="connsiteY16" fmla="*/ 106680 h 4785630"/>
                <a:gd name="connsiteX17" fmla="*/ 2644140 w 5257800"/>
                <a:gd name="connsiteY17" fmla="*/ 99060 h 4785630"/>
                <a:gd name="connsiteX18" fmla="*/ 2971800 w 5257800"/>
                <a:gd name="connsiteY18" fmla="*/ 152400 h 4785630"/>
                <a:gd name="connsiteX19" fmla="*/ 3299460 w 5257800"/>
                <a:gd name="connsiteY19" fmla="*/ 251460 h 4785630"/>
                <a:gd name="connsiteX20" fmla="*/ 3665220 w 5257800"/>
                <a:gd name="connsiteY20" fmla="*/ 464820 h 4785630"/>
                <a:gd name="connsiteX21" fmla="*/ 3954780 w 5257800"/>
                <a:gd name="connsiteY21" fmla="*/ 723900 h 4785630"/>
                <a:gd name="connsiteX22" fmla="*/ 4465320 w 5257800"/>
                <a:gd name="connsiteY22" fmla="*/ 1280160 h 4785630"/>
                <a:gd name="connsiteX23" fmla="*/ 4495800 w 5257800"/>
                <a:gd name="connsiteY23" fmla="*/ 1287780 h 4785630"/>
                <a:gd name="connsiteX24" fmla="*/ 4678680 w 5257800"/>
                <a:gd name="connsiteY24" fmla="*/ 1463040 h 4785630"/>
                <a:gd name="connsiteX25" fmla="*/ 4663440 w 5257800"/>
                <a:gd name="connsiteY25" fmla="*/ 1524000 h 4785630"/>
                <a:gd name="connsiteX26" fmla="*/ 4914900 w 5257800"/>
                <a:gd name="connsiteY26" fmla="*/ 1821180 h 4785630"/>
                <a:gd name="connsiteX27" fmla="*/ 5105400 w 5257800"/>
                <a:gd name="connsiteY27" fmla="*/ 2217420 h 4785630"/>
                <a:gd name="connsiteX28" fmla="*/ 5227320 w 5257800"/>
                <a:gd name="connsiteY28" fmla="*/ 2636520 h 4785630"/>
                <a:gd name="connsiteX29" fmla="*/ 5257800 w 5257800"/>
                <a:gd name="connsiteY29" fmla="*/ 3086100 h 4785630"/>
                <a:gd name="connsiteX30" fmla="*/ 5204460 w 5257800"/>
                <a:gd name="connsiteY30" fmla="*/ 3611880 h 4785630"/>
                <a:gd name="connsiteX31" fmla="*/ 4905544 w 5257800"/>
                <a:gd name="connsiteY31" fmla="*/ 4785630 h 4785630"/>
                <a:gd name="connsiteX32" fmla="*/ 4382946 w 5257800"/>
                <a:gd name="connsiteY32" fmla="*/ 4574791 h 4785630"/>
                <a:gd name="connsiteX33" fmla="*/ 4693920 w 5257800"/>
                <a:gd name="connsiteY33" fmla="*/ 3261360 h 4785630"/>
                <a:gd name="connsiteX34" fmla="*/ 4701540 w 5257800"/>
                <a:gd name="connsiteY34" fmla="*/ 2834640 h 4785630"/>
                <a:gd name="connsiteX35" fmla="*/ 4579620 w 5257800"/>
                <a:gd name="connsiteY35" fmla="*/ 2415540 h 4785630"/>
                <a:gd name="connsiteX36" fmla="*/ 4373880 w 5257800"/>
                <a:gd name="connsiteY36" fmla="*/ 2057400 h 4785630"/>
                <a:gd name="connsiteX37" fmla="*/ 3429000 w 5257800"/>
                <a:gd name="connsiteY37" fmla="*/ 1013460 h 4785630"/>
                <a:gd name="connsiteX38" fmla="*/ 3192780 w 5257800"/>
                <a:gd name="connsiteY38" fmla="*/ 853440 h 4785630"/>
                <a:gd name="connsiteX39" fmla="*/ 2910840 w 5257800"/>
                <a:gd name="connsiteY39" fmla="*/ 739140 h 4785630"/>
                <a:gd name="connsiteX40" fmla="*/ 2514600 w 5257800"/>
                <a:gd name="connsiteY40" fmla="*/ 693420 h 4785630"/>
                <a:gd name="connsiteX41" fmla="*/ 2232660 w 5257800"/>
                <a:gd name="connsiteY41" fmla="*/ 739140 h 4785630"/>
                <a:gd name="connsiteX42" fmla="*/ 1234440 w 5257800"/>
                <a:gd name="connsiteY42" fmla="*/ 1059180 h 4785630"/>
                <a:gd name="connsiteX43" fmla="*/ 960120 w 5257800"/>
                <a:gd name="connsiteY43" fmla="*/ 1165860 h 4785630"/>
                <a:gd name="connsiteX44" fmla="*/ 815340 w 5257800"/>
                <a:gd name="connsiteY44" fmla="*/ 1257300 h 4785630"/>
                <a:gd name="connsiteX45" fmla="*/ 0 w 5257800"/>
                <a:gd name="connsiteY45" fmla="*/ 1234440 h 4785630"/>
                <a:gd name="connsiteX0" fmla="*/ 0 w 5257800"/>
                <a:gd name="connsiteY0" fmla="*/ 1234440 h 4785630"/>
                <a:gd name="connsiteX1" fmla="*/ 213360 w 5257800"/>
                <a:gd name="connsiteY1" fmla="*/ 990600 h 4785630"/>
                <a:gd name="connsiteX2" fmla="*/ 457200 w 5257800"/>
                <a:gd name="connsiteY2" fmla="*/ 792480 h 4785630"/>
                <a:gd name="connsiteX3" fmla="*/ 685800 w 5257800"/>
                <a:gd name="connsiteY3" fmla="*/ 624840 h 4785630"/>
                <a:gd name="connsiteX4" fmla="*/ 929640 w 5257800"/>
                <a:gd name="connsiteY4" fmla="*/ 533400 h 4785630"/>
                <a:gd name="connsiteX5" fmla="*/ 891540 w 5257800"/>
                <a:gd name="connsiteY5" fmla="*/ 426720 h 4785630"/>
                <a:gd name="connsiteX6" fmla="*/ 1074420 w 5257800"/>
                <a:gd name="connsiteY6" fmla="*/ 358140 h 4785630"/>
                <a:gd name="connsiteX7" fmla="*/ 1120140 w 5257800"/>
                <a:gd name="connsiteY7" fmla="*/ 464820 h 4785630"/>
                <a:gd name="connsiteX8" fmla="*/ 1242060 w 5257800"/>
                <a:gd name="connsiteY8" fmla="*/ 434340 h 4785630"/>
                <a:gd name="connsiteX9" fmla="*/ 1272540 w 5257800"/>
                <a:gd name="connsiteY9" fmla="*/ 365760 h 4785630"/>
                <a:gd name="connsiteX10" fmla="*/ 1531620 w 5257800"/>
                <a:gd name="connsiteY10" fmla="*/ 297180 h 4785630"/>
                <a:gd name="connsiteX11" fmla="*/ 1584960 w 5257800"/>
                <a:gd name="connsiteY11" fmla="*/ 327660 h 4785630"/>
                <a:gd name="connsiteX12" fmla="*/ 1714500 w 5257800"/>
                <a:gd name="connsiteY12" fmla="*/ 274320 h 4785630"/>
                <a:gd name="connsiteX13" fmla="*/ 1684020 w 5257800"/>
                <a:gd name="connsiteY13" fmla="*/ 114300 h 4785630"/>
                <a:gd name="connsiteX14" fmla="*/ 2087880 w 5257800"/>
                <a:gd name="connsiteY14" fmla="*/ 0 h 4785630"/>
                <a:gd name="connsiteX15" fmla="*/ 2133600 w 5257800"/>
                <a:gd name="connsiteY15" fmla="*/ 160020 h 4785630"/>
                <a:gd name="connsiteX16" fmla="*/ 2385060 w 5257800"/>
                <a:gd name="connsiteY16" fmla="*/ 106680 h 4785630"/>
                <a:gd name="connsiteX17" fmla="*/ 2644140 w 5257800"/>
                <a:gd name="connsiteY17" fmla="*/ 99060 h 4785630"/>
                <a:gd name="connsiteX18" fmla="*/ 2971800 w 5257800"/>
                <a:gd name="connsiteY18" fmla="*/ 152400 h 4785630"/>
                <a:gd name="connsiteX19" fmla="*/ 3299460 w 5257800"/>
                <a:gd name="connsiteY19" fmla="*/ 251460 h 4785630"/>
                <a:gd name="connsiteX20" fmla="*/ 3665220 w 5257800"/>
                <a:gd name="connsiteY20" fmla="*/ 464820 h 4785630"/>
                <a:gd name="connsiteX21" fmla="*/ 3954780 w 5257800"/>
                <a:gd name="connsiteY21" fmla="*/ 723900 h 4785630"/>
                <a:gd name="connsiteX22" fmla="*/ 4465320 w 5257800"/>
                <a:gd name="connsiteY22" fmla="*/ 1280160 h 4785630"/>
                <a:gd name="connsiteX23" fmla="*/ 4495800 w 5257800"/>
                <a:gd name="connsiteY23" fmla="*/ 1287780 h 4785630"/>
                <a:gd name="connsiteX24" fmla="*/ 4678680 w 5257800"/>
                <a:gd name="connsiteY24" fmla="*/ 1463040 h 4785630"/>
                <a:gd name="connsiteX25" fmla="*/ 4663440 w 5257800"/>
                <a:gd name="connsiteY25" fmla="*/ 1524000 h 4785630"/>
                <a:gd name="connsiteX26" fmla="*/ 4914900 w 5257800"/>
                <a:gd name="connsiteY26" fmla="*/ 1821180 h 4785630"/>
                <a:gd name="connsiteX27" fmla="*/ 5105400 w 5257800"/>
                <a:gd name="connsiteY27" fmla="*/ 2217420 h 4785630"/>
                <a:gd name="connsiteX28" fmla="*/ 5227320 w 5257800"/>
                <a:gd name="connsiteY28" fmla="*/ 2636520 h 4785630"/>
                <a:gd name="connsiteX29" fmla="*/ 5257800 w 5257800"/>
                <a:gd name="connsiteY29" fmla="*/ 3086100 h 4785630"/>
                <a:gd name="connsiteX30" fmla="*/ 5204460 w 5257800"/>
                <a:gd name="connsiteY30" fmla="*/ 3611880 h 4785630"/>
                <a:gd name="connsiteX31" fmla="*/ 4958901 w 5257800"/>
                <a:gd name="connsiteY31" fmla="*/ 4553471 h 4785630"/>
                <a:gd name="connsiteX32" fmla="*/ 4905544 w 5257800"/>
                <a:gd name="connsiteY32" fmla="*/ 4785630 h 4785630"/>
                <a:gd name="connsiteX33" fmla="*/ 4382946 w 5257800"/>
                <a:gd name="connsiteY33" fmla="*/ 4574791 h 4785630"/>
                <a:gd name="connsiteX34" fmla="*/ 4693920 w 5257800"/>
                <a:gd name="connsiteY34" fmla="*/ 3261360 h 4785630"/>
                <a:gd name="connsiteX35" fmla="*/ 4701540 w 5257800"/>
                <a:gd name="connsiteY35" fmla="*/ 2834640 h 4785630"/>
                <a:gd name="connsiteX36" fmla="*/ 4579620 w 5257800"/>
                <a:gd name="connsiteY36" fmla="*/ 2415540 h 4785630"/>
                <a:gd name="connsiteX37" fmla="*/ 4373880 w 5257800"/>
                <a:gd name="connsiteY37" fmla="*/ 2057400 h 4785630"/>
                <a:gd name="connsiteX38" fmla="*/ 3429000 w 5257800"/>
                <a:gd name="connsiteY38" fmla="*/ 1013460 h 4785630"/>
                <a:gd name="connsiteX39" fmla="*/ 3192780 w 5257800"/>
                <a:gd name="connsiteY39" fmla="*/ 853440 h 4785630"/>
                <a:gd name="connsiteX40" fmla="*/ 2910840 w 5257800"/>
                <a:gd name="connsiteY40" fmla="*/ 739140 h 4785630"/>
                <a:gd name="connsiteX41" fmla="*/ 2514600 w 5257800"/>
                <a:gd name="connsiteY41" fmla="*/ 693420 h 4785630"/>
                <a:gd name="connsiteX42" fmla="*/ 2232660 w 5257800"/>
                <a:gd name="connsiteY42" fmla="*/ 739140 h 4785630"/>
                <a:gd name="connsiteX43" fmla="*/ 1234440 w 5257800"/>
                <a:gd name="connsiteY43" fmla="*/ 1059180 h 4785630"/>
                <a:gd name="connsiteX44" fmla="*/ 960120 w 5257800"/>
                <a:gd name="connsiteY44" fmla="*/ 1165860 h 4785630"/>
                <a:gd name="connsiteX45" fmla="*/ 815340 w 5257800"/>
                <a:gd name="connsiteY45" fmla="*/ 1257300 h 4785630"/>
                <a:gd name="connsiteX46" fmla="*/ 0 w 5257800"/>
                <a:gd name="connsiteY46" fmla="*/ 1234440 h 4785630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63073 w 5257800"/>
                <a:gd name="connsiteY31" fmla="*/ 4847915 h 4847915"/>
                <a:gd name="connsiteX32" fmla="*/ 4905544 w 5257800"/>
                <a:gd name="connsiteY32" fmla="*/ 4785630 h 4847915"/>
                <a:gd name="connsiteX33" fmla="*/ 4382946 w 5257800"/>
                <a:gd name="connsiteY33" fmla="*/ 4574791 h 4847915"/>
                <a:gd name="connsiteX34" fmla="*/ 4693920 w 5257800"/>
                <a:gd name="connsiteY34" fmla="*/ 3261360 h 4847915"/>
                <a:gd name="connsiteX35" fmla="*/ 4701540 w 5257800"/>
                <a:gd name="connsiteY35" fmla="*/ 2834640 h 4847915"/>
                <a:gd name="connsiteX36" fmla="*/ 4579620 w 5257800"/>
                <a:gd name="connsiteY36" fmla="*/ 2415540 h 4847915"/>
                <a:gd name="connsiteX37" fmla="*/ 4373880 w 5257800"/>
                <a:gd name="connsiteY37" fmla="*/ 2057400 h 4847915"/>
                <a:gd name="connsiteX38" fmla="*/ 3429000 w 5257800"/>
                <a:gd name="connsiteY38" fmla="*/ 1013460 h 4847915"/>
                <a:gd name="connsiteX39" fmla="*/ 3192780 w 5257800"/>
                <a:gd name="connsiteY39" fmla="*/ 853440 h 4847915"/>
                <a:gd name="connsiteX40" fmla="*/ 2910840 w 5257800"/>
                <a:gd name="connsiteY40" fmla="*/ 739140 h 4847915"/>
                <a:gd name="connsiteX41" fmla="*/ 2514600 w 5257800"/>
                <a:gd name="connsiteY41" fmla="*/ 693420 h 4847915"/>
                <a:gd name="connsiteX42" fmla="*/ 2232660 w 5257800"/>
                <a:gd name="connsiteY42" fmla="*/ 739140 h 4847915"/>
                <a:gd name="connsiteX43" fmla="*/ 1234440 w 5257800"/>
                <a:gd name="connsiteY43" fmla="*/ 1059180 h 4847915"/>
                <a:gd name="connsiteX44" fmla="*/ 960120 w 5257800"/>
                <a:gd name="connsiteY44" fmla="*/ 1165860 h 4847915"/>
                <a:gd name="connsiteX45" fmla="*/ 815340 w 5257800"/>
                <a:gd name="connsiteY45" fmla="*/ 1257300 h 4847915"/>
                <a:gd name="connsiteX46" fmla="*/ 0 w 5257800"/>
                <a:gd name="connsiteY46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132522 w 5257800"/>
                <a:gd name="connsiteY31" fmla="*/ 4173543 h 4847915"/>
                <a:gd name="connsiteX32" fmla="*/ 5063073 w 5257800"/>
                <a:gd name="connsiteY32" fmla="*/ 4847915 h 4847915"/>
                <a:gd name="connsiteX33" fmla="*/ 4905544 w 5257800"/>
                <a:gd name="connsiteY33" fmla="*/ 4785630 h 4847915"/>
                <a:gd name="connsiteX34" fmla="*/ 4382946 w 5257800"/>
                <a:gd name="connsiteY34" fmla="*/ 4574791 h 4847915"/>
                <a:gd name="connsiteX35" fmla="*/ 4693920 w 5257800"/>
                <a:gd name="connsiteY35" fmla="*/ 3261360 h 4847915"/>
                <a:gd name="connsiteX36" fmla="*/ 4701540 w 5257800"/>
                <a:gd name="connsiteY36" fmla="*/ 2834640 h 4847915"/>
                <a:gd name="connsiteX37" fmla="*/ 4579620 w 5257800"/>
                <a:gd name="connsiteY37" fmla="*/ 2415540 h 4847915"/>
                <a:gd name="connsiteX38" fmla="*/ 4373880 w 5257800"/>
                <a:gd name="connsiteY38" fmla="*/ 2057400 h 4847915"/>
                <a:gd name="connsiteX39" fmla="*/ 3429000 w 5257800"/>
                <a:gd name="connsiteY39" fmla="*/ 1013460 h 4847915"/>
                <a:gd name="connsiteX40" fmla="*/ 3192780 w 5257800"/>
                <a:gd name="connsiteY40" fmla="*/ 853440 h 4847915"/>
                <a:gd name="connsiteX41" fmla="*/ 2910840 w 5257800"/>
                <a:gd name="connsiteY41" fmla="*/ 739140 h 4847915"/>
                <a:gd name="connsiteX42" fmla="*/ 2514600 w 5257800"/>
                <a:gd name="connsiteY42" fmla="*/ 693420 h 4847915"/>
                <a:gd name="connsiteX43" fmla="*/ 2232660 w 5257800"/>
                <a:gd name="connsiteY43" fmla="*/ 739140 h 4847915"/>
                <a:gd name="connsiteX44" fmla="*/ 1234440 w 5257800"/>
                <a:gd name="connsiteY44" fmla="*/ 1059180 h 4847915"/>
                <a:gd name="connsiteX45" fmla="*/ 960120 w 5257800"/>
                <a:gd name="connsiteY45" fmla="*/ 1165860 h 4847915"/>
                <a:gd name="connsiteX46" fmla="*/ 815340 w 5257800"/>
                <a:gd name="connsiteY46" fmla="*/ 1257300 h 4847915"/>
                <a:gd name="connsiteX47" fmla="*/ 0 w 5257800"/>
                <a:gd name="connsiteY47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02306 w 5257800"/>
                <a:gd name="connsiteY31" fmla="*/ 4363507 h 4847915"/>
                <a:gd name="connsiteX32" fmla="*/ 5063073 w 5257800"/>
                <a:gd name="connsiteY32" fmla="*/ 4847915 h 4847915"/>
                <a:gd name="connsiteX33" fmla="*/ 4905544 w 5257800"/>
                <a:gd name="connsiteY33" fmla="*/ 4785630 h 4847915"/>
                <a:gd name="connsiteX34" fmla="*/ 4382946 w 5257800"/>
                <a:gd name="connsiteY34" fmla="*/ 4574791 h 4847915"/>
                <a:gd name="connsiteX35" fmla="*/ 4693920 w 5257800"/>
                <a:gd name="connsiteY35" fmla="*/ 3261360 h 4847915"/>
                <a:gd name="connsiteX36" fmla="*/ 4701540 w 5257800"/>
                <a:gd name="connsiteY36" fmla="*/ 2834640 h 4847915"/>
                <a:gd name="connsiteX37" fmla="*/ 4579620 w 5257800"/>
                <a:gd name="connsiteY37" fmla="*/ 2415540 h 4847915"/>
                <a:gd name="connsiteX38" fmla="*/ 4373880 w 5257800"/>
                <a:gd name="connsiteY38" fmla="*/ 2057400 h 4847915"/>
                <a:gd name="connsiteX39" fmla="*/ 3429000 w 5257800"/>
                <a:gd name="connsiteY39" fmla="*/ 1013460 h 4847915"/>
                <a:gd name="connsiteX40" fmla="*/ 3192780 w 5257800"/>
                <a:gd name="connsiteY40" fmla="*/ 853440 h 4847915"/>
                <a:gd name="connsiteX41" fmla="*/ 2910840 w 5257800"/>
                <a:gd name="connsiteY41" fmla="*/ 739140 h 4847915"/>
                <a:gd name="connsiteX42" fmla="*/ 2514600 w 5257800"/>
                <a:gd name="connsiteY42" fmla="*/ 693420 h 4847915"/>
                <a:gd name="connsiteX43" fmla="*/ 2232660 w 5257800"/>
                <a:gd name="connsiteY43" fmla="*/ 739140 h 4847915"/>
                <a:gd name="connsiteX44" fmla="*/ 1234440 w 5257800"/>
                <a:gd name="connsiteY44" fmla="*/ 1059180 h 4847915"/>
                <a:gd name="connsiteX45" fmla="*/ 960120 w 5257800"/>
                <a:gd name="connsiteY45" fmla="*/ 1165860 h 4847915"/>
                <a:gd name="connsiteX46" fmla="*/ 815340 w 5257800"/>
                <a:gd name="connsiteY46" fmla="*/ 1257300 h 4847915"/>
                <a:gd name="connsiteX47" fmla="*/ 0 w 5257800"/>
                <a:gd name="connsiteY47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02306 w 5257800"/>
                <a:gd name="connsiteY31" fmla="*/ 4363507 h 4847915"/>
                <a:gd name="connsiteX32" fmla="*/ 5010987 w 5257800"/>
                <a:gd name="connsiteY32" fmla="*/ 4600961 h 4847915"/>
                <a:gd name="connsiteX33" fmla="*/ 5063073 w 5257800"/>
                <a:gd name="connsiteY33" fmla="*/ 4847915 h 4847915"/>
                <a:gd name="connsiteX34" fmla="*/ 4905544 w 5257800"/>
                <a:gd name="connsiteY34" fmla="*/ 4785630 h 4847915"/>
                <a:gd name="connsiteX35" fmla="*/ 4382946 w 5257800"/>
                <a:gd name="connsiteY35" fmla="*/ 4574791 h 4847915"/>
                <a:gd name="connsiteX36" fmla="*/ 4693920 w 5257800"/>
                <a:gd name="connsiteY36" fmla="*/ 3261360 h 4847915"/>
                <a:gd name="connsiteX37" fmla="*/ 4701540 w 5257800"/>
                <a:gd name="connsiteY37" fmla="*/ 2834640 h 4847915"/>
                <a:gd name="connsiteX38" fmla="*/ 4579620 w 5257800"/>
                <a:gd name="connsiteY38" fmla="*/ 2415540 h 4847915"/>
                <a:gd name="connsiteX39" fmla="*/ 4373880 w 5257800"/>
                <a:gd name="connsiteY39" fmla="*/ 2057400 h 4847915"/>
                <a:gd name="connsiteX40" fmla="*/ 3429000 w 5257800"/>
                <a:gd name="connsiteY40" fmla="*/ 1013460 h 4847915"/>
                <a:gd name="connsiteX41" fmla="*/ 3192780 w 5257800"/>
                <a:gd name="connsiteY41" fmla="*/ 853440 h 4847915"/>
                <a:gd name="connsiteX42" fmla="*/ 2910840 w 5257800"/>
                <a:gd name="connsiteY42" fmla="*/ 739140 h 4847915"/>
                <a:gd name="connsiteX43" fmla="*/ 2514600 w 5257800"/>
                <a:gd name="connsiteY43" fmla="*/ 693420 h 4847915"/>
                <a:gd name="connsiteX44" fmla="*/ 2232660 w 5257800"/>
                <a:gd name="connsiteY44" fmla="*/ 739140 h 4847915"/>
                <a:gd name="connsiteX45" fmla="*/ 1234440 w 5257800"/>
                <a:gd name="connsiteY45" fmla="*/ 1059180 h 4847915"/>
                <a:gd name="connsiteX46" fmla="*/ 960120 w 5257800"/>
                <a:gd name="connsiteY46" fmla="*/ 1165860 h 4847915"/>
                <a:gd name="connsiteX47" fmla="*/ 815340 w 5257800"/>
                <a:gd name="connsiteY47" fmla="*/ 1257300 h 4847915"/>
                <a:gd name="connsiteX48" fmla="*/ 0 w 5257800"/>
                <a:gd name="connsiteY48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02306 w 5257800"/>
                <a:gd name="connsiteY31" fmla="*/ 4363507 h 4847915"/>
                <a:gd name="connsiteX32" fmla="*/ 5132522 w 5257800"/>
                <a:gd name="connsiteY32" fmla="*/ 4429994 h 4847915"/>
                <a:gd name="connsiteX33" fmla="*/ 5063073 w 5257800"/>
                <a:gd name="connsiteY33" fmla="*/ 4847915 h 4847915"/>
                <a:gd name="connsiteX34" fmla="*/ 4905544 w 5257800"/>
                <a:gd name="connsiteY34" fmla="*/ 4785630 h 4847915"/>
                <a:gd name="connsiteX35" fmla="*/ 4382946 w 5257800"/>
                <a:gd name="connsiteY35" fmla="*/ 4574791 h 4847915"/>
                <a:gd name="connsiteX36" fmla="*/ 4693920 w 5257800"/>
                <a:gd name="connsiteY36" fmla="*/ 3261360 h 4847915"/>
                <a:gd name="connsiteX37" fmla="*/ 4701540 w 5257800"/>
                <a:gd name="connsiteY37" fmla="*/ 2834640 h 4847915"/>
                <a:gd name="connsiteX38" fmla="*/ 4579620 w 5257800"/>
                <a:gd name="connsiteY38" fmla="*/ 2415540 h 4847915"/>
                <a:gd name="connsiteX39" fmla="*/ 4373880 w 5257800"/>
                <a:gd name="connsiteY39" fmla="*/ 2057400 h 4847915"/>
                <a:gd name="connsiteX40" fmla="*/ 3429000 w 5257800"/>
                <a:gd name="connsiteY40" fmla="*/ 1013460 h 4847915"/>
                <a:gd name="connsiteX41" fmla="*/ 3192780 w 5257800"/>
                <a:gd name="connsiteY41" fmla="*/ 853440 h 4847915"/>
                <a:gd name="connsiteX42" fmla="*/ 2910840 w 5257800"/>
                <a:gd name="connsiteY42" fmla="*/ 739140 h 4847915"/>
                <a:gd name="connsiteX43" fmla="*/ 2514600 w 5257800"/>
                <a:gd name="connsiteY43" fmla="*/ 693420 h 4847915"/>
                <a:gd name="connsiteX44" fmla="*/ 2232660 w 5257800"/>
                <a:gd name="connsiteY44" fmla="*/ 739140 h 4847915"/>
                <a:gd name="connsiteX45" fmla="*/ 1234440 w 5257800"/>
                <a:gd name="connsiteY45" fmla="*/ 1059180 h 4847915"/>
                <a:gd name="connsiteX46" fmla="*/ 960120 w 5257800"/>
                <a:gd name="connsiteY46" fmla="*/ 1165860 h 4847915"/>
                <a:gd name="connsiteX47" fmla="*/ 815340 w 5257800"/>
                <a:gd name="connsiteY47" fmla="*/ 1257300 h 4847915"/>
                <a:gd name="connsiteX48" fmla="*/ 0 w 5257800"/>
                <a:gd name="connsiteY48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02306 w 5257800"/>
                <a:gd name="connsiteY31" fmla="*/ 4363507 h 4847915"/>
                <a:gd name="connsiteX32" fmla="*/ 5132522 w 5257800"/>
                <a:gd name="connsiteY32" fmla="*/ 4429994 h 4847915"/>
                <a:gd name="connsiteX33" fmla="*/ 5063073 w 5257800"/>
                <a:gd name="connsiteY33" fmla="*/ 4847915 h 4847915"/>
                <a:gd name="connsiteX34" fmla="*/ 4905544 w 5257800"/>
                <a:gd name="connsiteY34" fmla="*/ 4785630 h 4847915"/>
                <a:gd name="connsiteX35" fmla="*/ 4655065 w 5257800"/>
                <a:gd name="connsiteY35" fmla="*/ 4676947 h 4847915"/>
                <a:gd name="connsiteX36" fmla="*/ 4382946 w 5257800"/>
                <a:gd name="connsiteY36" fmla="*/ 4574791 h 4847915"/>
                <a:gd name="connsiteX37" fmla="*/ 4693920 w 5257800"/>
                <a:gd name="connsiteY37" fmla="*/ 3261360 h 4847915"/>
                <a:gd name="connsiteX38" fmla="*/ 4701540 w 5257800"/>
                <a:gd name="connsiteY38" fmla="*/ 2834640 h 4847915"/>
                <a:gd name="connsiteX39" fmla="*/ 4579620 w 5257800"/>
                <a:gd name="connsiteY39" fmla="*/ 2415540 h 4847915"/>
                <a:gd name="connsiteX40" fmla="*/ 4373880 w 5257800"/>
                <a:gd name="connsiteY40" fmla="*/ 2057400 h 4847915"/>
                <a:gd name="connsiteX41" fmla="*/ 3429000 w 5257800"/>
                <a:gd name="connsiteY41" fmla="*/ 1013460 h 4847915"/>
                <a:gd name="connsiteX42" fmla="*/ 3192780 w 5257800"/>
                <a:gd name="connsiteY42" fmla="*/ 853440 h 4847915"/>
                <a:gd name="connsiteX43" fmla="*/ 2910840 w 5257800"/>
                <a:gd name="connsiteY43" fmla="*/ 739140 h 4847915"/>
                <a:gd name="connsiteX44" fmla="*/ 2514600 w 5257800"/>
                <a:gd name="connsiteY44" fmla="*/ 693420 h 4847915"/>
                <a:gd name="connsiteX45" fmla="*/ 2232660 w 5257800"/>
                <a:gd name="connsiteY45" fmla="*/ 739140 h 4847915"/>
                <a:gd name="connsiteX46" fmla="*/ 1234440 w 5257800"/>
                <a:gd name="connsiteY46" fmla="*/ 1059180 h 4847915"/>
                <a:gd name="connsiteX47" fmla="*/ 960120 w 5257800"/>
                <a:gd name="connsiteY47" fmla="*/ 1165860 h 4847915"/>
                <a:gd name="connsiteX48" fmla="*/ 815340 w 5257800"/>
                <a:gd name="connsiteY48" fmla="*/ 1257300 h 4847915"/>
                <a:gd name="connsiteX49" fmla="*/ 0 w 5257800"/>
                <a:gd name="connsiteY49" fmla="*/ 1234440 h 4847915"/>
                <a:gd name="connsiteX0" fmla="*/ 0 w 5257800"/>
                <a:gd name="connsiteY0" fmla="*/ 1234440 h 5588772"/>
                <a:gd name="connsiteX1" fmla="*/ 213360 w 5257800"/>
                <a:gd name="connsiteY1" fmla="*/ 990600 h 5588772"/>
                <a:gd name="connsiteX2" fmla="*/ 457200 w 5257800"/>
                <a:gd name="connsiteY2" fmla="*/ 792480 h 5588772"/>
                <a:gd name="connsiteX3" fmla="*/ 685800 w 5257800"/>
                <a:gd name="connsiteY3" fmla="*/ 624840 h 5588772"/>
                <a:gd name="connsiteX4" fmla="*/ 929640 w 5257800"/>
                <a:gd name="connsiteY4" fmla="*/ 533400 h 5588772"/>
                <a:gd name="connsiteX5" fmla="*/ 891540 w 5257800"/>
                <a:gd name="connsiteY5" fmla="*/ 426720 h 5588772"/>
                <a:gd name="connsiteX6" fmla="*/ 1074420 w 5257800"/>
                <a:gd name="connsiteY6" fmla="*/ 358140 h 5588772"/>
                <a:gd name="connsiteX7" fmla="*/ 1120140 w 5257800"/>
                <a:gd name="connsiteY7" fmla="*/ 464820 h 5588772"/>
                <a:gd name="connsiteX8" fmla="*/ 1242060 w 5257800"/>
                <a:gd name="connsiteY8" fmla="*/ 434340 h 5588772"/>
                <a:gd name="connsiteX9" fmla="*/ 1272540 w 5257800"/>
                <a:gd name="connsiteY9" fmla="*/ 365760 h 5588772"/>
                <a:gd name="connsiteX10" fmla="*/ 1531620 w 5257800"/>
                <a:gd name="connsiteY10" fmla="*/ 297180 h 5588772"/>
                <a:gd name="connsiteX11" fmla="*/ 1584960 w 5257800"/>
                <a:gd name="connsiteY11" fmla="*/ 327660 h 5588772"/>
                <a:gd name="connsiteX12" fmla="*/ 1714500 w 5257800"/>
                <a:gd name="connsiteY12" fmla="*/ 274320 h 5588772"/>
                <a:gd name="connsiteX13" fmla="*/ 1684020 w 5257800"/>
                <a:gd name="connsiteY13" fmla="*/ 114300 h 5588772"/>
                <a:gd name="connsiteX14" fmla="*/ 2087880 w 5257800"/>
                <a:gd name="connsiteY14" fmla="*/ 0 h 5588772"/>
                <a:gd name="connsiteX15" fmla="*/ 2133600 w 5257800"/>
                <a:gd name="connsiteY15" fmla="*/ 160020 h 5588772"/>
                <a:gd name="connsiteX16" fmla="*/ 2385060 w 5257800"/>
                <a:gd name="connsiteY16" fmla="*/ 106680 h 5588772"/>
                <a:gd name="connsiteX17" fmla="*/ 2644140 w 5257800"/>
                <a:gd name="connsiteY17" fmla="*/ 99060 h 5588772"/>
                <a:gd name="connsiteX18" fmla="*/ 2971800 w 5257800"/>
                <a:gd name="connsiteY18" fmla="*/ 152400 h 5588772"/>
                <a:gd name="connsiteX19" fmla="*/ 3299460 w 5257800"/>
                <a:gd name="connsiteY19" fmla="*/ 251460 h 5588772"/>
                <a:gd name="connsiteX20" fmla="*/ 3665220 w 5257800"/>
                <a:gd name="connsiteY20" fmla="*/ 464820 h 5588772"/>
                <a:gd name="connsiteX21" fmla="*/ 3954780 w 5257800"/>
                <a:gd name="connsiteY21" fmla="*/ 723900 h 5588772"/>
                <a:gd name="connsiteX22" fmla="*/ 4465320 w 5257800"/>
                <a:gd name="connsiteY22" fmla="*/ 1280160 h 5588772"/>
                <a:gd name="connsiteX23" fmla="*/ 4495800 w 5257800"/>
                <a:gd name="connsiteY23" fmla="*/ 1287780 h 5588772"/>
                <a:gd name="connsiteX24" fmla="*/ 4678680 w 5257800"/>
                <a:gd name="connsiteY24" fmla="*/ 1463040 h 5588772"/>
                <a:gd name="connsiteX25" fmla="*/ 4663440 w 5257800"/>
                <a:gd name="connsiteY25" fmla="*/ 1524000 h 5588772"/>
                <a:gd name="connsiteX26" fmla="*/ 4914900 w 5257800"/>
                <a:gd name="connsiteY26" fmla="*/ 1821180 h 5588772"/>
                <a:gd name="connsiteX27" fmla="*/ 5105400 w 5257800"/>
                <a:gd name="connsiteY27" fmla="*/ 2217420 h 5588772"/>
                <a:gd name="connsiteX28" fmla="*/ 5227320 w 5257800"/>
                <a:gd name="connsiteY28" fmla="*/ 2636520 h 5588772"/>
                <a:gd name="connsiteX29" fmla="*/ 5257800 w 5257800"/>
                <a:gd name="connsiteY29" fmla="*/ 3086100 h 5588772"/>
                <a:gd name="connsiteX30" fmla="*/ 5204460 w 5257800"/>
                <a:gd name="connsiteY30" fmla="*/ 3611880 h 5588772"/>
                <a:gd name="connsiteX31" fmla="*/ 5002306 w 5257800"/>
                <a:gd name="connsiteY31" fmla="*/ 4363507 h 5588772"/>
                <a:gd name="connsiteX32" fmla="*/ 5132522 w 5257800"/>
                <a:gd name="connsiteY32" fmla="*/ 4429994 h 5588772"/>
                <a:gd name="connsiteX33" fmla="*/ 5063073 w 5257800"/>
                <a:gd name="connsiteY33" fmla="*/ 4847915 h 5588772"/>
                <a:gd name="connsiteX34" fmla="*/ 4905544 w 5257800"/>
                <a:gd name="connsiteY34" fmla="*/ 4785630 h 5588772"/>
                <a:gd name="connsiteX35" fmla="*/ 3595980 w 5257800"/>
                <a:gd name="connsiteY35" fmla="*/ 5588772 h 5588772"/>
                <a:gd name="connsiteX36" fmla="*/ 4382946 w 5257800"/>
                <a:gd name="connsiteY36" fmla="*/ 4574791 h 5588772"/>
                <a:gd name="connsiteX37" fmla="*/ 4693920 w 5257800"/>
                <a:gd name="connsiteY37" fmla="*/ 3261360 h 5588772"/>
                <a:gd name="connsiteX38" fmla="*/ 4701540 w 5257800"/>
                <a:gd name="connsiteY38" fmla="*/ 2834640 h 5588772"/>
                <a:gd name="connsiteX39" fmla="*/ 4579620 w 5257800"/>
                <a:gd name="connsiteY39" fmla="*/ 2415540 h 5588772"/>
                <a:gd name="connsiteX40" fmla="*/ 4373880 w 5257800"/>
                <a:gd name="connsiteY40" fmla="*/ 2057400 h 5588772"/>
                <a:gd name="connsiteX41" fmla="*/ 3429000 w 5257800"/>
                <a:gd name="connsiteY41" fmla="*/ 1013460 h 5588772"/>
                <a:gd name="connsiteX42" fmla="*/ 3192780 w 5257800"/>
                <a:gd name="connsiteY42" fmla="*/ 853440 h 5588772"/>
                <a:gd name="connsiteX43" fmla="*/ 2910840 w 5257800"/>
                <a:gd name="connsiteY43" fmla="*/ 739140 h 5588772"/>
                <a:gd name="connsiteX44" fmla="*/ 2514600 w 5257800"/>
                <a:gd name="connsiteY44" fmla="*/ 693420 h 5588772"/>
                <a:gd name="connsiteX45" fmla="*/ 2232660 w 5257800"/>
                <a:gd name="connsiteY45" fmla="*/ 739140 h 5588772"/>
                <a:gd name="connsiteX46" fmla="*/ 1234440 w 5257800"/>
                <a:gd name="connsiteY46" fmla="*/ 1059180 h 5588772"/>
                <a:gd name="connsiteX47" fmla="*/ 960120 w 5257800"/>
                <a:gd name="connsiteY47" fmla="*/ 1165860 h 5588772"/>
                <a:gd name="connsiteX48" fmla="*/ 815340 w 5257800"/>
                <a:gd name="connsiteY48" fmla="*/ 1257300 h 5588772"/>
                <a:gd name="connsiteX49" fmla="*/ 0 w 5257800"/>
                <a:gd name="connsiteY49" fmla="*/ 1234440 h 5588772"/>
                <a:gd name="connsiteX0" fmla="*/ 0 w 5257800"/>
                <a:gd name="connsiteY0" fmla="*/ 1234440 h 5588772"/>
                <a:gd name="connsiteX1" fmla="*/ 213360 w 5257800"/>
                <a:gd name="connsiteY1" fmla="*/ 990600 h 5588772"/>
                <a:gd name="connsiteX2" fmla="*/ 457200 w 5257800"/>
                <a:gd name="connsiteY2" fmla="*/ 792480 h 5588772"/>
                <a:gd name="connsiteX3" fmla="*/ 685800 w 5257800"/>
                <a:gd name="connsiteY3" fmla="*/ 624840 h 5588772"/>
                <a:gd name="connsiteX4" fmla="*/ 929640 w 5257800"/>
                <a:gd name="connsiteY4" fmla="*/ 533400 h 5588772"/>
                <a:gd name="connsiteX5" fmla="*/ 891540 w 5257800"/>
                <a:gd name="connsiteY5" fmla="*/ 426720 h 5588772"/>
                <a:gd name="connsiteX6" fmla="*/ 1074420 w 5257800"/>
                <a:gd name="connsiteY6" fmla="*/ 358140 h 5588772"/>
                <a:gd name="connsiteX7" fmla="*/ 1120140 w 5257800"/>
                <a:gd name="connsiteY7" fmla="*/ 464820 h 5588772"/>
                <a:gd name="connsiteX8" fmla="*/ 1242060 w 5257800"/>
                <a:gd name="connsiteY8" fmla="*/ 434340 h 5588772"/>
                <a:gd name="connsiteX9" fmla="*/ 1272540 w 5257800"/>
                <a:gd name="connsiteY9" fmla="*/ 365760 h 5588772"/>
                <a:gd name="connsiteX10" fmla="*/ 1531620 w 5257800"/>
                <a:gd name="connsiteY10" fmla="*/ 297180 h 5588772"/>
                <a:gd name="connsiteX11" fmla="*/ 1584960 w 5257800"/>
                <a:gd name="connsiteY11" fmla="*/ 327660 h 5588772"/>
                <a:gd name="connsiteX12" fmla="*/ 1714500 w 5257800"/>
                <a:gd name="connsiteY12" fmla="*/ 274320 h 5588772"/>
                <a:gd name="connsiteX13" fmla="*/ 1684020 w 5257800"/>
                <a:gd name="connsiteY13" fmla="*/ 114300 h 5588772"/>
                <a:gd name="connsiteX14" fmla="*/ 2087880 w 5257800"/>
                <a:gd name="connsiteY14" fmla="*/ 0 h 5588772"/>
                <a:gd name="connsiteX15" fmla="*/ 2133600 w 5257800"/>
                <a:gd name="connsiteY15" fmla="*/ 160020 h 5588772"/>
                <a:gd name="connsiteX16" fmla="*/ 2385060 w 5257800"/>
                <a:gd name="connsiteY16" fmla="*/ 106680 h 5588772"/>
                <a:gd name="connsiteX17" fmla="*/ 2644140 w 5257800"/>
                <a:gd name="connsiteY17" fmla="*/ 99060 h 5588772"/>
                <a:gd name="connsiteX18" fmla="*/ 2971800 w 5257800"/>
                <a:gd name="connsiteY18" fmla="*/ 152400 h 5588772"/>
                <a:gd name="connsiteX19" fmla="*/ 3299460 w 5257800"/>
                <a:gd name="connsiteY19" fmla="*/ 251460 h 5588772"/>
                <a:gd name="connsiteX20" fmla="*/ 3665220 w 5257800"/>
                <a:gd name="connsiteY20" fmla="*/ 464820 h 5588772"/>
                <a:gd name="connsiteX21" fmla="*/ 3954780 w 5257800"/>
                <a:gd name="connsiteY21" fmla="*/ 723900 h 5588772"/>
                <a:gd name="connsiteX22" fmla="*/ 4465320 w 5257800"/>
                <a:gd name="connsiteY22" fmla="*/ 1280160 h 5588772"/>
                <a:gd name="connsiteX23" fmla="*/ 4495800 w 5257800"/>
                <a:gd name="connsiteY23" fmla="*/ 1287780 h 5588772"/>
                <a:gd name="connsiteX24" fmla="*/ 4678680 w 5257800"/>
                <a:gd name="connsiteY24" fmla="*/ 1463040 h 5588772"/>
                <a:gd name="connsiteX25" fmla="*/ 4663440 w 5257800"/>
                <a:gd name="connsiteY25" fmla="*/ 1524000 h 5588772"/>
                <a:gd name="connsiteX26" fmla="*/ 4914900 w 5257800"/>
                <a:gd name="connsiteY26" fmla="*/ 1821180 h 5588772"/>
                <a:gd name="connsiteX27" fmla="*/ 5105400 w 5257800"/>
                <a:gd name="connsiteY27" fmla="*/ 2217420 h 5588772"/>
                <a:gd name="connsiteX28" fmla="*/ 5227320 w 5257800"/>
                <a:gd name="connsiteY28" fmla="*/ 2636520 h 5588772"/>
                <a:gd name="connsiteX29" fmla="*/ 5257800 w 5257800"/>
                <a:gd name="connsiteY29" fmla="*/ 3086100 h 5588772"/>
                <a:gd name="connsiteX30" fmla="*/ 5204460 w 5257800"/>
                <a:gd name="connsiteY30" fmla="*/ 3611880 h 5588772"/>
                <a:gd name="connsiteX31" fmla="*/ 5002306 w 5257800"/>
                <a:gd name="connsiteY31" fmla="*/ 4363507 h 5588772"/>
                <a:gd name="connsiteX32" fmla="*/ 5132522 w 5257800"/>
                <a:gd name="connsiteY32" fmla="*/ 4429994 h 5588772"/>
                <a:gd name="connsiteX33" fmla="*/ 5063073 w 5257800"/>
                <a:gd name="connsiteY33" fmla="*/ 4847915 h 5588772"/>
                <a:gd name="connsiteX34" fmla="*/ 4905544 w 5257800"/>
                <a:gd name="connsiteY34" fmla="*/ 4785630 h 5588772"/>
                <a:gd name="connsiteX35" fmla="*/ 4385953 w 5257800"/>
                <a:gd name="connsiteY35" fmla="*/ 5104365 h 5588772"/>
                <a:gd name="connsiteX36" fmla="*/ 3595980 w 5257800"/>
                <a:gd name="connsiteY36" fmla="*/ 5588772 h 5588772"/>
                <a:gd name="connsiteX37" fmla="*/ 4382946 w 5257800"/>
                <a:gd name="connsiteY37" fmla="*/ 4574791 h 5588772"/>
                <a:gd name="connsiteX38" fmla="*/ 4693920 w 5257800"/>
                <a:gd name="connsiteY38" fmla="*/ 3261360 h 5588772"/>
                <a:gd name="connsiteX39" fmla="*/ 4701540 w 5257800"/>
                <a:gd name="connsiteY39" fmla="*/ 2834640 h 5588772"/>
                <a:gd name="connsiteX40" fmla="*/ 4579620 w 5257800"/>
                <a:gd name="connsiteY40" fmla="*/ 2415540 h 5588772"/>
                <a:gd name="connsiteX41" fmla="*/ 4373880 w 5257800"/>
                <a:gd name="connsiteY41" fmla="*/ 2057400 h 5588772"/>
                <a:gd name="connsiteX42" fmla="*/ 3429000 w 5257800"/>
                <a:gd name="connsiteY42" fmla="*/ 1013460 h 5588772"/>
                <a:gd name="connsiteX43" fmla="*/ 3192780 w 5257800"/>
                <a:gd name="connsiteY43" fmla="*/ 853440 h 5588772"/>
                <a:gd name="connsiteX44" fmla="*/ 2910840 w 5257800"/>
                <a:gd name="connsiteY44" fmla="*/ 739140 h 5588772"/>
                <a:gd name="connsiteX45" fmla="*/ 2514600 w 5257800"/>
                <a:gd name="connsiteY45" fmla="*/ 693420 h 5588772"/>
                <a:gd name="connsiteX46" fmla="*/ 2232660 w 5257800"/>
                <a:gd name="connsiteY46" fmla="*/ 739140 h 5588772"/>
                <a:gd name="connsiteX47" fmla="*/ 1234440 w 5257800"/>
                <a:gd name="connsiteY47" fmla="*/ 1059180 h 5588772"/>
                <a:gd name="connsiteX48" fmla="*/ 960120 w 5257800"/>
                <a:gd name="connsiteY48" fmla="*/ 1165860 h 5588772"/>
                <a:gd name="connsiteX49" fmla="*/ 815340 w 5257800"/>
                <a:gd name="connsiteY49" fmla="*/ 1257300 h 5588772"/>
                <a:gd name="connsiteX50" fmla="*/ 0 w 5257800"/>
                <a:gd name="connsiteY50" fmla="*/ 1234440 h 5588772"/>
                <a:gd name="connsiteX0" fmla="*/ 0 w 5257800"/>
                <a:gd name="connsiteY0" fmla="*/ 1234440 h 6187157"/>
                <a:gd name="connsiteX1" fmla="*/ 213360 w 5257800"/>
                <a:gd name="connsiteY1" fmla="*/ 990600 h 6187157"/>
                <a:gd name="connsiteX2" fmla="*/ 457200 w 5257800"/>
                <a:gd name="connsiteY2" fmla="*/ 792480 h 6187157"/>
                <a:gd name="connsiteX3" fmla="*/ 685800 w 5257800"/>
                <a:gd name="connsiteY3" fmla="*/ 624840 h 6187157"/>
                <a:gd name="connsiteX4" fmla="*/ 929640 w 5257800"/>
                <a:gd name="connsiteY4" fmla="*/ 533400 h 6187157"/>
                <a:gd name="connsiteX5" fmla="*/ 891540 w 5257800"/>
                <a:gd name="connsiteY5" fmla="*/ 426720 h 6187157"/>
                <a:gd name="connsiteX6" fmla="*/ 1074420 w 5257800"/>
                <a:gd name="connsiteY6" fmla="*/ 358140 h 6187157"/>
                <a:gd name="connsiteX7" fmla="*/ 1120140 w 5257800"/>
                <a:gd name="connsiteY7" fmla="*/ 464820 h 6187157"/>
                <a:gd name="connsiteX8" fmla="*/ 1242060 w 5257800"/>
                <a:gd name="connsiteY8" fmla="*/ 434340 h 6187157"/>
                <a:gd name="connsiteX9" fmla="*/ 1272540 w 5257800"/>
                <a:gd name="connsiteY9" fmla="*/ 365760 h 6187157"/>
                <a:gd name="connsiteX10" fmla="*/ 1531620 w 5257800"/>
                <a:gd name="connsiteY10" fmla="*/ 297180 h 6187157"/>
                <a:gd name="connsiteX11" fmla="*/ 1584960 w 5257800"/>
                <a:gd name="connsiteY11" fmla="*/ 327660 h 6187157"/>
                <a:gd name="connsiteX12" fmla="*/ 1714500 w 5257800"/>
                <a:gd name="connsiteY12" fmla="*/ 274320 h 6187157"/>
                <a:gd name="connsiteX13" fmla="*/ 1684020 w 5257800"/>
                <a:gd name="connsiteY13" fmla="*/ 114300 h 6187157"/>
                <a:gd name="connsiteX14" fmla="*/ 2087880 w 5257800"/>
                <a:gd name="connsiteY14" fmla="*/ 0 h 6187157"/>
                <a:gd name="connsiteX15" fmla="*/ 2133600 w 5257800"/>
                <a:gd name="connsiteY15" fmla="*/ 160020 h 6187157"/>
                <a:gd name="connsiteX16" fmla="*/ 2385060 w 5257800"/>
                <a:gd name="connsiteY16" fmla="*/ 106680 h 6187157"/>
                <a:gd name="connsiteX17" fmla="*/ 2644140 w 5257800"/>
                <a:gd name="connsiteY17" fmla="*/ 99060 h 6187157"/>
                <a:gd name="connsiteX18" fmla="*/ 2971800 w 5257800"/>
                <a:gd name="connsiteY18" fmla="*/ 152400 h 6187157"/>
                <a:gd name="connsiteX19" fmla="*/ 3299460 w 5257800"/>
                <a:gd name="connsiteY19" fmla="*/ 251460 h 6187157"/>
                <a:gd name="connsiteX20" fmla="*/ 3665220 w 5257800"/>
                <a:gd name="connsiteY20" fmla="*/ 464820 h 6187157"/>
                <a:gd name="connsiteX21" fmla="*/ 3954780 w 5257800"/>
                <a:gd name="connsiteY21" fmla="*/ 723900 h 6187157"/>
                <a:gd name="connsiteX22" fmla="*/ 4465320 w 5257800"/>
                <a:gd name="connsiteY22" fmla="*/ 1280160 h 6187157"/>
                <a:gd name="connsiteX23" fmla="*/ 4495800 w 5257800"/>
                <a:gd name="connsiteY23" fmla="*/ 1287780 h 6187157"/>
                <a:gd name="connsiteX24" fmla="*/ 4678680 w 5257800"/>
                <a:gd name="connsiteY24" fmla="*/ 1463040 h 6187157"/>
                <a:gd name="connsiteX25" fmla="*/ 4663440 w 5257800"/>
                <a:gd name="connsiteY25" fmla="*/ 1524000 h 6187157"/>
                <a:gd name="connsiteX26" fmla="*/ 4914900 w 5257800"/>
                <a:gd name="connsiteY26" fmla="*/ 1821180 h 6187157"/>
                <a:gd name="connsiteX27" fmla="*/ 5105400 w 5257800"/>
                <a:gd name="connsiteY27" fmla="*/ 2217420 h 6187157"/>
                <a:gd name="connsiteX28" fmla="*/ 5227320 w 5257800"/>
                <a:gd name="connsiteY28" fmla="*/ 2636520 h 6187157"/>
                <a:gd name="connsiteX29" fmla="*/ 5257800 w 5257800"/>
                <a:gd name="connsiteY29" fmla="*/ 3086100 h 6187157"/>
                <a:gd name="connsiteX30" fmla="*/ 5204460 w 5257800"/>
                <a:gd name="connsiteY30" fmla="*/ 3611880 h 6187157"/>
                <a:gd name="connsiteX31" fmla="*/ 5002306 w 5257800"/>
                <a:gd name="connsiteY31" fmla="*/ 4363507 h 6187157"/>
                <a:gd name="connsiteX32" fmla="*/ 5132522 w 5257800"/>
                <a:gd name="connsiteY32" fmla="*/ 4429994 h 6187157"/>
                <a:gd name="connsiteX33" fmla="*/ 5063073 w 5257800"/>
                <a:gd name="connsiteY33" fmla="*/ 4847915 h 6187157"/>
                <a:gd name="connsiteX34" fmla="*/ 4905544 w 5257800"/>
                <a:gd name="connsiteY34" fmla="*/ 4785630 h 6187157"/>
                <a:gd name="connsiteX35" fmla="*/ 3743556 w 5257800"/>
                <a:gd name="connsiteY35" fmla="*/ 6187157 h 6187157"/>
                <a:gd name="connsiteX36" fmla="*/ 3595980 w 5257800"/>
                <a:gd name="connsiteY36" fmla="*/ 5588772 h 6187157"/>
                <a:gd name="connsiteX37" fmla="*/ 4382946 w 5257800"/>
                <a:gd name="connsiteY37" fmla="*/ 4574791 h 6187157"/>
                <a:gd name="connsiteX38" fmla="*/ 4693920 w 5257800"/>
                <a:gd name="connsiteY38" fmla="*/ 3261360 h 6187157"/>
                <a:gd name="connsiteX39" fmla="*/ 4701540 w 5257800"/>
                <a:gd name="connsiteY39" fmla="*/ 2834640 h 6187157"/>
                <a:gd name="connsiteX40" fmla="*/ 4579620 w 5257800"/>
                <a:gd name="connsiteY40" fmla="*/ 2415540 h 6187157"/>
                <a:gd name="connsiteX41" fmla="*/ 4373880 w 5257800"/>
                <a:gd name="connsiteY41" fmla="*/ 2057400 h 6187157"/>
                <a:gd name="connsiteX42" fmla="*/ 3429000 w 5257800"/>
                <a:gd name="connsiteY42" fmla="*/ 1013460 h 6187157"/>
                <a:gd name="connsiteX43" fmla="*/ 3192780 w 5257800"/>
                <a:gd name="connsiteY43" fmla="*/ 853440 h 6187157"/>
                <a:gd name="connsiteX44" fmla="*/ 2910840 w 5257800"/>
                <a:gd name="connsiteY44" fmla="*/ 739140 h 6187157"/>
                <a:gd name="connsiteX45" fmla="*/ 2514600 w 5257800"/>
                <a:gd name="connsiteY45" fmla="*/ 693420 h 6187157"/>
                <a:gd name="connsiteX46" fmla="*/ 2232660 w 5257800"/>
                <a:gd name="connsiteY46" fmla="*/ 739140 h 6187157"/>
                <a:gd name="connsiteX47" fmla="*/ 1234440 w 5257800"/>
                <a:gd name="connsiteY47" fmla="*/ 1059180 h 6187157"/>
                <a:gd name="connsiteX48" fmla="*/ 960120 w 5257800"/>
                <a:gd name="connsiteY48" fmla="*/ 1165860 h 6187157"/>
                <a:gd name="connsiteX49" fmla="*/ 815340 w 5257800"/>
                <a:gd name="connsiteY49" fmla="*/ 1257300 h 6187157"/>
                <a:gd name="connsiteX50" fmla="*/ 0 w 5257800"/>
                <a:gd name="connsiteY50" fmla="*/ 1234440 h 6187157"/>
                <a:gd name="connsiteX0" fmla="*/ 0 w 5257800"/>
                <a:gd name="connsiteY0" fmla="*/ 1234440 h 6187157"/>
                <a:gd name="connsiteX1" fmla="*/ 213360 w 5257800"/>
                <a:gd name="connsiteY1" fmla="*/ 990600 h 6187157"/>
                <a:gd name="connsiteX2" fmla="*/ 457200 w 5257800"/>
                <a:gd name="connsiteY2" fmla="*/ 792480 h 6187157"/>
                <a:gd name="connsiteX3" fmla="*/ 685800 w 5257800"/>
                <a:gd name="connsiteY3" fmla="*/ 624840 h 6187157"/>
                <a:gd name="connsiteX4" fmla="*/ 929640 w 5257800"/>
                <a:gd name="connsiteY4" fmla="*/ 533400 h 6187157"/>
                <a:gd name="connsiteX5" fmla="*/ 891540 w 5257800"/>
                <a:gd name="connsiteY5" fmla="*/ 426720 h 6187157"/>
                <a:gd name="connsiteX6" fmla="*/ 1074420 w 5257800"/>
                <a:gd name="connsiteY6" fmla="*/ 358140 h 6187157"/>
                <a:gd name="connsiteX7" fmla="*/ 1120140 w 5257800"/>
                <a:gd name="connsiteY7" fmla="*/ 464820 h 6187157"/>
                <a:gd name="connsiteX8" fmla="*/ 1242060 w 5257800"/>
                <a:gd name="connsiteY8" fmla="*/ 434340 h 6187157"/>
                <a:gd name="connsiteX9" fmla="*/ 1272540 w 5257800"/>
                <a:gd name="connsiteY9" fmla="*/ 365760 h 6187157"/>
                <a:gd name="connsiteX10" fmla="*/ 1531620 w 5257800"/>
                <a:gd name="connsiteY10" fmla="*/ 297180 h 6187157"/>
                <a:gd name="connsiteX11" fmla="*/ 1584960 w 5257800"/>
                <a:gd name="connsiteY11" fmla="*/ 327660 h 6187157"/>
                <a:gd name="connsiteX12" fmla="*/ 1714500 w 5257800"/>
                <a:gd name="connsiteY12" fmla="*/ 274320 h 6187157"/>
                <a:gd name="connsiteX13" fmla="*/ 1684020 w 5257800"/>
                <a:gd name="connsiteY13" fmla="*/ 114300 h 6187157"/>
                <a:gd name="connsiteX14" fmla="*/ 2087880 w 5257800"/>
                <a:gd name="connsiteY14" fmla="*/ 0 h 6187157"/>
                <a:gd name="connsiteX15" fmla="*/ 2133600 w 5257800"/>
                <a:gd name="connsiteY15" fmla="*/ 160020 h 6187157"/>
                <a:gd name="connsiteX16" fmla="*/ 2385060 w 5257800"/>
                <a:gd name="connsiteY16" fmla="*/ 106680 h 6187157"/>
                <a:gd name="connsiteX17" fmla="*/ 2644140 w 5257800"/>
                <a:gd name="connsiteY17" fmla="*/ 99060 h 6187157"/>
                <a:gd name="connsiteX18" fmla="*/ 2971800 w 5257800"/>
                <a:gd name="connsiteY18" fmla="*/ 152400 h 6187157"/>
                <a:gd name="connsiteX19" fmla="*/ 3299460 w 5257800"/>
                <a:gd name="connsiteY19" fmla="*/ 251460 h 6187157"/>
                <a:gd name="connsiteX20" fmla="*/ 3665220 w 5257800"/>
                <a:gd name="connsiteY20" fmla="*/ 464820 h 6187157"/>
                <a:gd name="connsiteX21" fmla="*/ 3954780 w 5257800"/>
                <a:gd name="connsiteY21" fmla="*/ 723900 h 6187157"/>
                <a:gd name="connsiteX22" fmla="*/ 4465320 w 5257800"/>
                <a:gd name="connsiteY22" fmla="*/ 1280160 h 6187157"/>
                <a:gd name="connsiteX23" fmla="*/ 4495800 w 5257800"/>
                <a:gd name="connsiteY23" fmla="*/ 1287780 h 6187157"/>
                <a:gd name="connsiteX24" fmla="*/ 4678680 w 5257800"/>
                <a:gd name="connsiteY24" fmla="*/ 1463040 h 6187157"/>
                <a:gd name="connsiteX25" fmla="*/ 4663440 w 5257800"/>
                <a:gd name="connsiteY25" fmla="*/ 1524000 h 6187157"/>
                <a:gd name="connsiteX26" fmla="*/ 4914900 w 5257800"/>
                <a:gd name="connsiteY26" fmla="*/ 1821180 h 6187157"/>
                <a:gd name="connsiteX27" fmla="*/ 5105400 w 5257800"/>
                <a:gd name="connsiteY27" fmla="*/ 2217420 h 6187157"/>
                <a:gd name="connsiteX28" fmla="*/ 5227320 w 5257800"/>
                <a:gd name="connsiteY28" fmla="*/ 2636520 h 6187157"/>
                <a:gd name="connsiteX29" fmla="*/ 5257800 w 5257800"/>
                <a:gd name="connsiteY29" fmla="*/ 3086100 h 6187157"/>
                <a:gd name="connsiteX30" fmla="*/ 5204460 w 5257800"/>
                <a:gd name="connsiteY30" fmla="*/ 3611880 h 6187157"/>
                <a:gd name="connsiteX31" fmla="*/ 5002306 w 5257800"/>
                <a:gd name="connsiteY31" fmla="*/ 4363507 h 6187157"/>
                <a:gd name="connsiteX32" fmla="*/ 5132522 w 5257800"/>
                <a:gd name="connsiteY32" fmla="*/ 4429994 h 6187157"/>
                <a:gd name="connsiteX33" fmla="*/ 5063073 w 5257800"/>
                <a:gd name="connsiteY33" fmla="*/ 4847915 h 6187157"/>
                <a:gd name="connsiteX34" fmla="*/ 4905544 w 5257800"/>
                <a:gd name="connsiteY34" fmla="*/ 4785630 h 6187157"/>
                <a:gd name="connsiteX35" fmla="*/ 3743556 w 5257800"/>
                <a:gd name="connsiteY35" fmla="*/ 6187157 h 6187157"/>
                <a:gd name="connsiteX36" fmla="*/ 3595980 w 5257800"/>
                <a:gd name="connsiteY36" fmla="*/ 5588772 h 6187157"/>
                <a:gd name="connsiteX37" fmla="*/ 4382946 w 5257800"/>
                <a:gd name="connsiteY37" fmla="*/ 4574791 h 6187157"/>
                <a:gd name="connsiteX38" fmla="*/ 4693920 w 5257800"/>
                <a:gd name="connsiteY38" fmla="*/ 3261360 h 6187157"/>
                <a:gd name="connsiteX39" fmla="*/ 4701540 w 5257800"/>
                <a:gd name="connsiteY39" fmla="*/ 2834640 h 6187157"/>
                <a:gd name="connsiteX40" fmla="*/ 4579620 w 5257800"/>
                <a:gd name="connsiteY40" fmla="*/ 2415540 h 6187157"/>
                <a:gd name="connsiteX41" fmla="*/ 4373880 w 5257800"/>
                <a:gd name="connsiteY41" fmla="*/ 2057400 h 6187157"/>
                <a:gd name="connsiteX42" fmla="*/ 3429000 w 5257800"/>
                <a:gd name="connsiteY42" fmla="*/ 1013460 h 6187157"/>
                <a:gd name="connsiteX43" fmla="*/ 3192780 w 5257800"/>
                <a:gd name="connsiteY43" fmla="*/ 853440 h 6187157"/>
                <a:gd name="connsiteX44" fmla="*/ 2910840 w 5257800"/>
                <a:gd name="connsiteY44" fmla="*/ 739140 h 6187157"/>
                <a:gd name="connsiteX45" fmla="*/ 2514600 w 5257800"/>
                <a:gd name="connsiteY45" fmla="*/ 693420 h 6187157"/>
                <a:gd name="connsiteX46" fmla="*/ 2232660 w 5257800"/>
                <a:gd name="connsiteY46" fmla="*/ 739140 h 6187157"/>
                <a:gd name="connsiteX47" fmla="*/ 1234440 w 5257800"/>
                <a:gd name="connsiteY47" fmla="*/ 1059180 h 6187157"/>
                <a:gd name="connsiteX48" fmla="*/ 960120 w 5257800"/>
                <a:gd name="connsiteY48" fmla="*/ 1165860 h 6187157"/>
                <a:gd name="connsiteX49" fmla="*/ 815340 w 5257800"/>
                <a:gd name="connsiteY49" fmla="*/ 1257300 h 6187157"/>
                <a:gd name="connsiteX50" fmla="*/ 0 w 5257800"/>
                <a:gd name="connsiteY50" fmla="*/ 1234440 h 6187157"/>
                <a:gd name="connsiteX0" fmla="*/ 0 w 5257800"/>
                <a:gd name="connsiteY0" fmla="*/ 1234440 h 6187157"/>
                <a:gd name="connsiteX1" fmla="*/ 213360 w 5257800"/>
                <a:gd name="connsiteY1" fmla="*/ 990600 h 6187157"/>
                <a:gd name="connsiteX2" fmla="*/ 457200 w 5257800"/>
                <a:gd name="connsiteY2" fmla="*/ 792480 h 6187157"/>
                <a:gd name="connsiteX3" fmla="*/ 685800 w 5257800"/>
                <a:gd name="connsiteY3" fmla="*/ 624840 h 6187157"/>
                <a:gd name="connsiteX4" fmla="*/ 929640 w 5257800"/>
                <a:gd name="connsiteY4" fmla="*/ 533400 h 6187157"/>
                <a:gd name="connsiteX5" fmla="*/ 891540 w 5257800"/>
                <a:gd name="connsiteY5" fmla="*/ 426720 h 6187157"/>
                <a:gd name="connsiteX6" fmla="*/ 1074420 w 5257800"/>
                <a:gd name="connsiteY6" fmla="*/ 358140 h 6187157"/>
                <a:gd name="connsiteX7" fmla="*/ 1120140 w 5257800"/>
                <a:gd name="connsiteY7" fmla="*/ 464820 h 6187157"/>
                <a:gd name="connsiteX8" fmla="*/ 1242060 w 5257800"/>
                <a:gd name="connsiteY8" fmla="*/ 434340 h 6187157"/>
                <a:gd name="connsiteX9" fmla="*/ 1272540 w 5257800"/>
                <a:gd name="connsiteY9" fmla="*/ 365760 h 6187157"/>
                <a:gd name="connsiteX10" fmla="*/ 1531620 w 5257800"/>
                <a:gd name="connsiteY10" fmla="*/ 297180 h 6187157"/>
                <a:gd name="connsiteX11" fmla="*/ 1584960 w 5257800"/>
                <a:gd name="connsiteY11" fmla="*/ 327660 h 6187157"/>
                <a:gd name="connsiteX12" fmla="*/ 1714500 w 5257800"/>
                <a:gd name="connsiteY12" fmla="*/ 274320 h 6187157"/>
                <a:gd name="connsiteX13" fmla="*/ 1684020 w 5257800"/>
                <a:gd name="connsiteY13" fmla="*/ 114300 h 6187157"/>
                <a:gd name="connsiteX14" fmla="*/ 2087880 w 5257800"/>
                <a:gd name="connsiteY14" fmla="*/ 0 h 6187157"/>
                <a:gd name="connsiteX15" fmla="*/ 2133600 w 5257800"/>
                <a:gd name="connsiteY15" fmla="*/ 160020 h 6187157"/>
                <a:gd name="connsiteX16" fmla="*/ 2385060 w 5257800"/>
                <a:gd name="connsiteY16" fmla="*/ 106680 h 6187157"/>
                <a:gd name="connsiteX17" fmla="*/ 2644140 w 5257800"/>
                <a:gd name="connsiteY17" fmla="*/ 99060 h 6187157"/>
                <a:gd name="connsiteX18" fmla="*/ 2971800 w 5257800"/>
                <a:gd name="connsiteY18" fmla="*/ 152400 h 6187157"/>
                <a:gd name="connsiteX19" fmla="*/ 3299460 w 5257800"/>
                <a:gd name="connsiteY19" fmla="*/ 251460 h 6187157"/>
                <a:gd name="connsiteX20" fmla="*/ 3665220 w 5257800"/>
                <a:gd name="connsiteY20" fmla="*/ 464820 h 6187157"/>
                <a:gd name="connsiteX21" fmla="*/ 3954780 w 5257800"/>
                <a:gd name="connsiteY21" fmla="*/ 723900 h 6187157"/>
                <a:gd name="connsiteX22" fmla="*/ 4465320 w 5257800"/>
                <a:gd name="connsiteY22" fmla="*/ 1280160 h 6187157"/>
                <a:gd name="connsiteX23" fmla="*/ 4495800 w 5257800"/>
                <a:gd name="connsiteY23" fmla="*/ 1287780 h 6187157"/>
                <a:gd name="connsiteX24" fmla="*/ 4678680 w 5257800"/>
                <a:gd name="connsiteY24" fmla="*/ 1463040 h 6187157"/>
                <a:gd name="connsiteX25" fmla="*/ 4663440 w 5257800"/>
                <a:gd name="connsiteY25" fmla="*/ 1524000 h 6187157"/>
                <a:gd name="connsiteX26" fmla="*/ 4914900 w 5257800"/>
                <a:gd name="connsiteY26" fmla="*/ 1821180 h 6187157"/>
                <a:gd name="connsiteX27" fmla="*/ 5105400 w 5257800"/>
                <a:gd name="connsiteY27" fmla="*/ 2217420 h 6187157"/>
                <a:gd name="connsiteX28" fmla="*/ 5227320 w 5257800"/>
                <a:gd name="connsiteY28" fmla="*/ 2636520 h 6187157"/>
                <a:gd name="connsiteX29" fmla="*/ 5257800 w 5257800"/>
                <a:gd name="connsiteY29" fmla="*/ 3086100 h 6187157"/>
                <a:gd name="connsiteX30" fmla="*/ 5204460 w 5257800"/>
                <a:gd name="connsiteY30" fmla="*/ 3611880 h 6187157"/>
                <a:gd name="connsiteX31" fmla="*/ 5002306 w 5257800"/>
                <a:gd name="connsiteY31" fmla="*/ 4363507 h 6187157"/>
                <a:gd name="connsiteX32" fmla="*/ 5132522 w 5257800"/>
                <a:gd name="connsiteY32" fmla="*/ 4429994 h 6187157"/>
                <a:gd name="connsiteX33" fmla="*/ 5063073 w 5257800"/>
                <a:gd name="connsiteY33" fmla="*/ 4847915 h 6187157"/>
                <a:gd name="connsiteX34" fmla="*/ 4905544 w 5257800"/>
                <a:gd name="connsiteY34" fmla="*/ 4785630 h 6187157"/>
                <a:gd name="connsiteX35" fmla="*/ 3743556 w 5257800"/>
                <a:gd name="connsiteY35" fmla="*/ 6187157 h 6187157"/>
                <a:gd name="connsiteX36" fmla="*/ 3595980 w 5257800"/>
                <a:gd name="connsiteY36" fmla="*/ 5588772 h 6187157"/>
                <a:gd name="connsiteX37" fmla="*/ 4382946 w 5257800"/>
                <a:gd name="connsiteY37" fmla="*/ 4574791 h 6187157"/>
                <a:gd name="connsiteX38" fmla="*/ 4693920 w 5257800"/>
                <a:gd name="connsiteY38" fmla="*/ 3261360 h 6187157"/>
                <a:gd name="connsiteX39" fmla="*/ 4701540 w 5257800"/>
                <a:gd name="connsiteY39" fmla="*/ 2834640 h 6187157"/>
                <a:gd name="connsiteX40" fmla="*/ 4579620 w 5257800"/>
                <a:gd name="connsiteY40" fmla="*/ 2415540 h 6187157"/>
                <a:gd name="connsiteX41" fmla="*/ 4373880 w 5257800"/>
                <a:gd name="connsiteY41" fmla="*/ 2057400 h 6187157"/>
                <a:gd name="connsiteX42" fmla="*/ 3429000 w 5257800"/>
                <a:gd name="connsiteY42" fmla="*/ 1013460 h 6187157"/>
                <a:gd name="connsiteX43" fmla="*/ 3192780 w 5257800"/>
                <a:gd name="connsiteY43" fmla="*/ 853440 h 6187157"/>
                <a:gd name="connsiteX44" fmla="*/ 2910840 w 5257800"/>
                <a:gd name="connsiteY44" fmla="*/ 739140 h 6187157"/>
                <a:gd name="connsiteX45" fmla="*/ 2514600 w 5257800"/>
                <a:gd name="connsiteY45" fmla="*/ 693420 h 6187157"/>
                <a:gd name="connsiteX46" fmla="*/ 2232660 w 5257800"/>
                <a:gd name="connsiteY46" fmla="*/ 739140 h 6187157"/>
                <a:gd name="connsiteX47" fmla="*/ 1234440 w 5257800"/>
                <a:gd name="connsiteY47" fmla="*/ 1059180 h 6187157"/>
                <a:gd name="connsiteX48" fmla="*/ 960120 w 5257800"/>
                <a:gd name="connsiteY48" fmla="*/ 1165860 h 6187157"/>
                <a:gd name="connsiteX49" fmla="*/ 815340 w 5257800"/>
                <a:gd name="connsiteY49" fmla="*/ 1257300 h 6187157"/>
                <a:gd name="connsiteX50" fmla="*/ 0 w 5257800"/>
                <a:gd name="connsiteY50" fmla="*/ 1234440 h 6187157"/>
                <a:gd name="connsiteX0" fmla="*/ 0 w 5257800"/>
                <a:gd name="connsiteY0" fmla="*/ 1234440 h 6187157"/>
                <a:gd name="connsiteX1" fmla="*/ 213360 w 5257800"/>
                <a:gd name="connsiteY1" fmla="*/ 990600 h 6187157"/>
                <a:gd name="connsiteX2" fmla="*/ 457200 w 5257800"/>
                <a:gd name="connsiteY2" fmla="*/ 792480 h 6187157"/>
                <a:gd name="connsiteX3" fmla="*/ 685800 w 5257800"/>
                <a:gd name="connsiteY3" fmla="*/ 624840 h 6187157"/>
                <a:gd name="connsiteX4" fmla="*/ 929640 w 5257800"/>
                <a:gd name="connsiteY4" fmla="*/ 533400 h 6187157"/>
                <a:gd name="connsiteX5" fmla="*/ 891540 w 5257800"/>
                <a:gd name="connsiteY5" fmla="*/ 426720 h 6187157"/>
                <a:gd name="connsiteX6" fmla="*/ 1074420 w 5257800"/>
                <a:gd name="connsiteY6" fmla="*/ 358140 h 6187157"/>
                <a:gd name="connsiteX7" fmla="*/ 1120140 w 5257800"/>
                <a:gd name="connsiteY7" fmla="*/ 464820 h 6187157"/>
                <a:gd name="connsiteX8" fmla="*/ 1242060 w 5257800"/>
                <a:gd name="connsiteY8" fmla="*/ 434340 h 6187157"/>
                <a:gd name="connsiteX9" fmla="*/ 1272540 w 5257800"/>
                <a:gd name="connsiteY9" fmla="*/ 365760 h 6187157"/>
                <a:gd name="connsiteX10" fmla="*/ 1531620 w 5257800"/>
                <a:gd name="connsiteY10" fmla="*/ 297180 h 6187157"/>
                <a:gd name="connsiteX11" fmla="*/ 1584960 w 5257800"/>
                <a:gd name="connsiteY11" fmla="*/ 327660 h 6187157"/>
                <a:gd name="connsiteX12" fmla="*/ 1714500 w 5257800"/>
                <a:gd name="connsiteY12" fmla="*/ 274320 h 6187157"/>
                <a:gd name="connsiteX13" fmla="*/ 1684020 w 5257800"/>
                <a:gd name="connsiteY13" fmla="*/ 114300 h 6187157"/>
                <a:gd name="connsiteX14" fmla="*/ 2087880 w 5257800"/>
                <a:gd name="connsiteY14" fmla="*/ 0 h 6187157"/>
                <a:gd name="connsiteX15" fmla="*/ 2133600 w 5257800"/>
                <a:gd name="connsiteY15" fmla="*/ 160020 h 6187157"/>
                <a:gd name="connsiteX16" fmla="*/ 2385060 w 5257800"/>
                <a:gd name="connsiteY16" fmla="*/ 106680 h 6187157"/>
                <a:gd name="connsiteX17" fmla="*/ 2644140 w 5257800"/>
                <a:gd name="connsiteY17" fmla="*/ 99060 h 6187157"/>
                <a:gd name="connsiteX18" fmla="*/ 2971800 w 5257800"/>
                <a:gd name="connsiteY18" fmla="*/ 152400 h 6187157"/>
                <a:gd name="connsiteX19" fmla="*/ 3299460 w 5257800"/>
                <a:gd name="connsiteY19" fmla="*/ 251460 h 6187157"/>
                <a:gd name="connsiteX20" fmla="*/ 3665220 w 5257800"/>
                <a:gd name="connsiteY20" fmla="*/ 464820 h 6187157"/>
                <a:gd name="connsiteX21" fmla="*/ 3954780 w 5257800"/>
                <a:gd name="connsiteY21" fmla="*/ 723900 h 6187157"/>
                <a:gd name="connsiteX22" fmla="*/ 4465320 w 5257800"/>
                <a:gd name="connsiteY22" fmla="*/ 1280160 h 6187157"/>
                <a:gd name="connsiteX23" fmla="*/ 4495800 w 5257800"/>
                <a:gd name="connsiteY23" fmla="*/ 1287780 h 6187157"/>
                <a:gd name="connsiteX24" fmla="*/ 4678680 w 5257800"/>
                <a:gd name="connsiteY24" fmla="*/ 1463040 h 6187157"/>
                <a:gd name="connsiteX25" fmla="*/ 4663440 w 5257800"/>
                <a:gd name="connsiteY25" fmla="*/ 1524000 h 6187157"/>
                <a:gd name="connsiteX26" fmla="*/ 4914900 w 5257800"/>
                <a:gd name="connsiteY26" fmla="*/ 1821180 h 6187157"/>
                <a:gd name="connsiteX27" fmla="*/ 5105400 w 5257800"/>
                <a:gd name="connsiteY27" fmla="*/ 2217420 h 6187157"/>
                <a:gd name="connsiteX28" fmla="*/ 5227320 w 5257800"/>
                <a:gd name="connsiteY28" fmla="*/ 2636520 h 6187157"/>
                <a:gd name="connsiteX29" fmla="*/ 5257800 w 5257800"/>
                <a:gd name="connsiteY29" fmla="*/ 3086100 h 6187157"/>
                <a:gd name="connsiteX30" fmla="*/ 5204460 w 5257800"/>
                <a:gd name="connsiteY30" fmla="*/ 3611880 h 6187157"/>
                <a:gd name="connsiteX31" fmla="*/ 5002306 w 5257800"/>
                <a:gd name="connsiteY31" fmla="*/ 4363507 h 6187157"/>
                <a:gd name="connsiteX32" fmla="*/ 5132522 w 5257800"/>
                <a:gd name="connsiteY32" fmla="*/ 4429994 h 6187157"/>
                <a:gd name="connsiteX33" fmla="*/ 5063073 w 5257800"/>
                <a:gd name="connsiteY33" fmla="*/ 4847915 h 6187157"/>
                <a:gd name="connsiteX34" fmla="*/ 4905544 w 5257800"/>
                <a:gd name="connsiteY34" fmla="*/ 4785630 h 6187157"/>
                <a:gd name="connsiteX35" fmla="*/ 3743556 w 5257800"/>
                <a:gd name="connsiteY35" fmla="*/ 6187157 h 6187157"/>
                <a:gd name="connsiteX36" fmla="*/ 3595980 w 5257800"/>
                <a:gd name="connsiteY36" fmla="*/ 5588772 h 6187157"/>
                <a:gd name="connsiteX37" fmla="*/ 4382946 w 5257800"/>
                <a:gd name="connsiteY37" fmla="*/ 4574791 h 6187157"/>
                <a:gd name="connsiteX38" fmla="*/ 4693920 w 5257800"/>
                <a:gd name="connsiteY38" fmla="*/ 3261360 h 6187157"/>
                <a:gd name="connsiteX39" fmla="*/ 4701540 w 5257800"/>
                <a:gd name="connsiteY39" fmla="*/ 2834640 h 6187157"/>
                <a:gd name="connsiteX40" fmla="*/ 4579620 w 5257800"/>
                <a:gd name="connsiteY40" fmla="*/ 2415540 h 6187157"/>
                <a:gd name="connsiteX41" fmla="*/ 4373880 w 5257800"/>
                <a:gd name="connsiteY41" fmla="*/ 2057400 h 6187157"/>
                <a:gd name="connsiteX42" fmla="*/ 3429000 w 5257800"/>
                <a:gd name="connsiteY42" fmla="*/ 1013460 h 6187157"/>
                <a:gd name="connsiteX43" fmla="*/ 3192780 w 5257800"/>
                <a:gd name="connsiteY43" fmla="*/ 853440 h 6187157"/>
                <a:gd name="connsiteX44" fmla="*/ 2910840 w 5257800"/>
                <a:gd name="connsiteY44" fmla="*/ 739140 h 6187157"/>
                <a:gd name="connsiteX45" fmla="*/ 2514600 w 5257800"/>
                <a:gd name="connsiteY45" fmla="*/ 693420 h 6187157"/>
                <a:gd name="connsiteX46" fmla="*/ 2232660 w 5257800"/>
                <a:gd name="connsiteY46" fmla="*/ 739140 h 6187157"/>
                <a:gd name="connsiteX47" fmla="*/ 1234440 w 5257800"/>
                <a:gd name="connsiteY47" fmla="*/ 1059180 h 6187157"/>
                <a:gd name="connsiteX48" fmla="*/ 960120 w 5257800"/>
                <a:gd name="connsiteY48" fmla="*/ 1165860 h 6187157"/>
                <a:gd name="connsiteX49" fmla="*/ 815340 w 5257800"/>
                <a:gd name="connsiteY49" fmla="*/ 1257300 h 6187157"/>
                <a:gd name="connsiteX50" fmla="*/ 0 w 5257800"/>
                <a:gd name="connsiteY50" fmla="*/ 1234440 h 6187157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701540 w 5257800"/>
                <a:gd name="connsiteY39" fmla="*/ 2834640 h 6177659"/>
                <a:gd name="connsiteX40" fmla="*/ 4579620 w 5257800"/>
                <a:gd name="connsiteY40" fmla="*/ 2415540 h 6177659"/>
                <a:gd name="connsiteX41" fmla="*/ 4373880 w 5257800"/>
                <a:gd name="connsiteY41" fmla="*/ 2057400 h 6177659"/>
                <a:gd name="connsiteX42" fmla="*/ 3429000 w 5257800"/>
                <a:gd name="connsiteY42" fmla="*/ 1013460 h 6177659"/>
                <a:gd name="connsiteX43" fmla="*/ 3192780 w 5257800"/>
                <a:gd name="connsiteY43" fmla="*/ 853440 h 6177659"/>
                <a:gd name="connsiteX44" fmla="*/ 2910840 w 5257800"/>
                <a:gd name="connsiteY44" fmla="*/ 739140 h 6177659"/>
                <a:gd name="connsiteX45" fmla="*/ 2514600 w 5257800"/>
                <a:gd name="connsiteY45" fmla="*/ 693420 h 6177659"/>
                <a:gd name="connsiteX46" fmla="*/ 2232660 w 5257800"/>
                <a:gd name="connsiteY46" fmla="*/ 739140 h 6177659"/>
                <a:gd name="connsiteX47" fmla="*/ 1234440 w 5257800"/>
                <a:gd name="connsiteY47" fmla="*/ 1059180 h 6177659"/>
                <a:gd name="connsiteX48" fmla="*/ 960120 w 5257800"/>
                <a:gd name="connsiteY48" fmla="*/ 1165860 h 6177659"/>
                <a:gd name="connsiteX49" fmla="*/ 815340 w 5257800"/>
                <a:gd name="connsiteY49" fmla="*/ 1257300 h 6177659"/>
                <a:gd name="connsiteX50" fmla="*/ 0 w 5257800"/>
                <a:gd name="connsiteY50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701540 w 5257800"/>
                <a:gd name="connsiteY39" fmla="*/ 2834640 h 6177659"/>
                <a:gd name="connsiteX40" fmla="*/ 4579620 w 5257800"/>
                <a:gd name="connsiteY40" fmla="*/ 2415540 h 6177659"/>
                <a:gd name="connsiteX41" fmla="*/ 4373880 w 5257800"/>
                <a:gd name="connsiteY41" fmla="*/ 2057400 h 6177659"/>
                <a:gd name="connsiteX42" fmla="*/ 3429000 w 5257800"/>
                <a:gd name="connsiteY42" fmla="*/ 1013460 h 6177659"/>
                <a:gd name="connsiteX43" fmla="*/ 3192780 w 5257800"/>
                <a:gd name="connsiteY43" fmla="*/ 853440 h 6177659"/>
                <a:gd name="connsiteX44" fmla="*/ 2910840 w 5257800"/>
                <a:gd name="connsiteY44" fmla="*/ 739140 h 6177659"/>
                <a:gd name="connsiteX45" fmla="*/ 2514600 w 5257800"/>
                <a:gd name="connsiteY45" fmla="*/ 693420 h 6177659"/>
                <a:gd name="connsiteX46" fmla="*/ 2232660 w 5257800"/>
                <a:gd name="connsiteY46" fmla="*/ 739140 h 6177659"/>
                <a:gd name="connsiteX47" fmla="*/ 1234440 w 5257800"/>
                <a:gd name="connsiteY47" fmla="*/ 1059180 h 6177659"/>
                <a:gd name="connsiteX48" fmla="*/ 960120 w 5257800"/>
                <a:gd name="connsiteY48" fmla="*/ 1165860 h 6177659"/>
                <a:gd name="connsiteX49" fmla="*/ 815340 w 5257800"/>
                <a:gd name="connsiteY49" fmla="*/ 1257300 h 6177659"/>
                <a:gd name="connsiteX50" fmla="*/ 0 w 5257800"/>
                <a:gd name="connsiteY50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701540 w 5257800"/>
                <a:gd name="connsiteY39" fmla="*/ 2834640 h 6177659"/>
                <a:gd name="connsiteX40" fmla="*/ 4579620 w 5257800"/>
                <a:gd name="connsiteY40" fmla="*/ 2415540 h 6177659"/>
                <a:gd name="connsiteX41" fmla="*/ 4373880 w 5257800"/>
                <a:gd name="connsiteY41" fmla="*/ 2057400 h 6177659"/>
                <a:gd name="connsiteX42" fmla="*/ 3429000 w 5257800"/>
                <a:gd name="connsiteY42" fmla="*/ 1013460 h 6177659"/>
                <a:gd name="connsiteX43" fmla="*/ 3192780 w 5257800"/>
                <a:gd name="connsiteY43" fmla="*/ 853440 h 6177659"/>
                <a:gd name="connsiteX44" fmla="*/ 2910840 w 5257800"/>
                <a:gd name="connsiteY44" fmla="*/ 739140 h 6177659"/>
                <a:gd name="connsiteX45" fmla="*/ 2514600 w 5257800"/>
                <a:gd name="connsiteY45" fmla="*/ 693420 h 6177659"/>
                <a:gd name="connsiteX46" fmla="*/ 2232660 w 5257800"/>
                <a:gd name="connsiteY46" fmla="*/ 739140 h 6177659"/>
                <a:gd name="connsiteX47" fmla="*/ 1234440 w 5257800"/>
                <a:gd name="connsiteY47" fmla="*/ 1059180 h 6177659"/>
                <a:gd name="connsiteX48" fmla="*/ 960120 w 5257800"/>
                <a:gd name="connsiteY48" fmla="*/ 1165860 h 6177659"/>
                <a:gd name="connsiteX49" fmla="*/ 815340 w 5257800"/>
                <a:gd name="connsiteY49" fmla="*/ 1257300 h 6177659"/>
                <a:gd name="connsiteX50" fmla="*/ 0 w 5257800"/>
                <a:gd name="connsiteY50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579620 w 5257800"/>
                <a:gd name="connsiteY39" fmla="*/ 2415540 h 6177659"/>
                <a:gd name="connsiteX40" fmla="*/ 4373880 w 5257800"/>
                <a:gd name="connsiteY40" fmla="*/ 2057400 h 6177659"/>
                <a:gd name="connsiteX41" fmla="*/ 3429000 w 5257800"/>
                <a:gd name="connsiteY41" fmla="*/ 1013460 h 6177659"/>
                <a:gd name="connsiteX42" fmla="*/ 3192780 w 5257800"/>
                <a:gd name="connsiteY42" fmla="*/ 853440 h 6177659"/>
                <a:gd name="connsiteX43" fmla="*/ 2910840 w 5257800"/>
                <a:gd name="connsiteY43" fmla="*/ 739140 h 6177659"/>
                <a:gd name="connsiteX44" fmla="*/ 2514600 w 5257800"/>
                <a:gd name="connsiteY44" fmla="*/ 693420 h 6177659"/>
                <a:gd name="connsiteX45" fmla="*/ 2232660 w 5257800"/>
                <a:gd name="connsiteY45" fmla="*/ 739140 h 6177659"/>
                <a:gd name="connsiteX46" fmla="*/ 1234440 w 5257800"/>
                <a:gd name="connsiteY46" fmla="*/ 1059180 h 6177659"/>
                <a:gd name="connsiteX47" fmla="*/ 960120 w 5257800"/>
                <a:gd name="connsiteY47" fmla="*/ 1165860 h 6177659"/>
                <a:gd name="connsiteX48" fmla="*/ 815340 w 5257800"/>
                <a:gd name="connsiteY48" fmla="*/ 1257300 h 6177659"/>
                <a:gd name="connsiteX49" fmla="*/ 0 w 5257800"/>
                <a:gd name="connsiteY49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373880 w 5257800"/>
                <a:gd name="connsiteY39" fmla="*/ 2057400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408604 w 5257800"/>
                <a:gd name="connsiteY39" fmla="*/ 2104892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408604 w 5257800"/>
                <a:gd name="connsiteY39" fmla="*/ 2104892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408604 w 5257800"/>
                <a:gd name="connsiteY39" fmla="*/ 2104892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408604 w 5257800"/>
                <a:gd name="connsiteY39" fmla="*/ 2104892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344179 w 5257800"/>
                <a:gd name="connsiteY39" fmla="*/ 2027325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344179 w 5257800"/>
                <a:gd name="connsiteY39" fmla="*/ 2027325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344179 w 5257800"/>
                <a:gd name="connsiteY39" fmla="*/ 2027325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814397 w 5257800"/>
                <a:gd name="connsiteY26" fmla="*/ 1704828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344179 w 5257800"/>
                <a:gd name="connsiteY39" fmla="*/ 2027325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814397 w 5257800"/>
                <a:gd name="connsiteY26" fmla="*/ 1704828 h 6177659"/>
                <a:gd name="connsiteX27" fmla="*/ 5227320 w 5257800"/>
                <a:gd name="connsiteY27" fmla="*/ 2636520 h 6177659"/>
                <a:gd name="connsiteX28" fmla="*/ 5257800 w 5257800"/>
                <a:gd name="connsiteY28" fmla="*/ 3086100 h 6177659"/>
                <a:gd name="connsiteX29" fmla="*/ 5204460 w 5257800"/>
                <a:gd name="connsiteY29" fmla="*/ 3611880 h 6177659"/>
                <a:gd name="connsiteX30" fmla="*/ 5002306 w 5257800"/>
                <a:gd name="connsiteY30" fmla="*/ 4363507 h 6177659"/>
                <a:gd name="connsiteX31" fmla="*/ 5132522 w 5257800"/>
                <a:gd name="connsiteY31" fmla="*/ 4429994 h 6177659"/>
                <a:gd name="connsiteX32" fmla="*/ 5063073 w 5257800"/>
                <a:gd name="connsiteY32" fmla="*/ 4847915 h 6177659"/>
                <a:gd name="connsiteX33" fmla="*/ 4905544 w 5257800"/>
                <a:gd name="connsiteY33" fmla="*/ 4785630 h 6177659"/>
                <a:gd name="connsiteX34" fmla="*/ 3778281 w 5257800"/>
                <a:gd name="connsiteY34" fmla="*/ 6177659 h 6177659"/>
                <a:gd name="connsiteX35" fmla="*/ 3595980 w 5257800"/>
                <a:gd name="connsiteY35" fmla="*/ 5588772 h 6177659"/>
                <a:gd name="connsiteX36" fmla="*/ 4382946 w 5257800"/>
                <a:gd name="connsiteY36" fmla="*/ 4574791 h 6177659"/>
                <a:gd name="connsiteX37" fmla="*/ 4662995 w 5257800"/>
                <a:gd name="connsiteY37" fmla="*/ 3330617 h 6177659"/>
                <a:gd name="connsiteX38" fmla="*/ 4344179 w 5257800"/>
                <a:gd name="connsiteY38" fmla="*/ 2027325 h 6177659"/>
                <a:gd name="connsiteX39" fmla="*/ 3429000 w 5257800"/>
                <a:gd name="connsiteY39" fmla="*/ 1013460 h 6177659"/>
                <a:gd name="connsiteX40" fmla="*/ 3192780 w 5257800"/>
                <a:gd name="connsiteY40" fmla="*/ 853440 h 6177659"/>
                <a:gd name="connsiteX41" fmla="*/ 2910840 w 5257800"/>
                <a:gd name="connsiteY41" fmla="*/ 739140 h 6177659"/>
                <a:gd name="connsiteX42" fmla="*/ 2514600 w 5257800"/>
                <a:gd name="connsiteY42" fmla="*/ 693420 h 6177659"/>
                <a:gd name="connsiteX43" fmla="*/ 2232660 w 5257800"/>
                <a:gd name="connsiteY43" fmla="*/ 739140 h 6177659"/>
                <a:gd name="connsiteX44" fmla="*/ 1234440 w 5257800"/>
                <a:gd name="connsiteY44" fmla="*/ 1059180 h 6177659"/>
                <a:gd name="connsiteX45" fmla="*/ 960120 w 5257800"/>
                <a:gd name="connsiteY45" fmla="*/ 1165860 h 6177659"/>
                <a:gd name="connsiteX46" fmla="*/ 815340 w 5257800"/>
                <a:gd name="connsiteY46" fmla="*/ 1257300 h 6177659"/>
                <a:gd name="connsiteX47" fmla="*/ 0 w 5257800"/>
                <a:gd name="connsiteY47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814397 w 5257800"/>
                <a:gd name="connsiteY26" fmla="*/ 1704828 h 6177659"/>
                <a:gd name="connsiteX27" fmla="*/ 5257800 w 5257800"/>
                <a:gd name="connsiteY27" fmla="*/ 3086100 h 6177659"/>
                <a:gd name="connsiteX28" fmla="*/ 5204460 w 5257800"/>
                <a:gd name="connsiteY28" fmla="*/ 3611880 h 6177659"/>
                <a:gd name="connsiteX29" fmla="*/ 5002306 w 5257800"/>
                <a:gd name="connsiteY29" fmla="*/ 4363507 h 6177659"/>
                <a:gd name="connsiteX30" fmla="*/ 5132522 w 5257800"/>
                <a:gd name="connsiteY30" fmla="*/ 4429994 h 6177659"/>
                <a:gd name="connsiteX31" fmla="*/ 5063073 w 5257800"/>
                <a:gd name="connsiteY31" fmla="*/ 4847915 h 6177659"/>
                <a:gd name="connsiteX32" fmla="*/ 4905544 w 5257800"/>
                <a:gd name="connsiteY32" fmla="*/ 4785630 h 6177659"/>
                <a:gd name="connsiteX33" fmla="*/ 3778281 w 5257800"/>
                <a:gd name="connsiteY33" fmla="*/ 6177659 h 6177659"/>
                <a:gd name="connsiteX34" fmla="*/ 3595980 w 5257800"/>
                <a:gd name="connsiteY34" fmla="*/ 5588772 h 6177659"/>
                <a:gd name="connsiteX35" fmla="*/ 4382946 w 5257800"/>
                <a:gd name="connsiteY35" fmla="*/ 4574791 h 6177659"/>
                <a:gd name="connsiteX36" fmla="*/ 4662995 w 5257800"/>
                <a:gd name="connsiteY36" fmla="*/ 3330617 h 6177659"/>
                <a:gd name="connsiteX37" fmla="*/ 4344179 w 5257800"/>
                <a:gd name="connsiteY37" fmla="*/ 2027325 h 6177659"/>
                <a:gd name="connsiteX38" fmla="*/ 3429000 w 5257800"/>
                <a:gd name="connsiteY38" fmla="*/ 1013460 h 6177659"/>
                <a:gd name="connsiteX39" fmla="*/ 3192780 w 5257800"/>
                <a:gd name="connsiteY39" fmla="*/ 853440 h 6177659"/>
                <a:gd name="connsiteX40" fmla="*/ 2910840 w 5257800"/>
                <a:gd name="connsiteY40" fmla="*/ 739140 h 6177659"/>
                <a:gd name="connsiteX41" fmla="*/ 2514600 w 5257800"/>
                <a:gd name="connsiteY41" fmla="*/ 693420 h 6177659"/>
                <a:gd name="connsiteX42" fmla="*/ 2232660 w 5257800"/>
                <a:gd name="connsiteY42" fmla="*/ 739140 h 6177659"/>
                <a:gd name="connsiteX43" fmla="*/ 1234440 w 5257800"/>
                <a:gd name="connsiteY43" fmla="*/ 1059180 h 6177659"/>
                <a:gd name="connsiteX44" fmla="*/ 960120 w 5257800"/>
                <a:gd name="connsiteY44" fmla="*/ 1165860 h 6177659"/>
                <a:gd name="connsiteX45" fmla="*/ 815340 w 5257800"/>
                <a:gd name="connsiteY45" fmla="*/ 1257300 h 6177659"/>
                <a:gd name="connsiteX46" fmla="*/ 0 w 5257800"/>
                <a:gd name="connsiteY46" fmla="*/ 1234440 h 6177659"/>
                <a:gd name="connsiteX0" fmla="*/ 0 w 5204460"/>
                <a:gd name="connsiteY0" fmla="*/ 1234440 h 6177659"/>
                <a:gd name="connsiteX1" fmla="*/ 213360 w 5204460"/>
                <a:gd name="connsiteY1" fmla="*/ 990600 h 6177659"/>
                <a:gd name="connsiteX2" fmla="*/ 457200 w 5204460"/>
                <a:gd name="connsiteY2" fmla="*/ 792480 h 6177659"/>
                <a:gd name="connsiteX3" fmla="*/ 685800 w 5204460"/>
                <a:gd name="connsiteY3" fmla="*/ 624840 h 6177659"/>
                <a:gd name="connsiteX4" fmla="*/ 929640 w 5204460"/>
                <a:gd name="connsiteY4" fmla="*/ 533400 h 6177659"/>
                <a:gd name="connsiteX5" fmla="*/ 891540 w 5204460"/>
                <a:gd name="connsiteY5" fmla="*/ 426720 h 6177659"/>
                <a:gd name="connsiteX6" fmla="*/ 1074420 w 5204460"/>
                <a:gd name="connsiteY6" fmla="*/ 358140 h 6177659"/>
                <a:gd name="connsiteX7" fmla="*/ 1120140 w 5204460"/>
                <a:gd name="connsiteY7" fmla="*/ 464820 h 6177659"/>
                <a:gd name="connsiteX8" fmla="*/ 1242060 w 5204460"/>
                <a:gd name="connsiteY8" fmla="*/ 434340 h 6177659"/>
                <a:gd name="connsiteX9" fmla="*/ 1272540 w 5204460"/>
                <a:gd name="connsiteY9" fmla="*/ 365760 h 6177659"/>
                <a:gd name="connsiteX10" fmla="*/ 1531620 w 5204460"/>
                <a:gd name="connsiteY10" fmla="*/ 297180 h 6177659"/>
                <a:gd name="connsiteX11" fmla="*/ 1584960 w 5204460"/>
                <a:gd name="connsiteY11" fmla="*/ 327660 h 6177659"/>
                <a:gd name="connsiteX12" fmla="*/ 1714500 w 5204460"/>
                <a:gd name="connsiteY12" fmla="*/ 274320 h 6177659"/>
                <a:gd name="connsiteX13" fmla="*/ 1684020 w 5204460"/>
                <a:gd name="connsiteY13" fmla="*/ 114300 h 6177659"/>
                <a:gd name="connsiteX14" fmla="*/ 2087880 w 5204460"/>
                <a:gd name="connsiteY14" fmla="*/ 0 h 6177659"/>
                <a:gd name="connsiteX15" fmla="*/ 2133600 w 5204460"/>
                <a:gd name="connsiteY15" fmla="*/ 160020 h 6177659"/>
                <a:gd name="connsiteX16" fmla="*/ 2385060 w 5204460"/>
                <a:gd name="connsiteY16" fmla="*/ 106680 h 6177659"/>
                <a:gd name="connsiteX17" fmla="*/ 2644140 w 5204460"/>
                <a:gd name="connsiteY17" fmla="*/ 99060 h 6177659"/>
                <a:gd name="connsiteX18" fmla="*/ 2971800 w 5204460"/>
                <a:gd name="connsiteY18" fmla="*/ 152400 h 6177659"/>
                <a:gd name="connsiteX19" fmla="*/ 3299460 w 5204460"/>
                <a:gd name="connsiteY19" fmla="*/ 251460 h 6177659"/>
                <a:gd name="connsiteX20" fmla="*/ 3665220 w 5204460"/>
                <a:gd name="connsiteY20" fmla="*/ 464820 h 6177659"/>
                <a:gd name="connsiteX21" fmla="*/ 3954780 w 5204460"/>
                <a:gd name="connsiteY21" fmla="*/ 723900 h 6177659"/>
                <a:gd name="connsiteX22" fmla="*/ 4465320 w 5204460"/>
                <a:gd name="connsiteY22" fmla="*/ 1280160 h 6177659"/>
                <a:gd name="connsiteX23" fmla="*/ 4495800 w 5204460"/>
                <a:gd name="connsiteY23" fmla="*/ 1287780 h 6177659"/>
                <a:gd name="connsiteX24" fmla="*/ 4678680 w 5204460"/>
                <a:gd name="connsiteY24" fmla="*/ 1463040 h 6177659"/>
                <a:gd name="connsiteX25" fmla="*/ 4663440 w 5204460"/>
                <a:gd name="connsiteY25" fmla="*/ 1524000 h 6177659"/>
                <a:gd name="connsiteX26" fmla="*/ 4814397 w 5204460"/>
                <a:gd name="connsiteY26" fmla="*/ 1704828 h 6177659"/>
                <a:gd name="connsiteX27" fmla="*/ 5204460 w 5204460"/>
                <a:gd name="connsiteY27" fmla="*/ 3611880 h 6177659"/>
                <a:gd name="connsiteX28" fmla="*/ 5002306 w 5204460"/>
                <a:gd name="connsiteY28" fmla="*/ 4363507 h 6177659"/>
                <a:gd name="connsiteX29" fmla="*/ 5132522 w 5204460"/>
                <a:gd name="connsiteY29" fmla="*/ 4429994 h 6177659"/>
                <a:gd name="connsiteX30" fmla="*/ 5063073 w 5204460"/>
                <a:gd name="connsiteY30" fmla="*/ 4847915 h 6177659"/>
                <a:gd name="connsiteX31" fmla="*/ 4905544 w 5204460"/>
                <a:gd name="connsiteY31" fmla="*/ 4785630 h 6177659"/>
                <a:gd name="connsiteX32" fmla="*/ 3778281 w 5204460"/>
                <a:gd name="connsiteY32" fmla="*/ 6177659 h 6177659"/>
                <a:gd name="connsiteX33" fmla="*/ 3595980 w 5204460"/>
                <a:gd name="connsiteY33" fmla="*/ 5588772 h 6177659"/>
                <a:gd name="connsiteX34" fmla="*/ 4382946 w 5204460"/>
                <a:gd name="connsiteY34" fmla="*/ 4574791 h 6177659"/>
                <a:gd name="connsiteX35" fmla="*/ 4662995 w 5204460"/>
                <a:gd name="connsiteY35" fmla="*/ 3330617 h 6177659"/>
                <a:gd name="connsiteX36" fmla="*/ 4344179 w 5204460"/>
                <a:gd name="connsiteY36" fmla="*/ 2027325 h 6177659"/>
                <a:gd name="connsiteX37" fmla="*/ 3429000 w 5204460"/>
                <a:gd name="connsiteY37" fmla="*/ 1013460 h 6177659"/>
                <a:gd name="connsiteX38" fmla="*/ 3192780 w 5204460"/>
                <a:gd name="connsiteY38" fmla="*/ 853440 h 6177659"/>
                <a:gd name="connsiteX39" fmla="*/ 2910840 w 5204460"/>
                <a:gd name="connsiteY39" fmla="*/ 739140 h 6177659"/>
                <a:gd name="connsiteX40" fmla="*/ 2514600 w 5204460"/>
                <a:gd name="connsiteY40" fmla="*/ 693420 h 6177659"/>
                <a:gd name="connsiteX41" fmla="*/ 2232660 w 5204460"/>
                <a:gd name="connsiteY41" fmla="*/ 739140 h 6177659"/>
                <a:gd name="connsiteX42" fmla="*/ 1234440 w 5204460"/>
                <a:gd name="connsiteY42" fmla="*/ 1059180 h 6177659"/>
                <a:gd name="connsiteX43" fmla="*/ 960120 w 5204460"/>
                <a:gd name="connsiteY43" fmla="*/ 1165860 h 6177659"/>
                <a:gd name="connsiteX44" fmla="*/ 815340 w 5204460"/>
                <a:gd name="connsiteY44" fmla="*/ 1257300 h 6177659"/>
                <a:gd name="connsiteX45" fmla="*/ 0 w 5204460"/>
                <a:gd name="connsiteY45" fmla="*/ 1234440 h 6177659"/>
                <a:gd name="connsiteX0" fmla="*/ 0 w 5132522"/>
                <a:gd name="connsiteY0" fmla="*/ 1234440 h 6177659"/>
                <a:gd name="connsiteX1" fmla="*/ 213360 w 5132522"/>
                <a:gd name="connsiteY1" fmla="*/ 990600 h 6177659"/>
                <a:gd name="connsiteX2" fmla="*/ 457200 w 5132522"/>
                <a:gd name="connsiteY2" fmla="*/ 792480 h 6177659"/>
                <a:gd name="connsiteX3" fmla="*/ 685800 w 5132522"/>
                <a:gd name="connsiteY3" fmla="*/ 624840 h 6177659"/>
                <a:gd name="connsiteX4" fmla="*/ 929640 w 5132522"/>
                <a:gd name="connsiteY4" fmla="*/ 533400 h 6177659"/>
                <a:gd name="connsiteX5" fmla="*/ 891540 w 5132522"/>
                <a:gd name="connsiteY5" fmla="*/ 426720 h 6177659"/>
                <a:gd name="connsiteX6" fmla="*/ 1074420 w 5132522"/>
                <a:gd name="connsiteY6" fmla="*/ 358140 h 6177659"/>
                <a:gd name="connsiteX7" fmla="*/ 1120140 w 5132522"/>
                <a:gd name="connsiteY7" fmla="*/ 464820 h 6177659"/>
                <a:gd name="connsiteX8" fmla="*/ 1242060 w 5132522"/>
                <a:gd name="connsiteY8" fmla="*/ 434340 h 6177659"/>
                <a:gd name="connsiteX9" fmla="*/ 1272540 w 5132522"/>
                <a:gd name="connsiteY9" fmla="*/ 365760 h 6177659"/>
                <a:gd name="connsiteX10" fmla="*/ 1531620 w 5132522"/>
                <a:gd name="connsiteY10" fmla="*/ 297180 h 6177659"/>
                <a:gd name="connsiteX11" fmla="*/ 1584960 w 5132522"/>
                <a:gd name="connsiteY11" fmla="*/ 327660 h 6177659"/>
                <a:gd name="connsiteX12" fmla="*/ 1714500 w 5132522"/>
                <a:gd name="connsiteY12" fmla="*/ 274320 h 6177659"/>
                <a:gd name="connsiteX13" fmla="*/ 1684020 w 5132522"/>
                <a:gd name="connsiteY13" fmla="*/ 114300 h 6177659"/>
                <a:gd name="connsiteX14" fmla="*/ 2087880 w 5132522"/>
                <a:gd name="connsiteY14" fmla="*/ 0 h 6177659"/>
                <a:gd name="connsiteX15" fmla="*/ 2133600 w 5132522"/>
                <a:gd name="connsiteY15" fmla="*/ 160020 h 6177659"/>
                <a:gd name="connsiteX16" fmla="*/ 2385060 w 5132522"/>
                <a:gd name="connsiteY16" fmla="*/ 106680 h 6177659"/>
                <a:gd name="connsiteX17" fmla="*/ 2644140 w 5132522"/>
                <a:gd name="connsiteY17" fmla="*/ 99060 h 6177659"/>
                <a:gd name="connsiteX18" fmla="*/ 2971800 w 5132522"/>
                <a:gd name="connsiteY18" fmla="*/ 152400 h 6177659"/>
                <a:gd name="connsiteX19" fmla="*/ 3299460 w 5132522"/>
                <a:gd name="connsiteY19" fmla="*/ 251460 h 6177659"/>
                <a:gd name="connsiteX20" fmla="*/ 3665220 w 5132522"/>
                <a:gd name="connsiteY20" fmla="*/ 464820 h 6177659"/>
                <a:gd name="connsiteX21" fmla="*/ 3954780 w 5132522"/>
                <a:gd name="connsiteY21" fmla="*/ 723900 h 6177659"/>
                <a:gd name="connsiteX22" fmla="*/ 4465320 w 5132522"/>
                <a:gd name="connsiteY22" fmla="*/ 1280160 h 6177659"/>
                <a:gd name="connsiteX23" fmla="*/ 4495800 w 5132522"/>
                <a:gd name="connsiteY23" fmla="*/ 1287780 h 6177659"/>
                <a:gd name="connsiteX24" fmla="*/ 4678680 w 5132522"/>
                <a:gd name="connsiteY24" fmla="*/ 1463040 h 6177659"/>
                <a:gd name="connsiteX25" fmla="*/ 4663440 w 5132522"/>
                <a:gd name="connsiteY25" fmla="*/ 1524000 h 6177659"/>
                <a:gd name="connsiteX26" fmla="*/ 4814397 w 5132522"/>
                <a:gd name="connsiteY26" fmla="*/ 1704828 h 6177659"/>
                <a:gd name="connsiteX27" fmla="*/ 5002306 w 5132522"/>
                <a:gd name="connsiteY27" fmla="*/ 4363507 h 6177659"/>
                <a:gd name="connsiteX28" fmla="*/ 5132522 w 5132522"/>
                <a:gd name="connsiteY28" fmla="*/ 4429994 h 6177659"/>
                <a:gd name="connsiteX29" fmla="*/ 5063073 w 5132522"/>
                <a:gd name="connsiteY29" fmla="*/ 4847915 h 6177659"/>
                <a:gd name="connsiteX30" fmla="*/ 4905544 w 5132522"/>
                <a:gd name="connsiteY30" fmla="*/ 4785630 h 6177659"/>
                <a:gd name="connsiteX31" fmla="*/ 3778281 w 5132522"/>
                <a:gd name="connsiteY31" fmla="*/ 6177659 h 6177659"/>
                <a:gd name="connsiteX32" fmla="*/ 3595980 w 5132522"/>
                <a:gd name="connsiteY32" fmla="*/ 5588772 h 6177659"/>
                <a:gd name="connsiteX33" fmla="*/ 4382946 w 5132522"/>
                <a:gd name="connsiteY33" fmla="*/ 4574791 h 6177659"/>
                <a:gd name="connsiteX34" fmla="*/ 4662995 w 5132522"/>
                <a:gd name="connsiteY34" fmla="*/ 3330617 h 6177659"/>
                <a:gd name="connsiteX35" fmla="*/ 4344179 w 5132522"/>
                <a:gd name="connsiteY35" fmla="*/ 2027325 h 6177659"/>
                <a:gd name="connsiteX36" fmla="*/ 3429000 w 5132522"/>
                <a:gd name="connsiteY36" fmla="*/ 1013460 h 6177659"/>
                <a:gd name="connsiteX37" fmla="*/ 3192780 w 5132522"/>
                <a:gd name="connsiteY37" fmla="*/ 853440 h 6177659"/>
                <a:gd name="connsiteX38" fmla="*/ 2910840 w 5132522"/>
                <a:gd name="connsiteY38" fmla="*/ 739140 h 6177659"/>
                <a:gd name="connsiteX39" fmla="*/ 2514600 w 5132522"/>
                <a:gd name="connsiteY39" fmla="*/ 693420 h 6177659"/>
                <a:gd name="connsiteX40" fmla="*/ 2232660 w 5132522"/>
                <a:gd name="connsiteY40" fmla="*/ 739140 h 6177659"/>
                <a:gd name="connsiteX41" fmla="*/ 1234440 w 5132522"/>
                <a:gd name="connsiteY41" fmla="*/ 1059180 h 6177659"/>
                <a:gd name="connsiteX42" fmla="*/ 960120 w 5132522"/>
                <a:gd name="connsiteY42" fmla="*/ 1165860 h 6177659"/>
                <a:gd name="connsiteX43" fmla="*/ 815340 w 5132522"/>
                <a:gd name="connsiteY43" fmla="*/ 1257300 h 6177659"/>
                <a:gd name="connsiteX44" fmla="*/ 0 w 5132522"/>
                <a:gd name="connsiteY44" fmla="*/ 1234440 h 6177659"/>
                <a:gd name="connsiteX0" fmla="*/ 0 w 5132522"/>
                <a:gd name="connsiteY0" fmla="*/ 1234440 h 6177659"/>
                <a:gd name="connsiteX1" fmla="*/ 213360 w 5132522"/>
                <a:gd name="connsiteY1" fmla="*/ 990600 h 6177659"/>
                <a:gd name="connsiteX2" fmla="*/ 457200 w 5132522"/>
                <a:gd name="connsiteY2" fmla="*/ 792480 h 6177659"/>
                <a:gd name="connsiteX3" fmla="*/ 685800 w 5132522"/>
                <a:gd name="connsiteY3" fmla="*/ 624840 h 6177659"/>
                <a:gd name="connsiteX4" fmla="*/ 929640 w 5132522"/>
                <a:gd name="connsiteY4" fmla="*/ 533400 h 6177659"/>
                <a:gd name="connsiteX5" fmla="*/ 891540 w 5132522"/>
                <a:gd name="connsiteY5" fmla="*/ 426720 h 6177659"/>
                <a:gd name="connsiteX6" fmla="*/ 1074420 w 5132522"/>
                <a:gd name="connsiteY6" fmla="*/ 358140 h 6177659"/>
                <a:gd name="connsiteX7" fmla="*/ 1120140 w 5132522"/>
                <a:gd name="connsiteY7" fmla="*/ 464820 h 6177659"/>
                <a:gd name="connsiteX8" fmla="*/ 1242060 w 5132522"/>
                <a:gd name="connsiteY8" fmla="*/ 434340 h 6177659"/>
                <a:gd name="connsiteX9" fmla="*/ 1272540 w 5132522"/>
                <a:gd name="connsiteY9" fmla="*/ 365760 h 6177659"/>
                <a:gd name="connsiteX10" fmla="*/ 1531620 w 5132522"/>
                <a:gd name="connsiteY10" fmla="*/ 297180 h 6177659"/>
                <a:gd name="connsiteX11" fmla="*/ 1584960 w 5132522"/>
                <a:gd name="connsiteY11" fmla="*/ 327660 h 6177659"/>
                <a:gd name="connsiteX12" fmla="*/ 1714500 w 5132522"/>
                <a:gd name="connsiteY12" fmla="*/ 274320 h 6177659"/>
                <a:gd name="connsiteX13" fmla="*/ 1684020 w 5132522"/>
                <a:gd name="connsiteY13" fmla="*/ 114300 h 6177659"/>
                <a:gd name="connsiteX14" fmla="*/ 2087880 w 5132522"/>
                <a:gd name="connsiteY14" fmla="*/ 0 h 6177659"/>
                <a:gd name="connsiteX15" fmla="*/ 2133600 w 5132522"/>
                <a:gd name="connsiteY15" fmla="*/ 160020 h 6177659"/>
                <a:gd name="connsiteX16" fmla="*/ 2385060 w 5132522"/>
                <a:gd name="connsiteY16" fmla="*/ 106680 h 6177659"/>
                <a:gd name="connsiteX17" fmla="*/ 2644140 w 5132522"/>
                <a:gd name="connsiteY17" fmla="*/ 99060 h 6177659"/>
                <a:gd name="connsiteX18" fmla="*/ 2971800 w 5132522"/>
                <a:gd name="connsiteY18" fmla="*/ 152400 h 6177659"/>
                <a:gd name="connsiteX19" fmla="*/ 3299460 w 5132522"/>
                <a:gd name="connsiteY19" fmla="*/ 251460 h 6177659"/>
                <a:gd name="connsiteX20" fmla="*/ 3665220 w 5132522"/>
                <a:gd name="connsiteY20" fmla="*/ 464820 h 6177659"/>
                <a:gd name="connsiteX21" fmla="*/ 3954780 w 5132522"/>
                <a:gd name="connsiteY21" fmla="*/ 723900 h 6177659"/>
                <a:gd name="connsiteX22" fmla="*/ 4465320 w 5132522"/>
                <a:gd name="connsiteY22" fmla="*/ 1280160 h 6177659"/>
                <a:gd name="connsiteX23" fmla="*/ 4495800 w 5132522"/>
                <a:gd name="connsiteY23" fmla="*/ 1287780 h 6177659"/>
                <a:gd name="connsiteX24" fmla="*/ 4678680 w 5132522"/>
                <a:gd name="connsiteY24" fmla="*/ 1463040 h 6177659"/>
                <a:gd name="connsiteX25" fmla="*/ 4663440 w 5132522"/>
                <a:gd name="connsiteY25" fmla="*/ 1524000 h 6177659"/>
                <a:gd name="connsiteX26" fmla="*/ 4814397 w 5132522"/>
                <a:gd name="connsiteY26" fmla="*/ 1704828 h 6177659"/>
                <a:gd name="connsiteX27" fmla="*/ 4965031 w 5132522"/>
                <a:gd name="connsiteY27" fmla="*/ 3813160 h 6177659"/>
                <a:gd name="connsiteX28" fmla="*/ 5002306 w 5132522"/>
                <a:gd name="connsiteY28" fmla="*/ 4363507 h 6177659"/>
                <a:gd name="connsiteX29" fmla="*/ 5132522 w 5132522"/>
                <a:gd name="connsiteY29" fmla="*/ 4429994 h 6177659"/>
                <a:gd name="connsiteX30" fmla="*/ 5063073 w 5132522"/>
                <a:gd name="connsiteY30" fmla="*/ 4847915 h 6177659"/>
                <a:gd name="connsiteX31" fmla="*/ 4905544 w 5132522"/>
                <a:gd name="connsiteY31" fmla="*/ 4785630 h 6177659"/>
                <a:gd name="connsiteX32" fmla="*/ 3778281 w 5132522"/>
                <a:gd name="connsiteY32" fmla="*/ 6177659 h 6177659"/>
                <a:gd name="connsiteX33" fmla="*/ 3595980 w 5132522"/>
                <a:gd name="connsiteY33" fmla="*/ 5588772 h 6177659"/>
                <a:gd name="connsiteX34" fmla="*/ 4382946 w 5132522"/>
                <a:gd name="connsiteY34" fmla="*/ 4574791 h 6177659"/>
                <a:gd name="connsiteX35" fmla="*/ 4662995 w 5132522"/>
                <a:gd name="connsiteY35" fmla="*/ 3330617 h 6177659"/>
                <a:gd name="connsiteX36" fmla="*/ 4344179 w 5132522"/>
                <a:gd name="connsiteY36" fmla="*/ 2027325 h 6177659"/>
                <a:gd name="connsiteX37" fmla="*/ 3429000 w 5132522"/>
                <a:gd name="connsiteY37" fmla="*/ 1013460 h 6177659"/>
                <a:gd name="connsiteX38" fmla="*/ 3192780 w 5132522"/>
                <a:gd name="connsiteY38" fmla="*/ 853440 h 6177659"/>
                <a:gd name="connsiteX39" fmla="*/ 2910840 w 5132522"/>
                <a:gd name="connsiteY39" fmla="*/ 739140 h 6177659"/>
                <a:gd name="connsiteX40" fmla="*/ 2514600 w 5132522"/>
                <a:gd name="connsiteY40" fmla="*/ 693420 h 6177659"/>
                <a:gd name="connsiteX41" fmla="*/ 2232660 w 5132522"/>
                <a:gd name="connsiteY41" fmla="*/ 739140 h 6177659"/>
                <a:gd name="connsiteX42" fmla="*/ 1234440 w 5132522"/>
                <a:gd name="connsiteY42" fmla="*/ 1059180 h 6177659"/>
                <a:gd name="connsiteX43" fmla="*/ 960120 w 5132522"/>
                <a:gd name="connsiteY43" fmla="*/ 1165860 h 6177659"/>
                <a:gd name="connsiteX44" fmla="*/ 815340 w 5132522"/>
                <a:gd name="connsiteY44" fmla="*/ 1257300 h 6177659"/>
                <a:gd name="connsiteX45" fmla="*/ 0 w 5132522"/>
                <a:gd name="connsiteY45" fmla="*/ 1234440 h 6177659"/>
                <a:gd name="connsiteX0" fmla="*/ 0 w 5194385"/>
                <a:gd name="connsiteY0" fmla="*/ 1234440 h 6177659"/>
                <a:gd name="connsiteX1" fmla="*/ 213360 w 5194385"/>
                <a:gd name="connsiteY1" fmla="*/ 990600 h 6177659"/>
                <a:gd name="connsiteX2" fmla="*/ 457200 w 5194385"/>
                <a:gd name="connsiteY2" fmla="*/ 792480 h 6177659"/>
                <a:gd name="connsiteX3" fmla="*/ 685800 w 5194385"/>
                <a:gd name="connsiteY3" fmla="*/ 624840 h 6177659"/>
                <a:gd name="connsiteX4" fmla="*/ 929640 w 5194385"/>
                <a:gd name="connsiteY4" fmla="*/ 533400 h 6177659"/>
                <a:gd name="connsiteX5" fmla="*/ 891540 w 5194385"/>
                <a:gd name="connsiteY5" fmla="*/ 426720 h 6177659"/>
                <a:gd name="connsiteX6" fmla="*/ 1074420 w 5194385"/>
                <a:gd name="connsiteY6" fmla="*/ 358140 h 6177659"/>
                <a:gd name="connsiteX7" fmla="*/ 1120140 w 5194385"/>
                <a:gd name="connsiteY7" fmla="*/ 464820 h 6177659"/>
                <a:gd name="connsiteX8" fmla="*/ 1242060 w 5194385"/>
                <a:gd name="connsiteY8" fmla="*/ 434340 h 6177659"/>
                <a:gd name="connsiteX9" fmla="*/ 1272540 w 5194385"/>
                <a:gd name="connsiteY9" fmla="*/ 365760 h 6177659"/>
                <a:gd name="connsiteX10" fmla="*/ 1531620 w 5194385"/>
                <a:gd name="connsiteY10" fmla="*/ 297180 h 6177659"/>
                <a:gd name="connsiteX11" fmla="*/ 1584960 w 5194385"/>
                <a:gd name="connsiteY11" fmla="*/ 327660 h 6177659"/>
                <a:gd name="connsiteX12" fmla="*/ 1714500 w 5194385"/>
                <a:gd name="connsiteY12" fmla="*/ 274320 h 6177659"/>
                <a:gd name="connsiteX13" fmla="*/ 1684020 w 5194385"/>
                <a:gd name="connsiteY13" fmla="*/ 114300 h 6177659"/>
                <a:gd name="connsiteX14" fmla="*/ 2087880 w 5194385"/>
                <a:gd name="connsiteY14" fmla="*/ 0 h 6177659"/>
                <a:gd name="connsiteX15" fmla="*/ 2133600 w 5194385"/>
                <a:gd name="connsiteY15" fmla="*/ 160020 h 6177659"/>
                <a:gd name="connsiteX16" fmla="*/ 2385060 w 5194385"/>
                <a:gd name="connsiteY16" fmla="*/ 106680 h 6177659"/>
                <a:gd name="connsiteX17" fmla="*/ 2644140 w 5194385"/>
                <a:gd name="connsiteY17" fmla="*/ 99060 h 6177659"/>
                <a:gd name="connsiteX18" fmla="*/ 2971800 w 5194385"/>
                <a:gd name="connsiteY18" fmla="*/ 152400 h 6177659"/>
                <a:gd name="connsiteX19" fmla="*/ 3299460 w 5194385"/>
                <a:gd name="connsiteY19" fmla="*/ 251460 h 6177659"/>
                <a:gd name="connsiteX20" fmla="*/ 3665220 w 5194385"/>
                <a:gd name="connsiteY20" fmla="*/ 464820 h 6177659"/>
                <a:gd name="connsiteX21" fmla="*/ 3954780 w 5194385"/>
                <a:gd name="connsiteY21" fmla="*/ 723900 h 6177659"/>
                <a:gd name="connsiteX22" fmla="*/ 4465320 w 5194385"/>
                <a:gd name="connsiteY22" fmla="*/ 1280160 h 6177659"/>
                <a:gd name="connsiteX23" fmla="*/ 4495800 w 5194385"/>
                <a:gd name="connsiteY23" fmla="*/ 1287780 h 6177659"/>
                <a:gd name="connsiteX24" fmla="*/ 4678680 w 5194385"/>
                <a:gd name="connsiteY24" fmla="*/ 1463040 h 6177659"/>
                <a:gd name="connsiteX25" fmla="*/ 4663440 w 5194385"/>
                <a:gd name="connsiteY25" fmla="*/ 1524000 h 6177659"/>
                <a:gd name="connsiteX26" fmla="*/ 4814397 w 5194385"/>
                <a:gd name="connsiteY26" fmla="*/ 1704828 h 6177659"/>
                <a:gd name="connsiteX27" fmla="*/ 5194385 w 5194385"/>
                <a:gd name="connsiteY27" fmla="*/ 3497350 h 6177659"/>
                <a:gd name="connsiteX28" fmla="*/ 5002306 w 5194385"/>
                <a:gd name="connsiteY28" fmla="*/ 4363507 h 6177659"/>
                <a:gd name="connsiteX29" fmla="*/ 5132522 w 5194385"/>
                <a:gd name="connsiteY29" fmla="*/ 4429994 h 6177659"/>
                <a:gd name="connsiteX30" fmla="*/ 5063073 w 5194385"/>
                <a:gd name="connsiteY30" fmla="*/ 4847915 h 6177659"/>
                <a:gd name="connsiteX31" fmla="*/ 4905544 w 5194385"/>
                <a:gd name="connsiteY31" fmla="*/ 4785630 h 6177659"/>
                <a:gd name="connsiteX32" fmla="*/ 3778281 w 5194385"/>
                <a:gd name="connsiteY32" fmla="*/ 6177659 h 6177659"/>
                <a:gd name="connsiteX33" fmla="*/ 3595980 w 5194385"/>
                <a:gd name="connsiteY33" fmla="*/ 5588772 h 6177659"/>
                <a:gd name="connsiteX34" fmla="*/ 4382946 w 5194385"/>
                <a:gd name="connsiteY34" fmla="*/ 4574791 h 6177659"/>
                <a:gd name="connsiteX35" fmla="*/ 4662995 w 5194385"/>
                <a:gd name="connsiteY35" fmla="*/ 3330617 h 6177659"/>
                <a:gd name="connsiteX36" fmla="*/ 4344179 w 5194385"/>
                <a:gd name="connsiteY36" fmla="*/ 2027325 h 6177659"/>
                <a:gd name="connsiteX37" fmla="*/ 3429000 w 5194385"/>
                <a:gd name="connsiteY37" fmla="*/ 1013460 h 6177659"/>
                <a:gd name="connsiteX38" fmla="*/ 3192780 w 5194385"/>
                <a:gd name="connsiteY38" fmla="*/ 853440 h 6177659"/>
                <a:gd name="connsiteX39" fmla="*/ 2910840 w 5194385"/>
                <a:gd name="connsiteY39" fmla="*/ 739140 h 6177659"/>
                <a:gd name="connsiteX40" fmla="*/ 2514600 w 5194385"/>
                <a:gd name="connsiteY40" fmla="*/ 693420 h 6177659"/>
                <a:gd name="connsiteX41" fmla="*/ 2232660 w 5194385"/>
                <a:gd name="connsiteY41" fmla="*/ 739140 h 6177659"/>
                <a:gd name="connsiteX42" fmla="*/ 1234440 w 5194385"/>
                <a:gd name="connsiteY42" fmla="*/ 1059180 h 6177659"/>
                <a:gd name="connsiteX43" fmla="*/ 960120 w 5194385"/>
                <a:gd name="connsiteY43" fmla="*/ 1165860 h 6177659"/>
                <a:gd name="connsiteX44" fmla="*/ 815340 w 5194385"/>
                <a:gd name="connsiteY44" fmla="*/ 1257300 h 6177659"/>
                <a:gd name="connsiteX45" fmla="*/ 0 w 5194385"/>
                <a:gd name="connsiteY45" fmla="*/ 1234440 h 6177659"/>
                <a:gd name="connsiteX0" fmla="*/ 0 w 5222873"/>
                <a:gd name="connsiteY0" fmla="*/ 1234440 h 6177659"/>
                <a:gd name="connsiteX1" fmla="*/ 213360 w 5222873"/>
                <a:gd name="connsiteY1" fmla="*/ 990600 h 6177659"/>
                <a:gd name="connsiteX2" fmla="*/ 457200 w 5222873"/>
                <a:gd name="connsiteY2" fmla="*/ 792480 h 6177659"/>
                <a:gd name="connsiteX3" fmla="*/ 685800 w 5222873"/>
                <a:gd name="connsiteY3" fmla="*/ 624840 h 6177659"/>
                <a:gd name="connsiteX4" fmla="*/ 929640 w 5222873"/>
                <a:gd name="connsiteY4" fmla="*/ 533400 h 6177659"/>
                <a:gd name="connsiteX5" fmla="*/ 891540 w 5222873"/>
                <a:gd name="connsiteY5" fmla="*/ 426720 h 6177659"/>
                <a:gd name="connsiteX6" fmla="*/ 1074420 w 5222873"/>
                <a:gd name="connsiteY6" fmla="*/ 358140 h 6177659"/>
                <a:gd name="connsiteX7" fmla="*/ 1120140 w 5222873"/>
                <a:gd name="connsiteY7" fmla="*/ 464820 h 6177659"/>
                <a:gd name="connsiteX8" fmla="*/ 1242060 w 5222873"/>
                <a:gd name="connsiteY8" fmla="*/ 434340 h 6177659"/>
                <a:gd name="connsiteX9" fmla="*/ 1272540 w 5222873"/>
                <a:gd name="connsiteY9" fmla="*/ 365760 h 6177659"/>
                <a:gd name="connsiteX10" fmla="*/ 1531620 w 5222873"/>
                <a:gd name="connsiteY10" fmla="*/ 297180 h 6177659"/>
                <a:gd name="connsiteX11" fmla="*/ 1584960 w 5222873"/>
                <a:gd name="connsiteY11" fmla="*/ 327660 h 6177659"/>
                <a:gd name="connsiteX12" fmla="*/ 1714500 w 5222873"/>
                <a:gd name="connsiteY12" fmla="*/ 274320 h 6177659"/>
                <a:gd name="connsiteX13" fmla="*/ 1684020 w 5222873"/>
                <a:gd name="connsiteY13" fmla="*/ 114300 h 6177659"/>
                <a:gd name="connsiteX14" fmla="*/ 2087880 w 5222873"/>
                <a:gd name="connsiteY14" fmla="*/ 0 h 6177659"/>
                <a:gd name="connsiteX15" fmla="*/ 2133600 w 5222873"/>
                <a:gd name="connsiteY15" fmla="*/ 160020 h 6177659"/>
                <a:gd name="connsiteX16" fmla="*/ 2385060 w 5222873"/>
                <a:gd name="connsiteY16" fmla="*/ 106680 h 6177659"/>
                <a:gd name="connsiteX17" fmla="*/ 2644140 w 5222873"/>
                <a:gd name="connsiteY17" fmla="*/ 99060 h 6177659"/>
                <a:gd name="connsiteX18" fmla="*/ 2971800 w 5222873"/>
                <a:gd name="connsiteY18" fmla="*/ 152400 h 6177659"/>
                <a:gd name="connsiteX19" fmla="*/ 3299460 w 5222873"/>
                <a:gd name="connsiteY19" fmla="*/ 251460 h 6177659"/>
                <a:gd name="connsiteX20" fmla="*/ 3665220 w 5222873"/>
                <a:gd name="connsiteY20" fmla="*/ 464820 h 6177659"/>
                <a:gd name="connsiteX21" fmla="*/ 3954780 w 5222873"/>
                <a:gd name="connsiteY21" fmla="*/ 723900 h 6177659"/>
                <a:gd name="connsiteX22" fmla="*/ 4465320 w 5222873"/>
                <a:gd name="connsiteY22" fmla="*/ 1280160 h 6177659"/>
                <a:gd name="connsiteX23" fmla="*/ 4495800 w 5222873"/>
                <a:gd name="connsiteY23" fmla="*/ 1287780 h 6177659"/>
                <a:gd name="connsiteX24" fmla="*/ 4678680 w 5222873"/>
                <a:gd name="connsiteY24" fmla="*/ 1463040 h 6177659"/>
                <a:gd name="connsiteX25" fmla="*/ 4663440 w 5222873"/>
                <a:gd name="connsiteY25" fmla="*/ 1524000 h 6177659"/>
                <a:gd name="connsiteX26" fmla="*/ 4814397 w 5222873"/>
                <a:gd name="connsiteY26" fmla="*/ 1704828 h 6177659"/>
                <a:gd name="connsiteX27" fmla="*/ 5194385 w 5222873"/>
                <a:gd name="connsiteY27" fmla="*/ 3497350 h 6177659"/>
                <a:gd name="connsiteX28" fmla="*/ 5002306 w 5222873"/>
                <a:gd name="connsiteY28" fmla="*/ 4363507 h 6177659"/>
                <a:gd name="connsiteX29" fmla="*/ 5132522 w 5222873"/>
                <a:gd name="connsiteY29" fmla="*/ 4429994 h 6177659"/>
                <a:gd name="connsiteX30" fmla="*/ 5063073 w 5222873"/>
                <a:gd name="connsiteY30" fmla="*/ 4847915 h 6177659"/>
                <a:gd name="connsiteX31" fmla="*/ 4905544 w 5222873"/>
                <a:gd name="connsiteY31" fmla="*/ 4785630 h 6177659"/>
                <a:gd name="connsiteX32" fmla="*/ 3778281 w 5222873"/>
                <a:gd name="connsiteY32" fmla="*/ 6177659 h 6177659"/>
                <a:gd name="connsiteX33" fmla="*/ 3595980 w 5222873"/>
                <a:gd name="connsiteY33" fmla="*/ 5588772 h 6177659"/>
                <a:gd name="connsiteX34" fmla="*/ 4382946 w 5222873"/>
                <a:gd name="connsiteY34" fmla="*/ 4574791 h 6177659"/>
                <a:gd name="connsiteX35" fmla="*/ 4662995 w 5222873"/>
                <a:gd name="connsiteY35" fmla="*/ 3330617 h 6177659"/>
                <a:gd name="connsiteX36" fmla="*/ 4344179 w 5222873"/>
                <a:gd name="connsiteY36" fmla="*/ 2027325 h 6177659"/>
                <a:gd name="connsiteX37" fmla="*/ 3429000 w 5222873"/>
                <a:gd name="connsiteY37" fmla="*/ 1013460 h 6177659"/>
                <a:gd name="connsiteX38" fmla="*/ 3192780 w 5222873"/>
                <a:gd name="connsiteY38" fmla="*/ 853440 h 6177659"/>
                <a:gd name="connsiteX39" fmla="*/ 2910840 w 5222873"/>
                <a:gd name="connsiteY39" fmla="*/ 739140 h 6177659"/>
                <a:gd name="connsiteX40" fmla="*/ 2514600 w 5222873"/>
                <a:gd name="connsiteY40" fmla="*/ 693420 h 6177659"/>
                <a:gd name="connsiteX41" fmla="*/ 2232660 w 5222873"/>
                <a:gd name="connsiteY41" fmla="*/ 739140 h 6177659"/>
                <a:gd name="connsiteX42" fmla="*/ 1234440 w 5222873"/>
                <a:gd name="connsiteY42" fmla="*/ 1059180 h 6177659"/>
                <a:gd name="connsiteX43" fmla="*/ 960120 w 5222873"/>
                <a:gd name="connsiteY43" fmla="*/ 1165860 h 6177659"/>
                <a:gd name="connsiteX44" fmla="*/ 815340 w 5222873"/>
                <a:gd name="connsiteY44" fmla="*/ 1257300 h 6177659"/>
                <a:gd name="connsiteX45" fmla="*/ 0 w 5222873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65320 w 5236526"/>
                <a:gd name="connsiteY22" fmla="*/ 1280160 h 6177659"/>
                <a:gd name="connsiteX23" fmla="*/ 4495800 w 5236526"/>
                <a:gd name="connsiteY23" fmla="*/ 1287780 h 6177659"/>
                <a:gd name="connsiteX24" fmla="*/ 4678680 w 5236526"/>
                <a:gd name="connsiteY24" fmla="*/ 1463040 h 6177659"/>
                <a:gd name="connsiteX25" fmla="*/ 4663440 w 5236526"/>
                <a:gd name="connsiteY25" fmla="*/ 1524000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65320 w 5236526"/>
                <a:gd name="connsiteY22" fmla="*/ 1280160 h 6177659"/>
                <a:gd name="connsiteX23" fmla="*/ 4495800 w 5236526"/>
                <a:gd name="connsiteY23" fmla="*/ 1287780 h 6177659"/>
                <a:gd name="connsiteX24" fmla="*/ 4678680 w 5236526"/>
                <a:gd name="connsiteY24" fmla="*/ 1463040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65320 w 5236526"/>
                <a:gd name="connsiteY22" fmla="*/ 1280160 h 6177659"/>
                <a:gd name="connsiteX23" fmla="*/ 4495800 w 5236526"/>
                <a:gd name="connsiteY23" fmla="*/ 1287780 h 6177659"/>
                <a:gd name="connsiteX24" fmla="*/ 4652910 w 5236526"/>
                <a:gd name="connsiteY24" fmla="*/ 1457499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26665 w 5236526"/>
                <a:gd name="connsiteY22" fmla="*/ 1269080 h 6177659"/>
                <a:gd name="connsiteX23" fmla="*/ 4495800 w 5236526"/>
                <a:gd name="connsiteY23" fmla="*/ 1287780 h 6177659"/>
                <a:gd name="connsiteX24" fmla="*/ 4652910 w 5236526"/>
                <a:gd name="connsiteY24" fmla="*/ 1457499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26665 w 5236526"/>
                <a:gd name="connsiteY22" fmla="*/ 1269080 h 6177659"/>
                <a:gd name="connsiteX23" fmla="*/ 4488069 w 5236526"/>
                <a:gd name="connsiteY23" fmla="*/ 1276698 h 6177659"/>
                <a:gd name="connsiteX24" fmla="*/ 4652910 w 5236526"/>
                <a:gd name="connsiteY24" fmla="*/ 1457499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34982 h 6177659"/>
                <a:gd name="connsiteX22" fmla="*/ 4426665 w 5236526"/>
                <a:gd name="connsiteY22" fmla="*/ 1269080 h 6177659"/>
                <a:gd name="connsiteX23" fmla="*/ 4488069 w 5236526"/>
                <a:gd name="connsiteY23" fmla="*/ 1276698 h 6177659"/>
                <a:gd name="connsiteX24" fmla="*/ 4652910 w 5236526"/>
                <a:gd name="connsiteY24" fmla="*/ 1457499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4426665 w 5236526"/>
                <a:gd name="connsiteY21" fmla="*/ 1269080 h 6177659"/>
                <a:gd name="connsiteX22" fmla="*/ 4488069 w 5236526"/>
                <a:gd name="connsiteY22" fmla="*/ 1276698 h 6177659"/>
                <a:gd name="connsiteX23" fmla="*/ 4652910 w 5236526"/>
                <a:gd name="connsiteY23" fmla="*/ 1457499 h 6177659"/>
                <a:gd name="connsiteX24" fmla="*/ 4653133 w 5236526"/>
                <a:gd name="connsiteY24" fmla="*/ 1512918 h 6177659"/>
                <a:gd name="connsiteX25" fmla="*/ 4814397 w 5236526"/>
                <a:gd name="connsiteY25" fmla="*/ 1704828 h 6177659"/>
                <a:gd name="connsiteX26" fmla="*/ 5194385 w 5236526"/>
                <a:gd name="connsiteY26" fmla="*/ 3497350 h 6177659"/>
                <a:gd name="connsiteX27" fmla="*/ 5002306 w 5236526"/>
                <a:gd name="connsiteY27" fmla="*/ 4363507 h 6177659"/>
                <a:gd name="connsiteX28" fmla="*/ 5132522 w 5236526"/>
                <a:gd name="connsiteY28" fmla="*/ 4429994 h 6177659"/>
                <a:gd name="connsiteX29" fmla="*/ 5063073 w 5236526"/>
                <a:gd name="connsiteY29" fmla="*/ 4847915 h 6177659"/>
                <a:gd name="connsiteX30" fmla="*/ 4905544 w 5236526"/>
                <a:gd name="connsiteY30" fmla="*/ 4785630 h 6177659"/>
                <a:gd name="connsiteX31" fmla="*/ 3778281 w 5236526"/>
                <a:gd name="connsiteY31" fmla="*/ 6177659 h 6177659"/>
                <a:gd name="connsiteX32" fmla="*/ 3595980 w 5236526"/>
                <a:gd name="connsiteY32" fmla="*/ 5588772 h 6177659"/>
                <a:gd name="connsiteX33" fmla="*/ 4382946 w 5236526"/>
                <a:gd name="connsiteY33" fmla="*/ 4574791 h 6177659"/>
                <a:gd name="connsiteX34" fmla="*/ 4662995 w 5236526"/>
                <a:gd name="connsiteY34" fmla="*/ 3330617 h 6177659"/>
                <a:gd name="connsiteX35" fmla="*/ 4344179 w 5236526"/>
                <a:gd name="connsiteY35" fmla="*/ 2027325 h 6177659"/>
                <a:gd name="connsiteX36" fmla="*/ 3429000 w 5236526"/>
                <a:gd name="connsiteY36" fmla="*/ 1013460 h 6177659"/>
                <a:gd name="connsiteX37" fmla="*/ 3192780 w 5236526"/>
                <a:gd name="connsiteY37" fmla="*/ 853440 h 6177659"/>
                <a:gd name="connsiteX38" fmla="*/ 2910840 w 5236526"/>
                <a:gd name="connsiteY38" fmla="*/ 739140 h 6177659"/>
                <a:gd name="connsiteX39" fmla="*/ 2514600 w 5236526"/>
                <a:gd name="connsiteY39" fmla="*/ 693420 h 6177659"/>
                <a:gd name="connsiteX40" fmla="*/ 2232660 w 5236526"/>
                <a:gd name="connsiteY40" fmla="*/ 739140 h 6177659"/>
                <a:gd name="connsiteX41" fmla="*/ 1234440 w 5236526"/>
                <a:gd name="connsiteY41" fmla="*/ 1059180 h 6177659"/>
                <a:gd name="connsiteX42" fmla="*/ 960120 w 5236526"/>
                <a:gd name="connsiteY42" fmla="*/ 1165860 h 6177659"/>
                <a:gd name="connsiteX43" fmla="*/ 815340 w 5236526"/>
                <a:gd name="connsiteY43" fmla="*/ 1257300 h 6177659"/>
                <a:gd name="connsiteX44" fmla="*/ 0 w 5236526"/>
                <a:gd name="connsiteY44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830149 w 5236526"/>
                <a:gd name="connsiteY20" fmla="*/ 619955 h 6177659"/>
                <a:gd name="connsiteX21" fmla="*/ 4426665 w 5236526"/>
                <a:gd name="connsiteY21" fmla="*/ 1269080 h 6177659"/>
                <a:gd name="connsiteX22" fmla="*/ 4488069 w 5236526"/>
                <a:gd name="connsiteY22" fmla="*/ 1276698 h 6177659"/>
                <a:gd name="connsiteX23" fmla="*/ 4652910 w 5236526"/>
                <a:gd name="connsiteY23" fmla="*/ 1457499 h 6177659"/>
                <a:gd name="connsiteX24" fmla="*/ 4653133 w 5236526"/>
                <a:gd name="connsiteY24" fmla="*/ 1512918 h 6177659"/>
                <a:gd name="connsiteX25" fmla="*/ 4814397 w 5236526"/>
                <a:gd name="connsiteY25" fmla="*/ 1704828 h 6177659"/>
                <a:gd name="connsiteX26" fmla="*/ 5194385 w 5236526"/>
                <a:gd name="connsiteY26" fmla="*/ 3497350 h 6177659"/>
                <a:gd name="connsiteX27" fmla="*/ 5002306 w 5236526"/>
                <a:gd name="connsiteY27" fmla="*/ 4363507 h 6177659"/>
                <a:gd name="connsiteX28" fmla="*/ 5132522 w 5236526"/>
                <a:gd name="connsiteY28" fmla="*/ 4429994 h 6177659"/>
                <a:gd name="connsiteX29" fmla="*/ 5063073 w 5236526"/>
                <a:gd name="connsiteY29" fmla="*/ 4847915 h 6177659"/>
                <a:gd name="connsiteX30" fmla="*/ 4905544 w 5236526"/>
                <a:gd name="connsiteY30" fmla="*/ 4785630 h 6177659"/>
                <a:gd name="connsiteX31" fmla="*/ 3778281 w 5236526"/>
                <a:gd name="connsiteY31" fmla="*/ 6177659 h 6177659"/>
                <a:gd name="connsiteX32" fmla="*/ 3595980 w 5236526"/>
                <a:gd name="connsiteY32" fmla="*/ 5588772 h 6177659"/>
                <a:gd name="connsiteX33" fmla="*/ 4382946 w 5236526"/>
                <a:gd name="connsiteY33" fmla="*/ 4574791 h 6177659"/>
                <a:gd name="connsiteX34" fmla="*/ 4662995 w 5236526"/>
                <a:gd name="connsiteY34" fmla="*/ 3330617 h 6177659"/>
                <a:gd name="connsiteX35" fmla="*/ 4344179 w 5236526"/>
                <a:gd name="connsiteY35" fmla="*/ 2027325 h 6177659"/>
                <a:gd name="connsiteX36" fmla="*/ 3429000 w 5236526"/>
                <a:gd name="connsiteY36" fmla="*/ 1013460 h 6177659"/>
                <a:gd name="connsiteX37" fmla="*/ 3192780 w 5236526"/>
                <a:gd name="connsiteY37" fmla="*/ 853440 h 6177659"/>
                <a:gd name="connsiteX38" fmla="*/ 2910840 w 5236526"/>
                <a:gd name="connsiteY38" fmla="*/ 739140 h 6177659"/>
                <a:gd name="connsiteX39" fmla="*/ 2514600 w 5236526"/>
                <a:gd name="connsiteY39" fmla="*/ 693420 h 6177659"/>
                <a:gd name="connsiteX40" fmla="*/ 2232660 w 5236526"/>
                <a:gd name="connsiteY40" fmla="*/ 739140 h 6177659"/>
                <a:gd name="connsiteX41" fmla="*/ 1234440 w 5236526"/>
                <a:gd name="connsiteY41" fmla="*/ 1059180 h 6177659"/>
                <a:gd name="connsiteX42" fmla="*/ 960120 w 5236526"/>
                <a:gd name="connsiteY42" fmla="*/ 1165860 h 6177659"/>
                <a:gd name="connsiteX43" fmla="*/ 815340 w 5236526"/>
                <a:gd name="connsiteY43" fmla="*/ 1257300 h 6177659"/>
                <a:gd name="connsiteX44" fmla="*/ 0 w 5236526"/>
                <a:gd name="connsiteY44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876535 w 5236526"/>
                <a:gd name="connsiteY20" fmla="*/ 658738 h 6177659"/>
                <a:gd name="connsiteX21" fmla="*/ 4426665 w 5236526"/>
                <a:gd name="connsiteY21" fmla="*/ 1269080 h 6177659"/>
                <a:gd name="connsiteX22" fmla="*/ 4488069 w 5236526"/>
                <a:gd name="connsiteY22" fmla="*/ 1276698 h 6177659"/>
                <a:gd name="connsiteX23" fmla="*/ 4652910 w 5236526"/>
                <a:gd name="connsiteY23" fmla="*/ 1457499 h 6177659"/>
                <a:gd name="connsiteX24" fmla="*/ 4653133 w 5236526"/>
                <a:gd name="connsiteY24" fmla="*/ 1512918 h 6177659"/>
                <a:gd name="connsiteX25" fmla="*/ 4814397 w 5236526"/>
                <a:gd name="connsiteY25" fmla="*/ 1704828 h 6177659"/>
                <a:gd name="connsiteX26" fmla="*/ 5194385 w 5236526"/>
                <a:gd name="connsiteY26" fmla="*/ 3497350 h 6177659"/>
                <a:gd name="connsiteX27" fmla="*/ 5002306 w 5236526"/>
                <a:gd name="connsiteY27" fmla="*/ 4363507 h 6177659"/>
                <a:gd name="connsiteX28" fmla="*/ 5132522 w 5236526"/>
                <a:gd name="connsiteY28" fmla="*/ 4429994 h 6177659"/>
                <a:gd name="connsiteX29" fmla="*/ 5063073 w 5236526"/>
                <a:gd name="connsiteY29" fmla="*/ 4847915 h 6177659"/>
                <a:gd name="connsiteX30" fmla="*/ 4905544 w 5236526"/>
                <a:gd name="connsiteY30" fmla="*/ 4785630 h 6177659"/>
                <a:gd name="connsiteX31" fmla="*/ 3778281 w 5236526"/>
                <a:gd name="connsiteY31" fmla="*/ 6177659 h 6177659"/>
                <a:gd name="connsiteX32" fmla="*/ 3595980 w 5236526"/>
                <a:gd name="connsiteY32" fmla="*/ 5588772 h 6177659"/>
                <a:gd name="connsiteX33" fmla="*/ 4382946 w 5236526"/>
                <a:gd name="connsiteY33" fmla="*/ 4574791 h 6177659"/>
                <a:gd name="connsiteX34" fmla="*/ 4662995 w 5236526"/>
                <a:gd name="connsiteY34" fmla="*/ 3330617 h 6177659"/>
                <a:gd name="connsiteX35" fmla="*/ 4344179 w 5236526"/>
                <a:gd name="connsiteY35" fmla="*/ 2027325 h 6177659"/>
                <a:gd name="connsiteX36" fmla="*/ 3429000 w 5236526"/>
                <a:gd name="connsiteY36" fmla="*/ 1013460 h 6177659"/>
                <a:gd name="connsiteX37" fmla="*/ 3192780 w 5236526"/>
                <a:gd name="connsiteY37" fmla="*/ 853440 h 6177659"/>
                <a:gd name="connsiteX38" fmla="*/ 2910840 w 5236526"/>
                <a:gd name="connsiteY38" fmla="*/ 739140 h 6177659"/>
                <a:gd name="connsiteX39" fmla="*/ 2514600 w 5236526"/>
                <a:gd name="connsiteY39" fmla="*/ 693420 h 6177659"/>
                <a:gd name="connsiteX40" fmla="*/ 2232660 w 5236526"/>
                <a:gd name="connsiteY40" fmla="*/ 739140 h 6177659"/>
                <a:gd name="connsiteX41" fmla="*/ 1234440 w 5236526"/>
                <a:gd name="connsiteY41" fmla="*/ 1059180 h 6177659"/>
                <a:gd name="connsiteX42" fmla="*/ 960120 w 5236526"/>
                <a:gd name="connsiteY42" fmla="*/ 1165860 h 6177659"/>
                <a:gd name="connsiteX43" fmla="*/ 815340 w 5236526"/>
                <a:gd name="connsiteY43" fmla="*/ 1257300 h 6177659"/>
                <a:gd name="connsiteX44" fmla="*/ 0 w 5236526"/>
                <a:gd name="connsiteY44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876535 w 5236526"/>
                <a:gd name="connsiteY19" fmla="*/ 658738 h 6177659"/>
                <a:gd name="connsiteX20" fmla="*/ 4426665 w 5236526"/>
                <a:gd name="connsiteY20" fmla="*/ 1269080 h 6177659"/>
                <a:gd name="connsiteX21" fmla="*/ 4488069 w 5236526"/>
                <a:gd name="connsiteY21" fmla="*/ 1276698 h 6177659"/>
                <a:gd name="connsiteX22" fmla="*/ 4652910 w 5236526"/>
                <a:gd name="connsiteY22" fmla="*/ 1457499 h 6177659"/>
                <a:gd name="connsiteX23" fmla="*/ 4653133 w 5236526"/>
                <a:gd name="connsiteY23" fmla="*/ 1512918 h 6177659"/>
                <a:gd name="connsiteX24" fmla="*/ 4814397 w 5236526"/>
                <a:gd name="connsiteY24" fmla="*/ 1704828 h 6177659"/>
                <a:gd name="connsiteX25" fmla="*/ 5194385 w 5236526"/>
                <a:gd name="connsiteY25" fmla="*/ 3497350 h 6177659"/>
                <a:gd name="connsiteX26" fmla="*/ 5002306 w 5236526"/>
                <a:gd name="connsiteY26" fmla="*/ 4363507 h 6177659"/>
                <a:gd name="connsiteX27" fmla="*/ 5132522 w 5236526"/>
                <a:gd name="connsiteY27" fmla="*/ 4429994 h 6177659"/>
                <a:gd name="connsiteX28" fmla="*/ 5063073 w 5236526"/>
                <a:gd name="connsiteY28" fmla="*/ 4847915 h 6177659"/>
                <a:gd name="connsiteX29" fmla="*/ 4905544 w 5236526"/>
                <a:gd name="connsiteY29" fmla="*/ 4785630 h 6177659"/>
                <a:gd name="connsiteX30" fmla="*/ 3778281 w 5236526"/>
                <a:gd name="connsiteY30" fmla="*/ 6177659 h 6177659"/>
                <a:gd name="connsiteX31" fmla="*/ 3595980 w 5236526"/>
                <a:gd name="connsiteY31" fmla="*/ 5588772 h 6177659"/>
                <a:gd name="connsiteX32" fmla="*/ 4382946 w 5236526"/>
                <a:gd name="connsiteY32" fmla="*/ 4574791 h 6177659"/>
                <a:gd name="connsiteX33" fmla="*/ 4662995 w 5236526"/>
                <a:gd name="connsiteY33" fmla="*/ 3330617 h 6177659"/>
                <a:gd name="connsiteX34" fmla="*/ 4344179 w 5236526"/>
                <a:gd name="connsiteY34" fmla="*/ 2027325 h 6177659"/>
                <a:gd name="connsiteX35" fmla="*/ 3429000 w 5236526"/>
                <a:gd name="connsiteY35" fmla="*/ 1013460 h 6177659"/>
                <a:gd name="connsiteX36" fmla="*/ 3192780 w 5236526"/>
                <a:gd name="connsiteY36" fmla="*/ 853440 h 6177659"/>
                <a:gd name="connsiteX37" fmla="*/ 2910840 w 5236526"/>
                <a:gd name="connsiteY37" fmla="*/ 739140 h 6177659"/>
                <a:gd name="connsiteX38" fmla="*/ 2514600 w 5236526"/>
                <a:gd name="connsiteY38" fmla="*/ 693420 h 6177659"/>
                <a:gd name="connsiteX39" fmla="*/ 2232660 w 5236526"/>
                <a:gd name="connsiteY39" fmla="*/ 739140 h 6177659"/>
                <a:gd name="connsiteX40" fmla="*/ 1234440 w 5236526"/>
                <a:gd name="connsiteY40" fmla="*/ 1059180 h 6177659"/>
                <a:gd name="connsiteX41" fmla="*/ 960120 w 5236526"/>
                <a:gd name="connsiteY41" fmla="*/ 1165860 h 6177659"/>
                <a:gd name="connsiteX42" fmla="*/ 815340 w 5236526"/>
                <a:gd name="connsiteY42" fmla="*/ 1257300 h 6177659"/>
                <a:gd name="connsiteX43" fmla="*/ 0 w 5236526"/>
                <a:gd name="connsiteY43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3876535 w 5236526"/>
                <a:gd name="connsiteY18" fmla="*/ 658738 h 6177659"/>
                <a:gd name="connsiteX19" fmla="*/ 4426665 w 5236526"/>
                <a:gd name="connsiteY19" fmla="*/ 1269080 h 6177659"/>
                <a:gd name="connsiteX20" fmla="*/ 4488069 w 5236526"/>
                <a:gd name="connsiteY20" fmla="*/ 1276698 h 6177659"/>
                <a:gd name="connsiteX21" fmla="*/ 4652910 w 5236526"/>
                <a:gd name="connsiteY21" fmla="*/ 1457499 h 6177659"/>
                <a:gd name="connsiteX22" fmla="*/ 4653133 w 5236526"/>
                <a:gd name="connsiteY22" fmla="*/ 1512918 h 6177659"/>
                <a:gd name="connsiteX23" fmla="*/ 4814397 w 5236526"/>
                <a:gd name="connsiteY23" fmla="*/ 1704828 h 6177659"/>
                <a:gd name="connsiteX24" fmla="*/ 5194385 w 5236526"/>
                <a:gd name="connsiteY24" fmla="*/ 3497350 h 6177659"/>
                <a:gd name="connsiteX25" fmla="*/ 5002306 w 5236526"/>
                <a:gd name="connsiteY25" fmla="*/ 4363507 h 6177659"/>
                <a:gd name="connsiteX26" fmla="*/ 5132522 w 5236526"/>
                <a:gd name="connsiteY26" fmla="*/ 4429994 h 6177659"/>
                <a:gd name="connsiteX27" fmla="*/ 5063073 w 5236526"/>
                <a:gd name="connsiteY27" fmla="*/ 4847915 h 6177659"/>
                <a:gd name="connsiteX28" fmla="*/ 4905544 w 5236526"/>
                <a:gd name="connsiteY28" fmla="*/ 4785630 h 6177659"/>
                <a:gd name="connsiteX29" fmla="*/ 3778281 w 5236526"/>
                <a:gd name="connsiteY29" fmla="*/ 6177659 h 6177659"/>
                <a:gd name="connsiteX30" fmla="*/ 3595980 w 5236526"/>
                <a:gd name="connsiteY30" fmla="*/ 5588772 h 6177659"/>
                <a:gd name="connsiteX31" fmla="*/ 4382946 w 5236526"/>
                <a:gd name="connsiteY31" fmla="*/ 4574791 h 6177659"/>
                <a:gd name="connsiteX32" fmla="*/ 4662995 w 5236526"/>
                <a:gd name="connsiteY32" fmla="*/ 3330617 h 6177659"/>
                <a:gd name="connsiteX33" fmla="*/ 4344179 w 5236526"/>
                <a:gd name="connsiteY33" fmla="*/ 2027325 h 6177659"/>
                <a:gd name="connsiteX34" fmla="*/ 3429000 w 5236526"/>
                <a:gd name="connsiteY34" fmla="*/ 1013460 h 6177659"/>
                <a:gd name="connsiteX35" fmla="*/ 3192780 w 5236526"/>
                <a:gd name="connsiteY35" fmla="*/ 853440 h 6177659"/>
                <a:gd name="connsiteX36" fmla="*/ 2910840 w 5236526"/>
                <a:gd name="connsiteY36" fmla="*/ 739140 h 6177659"/>
                <a:gd name="connsiteX37" fmla="*/ 2514600 w 5236526"/>
                <a:gd name="connsiteY37" fmla="*/ 693420 h 6177659"/>
                <a:gd name="connsiteX38" fmla="*/ 2232660 w 5236526"/>
                <a:gd name="connsiteY38" fmla="*/ 739140 h 6177659"/>
                <a:gd name="connsiteX39" fmla="*/ 1234440 w 5236526"/>
                <a:gd name="connsiteY39" fmla="*/ 1059180 h 6177659"/>
                <a:gd name="connsiteX40" fmla="*/ 960120 w 5236526"/>
                <a:gd name="connsiteY40" fmla="*/ 1165860 h 6177659"/>
                <a:gd name="connsiteX41" fmla="*/ 815340 w 5236526"/>
                <a:gd name="connsiteY41" fmla="*/ 1257300 h 6177659"/>
                <a:gd name="connsiteX42" fmla="*/ 0 w 5236526"/>
                <a:gd name="connsiteY42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3876535 w 5236526"/>
                <a:gd name="connsiteY17" fmla="*/ 658738 h 6177659"/>
                <a:gd name="connsiteX18" fmla="*/ 4426665 w 5236526"/>
                <a:gd name="connsiteY18" fmla="*/ 1269080 h 6177659"/>
                <a:gd name="connsiteX19" fmla="*/ 4488069 w 5236526"/>
                <a:gd name="connsiteY19" fmla="*/ 1276698 h 6177659"/>
                <a:gd name="connsiteX20" fmla="*/ 4652910 w 5236526"/>
                <a:gd name="connsiteY20" fmla="*/ 1457499 h 6177659"/>
                <a:gd name="connsiteX21" fmla="*/ 4653133 w 5236526"/>
                <a:gd name="connsiteY21" fmla="*/ 1512918 h 6177659"/>
                <a:gd name="connsiteX22" fmla="*/ 4814397 w 5236526"/>
                <a:gd name="connsiteY22" fmla="*/ 1704828 h 6177659"/>
                <a:gd name="connsiteX23" fmla="*/ 5194385 w 5236526"/>
                <a:gd name="connsiteY23" fmla="*/ 3497350 h 6177659"/>
                <a:gd name="connsiteX24" fmla="*/ 5002306 w 5236526"/>
                <a:gd name="connsiteY24" fmla="*/ 4363507 h 6177659"/>
                <a:gd name="connsiteX25" fmla="*/ 5132522 w 5236526"/>
                <a:gd name="connsiteY25" fmla="*/ 4429994 h 6177659"/>
                <a:gd name="connsiteX26" fmla="*/ 5063073 w 5236526"/>
                <a:gd name="connsiteY26" fmla="*/ 4847915 h 6177659"/>
                <a:gd name="connsiteX27" fmla="*/ 4905544 w 5236526"/>
                <a:gd name="connsiteY27" fmla="*/ 4785630 h 6177659"/>
                <a:gd name="connsiteX28" fmla="*/ 3778281 w 5236526"/>
                <a:gd name="connsiteY28" fmla="*/ 6177659 h 6177659"/>
                <a:gd name="connsiteX29" fmla="*/ 3595980 w 5236526"/>
                <a:gd name="connsiteY29" fmla="*/ 5588772 h 6177659"/>
                <a:gd name="connsiteX30" fmla="*/ 4382946 w 5236526"/>
                <a:gd name="connsiteY30" fmla="*/ 4574791 h 6177659"/>
                <a:gd name="connsiteX31" fmla="*/ 4662995 w 5236526"/>
                <a:gd name="connsiteY31" fmla="*/ 3330617 h 6177659"/>
                <a:gd name="connsiteX32" fmla="*/ 4344179 w 5236526"/>
                <a:gd name="connsiteY32" fmla="*/ 2027325 h 6177659"/>
                <a:gd name="connsiteX33" fmla="*/ 3429000 w 5236526"/>
                <a:gd name="connsiteY33" fmla="*/ 1013460 h 6177659"/>
                <a:gd name="connsiteX34" fmla="*/ 3192780 w 5236526"/>
                <a:gd name="connsiteY34" fmla="*/ 853440 h 6177659"/>
                <a:gd name="connsiteX35" fmla="*/ 2910840 w 5236526"/>
                <a:gd name="connsiteY35" fmla="*/ 739140 h 6177659"/>
                <a:gd name="connsiteX36" fmla="*/ 2514600 w 5236526"/>
                <a:gd name="connsiteY36" fmla="*/ 693420 h 6177659"/>
                <a:gd name="connsiteX37" fmla="*/ 2232660 w 5236526"/>
                <a:gd name="connsiteY37" fmla="*/ 739140 h 6177659"/>
                <a:gd name="connsiteX38" fmla="*/ 1234440 w 5236526"/>
                <a:gd name="connsiteY38" fmla="*/ 1059180 h 6177659"/>
                <a:gd name="connsiteX39" fmla="*/ 960120 w 5236526"/>
                <a:gd name="connsiteY39" fmla="*/ 1165860 h 6177659"/>
                <a:gd name="connsiteX40" fmla="*/ 815340 w 5236526"/>
                <a:gd name="connsiteY40" fmla="*/ 1257300 h 6177659"/>
                <a:gd name="connsiteX41" fmla="*/ 0 w 5236526"/>
                <a:gd name="connsiteY41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62501 w 5236526"/>
                <a:gd name="connsiteY32" fmla="*/ 1085487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62501 w 5236526"/>
                <a:gd name="connsiteY32" fmla="*/ 1085487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910840 w 5236526"/>
                <a:gd name="connsiteY33" fmla="*/ 739140 h 6177659"/>
                <a:gd name="connsiteX34" fmla="*/ 2514600 w 5236526"/>
                <a:gd name="connsiteY34" fmla="*/ 693420 h 6177659"/>
                <a:gd name="connsiteX35" fmla="*/ 2232660 w 5236526"/>
                <a:gd name="connsiteY35" fmla="*/ 739140 h 6177659"/>
                <a:gd name="connsiteX36" fmla="*/ 1234440 w 5236526"/>
                <a:gd name="connsiteY36" fmla="*/ 1059180 h 6177659"/>
                <a:gd name="connsiteX37" fmla="*/ 960120 w 5236526"/>
                <a:gd name="connsiteY37" fmla="*/ 1165860 h 6177659"/>
                <a:gd name="connsiteX38" fmla="*/ 815340 w 5236526"/>
                <a:gd name="connsiteY38" fmla="*/ 1257300 h 6177659"/>
                <a:gd name="connsiteX39" fmla="*/ 0 w 5236526"/>
                <a:gd name="connsiteY39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514600 w 5236526"/>
                <a:gd name="connsiteY33" fmla="*/ 693420 h 6177659"/>
                <a:gd name="connsiteX34" fmla="*/ 2232660 w 5236526"/>
                <a:gd name="connsiteY34" fmla="*/ 739140 h 6177659"/>
                <a:gd name="connsiteX35" fmla="*/ 1234440 w 5236526"/>
                <a:gd name="connsiteY35" fmla="*/ 1059180 h 6177659"/>
                <a:gd name="connsiteX36" fmla="*/ 960120 w 5236526"/>
                <a:gd name="connsiteY36" fmla="*/ 1165860 h 6177659"/>
                <a:gd name="connsiteX37" fmla="*/ 815340 w 5236526"/>
                <a:gd name="connsiteY37" fmla="*/ 1257300 h 6177659"/>
                <a:gd name="connsiteX38" fmla="*/ 0 w 5236526"/>
                <a:gd name="connsiteY38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232660 w 5236526"/>
                <a:gd name="connsiteY33" fmla="*/ 739140 h 6177659"/>
                <a:gd name="connsiteX34" fmla="*/ 1234440 w 5236526"/>
                <a:gd name="connsiteY34" fmla="*/ 1059180 h 6177659"/>
                <a:gd name="connsiteX35" fmla="*/ 960120 w 5236526"/>
                <a:gd name="connsiteY35" fmla="*/ 1165860 h 6177659"/>
                <a:gd name="connsiteX36" fmla="*/ 815340 w 5236526"/>
                <a:gd name="connsiteY36" fmla="*/ 1257300 h 6177659"/>
                <a:gd name="connsiteX37" fmla="*/ 0 w 5236526"/>
                <a:gd name="connsiteY37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232660 w 5236526"/>
                <a:gd name="connsiteY33" fmla="*/ 739140 h 6177659"/>
                <a:gd name="connsiteX34" fmla="*/ 1234440 w 5236526"/>
                <a:gd name="connsiteY34" fmla="*/ 1059180 h 6177659"/>
                <a:gd name="connsiteX35" fmla="*/ 960120 w 5236526"/>
                <a:gd name="connsiteY35" fmla="*/ 1165860 h 6177659"/>
                <a:gd name="connsiteX36" fmla="*/ 815340 w 5236526"/>
                <a:gd name="connsiteY36" fmla="*/ 1257300 h 6177659"/>
                <a:gd name="connsiteX37" fmla="*/ 0 w 5236526"/>
                <a:gd name="connsiteY37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232660 w 5236526"/>
                <a:gd name="connsiteY33" fmla="*/ 739140 h 6177659"/>
                <a:gd name="connsiteX34" fmla="*/ 1234440 w 5236526"/>
                <a:gd name="connsiteY34" fmla="*/ 1059180 h 6177659"/>
                <a:gd name="connsiteX35" fmla="*/ 960120 w 5236526"/>
                <a:gd name="connsiteY35" fmla="*/ 1165860 h 6177659"/>
                <a:gd name="connsiteX36" fmla="*/ 815340 w 5236526"/>
                <a:gd name="connsiteY36" fmla="*/ 1257300 h 6177659"/>
                <a:gd name="connsiteX37" fmla="*/ 0 w 5236526"/>
                <a:gd name="connsiteY37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232660 w 5236526"/>
                <a:gd name="connsiteY33" fmla="*/ 739140 h 6177659"/>
                <a:gd name="connsiteX34" fmla="*/ 1234440 w 5236526"/>
                <a:gd name="connsiteY34" fmla="*/ 1059180 h 6177659"/>
                <a:gd name="connsiteX35" fmla="*/ 960120 w 5236526"/>
                <a:gd name="connsiteY35" fmla="*/ 1165860 h 6177659"/>
                <a:gd name="connsiteX36" fmla="*/ 815340 w 5236526"/>
                <a:gd name="connsiteY36" fmla="*/ 1257300 h 6177659"/>
                <a:gd name="connsiteX37" fmla="*/ 0 w 5236526"/>
                <a:gd name="connsiteY37" fmla="*/ 1234440 h 6177659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531620 w 5236526"/>
                <a:gd name="connsiteY10" fmla="*/ 319342 h 6199821"/>
                <a:gd name="connsiteX11" fmla="*/ 1584960 w 5236526"/>
                <a:gd name="connsiteY11" fmla="*/ 349822 h 6199821"/>
                <a:gd name="connsiteX12" fmla="*/ 1714500 w 5236526"/>
                <a:gd name="connsiteY12" fmla="*/ 296482 h 6199821"/>
                <a:gd name="connsiteX13" fmla="*/ 1684020 w 5236526"/>
                <a:gd name="connsiteY13" fmla="*/ 136462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531620 w 5236526"/>
                <a:gd name="connsiteY10" fmla="*/ 319342 h 6199821"/>
                <a:gd name="connsiteX11" fmla="*/ 1584960 w 5236526"/>
                <a:gd name="connsiteY11" fmla="*/ 349822 h 6199821"/>
                <a:gd name="connsiteX12" fmla="*/ 1714500 w 5236526"/>
                <a:gd name="connsiteY12" fmla="*/ 296482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531620 w 5236526"/>
                <a:gd name="connsiteY10" fmla="*/ 319342 h 6199821"/>
                <a:gd name="connsiteX11" fmla="*/ 1584960 w 5236526"/>
                <a:gd name="connsiteY11" fmla="*/ 34982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531620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18868 w 5236526"/>
                <a:gd name="connsiteY8" fmla="*/ 442651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091793 w 5236526"/>
                <a:gd name="connsiteY7" fmla="*/ 481442 h 6199821"/>
                <a:gd name="connsiteX8" fmla="*/ 1218868 w 5236526"/>
                <a:gd name="connsiteY8" fmla="*/ 442651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78655 w 5236526"/>
                <a:gd name="connsiteY5" fmla="*/ 432260 h 6199821"/>
                <a:gd name="connsiteX6" fmla="*/ 1074420 w 5236526"/>
                <a:gd name="connsiteY6" fmla="*/ 380302 h 6199821"/>
                <a:gd name="connsiteX7" fmla="*/ 1091793 w 5236526"/>
                <a:gd name="connsiteY7" fmla="*/ 481442 h 6199821"/>
                <a:gd name="connsiteX8" fmla="*/ 1218868 w 5236526"/>
                <a:gd name="connsiteY8" fmla="*/ 442651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898716 w 5236526"/>
                <a:gd name="connsiteY4" fmla="*/ 547251 h 6199821"/>
                <a:gd name="connsiteX5" fmla="*/ 878655 w 5236526"/>
                <a:gd name="connsiteY5" fmla="*/ 432260 h 6199821"/>
                <a:gd name="connsiteX6" fmla="*/ 1074420 w 5236526"/>
                <a:gd name="connsiteY6" fmla="*/ 380302 h 6199821"/>
                <a:gd name="connsiteX7" fmla="*/ 1091793 w 5236526"/>
                <a:gd name="connsiteY7" fmla="*/ 481442 h 6199821"/>
                <a:gd name="connsiteX8" fmla="*/ 1218868 w 5236526"/>
                <a:gd name="connsiteY8" fmla="*/ 442651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75815 w 5312341"/>
                <a:gd name="connsiteY0" fmla="*/ 1256602 h 6199821"/>
                <a:gd name="connsiteX1" fmla="*/ 289175 w 5312341"/>
                <a:gd name="connsiteY1" fmla="*/ 1012762 h 6199821"/>
                <a:gd name="connsiteX2" fmla="*/ 533015 w 5312341"/>
                <a:gd name="connsiteY2" fmla="*/ 814642 h 6199821"/>
                <a:gd name="connsiteX3" fmla="*/ 761615 w 5312341"/>
                <a:gd name="connsiteY3" fmla="*/ 647002 h 6199821"/>
                <a:gd name="connsiteX4" fmla="*/ 974531 w 5312341"/>
                <a:gd name="connsiteY4" fmla="*/ 547251 h 6199821"/>
                <a:gd name="connsiteX5" fmla="*/ 954470 w 5312341"/>
                <a:gd name="connsiteY5" fmla="*/ 432260 h 6199821"/>
                <a:gd name="connsiteX6" fmla="*/ 1150235 w 5312341"/>
                <a:gd name="connsiteY6" fmla="*/ 380302 h 6199821"/>
                <a:gd name="connsiteX7" fmla="*/ 1167608 w 5312341"/>
                <a:gd name="connsiteY7" fmla="*/ 481442 h 6199821"/>
                <a:gd name="connsiteX8" fmla="*/ 1294683 w 5312341"/>
                <a:gd name="connsiteY8" fmla="*/ 442651 h 6199821"/>
                <a:gd name="connsiteX9" fmla="*/ 1325162 w 5312341"/>
                <a:gd name="connsiteY9" fmla="*/ 393463 h 6199821"/>
                <a:gd name="connsiteX10" fmla="*/ 1561049 w 5312341"/>
                <a:gd name="connsiteY10" fmla="*/ 319342 h 6199821"/>
                <a:gd name="connsiteX11" fmla="*/ 1601504 w 5312341"/>
                <a:gd name="connsiteY11" fmla="*/ 352592 h 6199821"/>
                <a:gd name="connsiteX12" fmla="*/ 1798046 w 5312341"/>
                <a:gd name="connsiteY12" fmla="*/ 288171 h 6199821"/>
                <a:gd name="connsiteX13" fmla="*/ 1757258 w 5312341"/>
                <a:gd name="connsiteY13" fmla="*/ 119840 h 6199821"/>
                <a:gd name="connsiteX14" fmla="*/ 2140501 w 5312341"/>
                <a:gd name="connsiteY14" fmla="*/ 0 h 6199821"/>
                <a:gd name="connsiteX15" fmla="*/ 2188799 w 5312341"/>
                <a:gd name="connsiteY15" fmla="*/ 165560 h 6199821"/>
                <a:gd name="connsiteX16" fmla="*/ 3952350 w 5312341"/>
                <a:gd name="connsiteY16" fmla="*/ 680900 h 6199821"/>
                <a:gd name="connsiteX17" fmla="*/ 4502480 w 5312341"/>
                <a:gd name="connsiteY17" fmla="*/ 1291242 h 6199821"/>
                <a:gd name="connsiteX18" fmla="*/ 4563884 w 5312341"/>
                <a:gd name="connsiteY18" fmla="*/ 1298860 h 6199821"/>
                <a:gd name="connsiteX19" fmla="*/ 4728725 w 5312341"/>
                <a:gd name="connsiteY19" fmla="*/ 1479661 h 6199821"/>
                <a:gd name="connsiteX20" fmla="*/ 4728948 w 5312341"/>
                <a:gd name="connsiteY20" fmla="*/ 1535080 h 6199821"/>
                <a:gd name="connsiteX21" fmla="*/ 4890212 w 5312341"/>
                <a:gd name="connsiteY21" fmla="*/ 1726990 h 6199821"/>
                <a:gd name="connsiteX22" fmla="*/ 5270200 w 5312341"/>
                <a:gd name="connsiteY22" fmla="*/ 3519512 h 6199821"/>
                <a:gd name="connsiteX23" fmla="*/ 5078121 w 5312341"/>
                <a:gd name="connsiteY23" fmla="*/ 4385669 h 6199821"/>
                <a:gd name="connsiteX24" fmla="*/ 5208337 w 5312341"/>
                <a:gd name="connsiteY24" fmla="*/ 4452156 h 6199821"/>
                <a:gd name="connsiteX25" fmla="*/ 5138888 w 5312341"/>
                <a:gd name="connsiteY25" fmla="*/ 4870077 h 6199821"/>
                <a:gd name="connsiteX26" fmla="*/ 4981359 w 5312341"/>
                <a:gd name="connsiteY26" fmla="*/ 4807792 h 6199821"/>
                <a:gd name="connsiteX27" fmla="*/ 3854096 w 5312341"/>
                <a:gd name="connsiteY27" fmla="*/ 6199821 h 6199821"/>
                <a:gd name="connsiteX28" fmla="*/ 3671795 w 5312341"/>
                <a:gd name="connsiteY28" fmla="*/ 5610934 h 6199821"/>
                <a:gd name="connsiteX29" fmla="*/ 4458761 w 5312341"/>
                <a:gd name="connsiteY29" fmla="*/ 4596953 h 6199821"/>
                <a:gd name="connsiteX30" fmla="*/ 4738810 w 5312341"/>
                <a:gd name="connsiteY30" fmla="*/ 3352779 h 6199821"/>
                <a:gd name="connsiteX31" fmla="*/ 4419994 w 5312341"/>
                <a:gd name="connsiteY31" fmla="*/ 2049487 h 6199821"/>
                <a:gd name="connsiteX32" fmla="*/ 3602741 w 5312341"/>
                <a:gd name="connsiteY32" fmla="*/ 1163055 h 6199821"/>
                <a:gd name="connsiteX33" fmla="*/ 2308475 w 5312341"/>
                <a:gd name="connsiteY33" fmla="*/ 761302 h 6199821"/>
                <a:gd name="connsiteX34" fmla="*/ 1310255 w 5312341"/>
                <a:gd name="connsiteY34" fmla="*/ 1081342 h 6199821"/>
                <a:gd name="connsiteX35" fmla="*/ 1035935 w 5312341"/>
                <a:gd name="connsiteY35" fmla="*/ 1188022 h 6199821"/>
                <a:gd name="connsiteX36" fmla="*/ 0 w 5312341"/>
                <a:gd name="connsiteY36" fmla="*/ 3464807 h 6199821"/>
                <a:gd name="connsiteX37" fmla="*/ 75815 w 5312341"/>
                <a:gd name="connsiteY37" fmla="*/ 1256602 h 6199821"/>
                <a:gd name="connsiteX0" fmla="*/ 0 w 5842672"/>
                <a:gd name="connsiteY0" fmla="*/ 3281515 h 6199821"/>
                <a:gd name="connsiteX1" fmla="*/ 819506 w 5842672"/>
                <a:gd name="connsiteY1" fmla="*/ 1012762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1566266 w 5842672"/>
                <a:gd name="connsiteY35" fmla="*/ 1188022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819506 w 5842672"/>
                <a:gd name="connsiteY1" fmla="*/ 1012762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819506 w 5842672"/>
                <a:gd name="connsiteY1" fmla="*/ 1012762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819506 w 5842672"/>
                <a:gd name="connsiteY1" fmla="*/ 1012762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84589 w 5842672"/>
                <a:gd name="connsiteY2" fmla="*/ 2050403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84589 w 5842672"/>
                <a:gd name="connsiteY2" fmla="*/ 2050403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84589 w 5842672"/>
                <a:gd name="connsiteY2" fmla="*/ 2050403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84589 w 5842672"/>
                <a:gd name="connsiteY2" fmla="*/ 2050403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24787 w 5842672"/>
                <a:gd name="connsiteY2" fmla="*/ 2266904 h 6199821"/>
                <a:gd name="connsiteX3" fmla="*/ 284589 w 5842672"/>
                <a:gd name="connsiteY3" fmla="*/ 2050403 h 6199821"/>
                <a:gd name="connsiteX4" fmla="*/ 1291946 w 5842672"/>
                <a:gd name="connsiteY4" fmla="*/ 647002 h 6199821"/>
                <a:gd name="connsiteX5" fmla="*/ 1504862 w 5842672"/>
                <a:gd name="connsiteY5" fmla="*/ 547251 h 6199821"/>
                <a:gd name="connsiteX6" fmla="*/ 1484801 w 5842672"/>
                <a:gd name="connsiteY6" fmla="*/ 432260 h 6199821"/>
                <a:gd name="connsiteX7" fmla="*/ 1680566 w 5842672"/>
                <a:gd name="connsiteY7" fmla="*/ 380302 h 6199821"/>
                <a:gd name="connsiteX8" fmla="*/ 1697939 w 5842672"/>
                <a:gd name="connsiteY8" fmla="*/ 481442 h 6199821"/>
                <a:gd name="connsiteX9" fmla="*/ 1825014 w 5842672"/>
                <a:gd name="connsiteY9" fmla="*/ 442651 h 6199821"/>
                <a:gd name="connsiteX10" fmla="*/ 1855493 w 5842672"/>
                <a:gd name="connsiteY10" fmla="*/ 393463 h 6199821"/>
                <a:gd name="connsiteX11" fmla="*/ 2091380 w 5842672"/>
                <a:gd name="connsiteY11" fmla="*/ 319342 h 6199821"/>
                <a:gd name="connsiteX12" fmla="*/ 2131835 w 5842672"/>
                <a:gd name="connsiteY12" fmla="*/ 352592 h 6199821"/>
                <a:gd name="connsiteX13" fmla="*/ 2328377 w 5842672"/>
                <a:gd name="connsiteY13" fmla="*/ 288171 h 6199821"/>
                <a:gd name="connsiteX14" fmla="*/ 2287589 w 5842672"/>
                <a:gd name="connsiteY14" fmla="*/ 119840 h 6199821"/>
                <a:gd name="connsiteX15" fmla="*/ 2670832 w 5842672"/>
                <a:gd name="connsiteY15" fmla="*/ 0 h 6199821"/>
                <a:gd name="connsiteX16" fmla="*/ 2719130 w 5842672"/>
                <a:gd name="connsiteY16" fmla="*/ 165560 h 6199821"/>
                <a:gd name="connsiteX17" fmla="*/ 4482681 w 5842672"/>
                <a:gd name="connsiteY17" fmla="*/ 680900 h 6199821"/>
                <a:gd name="connsiteX18" fmla="*/ 5032811 w 5842672"/>
                <a:gd name="connsiteY18" fmla="*/ 1291242 h 6199821"/>
                <a:gd name="connsiteX19" fmla="*/ 5094215 w 5842672"/>
                <a:gd name="connsiteY19" fmla="*/ 1298860 h 6199821"/>
                <a:gd name="connsiteX20" fmla="*/ 5259056 w 5842672"/>
                <a:gd name="connsiteY20" fmla="*/ 1479661 h 6199821"/>
                <a:gd name="connsiteX21" fmla="*/ 5259279 w 5842672"/>
                <a:gd name="connsiteY21" fmla="*/ 1535080 h 6199821"/>
                <a:gd name="connsiteX22" fmla="*/ 5420543 w 5842672"/>
                <a:gd name="connsiteY22" fmla="*/ 1726990 h 6199821"/>
                <a:gd name="connsiteX23" fmla="*/ 5800531 w 5842672"/>
                <a:gd name="connsiteY23" fmla="*/ 3519512 h 6199821"/>
                <a:gd name="connsiteX24" fmla="*/ 5608452 w 5842672"/>
                <a:gd name="connsiteY24" fmla="*/ 4385669 h 6199821"/>
                <a:gd name="connsiteX25" fmla="*/ 5738668 w 5842672"/>
                <a:gd name="connsiteY25" fmla="*/ 4452156 h 6199821"/>
                <a:gd name="connsiteX26" fmla="*/ 5669219 w 5842672"/>
                <a:gd name="connsiteY26" fmla="*/ 4870077 h 6199821"/>
                <a:gd name="connsiteX27" fmla="*/ 5511690 w 5842672"/>
                <a:gd name="connsiteY27" fmla="*/ 4807792 h 6199821"/>
                <a:gd name="connsiteX28" fmla="*/ 4384427 w 5842672"/>
                <a:gd name="connsiteY28" fmla="*/ 6199821 h 6199821"/>
                <a:gd name="connsiteX29" fmla="*/ 4202126 w 5842672"/>
                <a:gd name="connsiteY29" fmla="*/ 5610934 h 6199821"/>
                <a:gd name="connsiteX30" fmla="*/ 4989092 w 5842672"/>
                <a:gd name="connsiteY30" fmla="*/ 4596953 h 6199821"/>
                <a:gd name="connsiteX31" fmla="*/ 5269141 w 5842672"/>
                <a:gd name="connsiteY31" fmla="*/ 3352779 h 6199821"/>
                <a:gd name="connsiteX32" fmla="*/ 4950325 w 5842672"/>
                <a:gd name="connsiteY32" fmla="*/ 2049487 h 6199821"/>
                <a:gd name="connsiteX33" fmla="*/ 4133072 w 5842672"/>
                <a:gd name="connsiteY33" fmla="*/ 1163055 h 6199821"/>
                <a:gd name="connsiteX34" fmla="*/ 2838806 w 5842672"/>
                <a:gd name="connsiteY34" fmla="*/ 761302 h 6199821"/>
                <a:gd name="connsiteX35" fmla="*/ 1840586 w 5842672"/>
                <a:gd name="connsiteY35" fmla="*/ 1081342 h 6199821"/>
                <a:gd name="connsiteX36" fmla="*/ 831666 w 5842672"/>
                <a:gd name="connsiteY36" fmla="*/ 2111591 h 6199821"/>
                <a:gd name="connsiteX37" fmla="*/ 530331 w 5842672"/>
                <a:gd name="connsiteY37" fmla="*/ 3464807 h 6199821"/>
                <a:gd name="connsiteX38" fmla="*/ 0 w 5842672"/>
                <a:gd name="connsiteY38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24787 w 5842672"/>
                <a:gd name="connsiteY2" fmla="*/ 2266904 h 6199821"/>
                <a:gd name="connsiteX3" fmla="*/ 268944 w 5842672"/>
                <a:gd name="connsiteY3" fmla="*/ 2136824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0 w 5842672"/>
                <a:gd name="connsiteY39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68944 w 5842672"/>
                <a:gd name="connsiteY3" fmla="*/ 2136824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0 w 5842672"/>
                <a:gd name="connsiteY39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0 w 5842672"/>
                <a:gd name="connsiteY39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228802 w 5842672"/>
                <a:gd name="connsiteY39" fmla="*/ 3359577 h 6199821"/>
                <a:gd name="connsiteX40" fmla="*/ 0 w 5842672"/>
                <a:gd name="connsiteY40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481697 w 5842672"/>
                <a:gd name="connsiteY39" fmla="*/ 5189370 h 6199821"/>
                <a:gd name="connsiteX40" fmla="*/ 0 w 5842672"/>
                <a:gd name="connsiteY40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501767 w 5842672"/>
                <a:gd name="connsiteY39" fmla="*/ 4612682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826918 w 5842672"/>
                <a:gd name="connsiteY40" fmla="*/ 5015930 h 6199821"/>
                <a:gd name="connsiteX41" fmla="*/ 481697 w 5842672"/>
                <a:gd name="connsiteY41" fmla="*/ 5189370 h 6199821"/>
                <a:gd name="connsiteX42" fmla="*/ 0 w 5842672"/>
                <a:gd name="connsiteY42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158712 w 5842672"/>
                <a:gd name="connsiteY40" fmla="*/ 5644651 h 6199821"/>
                <a:gd name="connsiteX41" fmla="*/ 481697 w 5842672"/>
                <a:gd name="connsiteY41" fmla="*/ 5189370 h 6199821"/>
                <a:gd name="connsiteX42" fmla="*/ 0 w 5842672"/>
                <a:gd name="connsiteY42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158712 w 5842672"/>
                <a:gd name="connsiteY40" fmla="*/ 5644651 h 6199821"/>
                <a:gd name="connsiteX41" fmla="*/ 943331 w 5842672"/>
                <a:gd name="connsiteY41" fmla="*/ 5241402 h 6199821"/>
                <a:gd name="connsiteX42" fmla="*/ 481697 w 5842672"/>
                <a:gd name="connsiteY42" fmla="*/ 5189370 h 6199821"/>
                <a:gd name="connsiteX43" fmla="*/ 0 w 5842672"/>
                <a:gd name="connsiteY43" fmla="*/ 3281515 h 6199821"/>
                <a:gd name="connsiteX0" fmla="*/ 0 w 5842672"/>
                <a:gd name="connsiteY0" fmla="*/ 3281515 h 6212667"/>
                <a:gd name="connsiteX1" fmla="*/ 209347 w 5842672"/>
                <a:gd name="connsiteY1" fmla="*/ 2374266 h 6212667"/>
                <a:gd name="connsiteX2" fmla="*/ 176616 w 5842672"/>
                <a:gd name="connsiteY2" fmla="*/ 2331944 h 6212667"/>
                <a:gd name="connsiteX3" fmla="*/ 248873 w 5842672"/>
                <a:gd name="connsiteY3" fmla="*/ 2067448 h 6212667"/>
                <a:gd name="connsiteX4" fmla="*/ 284589 w 5842672"/>
                <a:gd name="connsiteY4" fmla="*/ 2050403 h 6212667"/>
                <a:gd name="connsiteX5" fmla="*/ 1291946 w 5842672"/>
                <a:gd name="connsiteY5" fmla="*/ 647002 h 6212667"/>
                <a:gd name="connsiteX6" fmla="*/ 1504862 w 5842672"/>
                <a:gd name="connsiteY6" fmla="*/ 547251 h 6212667"/>
                <a:gd name="connsiteX7" fmla="*/ 1484801 w 5842672"/>
                <a:gd name="connsiteY7" fmla="*/ 432260 h 6212667"/>
                <a:gd name="connsiteX8" fmla="*/ 1680566 w 5842672"/>
                <a:gd name="connsiteY8" fmla="*/ 380302 h 6212667"/>
                <a:gd name="connsiteX9" fmla="*/ 1697939 w 5842672"/>
                <a:gd name="connsiteY9" fmla="*/ 481442 h 6212667"/>
                <a:gd name="connsiteX10" fmla="*/ 1825014 w 5842672"/>
                <a:gd name="connsiteY10" fmla="*/ 442651 h 6212667"/>
                <a:gd name="connsiteX11" fmla="*/ 1855493 w 5842672"/>
                <a:gd name="connsiteY11" fmla="*/ 393463 h 6212667"/>
                <a:gd name="connsiteX12" fmla="*/ 2091380 w 5842672"/>
                <a:gd name="connsiteY12" fmla="*/ 319342 h 6212667"/>
                <a:gd name="connsiteX13" fmla="*/ 2131835 w 5842672"/>
                <a:gd name="connsiteY13" fmla="*/ 352592 h 6212667"/>
                <a:gd name="connsiteX14" fmla="*/ 2328377 w 5842672"/>
                <a:gd name="connsiteY14" fmla="*/ 288171 h 6212667"/>
                <a:gd name="connsiteX15" fmla="*/ 2287589 w 5842672"/>
                <a:gd name="connsiteY15" fmla="*/ 119840 h 6212667"/>
                <a:gd name="connsiteX16" fmla="*/ 2670832 w 5842672"/>
                <a:gd name="connsiteY16" fmla="*/ 0 h 6212667"/>
                <a:gd name="connsiteX17" fmla="*/ 2719130 w 5842672"/>
                <a:gd name="connsiteY17" fmla="*/ 165560 h 6212667"/>
                <a:gd name="connsiteX18" fmla="*/ 4482681 w 5842672"/>
                <a:gd name="connsiteY18" fmla="*/ 680900 h 6212667"/>
                <a:gd name="connsiteX19" fmla="*/ 5032811 w 5842672"/>
                <a:gd name="connsiteY19" fmla="*/ 1291242 h 6212667"/>
                <a:gd name="connsiteX20" fmla="*/ 5094215 w 5842672"/>
                <a:gd name="connsiteY20" fmla="*/ 1298860 h 6212667"/>
                <a:gd name="connsiteX21" fmla="*/ 5259056 w 5842672"/>
                <a:gd name="connsiteY21" fmla="*/ 1479661 h 6212667"/>
                <a:gd name="connsiteX22" fmla="*/ 5259279 w 5842672"/>
                <a:gd name="connsiteY22" fmla="*/ 1535080 h 6212667"/>
                <a:gd name="connsiteX23" fmla="*/ 5420543 w 5842672"/>
                <a:gd name="connsiteY23" fmla="*/ 1726990 h 6212667"/>
                <a:gd name="connsiteX24" fmla="*/ 5800531 w 5842672"/>
                <a:gd name="connsiteY24" fmla="*/ 3519512 h 6212667"/>
                <a:gd name="connsiteX25" fmla="*/ 5608452 w 5842672"/>
                <a:gd name="connsiteY25" fmla="*/ 4385669 h 6212667"/>
                <a:gd name="connsiteX26" fmla="*/ 5738668 w 5842672"/>
                <a:gd name="connsiteY26" fmla="*/ 4452156 h 6212667"/>
                <a:gd name="connsiteX27" fmla="*/ 5669219 w 5842672"/>
                <a:gd name="connsiteY27" fmla="*/ 4870077 h 6212667"/>
                <a:gd name="connsiteX28" fmla="*/ 5511690 w 5842672"/>
                <a:gd name="connsiteY28" fmla="*/ 4807792 h 6212667"/>
                <a:gd name="connsiteX29" fmla="*/ 4384427 w 5842672"/>
                <a:gd name="connsiteY29" fmla="*/ 6199821 h 6212667"/>
                <a:gd name="connsiteX30" fmla="*/ 4202126 w 5842672"/>
                <a:gd name="connsiteY30" fmla="*/ 5610934 h 6212667"/>
                <a:gd name="connsiteX31" fmla="*/ 4989092 w 5842672"/>
                <a:gd name="connsiteY31" fmla="*/ 4596953 h 6212667"/>
                <a:gd name="connsiteX32" fmla="*/ 5269141 w 5842672"/>
                <a:gd name="connsiteY32" fmla="*/ 3352779 h 6212667"/>
                <a:gd name="connsiteX33" fmla="*/ 4950325 w 5842672"/>
                <a:gd name="connsiteY33" fmla="*/ 2049487 h 6212667"/>
                <a:gd name="connsiteX34" fmla="*/ 4133072 w 5842672"/>
                <a:gd name="connsiteY34" fmla="*/ 1163055 h 6212667"/>
                <a:gd name="connsiteX35" fmla="*/ 2838806 w 5842672"/>
                <a:gd name="connsiteY35" fmla="*/ 761302 h 6212667"/>
                <a:gd name="connsiteX36" fmla="*/ 1840586 w 5842672"/>
                <a:gd name="connsiteY36" fmla="*/ 1081342 h 6212667"/>
                <a:gd name="connsiteX37" fmla="*/ 831666 w 5842672"/>
                <a:gd name="connsiteY37" fmla="*/ 2111591 h 6212667"/>
                <a:gd name="connsiteX38" fmla="*/ 530331 w 5842672"/>
                <a:gd name="connsiteY38" fmla="*/ 3464807 h 6212667"/>
                <a:gd name="connsiteX39" fmla="*/ 1035657 w 5842672"/>
                <a:gd name="connsiteY39" fmla="*/ 4933546 h 6212667"/>
                <a:gd name="connsiteX40" fmla="*/ 4158712 w 5842672"/>
                <a:gd name="connsiteY40" fmla="*/ 5644651 h 6212667"/>
                <a:gd name="connsiteX41" fmla="*/ 4355408 w 5842672"/>
                <a:gd name="connsiteY41" fmla="*/ 6212667 h 6212667"/>
                <a:gd name="connsiteX42" fmla="*/ 481697 w 5842672"/>
                <a:gd name="connsiteY42" fmla="*/ 5189370 h 6212667"/>
                <a:gd name="connsiteX43" fmla="*/ 0 w 5842672"/>
                <a:gd name="connsiteY43" fmla="*/ 3281515 h 6212667"/>
                <a:gd name="connsiteX0" fmla="*/ 0 w 5842672"/>
                <a:gd name="connsiteY0" fmla="*/ 3281515 h 6212667"/>
                <a:gd name="connsiteX1" fmla="*/ 209347 w 5842672"/>
                <a:gd name="connsiteY1" fmla="*/ 2374266 h 6212667"/>
                <a:gd name="connsiteX2" fmla="*/ 176616 w 5842672"/>
                <a:gd name="connsiteY2" fmla="*/ 2331944 h 6212667"/>
                <a:gd name="connsiteX3" fmla="*/ 248873 w 5842672"/>
                <a:gd name="connsiteY3" fmla="*/ 2067448 h 6212667"/>
                <a:gd name="connsiteX4" fmla="*/ 284589 w 5842672"/>
                <a:gd name="connsiteY4" fmla="*/ 2050403 h 6212667"/>
                <a:gd name="connsiteX5" fmla="*/ 1291946 w 5842672"/>
                <a:gd name="connsiteY5" fmla="*/ 647002 h 6212667"/>
                <a:gd name="connsiteX6" fmla="*/ 1504862 w 5842672"/>
                <a:gd name="connsiteY6" fmla="*/ 547251 h 6212667"/>
                <a:gd name="connsiteX7" fmla="*/ 1484801 w 5842672"/>
                <a:gd name="connsiteY7" fmla="*/ 432260 h 6212667"/>
                <a:gd name="connsiteX8" fmla="*/ 1680566 w 5842672"/>
                <a:gd name="connsiteY8" fmla="*/ 380302 h 6212667"/>
                <a:gd name="connsiteX9" fmla="*/ 1697939 w 5842672"/>
                <a:gd name="connsiteY9" fmla="*/ 481442 h 6212667"/>
                <a:gd name="connsiteX10" fmla="*/ 1825014 w 5842672"/>
                <a:gd name="connsiteY10" fmla="*/ 442651 h 6212667"/>
                <a:gd name="connsiteX11" fmla="*/ 1855493 w 5842672"/>
                <a:gd name="connsiteY11" fmla="*/ 393463 h 6212667"/>
                <a:gd name="connsiteX12" fmla="*/ 2091380 w 5842672"/>
                <a:gd name="connsiteY12" fmla="*/ 319342 h 6212667"/>
                <a:gd name="connsiteX13" fmla="*/ 2131835 w 5842672"/>
                <a:gd name="connsiteY13" fmla="*/ 352592 h 6212667"/>
                <a:gd name="connsiteX14" fmla="*/ 2328377 w 5842672"/>
                <a:gd name="connsiteY14" fmla="*/ 288171 h 6212667"/>
                <a:gd name="connsiteX15" fmla="*/ 2287589 w 5842672"/>
                <a:gd name="connsiteY15" fmla="*/ 119840 h 6212667"/>
                <a:gd name="connsiteX16" fmla="*/ 2670832 w 5842672"/>
                <a:gd name="connsiteY16" fmla="*/ 0 h 6212667"/>
                <a:gd name="connsiteX17" fmla="*/ 2719130 w 5842672"/>
                <a:gd name="connsiteY17" fmla="*/ 165560 h 6212667"/>
                <a:gd name="connsiteX18" fmla="*/ 4482681 w 5842672"/>
                <a:gd name="connsiteY18" fmla="*/ 680900 h 6212667"/>
                <a:gd name="connsiteX19" fmla="*/ 5032811 w 5842672"/>
                <a:gd name="connsiteY19" fmla="*/ 1291242 h 6212667"/>
                <a:gd name="connsiteX20" fmla="*/ 5094215 w 5842672"/>
                <a:gd name="connsiteY20" fmla="*/ 1298860 h 6212667"/>
                <a:gd name="connsiteX21" fmla="*/ 5259056 w 5842672"/>
                <a:gd name="connsiteY21" fmla="*/ 1479661 h 6212667"/>
                <a:gd name="connsiteX22" fmla="*/ 5259279 w 5842672"/>
                <a:gd name="connsiteY22" fmla="*/ 1535080 h 6212667"/>
                <a:gd name="connsiteX23" fmla="*/ 5420543 w 5842672"/>
                <a:gd name="connsiteY23" fmla="*/ 1726990 h 6212667"/>
                <a:gd name="connsiteX24" fmla="*/ 5800531 w 5842672"/>
                <a:gd name="connsiteY24" fmla="*/ 3519512 h 6212667"/>
                <a:gd name="connsiteX25" fmla="*/ 5608452 w 5842672"/>
                <a:gd name="connsiteY25" fmla="*/ 4385669 h 6212667"/>
                <a:gd name="connsiteX26" fmla="*/ 5738668 w 5842672"/>
                <a:gd name="connsiteY26" fmla="*/ 4452156 h 6212667"/>
                <a:gd name="connsiteX27" fmla="*/ 5669219 w 5842672"/>
                <a:gd name="connsiteY27" fmla="*/ 4870077 h 6212667"/>
                <a:gd name="connsiteX28" fmla="*/ 5511690 w 5842672"/>
                <a:gd name="connsiteY28" fmla="*/ 4807792 h 6212667"/>
                <a:gd name="connsiteX29" fmla="*/ 4384427 w 5842672"/>
                <a:gd name="connsiteY29" fmla="*/ 6199821 h 6212667"/>
                <a:gd name="connsiteX30" fmla="*/ 4202126 w 5842672"/>
                <a:gd name="connsiteY30" fmla="*/ 5610934 h 6212667"/>
                <a:gd name="connsiteX31" fmla="*/ 4989092 w 5842672"/>
                <a:gd name="connsiteY31" fmla="*/ 4596953 h 6212667"/>
                <a:gd name="connsiteX32" fmla="*/ 5269141 w 5842672"/>
                <a:gd name="connsiteY32" fmla="*/ 3352779 h 6212667"/>
                <a:gd name="connsiteX33" fmla="*/ 4950325 w 5842672"/>
                <a:gd name="connsiteY33" fmla="*/ 2049487 h 6212667"/>
                <a:gd name="connsiteX34" fmla="*/ 4133072 w 5842672"/>
                <a:gd name="connsiteY34" fmla="*/ 1163055 h 6212667"/>
                <a:gd name="connsiteX35" fmla="*/ 2838806 w 5842672"/>
                <a:gd name="connsiteY35" fmla="*/ 761302 h 6212667"/>
                <a:gd name="connsiteX36" fmla="*/ 1840586 w 5842672"/>
                <a:gd name="connsiteY36" fmla="*/ 1081342 h 6212667"/>
                <a:gd name="connsiteX37" fmla="*/ 831666 w 5842672"/>
                <a:gd name="connsiteY37" fmla="*/ 2111591 h 6212667"/>
                <a:gd name="connsiteX38" fmla="*/ 530331 w 5842672"/>
                <a:gd name="connsiteY38" fmla="*/ 3464807 h 6212667"/>
                <a:gd name="connsiteX39" fmla="*/ 1035657 w 5842672"/>
                <a:gd name="connsiteY39" fmla="*/ 4933546 h 6212667"/>
                <a:gd name="connsiteX40" fmla="*/ 2340275 w 5842672"/>
                <a:gd name="connsiteY40" fmla="*/ 5224058 h 6212667"/>
                <a:gd name="connsiteX41" fmla="*/ 4158712 w 5842672"/>
                <a:gd name="connsiteY41" fmla="*/ 5644651 h 6212667"/>
                <a:gd name="connsiteX42" fmla="*/ 4355408 w 5842672"/>
                <a:gd name="connsiteY42" fmla="*/ 6212667 h 6212667"/>
                <a:gd name="connsiteX43" fmla="*/ 481697 w 5842672"/>
                <a:gd name="connsiteY43" fmla="*/ 5189370 h 6212667"/>
                <a:gd name="connsiteX44" fmla="*/ 0 w 5842672"/>
                <a:gd name="connsiteY44" fmla="*/ 3281515 h 6212667"/>
                <a:gd name="connsiteX0" fmla="*/ 0 w 5842672"/>
                <a:gd name="connsiteY0" fmla="*/ 3281515 h 6212667"/>
                <a:gd name="connsiteX1" fmla="*/ 209347 w 5842672"/>
                <a:gd name="connsiteY1" fmla="*/ 2374266 h 6212667"/>
                <a:gd name="connsiteX2" fmla="*/ 176616 w 5842672"/>
                <a:gd name="connsiteY2" fmla="*/ 2331944 h 6212667"/>
                <a:gd name="connsiteX3" fmla="*/ 248873 w 5842672"/>
                <a:gd name="connsiteY3" fmla="*/ 2067448 h 6212667"/>
                <a:gd name="connsiteX4" fmla="*/ 284589 w 5842672"/>
                <a:gd name="connsiteY4" fmla="*/ 2050403 h 6212667"/>
                <a:gd name="connsiteX5" fmla="*/ 1291946 w 5842672"/>
                <a:gd name="connsiteY5" fmla="*/ 647002 h 6212667"/>
                <a:gd name="connsiteX6" fmla="*/ 1504862 w 5842672"/>
                <a:gd name="connsiteY6" fmla="*/ 547251 h 6212667"/>
                <a:gd name="connsiteX7" fmla="*/ 1484801 w 5842672"/>
                <a:gd name="connsiteY7" fmla="*/ 432260 h 6212667"/>
                <a:gd name="connsiteX8" fmla="*/ 1680566 w 5842672"/>
                <a:gd name="connsiteY8" fmla="*/ 380302 h 6212667"/>
                <a:gd name="connsiteX9" fmla="*/ 1697939 w 5842672"/>
                <a:gd name="connsiteY9" fmla="*/ 481442 h 6212667"/>
                <a:gd name="connsiteX10" fmla="*/ 1825014 w 5842672"/>
                <a:gd name="connsiteY10" fmla="*/ 442651 h 6212667"/>
                <a:gd name="connsiteX11" fmla="*/ 1855493 w 5842672"/>
                <a:gd name="connsiteY11" fmla="*/ 393463 h 6212667"/>
                <a:gd name="connsiteX12" fmla="*/ 2091380 w 5842672"/>
                <a:gd name="connsiteY12" fmla="*/ 319342 h 6212667"/>
                <a:gd name="connsiteX13" fmla="*/ 2131835 w 5842672"/>
                <a:gd name="connsiteY13" fmla="*/ 352592 h 6212667"/>
                <a:gd name="connsiteX14" fmla="*/ 2328377 w 5842672"/>
                <a:gd name="connsiteY14" fmla="*/ 288171 h 6212667"/>
                <a:gd name="connsiteX15" fmla="*/ 2287589 w 5842672"/>
                <a:gd name="connsiteY15" fmla="*/ 119840 h 6212667"/>
                <a:gd name="connsiteX16" fmla="*/ 2670832 w 5842672"/>
                <a:gd name="connsiteY16" fmla="*/ 0 h 6212667"/>
                <a:gd name="connsiteX17" fmla="*/ 2719130 w 5842672"/>
                <a:gd name="connsiteY17" fmla="*/ 165560 h 6212667"/>
                <a:gd name="connsiteX18" fmla="*/ 4482681 w 5842672"/>
                <a:gd name="connsiteY18" fmla="*/ 680900 h 6212667"/>
                <a:gd name="connsiteX19" fmla="*/ 5032811 w 5842672"/>
                <a:gd name="connsiteY19" fmla="*/ 1291242 h 6212667"/>
                <a:gd name="connsiteX20" fmla="*/ 5094215 w 5842672"/>
                <a:gd name="connsiteY20" fmla="*/ 1298860 h 6212667"/>
                <a:gd name="connsiteX21" fmla="*/ 5259056 w 5842672"/>
                <a:gd name="connsiteY21" fmla="*/ 1479661 h 6212667"/>
                <a:gd name="connsiteX22" fmla="*/ 5259279 w 5842672"/>
                <a:gd name="connsiteY22" fmla="*/ 1535080 h 6212667"/>
                <a:gd name="connsiteX23" fmla="*/ 5420543 w 5842672"/>
                <a:gd name="connsiteY23" fmla="*/ 1726990 h 6212667"/>
                <a:gd name="connsiteX24" fmla="*/ 5800531 w 5842672"/>
                <a:gd name="connsiteY24" fmla="*/ 3519512 h 6212667"/>
                <a:gd name="connsiteX25" fmla="*/ 5608452 w 5842672"/>
                <a:gd name="connsiteY25" fmla="*/ 4385669 h 6212667"/>
                <a:gd name="connsiteX26" fmla="*/ 5738668 w 5842672"/>
                <a:gd name="connsiteY26" fmla="*/ 4452156 h 6212667"/>
                <a:gd name="connsiteX27" fmla="*/ 5669219 w 5842672"/>
                <a:gd name="connsiteY27" fmla="*/ 4870077 h 6212667"/>
                <a:gd name="connsiteX28" fmla="*/ 5511690 w 5842672"/>
                <a:gd name="connsiteY28" fmla="*/ 4807792 h 6212667"/>
                <a:gd name="connsiteX29" fmla="*/ 4384427 w 5842672"/>
                <a:gd name="connsiteY29" fmla="*/ 6199821 h 6212667"/>
                <a:gd name="connsiteX30" fmla="*/ 4202126 w 5842672"/>
                <a:gd name="connsiteY30" fmla="*/ 5610934 h 6212667"/>
                <a:gd name="connsiteX31" fmla="*/ 4989092 w 5842672"/>
                <a:gd name="connsiteY31" fmla="*/ 4596953 h 6212667"/>
                <a:gd name="connsiteX32" fmla="*/ 5269141 w 5842672"/>
                <a:gd name="connsiteY32" fmla="*/ 3352779 h 6212667"/>
                <a:gd name="connsiteX33" fmla="*/ 4950325 w 5842672"/>
                <a:gd name="connsiteY33" fmla="*/ 2049487 h 6212667"/>
                <a:gd name="connsiteX34" fmla="*/ 4133072 w 5842672"/>
                <a:gd name="connsiteY34" fmla="*/ 1163055 h 6212667"/>
                <a:gd name="connsiteX35" fmla="*/ 2838806 w 5842672"/>
                <a:gd name="connsiteY35" fmla="*/ 761302 h 6212667"/>
                <a:gd name="connsiteX36" fmla="*/ 1840586 w 5842672"/>
                <a:gd name="connsiteY36" fmla="*/ 1081342 h 6212667"/>
                <a:gd name="connsiteX37" fmla="*/ 831666 w 5842672"/>
                <a:gd name="connsiteY37" fmla="*/ 2111591 h 6212667"/>
                <a:gd name="connsiteX38" fmla="*/ 530331 w 5842672"/>
                <a:gd name="connsiteY38" fmla="*/ 3464807 h 6212667"/>
                <a:gd name="connsiteX39" fmla="*/ 1035657 w 5842672"/>
                <a:gd name="connsiteY39" fmla="*/ 4933546 h 6212667"/>
                <a:gd name="connsiteX40" fmla="*/ 2340275 w 5842672"/>
                <a:gd name="connsiteY40" fmla="*/ 5224058 h 6212667"/>
                <a:gd name="connsiteX41" fmla="*/ 4158712 w 5842672"/>
                <a:gd name="connsiteY41" fmla="*/ 5644651 h 6212667"/>
                <a:gd name="connsiteX42" fmla="*/ 4355408 w 5842672"/>
                <a:gd name="connsiteY42" fmla="*/ 6212667 h 6212667"/>
                <a:gd name="connsiteX43" fmla="*/ 2135550 w 5842672"/>
                <a:gd name="connsiteY43" fmla="*/ 5618634 h 6212667"/>
                <a:gd name="connsiteX44" fmla="*/ 481697 w 5842672"/>
                <a:gd name="connsiteY44" fmla="*/ 5189370 h 6212667"/>
                <a:gd name="connsiteX45" fmla="*/ 0 w 5842672"/>
                <a:gd name="connsiteY45" fmla="*/ 3281515 h 6212667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2340275 w 5842672"/>
                <a:gd name="connsiteY40" fmla="*/ 5224058 h 6724315"/>
                <a:gd name="connsiteX41" fmla="*/ 4158712 w 5842672"/>
                <a:gd name="connsiteY41" fmla="*/ 5644651 h 6724315"/>
                <a:gd name="connsiteX42" fmla="*/ 4355408 w 5842672"/>
                <a:gd name="connsiteY42" fmla="*/ 6212667 h 6724315"/>
                <a:gd name="connsiteX43" fmla="*/ 1898712 w 5842672"/>
                <a:gd name="connsiteY43" fmla="*/ 6724315 h 6724315"/>
                <a:gd name="connsiteX44" fmla="*/ 481697 w 5842672"/>
                <a:gd name="connsiteY44" fmla="*/ 5189370 h 6724315"/>
                <a:gd name="connsiteX45" fmla="*/ 0 w 5842672"/>
                <a:gd name="connsiteY45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4158712 w 5842672"/>
                <a:gd name="connsiteY41" fmla="*/ 5644651 h 6724315"/>
                <a:gd name="connsiteX42" fmla="*/ 4355408 w 5842672"/>
                <a:gd name="connsiteY42" fmla="*/ 6212667 h 6724315"/>
                <a:gd name="connsiteX43" fmla="*/ 1898712 w 5842672"/>
                <a:gd name="connsiteY43" fmla="*/ 6724315 h 6724315"/>
                <a:gd name="connsiteX44" fmla="*/ 481697 w 5842672"/>
                <a:gd name="connsiteY44" fmla="*/ 5189370 h 6724315"/>
                <a:gd name="connsiteX45" fmla="*/ 0 w 5842672"/>
                <a:gd name="connsiteY45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2886207 w 5842672"/>
                <a:gd name="connsiteY41" fmla="*/ 5696683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42159 w 5842672"/>
                <a:gd name="connsiteY40" fmla="*/ 5692347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42159 w 5842672"/>
                <a:gd name="connsiteY40" fmla="*/ 5692347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42159 w 5842672"/>
                <a:gd name="connsiteY40" fmla="*/ 5692347 h 6724315"/>
                <a:gd name="connsiteX41" fmla="*/ 3042761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42159 w 5842672"/>
                <a:gd name="connsiteY40" fmla="*/ 5692347 h 6724315"/>
                <a:gd name="connsiteX41" fmla="*/ 3042761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26252 w 5868924"/>
                <a:gd name="connsiteY0" fmla="*/ 3281515 h 6724315"/>
                <a:gd name="connsiteX1" fmla="*/ 235599 w 5868924"/>
                <a:gd name="connsiteY1" fmla="*/ 2374266 h 6724315"/>
                <a:gd name="connsiteX2" fmla="*/ 202868 w 5868924"/>
                <a:gd name="connsiteY2" fmla="*/ 2331944 h 6724315"/>
                <a:gd name="connsiteX3" fmla="*/ 275125 w 5868924"/>
                <a:gd name="connsiteY3" fmla="*/ 2067448 h 6724315"/>
                <a:gd name="connsiteX4" fmla="*/ 310841 w 5868924"/>
                <a:gd name="connsiteY4" fmla="*/ 2050403 h 6724315"/>
                <a:gd name="connsiteX5" fmla="*/ 1318198 w 5868924"/>
                <a:gd name="connsiteY5" fmla="*/ 647002 h 6724315"/>
                <a:gd name="connsiteX6" fmla="*/ 1531114 w 5868924"/>
                <a:gd name="connsiteY6" fmla="*/ 547251 h 6724315"/>
                <a:gd name="connsiteX7" fmla="*/ 1511053 w 5868924"/>
                <a:gd name="connsiteY7" fmla="*/ 432260 h 6724315"/>
                <a:gd name="connsiteX8" fmla="*/ 1706818 w 5868924"/>
                <a:gd name="connsiteY8" fmla="*/ 380302 h 6724315"/>
                <a:gd name="connsiteX9" fmla="*/ 1724191 w 5868924"/>
                <a:gd name="connsiteY9" fmla="*/ 481442 h 6724315"/>
                <a:gd name="connsiteX10" fmla="*/ 1851266 w 5868924"/>
                <a:gd name="connsiteY10" fmla="*/ 442651 h 6724315"/>
                <a:gd name="connsiteX11" fmla="*/ 1881745 w 5868924"/>
                <a:gd name="connsiteY11" fmla="*/ 393463 h 6724315"/>
                <a:gd name="connsiteX12" fmla="*/ 2117632 w 5868924"/>
                <a:gd name="connsiteY12" fmla="*/ 319342 h 6724315"/>
                <a:gd name="connsiteX13" fmla="*/ 2158087 w 5868924"/>
                <a:gd name="connsiteY13" fmla="*/ 352592 h 6724315"/>
                <a:gd name="connsiteX14" fmla="*/ 2354629 w 5868924"/>
                <a:gd name="connsiteY14" fmla="*/ 288171 h 6724315"/>
                <a:gd name="connsiteX15" fmla="*/ 2313841 w 5868924"/>
                <a:gd name="connsiteY15" fmla="*/ 119840 h 6724315"/>
                <a:gd name="connsiteX16" fmla="*/ 2697084 w 5868924"/>
                <a:gd name="connsiteY16" fmla="*/ 0 h 6724315"/>
                <a:gd name="connsiteX17" fmla="*/ 2745382 w 5868924"/>
                <a:gd name="connsiteY17" fmla="*/ 165560 h 6724315"/>
                <a:gd name="connsiteX18" fmla="*/ 4508933 w 5868924"/>
                <a:gd name="connsiteY18" fmla="*/ 680900 h 6724315"/>
                <a:gd name="connsiteX19" fmla="*/ 5059063 w 5868924"/>
                <a:gd name="connsiteY19" fmla="*/ 1291242 h 6724315"/>
                <a:gd name="connsiteX20" fmla="*/ 5120467 w 5868924"/>
                <a:gd name="connsiteY20" fmla="*/ 1298860 h 6724315"/>
                <a:gd name="connsiteX21" fmla="*/ 5285308 w 5868924"/>
                <a:gd name="connsiteY21" fmla="*/ 1479661 h 6724315"/>
                <a:gd name="connsiteX22" fmla="*/ 5285531 w 5868924"/>
                <a:gd name="connsiteY22" fmla="*/ 1535080 h 6724315"/>
                <a:gd name="connsiteX23" fmla="*/ 5446795 w 5868924"/>
                <a:gd name="connsiteY23" fmla="*/ 1726990 h 6724315"/>
                <a:gd name="connsiteX24" fmla="*/ 5826783 w 5868924"/>
                <a:gd name="connsiteY24" fmla="*/ 3519512 h 6724315"/>
                <a:gd name="connsiteX25" fmla="*/ 5634704 w 5868924"/>
                <a:gd name="connsiteY25" fmla="*/ 4385669 h 6724315"/>
                <a:gd name="connsiteX26" fmla="*/ 5764920 w 5868924"/>
                <a:gd name="connsiteY26" fmla="*/ 4452156 h 6724315"/>
                <a:gd name="connsiteX27" fmla="*/ 5695471 w 5868924"/>
                <a:gd name="connsiteY27" fmla="*/ 4870077 h 6724315"/>
                <a:gd name="connsiteX28" fmla="*/ 5537942 w 5868924"/>
                <a:gd name="connsiteY28" fmla="*/ 4807792 h 6724315"/>
                <a:gd name="connsiteX29" fmla="*/ 4410679 w 5868924"/>
                <a:gd name="connsiteY29" fmla="*/ 6199821 h 6724315"/>
                <a:gd name="connsiteX30" fmla="*/ 4228378 w 5868924"/>
                <a:gd name="connsiteY30" fmla="*/ 5610934 h 6724315"/>
                <a:gd name="connsiteX31" fmla="*/ 5015344 w 5868924"/>
                <a:gd name="connsiteY31" fmla="*/ 4596953 h 6724315"/>
                <a:gd name="connsiteX32" fmla="*/ 5295393 w 5868924"/>
                <a:gd name="connsiteY32" fmla="*/ 3352779 h 6724315"/>
                <a:gd name="connsiteX33" fmla="*/ 4976577 w 5868924"/>
                <a:gd name="connsiteY33" fmla="*/ 2049487 h 6724315"/>
                <a:gd name="connsiteX34" fmla="*/ 4159324 w 5868924"/>
                <a:gd name="connsiteY34" fmla="*/ 1163055 h 6724315"/>
                <a:gd name="connsiteX35" fmla="*/ 2865058 w 5868924"/>
                <a:gd name="connsiteY35" fmla="*/ 761302 h 6724315"/>
                <a:gd name="connsiteX36" fmla="*/ 1866838 w 5868924"/>
                <a:gd name="connsiteY36" fmla="*/ 1081342 h 6724315"/>
                <a:gd name="connsiteX37" fmla="*/ 857918 w 5868924"/>
                <a:gd name="connsiteY37" fmla="*/ 2111591 h 6724315"/>
                <a:gd name="connsiteX38" fmla="*/ 556583 w 5868924"/>
                <a:gd name="connsiteY38" fmla="*/ 3464807 h 6724315"/>
                <a:gd name="connsiteX39" fmla="*/ 1061909 w 5868924"/>
                <a:gd name="connsiteY39" fmla="*/ 4933546 h 6724315"/>
                <a:gd name="connsiteX40" fmla="*/ 1768411 w 5868924"/>
                <a:gd name="connsiteY40" fmla="*/ 5692347 h 6724315"/>
                <a:gd name="connsiteX41" fmla="*/ 3069013 w 5868924"/>
                <a:gd name="connsiteY41" fmla="*/ 6017548 h 6724315"/>
                <a:gd name="connsiteX42" fmla="*/ 4184964 w 5868924"/>
                <a:gd name="connsiteY42" fmla="*/ 5644651 h 6724315"/>
                <a:gd name="connsiteX43" fmla="*/ 4381660 w 5868924"/>
                <a:gd name="connsiteY43" fmla="*/ 6212667 h 6724315"/>
                <a:gd name="connsiteX44" fmla="*/ 1924964 w 5868924"/>
                <a:gd name="connsiteY44" fmla="*/ 6724315 h 6724315"/>
                <a:gd name="connsiteX45" fmla="*/ 507949 w 5868924"/>
                <a:gd name="connsiteY45" fmla="*/ 5189370 h 6724315"/>
                <a:gd name="connsiteX46" fmla="*/ 26252 w 5868924"/>
                <a:gd name="connsiteY46" fmla="*/ 3281515 h 6724315"/>
                <a:gd name="connsiteX0" fmla="*/ 31901 w 5874573"/>
                <a:gd name="connsiteY0" fmla="*/ 3281515 h 6724315"/>
                <a:gd name="connsiteX1" fmla="*/ 241248 w 5874573"/>
                <a:gd name="connsiteY1" fmla="*/ 2374266 h 6724315"/>
                <a:gd name="connsiteX2" fmla="*/ 208517 w 5874573"/>
                <a:gd name="connsiteY2" fmla="*/ 2331944 h 6724315"/>
                <a:gd name="connsiteX3" fmla="*/ 280774 w 5874573"/>
                <a:gd name="connsiteY3" fmla="*/ 2067448 h 6724315"/>
                <a:gd name="connsiteX4" fmla="*/ 316490 w 5874573"/>
                <a:gd name="connsiteY4" fmla="*/ 2050403 h 6724315"/>
                <a:gd name="connsiteX5" fmla="*/ 1323847 w 5874573"/>
                <a:gd name="connsiteY5" fmla="*/ 647002 h 6724315"/>
                <a:gd name="connsiteX6" fmla="*/ 1536763 w 5874573"/>
                <a:gd name="connsiteY6" fmla="*/ 547251 h 6724315"/>
                <a:gd name="connsiteX7" fmla="*/ 1516702 w 5874573"/>
                <a:gd name="connsiteY7" fmla="*/ 432260 h 6724315"/>
                <a:gd name="connsiteX8" fmla="*/ 1712467 w 5874573"/>
                <a:gd name="connsiteY8" fmla="*/ 380302 h 6724315"/>
                <a:gd name="connsiteX9" fmla="*/ 1729840 w 5874573"/>
                <a:gd name="connsiteY9" fmla="*/ 481442 h 6724315"/>
                <a:gd name="connsiteX10" fmla="*/ 1856915 w 5874573"/>
                <a:gd name="connsiteY10" fmla="*/ 442651 h 6724315"/>
                <a:gd name="connsiteX11" fmla="*/ 1887394 w 5874573"/>
                <a:gd name="connsiteY11" fmla="*/ 393463 h 6724315"/>
                <a:gd name="connsiteX12" fmla="*/ 2123281 w 5874573"/>
                <a:gd name="connsiteY12" fmla="*/ 319342 h 6724315"/>
                <a:gd name="connsiteX13" fmla="*/ 2163736 w 5874573"/>
                <a:gd name="connsiteY13" fmla="*/ 352592 h 6724315"/>
                <a:gd name="connsiteX14" fmla="*/ 2360278 w 5874573"/>
                <a:gd name="connsiteY14" fmla="*/ 288171 h 6724315"/>
                <a:gd name="connsiteX15" fmla="*/ 2319490 w 5874573"/>
                <a:gd name="connsiteY15" fmla="*/ 119840 h 6724315"/>
                <a:gd name="connsiteX16" fmla="*/ 2702733 w 5874573"/>
                <a:gd name="connsiteY16" fmla="*/ 0 h 6724315"/>
                <a:gd name="connsiteX17" fmla="*/ 2751031 w 5874573"/>
                <a:gd name="connsiteY17" fmla="*/ 165560 h 6724315"/>
                <a:gd name="connsiteX18" fmla="*/ 4514582 w 5874573"/>
                <a:gd name="connsiteY18" fmla="*/ 680900 h 6724315"/>
                <a:gd name="connsiteX19" fmla="*/ 5064712 w 5874573"/>
                <a:gd name="connsiteY19" fmla="*/ 1291242 h 6724315"/>
                <a:gd name="connsiteX20" fmla="*/ 5126116 w 5874573"/>
                <a:gd name="connsiteY20" fmla="*/ 1298860 h 6724315"/>
                <a:gd name="connsiteX21" fmla="*/ 5290957 w 5874573"/>
                <a:gd name="connsiteY21" fmla="*/ 1479661 h 6724315"/>
                <a:gd name="connsiteX22" fmla="*/ 5291180 w 5874573"/>
                <a:gd name="connsiteY22" fmla="*/ 1535080 h 6724315"/>
                <a:gd name="connsiteX23" fmla="*/ 5452444 w 5874573"/>
                <a:gd name="connsiteY23" fmla="*/ 1726990 h 6724315"/>
                <a:gd name="connsiteX24" fmla="*/ 5832432 w 5874573"/>
                <a:gd name="connsiteY24" fmla="*/ 3519512 h 6724315"/>
                <a:gd name="connsiteX25" fmla="*/ 5640353 w 5874573"/>
                <a:gd name="connsiteY25" fmla="*/ 4385669 h 6724315"/>
                <a:gd name="connsiteX26" fmla="*/ 5770569 w 5874573"/>
                <a:gd name="connsiteY26" fmla="*/ 4452156 h 6724315"/>
                <a:gd name="connsiteX27" fmla="*/ 5701120 w 5874573"/>
                <a:gd name="connsiteY27" fmla="*/ 4870077 h 6724315"/>
                <a:gd name="connsiteX28" fmla="*/ 5543591 w 5874573"/>
                <a:gd name="connsiteY28" fmla="*/ 4807792 h 6724315"/>
                <a:gd name="connsiteX29" fmla="*/ 4416328 w 5874573"/>
                <a:gd name="connsiteY29" fmla="*/ 6199821 h 6724315"/>
                <a:gd name="connsiteX30" fmla="*/ 4234027 w 5874573"/>
                <a:gd name="connsiteY30" fmla="*/ 5610934 h 6724315"/>
                <a:gd name="connsiteX31" fmla="*/ 5020993 w 5874573"/>
                <a:gd name="connsiteY31" fmla="*/ 4596953 h 6724315"/>
                <a:gd name="connsiteX32" fmla="*/ 5301042 w 5874573"/>
                <a:gd name="connsiteY32" fmla="*/ 3352779 h 6724315"/>
                <a:gd name="connsiteX33" fmla="*/ 4982226 w 5874573"/>
                <a:gd name="connsiteY33" fmla="*/ 2049487 h 6724315"/>
                <a:gd name="connsiteX34" fmla="*/ 4164973 w 5874573"/>
                <a:gd name="connsiteY34" fmla="*/ 1163055 h 6724315"/>
                <a:gd name="connsiteX35" fmla="*/ 2870707 w 5874573"/>
                <a:gd name="connsiteY35" fmla="*/ 761302 h 6724315"/>
                <a:gd name="connsiteX36" fmla="*/ 1872487 w 5874573"/>
                <a:gd name="connsiteY36" fmla="*/ 1081342 h 6724315"/>
                <a:gd name="connsiteX37" fmla="*/ 863567 w 5874573"/>
                <a:gd name="connsiteY37" fmla="*/ 2111591 h 6724315"/>
                <a:gd name="connsiteX38" fmla="*/ 562232 w 5874573"/>
                <a:gd name="connsiteY38" fmla="*/ 3464807 h 6724315"/>
                <a:gd name="connsiteX39" fmla="*/ 1067558 w 5874573"/>
                <a:gd name="connsiteY39" fmla="*/ 4933546 h 6724315"/>
                <a:gd name="connsiteX40" fmla="*/ 1774060 w 5874573"/>
                <a:gd name="connsiteY40" fmla="*/ 5692347 h 6724315"/>
                <a:gd name="connsiteX41" fmla="*/ 3074662 w 5874573"/>
                <a:gd name="connsiteY41" fmla="*/ 6017548 h 6724315"/>
                <a:gd name="connsiteX42" fmla="*/ 4190613 w 5874573"/>
                <a:gd name="connsiteY42" fmla="*/ 5644651 h 6724315"/>
                <a:gd name="connsiteX43" fmla="*/ 4387309 w 5874573"/>
                <a:gd name="connsiteY43" fmla="*/ 6212667 h 6724315"/>
                <a:gd name="connsiteX44" fmla="*/ 1930613 w 5874573"/>
                <a:gd name="connsiteY44" fmla="*/ 6724315 h 6724315"/>
                <a:gd name="connsiteX45" fmla="*/ 513598 w 5874573"/>
                <a:gd name="connsiteY45" fmla="*/ 5189370 h 6724315"/>
                <a:gd name="connsiteX46" fmla="*/ 31901 w 5874573"/>
                <a:gd name="connsiteY46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523257 w 5884232"/>
                <a:gd name="connsiteY45" fmla="*/ 5189370 h 6724315"/>
                <a:gd name="connsiteX46" fmla="*/ 41560 w 5884232"/>
                <a:gd name="connsiteY46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559386 w 5884232"/>
                <a:gd name="connsiteY45" fmla="*/ 5224057 h 6724315"/>
                <a:gd name="connsiteX46" fmla="*/ 523257 w 5884232"/>
                <a:gd name="connsiteY46" fmla="*/ 5189370 h 6724315"/>
                <a:gd name="connsiteX47" fmla="*/ 41560 w 5884232"/>
                <a:gd name="connsiteY47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430931 w 5884232"/>
                <a:gd name="connsiteY45" fmla="*/ 5323785 h 6724315"/>
                <a:gd name="connsiteX46" fmla="*/ 523257 w 5884232"/>
                <a:gd name="connsiteY46" fmla="*/ 5189370 h 6724315"/>
                <a:gd name="connsiteX47" fmla="*/ 41560 w 5884232"/>
                <a:gd name="connsiteY47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824904 w 5884232"/>
                <a:gd name="connsiteY45" fmla="*/ 5685517 h 6724315"/>
                <a:gd name="connsiteX46" fmla="*/ 430931 w 5884232"/>
                <a:gd name="connsiteY46" fmla="*/ 5323785 h 6724315"/>
                <a:gd name="connsiteX47" fmla="*/ 523257 w 5884232"/>
                <a:gd name="connsiteY47" fmla="*/ 5189370 h 6724315"/>
                <a:gd name="connsiteX48" fmla="*/ 41560 w 5884232"/>
                <a:gd name="connsiteY4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732703 w 5884232"/>
                <a:gd name="connsiteY45" fmla="*/ 5638146 h 6724315"/>
                <a:gd name="connsiteX46" fmla="*/ 430931 w 5884232"/>
                <a:gd name="connsiteY46" fmla="*/ 5323785 h 6724315"/>
                <a:gd name="connsiteX47" fmla="*/ 523257 w 5884232"/>
                <a:gd name="connsiteY47" fmla="*/ 5189370 h 6724315"/>
                <a:gd name="connsiteX48" fmla="*/ 41560 w 5884232"/>
                <a:gd name="connsiteY4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884834 w 5884232"/>
                <a:gd name="connsiteY45" fmla="*/ 5775272 h 6724315"/>
                <a:gd name="connsiteX46" fmla="*/ 732703 w 5884232"/>
                <a:gd name="connsiteY46" fmla="*/ 5638146 h 6724315"/>
                <a:gd name="connsiteX47" fmla="*/ 430931 w 5884232"/>
                <a:gd name="connsiteY47" fmla="*/ 5323785 h 6724315"/>
                <a:gd name="connsiteX48" fmla="*/ 523257 w 5884232"/>
                <a:gd name="connsiteY48" fmla="*/ 5189370 h 6724315"/>
                <a:gd name="connsiteX49" fmla="*/ 41560 w 5884232"/>
                <a:gd name="connsiteY4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817988 w 5884232"/>
                <a:gd name="connsiteY45" fmla="*/ 5548391 h 6724315"/>
                <a:gd name="connsiteX46" fmla="*/ 732703 w 5884232"/>
                <a:gd name="connsiteY46" fmla="*/ 5638146 h 6724315"/>
                <a:gd name="connsiteX47" fmla="*/ 430931 w 5884232"/>
                <a:gd name="connsiteY47" fmla="*/ 5323785 h 6724315"/>
                <a:gd name="connsiteX48" fmla="*/ 523257 w 5884232"/>
                <a:gd name="connsiteY48" fmla="*/ 5189370 h 6724315"/>
                <a:gd name="connsiteX49" fmla="*/ 41560 w 5884232"/>
                <a:gd name="connsiteY4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283604 w 5884232"/>
                <a:gd name="connsiteY40" fmla="*/ 5151972 h 6724315"/>
                <a:gd name="connsiteX41" fmla="*/ 1783719 w 5884232"/>
                <a:gd name="connsiteY41" fmla="*/ 5692347 h 6724315"/>
                <a:gd name="connsiteX42" fmla="*/ 3084321 w 5884232"/>
                <a:gd name="connsiteY42" fmla="*/ 6017548 h 6724315"/>
                <a:gd name="connsiteX43" fmla="*/ 4200272 w 5884232"/>
                <a:gd name="connsiteY43" fmla="*/ 5644651 h 6724315"/>
                <a:gd name="connsiteX44" fmla="*/ 4396968 w 5884232"/>
                <a:gd name="connsiteY44" fmla="*/ 6212667 h 6724315"/>
                <a:gd name="connsiteX45" fmla="*/ 1940272 w 5884232"/>
                <a:gd name="connsiteY45" fmla="*/ 6724315 h 6724315"/>
                <a:gd name="connsiteX46" fmla="*/ 817988 w 5884232"/>
                <a:gd name="connsiteY46" fmla="*/ 5548391 h 6724315"/>
                <a:gd name="connsiteX47" fmla="*/ 732703 w 5884232"/>
                <a:gd name="connsiteY47" fmla="*/ 5638146 h 6724315"/>
                <a:gd name="connsiteX48" fmla="*/ 430931 w 5884232"/>
                <a:gd name="connsiteY48" fmla="*/ 5323785 h 6724315"/>
                <a:gd name="connsiteX49" fmla="*/ 523257 w 5884232"/>
                <a:gd name="connsiteY49" fmla="*/ 5189370 h 6724315"/>
                <a:gd name="connsiteX50" fmla="*/ 41560 w 5884232"/>
                <a:gd name="connsiteY50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783719 w 5884232"/>
                <a:gd name="connsiteY41" fmla="*/ 5692347 h 6724315"/>
                <a:gd name="connsiteX42" fmla="*/ 3084321 w 5884232"/>
                <a:gd name="connsiteY42" fmla="*/ 6017548 h 6724315"/>
                <a:gd name="connsiteX43" fmla="*/ 4200272 w 5884232"/>
                <a:gd name="connsiteY43" fmla="*/ 5644651 h 6724315"/>
                <a:gd name="connsiteX44" fmla="*/ 4396968 w 5884232"/>
                <a:gd name="connsiteY44" fmla="*/ 6212667 h 6724315"/>
                <a:gd name="connsiteX45" fmla="*/ 1940272 w 5884232"/>
                <a:gd name="connsiteY45" fmla="*/ 6724315 h 6724315"/>
                <a:gd name="connsiteX46" fmla="*/ 817988 w 5884232"/>
                <a:gd name="connsiteY46" fmla="*/ 5548391 h 6724315"/>
                <a:gd name="connsiteX47" fmla="*/ 732703 w 5884232"/>
                <a:gd name="connsiteY47" fmla="*/ 5638146 h 6724315"/>
                <a:gd name="connsiteX48" fmla="*/ 430931 w 5884232"/>
                <a:gd name="connsiteY48" fmla="*/ 5323785 h 6724315"/>
                <a:gd name="connsiteX49" fmla="*/ 523257 w 5884232"/>
                <a:gd name="connsiteY49" fmla="*/ 5189370 h 6724315"/>
                <a:gd name="connsiteX50" fmla="*/ 41560 w 5884232"/>
                <a:gd name="connsiteY50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86983 w 5884232"/>
                <a:gd name="connsiteY41" fmla="*/ 5580802 h 6724315"/>
                <a:gd name="connsiteX42" fmla="*/ 1783719 w 5884232"/>
                <a:gd name="connsiteY42" fmla="*/ 5692347 h 6724315"/>
                <a:gd name="connsiteX43" fmla="*/ 3084321 w 5884232"/>
                <a:gd name="connsiteY43" fmla="*/ 6017548 h 6724315"/>
                <a:gd name="connsiteX44" fmla="*/ 4200272 w 5884232"/>
                <a:gd name="connsiteY44" fmla="*/ 5644651 h 6724315"/>
                <a:gd name="connsiteX45" fmla="*/ 4396968 w 5884232"/>
                <a:gd name="connsiteY45" fmla="*/ 6212667 h 6724315"/>
                <a:gd name="connsiteX46" fmla="*/ 1940272 w 5884232"/>
                <a:gd name="connsiteY46" fmla="*/ 6724315 h 6724315"/>
                <a:gd name="connsiteX47" fmla="*/ 817988 w 5884232"/>
                <a:gd name="connsiteY47" fmla="*/ 5548391 h 6724315"/>
                <a:gd name="connsiteX48" fmla="*/ 732703 w 5884232"/>
                <a:gd name="connsiteY48" fmla="*/ 5638146 h 6724315"/>
                <a:gd name="connsiteX49" fmla="*/ 430931 w 5884232"/>
                <a:gd name="connsiteY49" fmla="*/ 5323785 h 6724315"/>
                <a:gd name="connsiteX50" fmla="*/ 523257 w 5884232"/>
                <a:gd name="connsiteY50" fmla="*/ 5189370 h 6724315"/>
                <a:gd name="connsiteX51" fmla="*/ 41560 w 5884232"/>
                <a:gd name="connsiteY5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83719 w 5884232"/>
                <a:gd name="connsiteY42" fmla="*/ 5692347 h 6724315"/>
                <a:gd name="connsiteX43" fmla="*/ 3084321 w 5884232"/>
                <a:gd name="connsiteY43" fmla="*/ 6017548 h 6724315"/>
                <a:gd name="connsiteX44" fmla="*/ 4200272 w 5884232"/>
                <a:gd name="connsiteY44" fmla="*/ 5644651 h 6724315"/>
                <a:gd name="connsiteX45" fmla="*/ 4396968 w 5884232"/>
                <a:gd name="connsiteY45" fmla="*/ 6212667 h 6724315"/>
                <a:gd name="connsiteX46" fmla="*/ 1940272 w 5884232"/>
                <a:gd name="connsiteY46" fmla="*/ 6724315 h 6724315"/>
                <a:gd name="connsiteX47" fmla="*/ 817988 w 5884232"/>
                <a:gd name="connsiteY47" fmla="*/ 5548391 h 6724315"/>
                <a:gd name="connsiteX48" fmla="*/ 732703 w 5884232"/>
                <a:gd name="connsiteY48" fmla="*/ 5638146 h 6724315"/>
                <a:gd name="connsiteX49" fmla="*/ 430931 w 5884232"/>
                <a:gd name="connsiteY49" fmla="*/ 5323785 h 6724315"/>
                <a:gd name="connsiteX50" fmla="*/ 523257 w 5884232"/>
                <a:gd name="connsiteY50" fmla="*/ 5189370 h 6724315"/>
                <a:gd name="connsiteX51" fmla="*/ 41560 w 5884232"/>
                <a:gd name="connsiteY5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35389 w 5884232"/>
                <a:gd name="connsiteY42" fmla="*/ 5605735 h 6724315"/>
                <a:gd name="connsiteX43" fmla="*/ 1783719 w 5884232"/>
                <a:gd name="connsiteY43" fmla="*/ 5692347 h 6724315"/>
                <a:gd name="connsiteX44" fmla="*/ 3084321 w 5884232"/>
                <a:gd name="connsiteY44" fmla="*/ 6017548 h 6724315"/>
                <a:gd name="connsiteX45" fmla="*/ 4200272 w 5884232"/>
                <a:gd name="connsiteY45" fmla="*/ 5644651 h 6724315"/>
                <a:gd name="connsiteX46" fmla="*/ 4396968 w 5884232"/>
                <a:gd name="connsiteY46" fmla="*/ 6212667 h 6724315"/>
                <a:gd name="connsiteX47" fmla="*/ 1940272 w 5884232"/>
                <a:gd name="connsiteY47" fmla="*/ 6724315 h 6724315"/>
                <a:gd name="connsiteX48" fmla="*/ 817988 w 5884232"/>
                <a:gd name="connsiteY48" fmla="*/ 5548391 h 6724315"/>
                <a:gd name="connsiteX49" fmla="*/ 732703 w 5884232"/>
                <a:gd name="connsiteY49" fmla="*/ 5638146 h 6724315"/>
                <a:gd name="connsiteX50" fmla="*/ 430931 w 5884232"/>
                <a:gd name="connsiteY50" fmla="*/ 5323785 h 6724315"/>
                <a:gd name="connsiteX51" fmla="*/ 523257 w 5884232"/>
                <a:gd name="connsiteY51" fmla="*/ 5189370 h 6724315"/>
                <a:gd name="connsiteX52" fmla="*/ 41560 w 5884232"/>
                <a:gd name="connsiteY52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783719 w 5884232"/>
                <a:gd name="connsiteY43" fmla="*/ 5692347 h 6724315"/>
                <a:gd name="connsiteX44" fmla="*/ 3084321 w 5884232"/>
                <a:gd name="connsiteY44" fmla="*/ 6017548 h 6724315"/>
                <a:gd name="connsiteX45" fmla="*/ 4200272 w 5884232"/>
                <a:gd name="connsiteY45" fmla="*/ 5644651 h 6724315"/>
                <a:gd name="connsiteX46" fmla="*/ 4396968 w 5884232"/>
                <a:gd name="connsiteY46" fmla="*/ 6212667 h 6724315"/>
                <a:gd name="connsiteX47" fmla="*/ 1940272 w 5884232"/>
                <a:gd name="connsiteY47" fmla="*/ 6724315 h 6724315"/>
                <a:gd name="connsiteX48" fmla="*/ 817988 w 5884232"/>
                <a:gd name="connsiteY48" fmla="*/ 5548391 h 6724315"/>
                <a:gd name="connsiteX49" fmla="*/ 732703 w 5884232"/>
                <a:gd name="connsiteY49" fmla="*/ 5638146 h 6724315"/>
                <a:gd name="connsiteX50" fmla="*/ 430931 w 5884232"/>
                <a:gd name="connsiteY50" fmla="*/ 5323785 h 6724315"/>
                <a:gd name="connsiteX51" fmla="*/ 523257 w 5884232"/>
                <a:gd name="connsiteY51" fmla="*/ 5189370 h 6724315"/>
                <a:gd name="connsiteX52" fmla="*/ 41560 w 5884232"/>
                <a:gd name="connsiteY52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744609 w 5884232"/>
                <a:gd name="connsiteY43" fmla="*/ 5618200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817988 w 5884232"/>
                <a:gd name="connsiteY49" fmla="*/ 5548391 h 6724315"/>
                <a:gd name="connsiteX50" fmla="*/ 732703 w 5884232"/>
                <a:gd name="connsiteY50" fmla="*/ 5638146 h 6724315"/>
                <a:gd name="connsiteX51" fmla="*/ 430931 w 5884232"/>
                <a:gd name="connsiteY51" fmla="*/ 5323785 h 6724315"/>
                <a:gd name="connsiteX52" fmla="*/ 523257 w 5884232"/>
                <a:gd name="connsiteY52" fmla="*/ 5189370 h 6724315"/>
                <a:gd name="connsiteX53" fmla="*/ 41560 w 5884232"/>
                <a:gd name="connsiteY53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817988 w 5884232"/>
                <a:gd name="connsiteY49" fmla="*/ 5548391 h 6724315"/>
                <a:gd name="connsiteX50" fmla="*/ 732703 w 5884232"/>
                <a:gd name="connsiteY50" fmla="*/ 5638146 h 6724315"/>
                <a:gd name="connsiteX51" fmla="*/ 430931 w 5884232"/>
                <a:gd name="connsiteY51" fmla="*/ 5323785 h 6724315"/>
                <a:gd name="connsiteX52" fmla="*/ 523257 w 5884232"/>
                <a:gd name="connsiteY52" fmla="*/ 5189370 h 6724315"/>
                <a:gd name="connsiteX53" fmla="*/ 41560 w 5884232"/>
                <a:gd name="connsiteY53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013916 w 5884232"/>
                <a:gd name="connsiteY49" fmla="*/ 5755327 h 6724315"/>
                <a:gd name="connsiteX50" fmla="*/ 817988 w 5884232"/>
                <a:gd name="connsiteY50" fmla="*/ 5548391 h 6724315"/>
                <a:gd name="connsiteX51" fmla="*/ 732703 w 5884232"/>
                <a:gd name="connsiteY51" fmla="*/ 5638146 h 6724315"/>
                <a:gd name="connsiteX52" fmla="*/ 430931 w 5884232"/>
                <a:gd name="connsiteY52" fmla="*/ 5323785 h 6724315"/>
                <a:gd name="connsiteX53" fmla="*/ 523257 w 5884232"/>
                <a:gd name="connsiteY53" fmla="*/ 5189370 h 6724315"/>
                <a:gd name="connsiteX54" fmla="*/ 41560 w 5884232"/>
                <a:gd name="connsiteY54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013916 w 5884232"/>
                <a:gd name="connsiteY50" fmla="*/ 5755327 h 6724315"/>
                <a:gd name="connsiteX51" fmla="*/ 817988 w 5884232"/>
                <a:gd name="connsiteY51" fmla="*/ 5548391 h 6724315"/>
                <a:gd name="connsiteX52" fmla="*/ 732703 w 5884232"/>
                <a:gd name="connsiteY52" fmla="*/ 5638146 h 6724315"/>
                <a:gd name="connsiteX53" fmla="*/ 430931 w 5884232"/>
                <a:gd name="connsiteY53" fmla="*/ 5323785 h 6724315"/>
                <a:gd name="connsiteX54" fmla="*/ 523257 w 5884232"/>
                <a:gd name="connsiteY54" fmla="*/ 5189370 h 6724315"/>
                <a:gd name="connsiteX55" fmla="*/ 41560 w 5884232"/>
                <a:gd name="connsiteY55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30588 w 5884232"/>
                <a:gd name="connsiteY50" fmla="*/ 5977221 h 6724315"/>
                <a:gd name="connsiteX51" fmla="*/ 1013916 w 5884232"/>
                <a:gd name="connsiteY51" fmla="*/ 5755327 h 6724315"/>
                <a:gd name="connsiteX52" fmla="*/ 817988 w 5884232"/>
                <a:gd name="connsiteY52" fmla="*/ 5548391 h 6724315"/>
                <a:gd name="connsiteX53" fmla="*/ 732703 w 5884232"/>
                <a:gd name="connsiteY53" fmla="*/ 5638146 h 6724315"/>
                <a:gd name="connsiteX54" fmla="*/ 430931 w 5884232"/>
                <a:gd name="connsiteY54" fmla="*/ 5323785 h 6724315"/>
                <a:gd name="connsiteX55" fmla="*/ 523257 w 5884232"/>
                <a:gd name="connsiteY55" fmla="*/ 5189370 h 6724315"/>
                <a:gd name="connsiteX56" fmla="*/ 41560 w 5884232"/>
                <a:gd name="connsiteY56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32893 w 5884232"/>
                <a:gd name="connsiteY50" fmla="*/ 6032071 h 6724315"/>
                <a:gd name="connsiteX51" fmla="*/ 1013916 w 5884232"/>
                <a:gd name="connsiteY51" fmla="*/ 5755327 h 6724315"/>
                <a:gd name="connsiteX52" fmla="*/ 817988 w 5884232"/>
                <a:gd name="connsiteY52" fmla="*/ 5548391 h 6724315"/>
                <a:gd name="connsiteX53" fmla="*/ 732703 w 5884232"/>
                <a:gd name="connsiteY53" fmla="*/ 5638146 h 6724315"/>
                <a:gd name="connsiteX54" fmla="*/ 430931 w 5884232"/>
                <a:gd name="connsiteY54" fmla="*/ 5323785 h 6724315"/>
                <a:gd name="connsiteX55" fmla="*/ 523257 w 5884232"/>
                <a:gd name="connsiteY55" fmla="*/ 5189370 h 6724315"/>
                <a:gd name="connsiteX56" fmla="*/ 41560 w 5884232"/>
                <a:gd name="connsiteY56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32893 w 5884232"/>
                <a:gd name="connsiteY50" fmla="*/ 6032071 h 6724315"/>
                <a:gd name="connsiteX51" fmla="*/ 1039271 w 5884232"/>
                <a:gd name="connsiteY51" fmla="*/ 5790231 h 6724315"/>
                <a:gd name="connsiteX52" fmla="*/ 1013916 w 5884232"/>
                <a:gd name="connsiteY52" fmla="*/ 5755327 h 6724315"/>
                <a:gd name="connsiteX53" fmla="*/ 817988 w 5884232"/>
                <a:gd name="connsiteY53" fmla="*/ 5548391 h 6724315"/>
                <a:gd name="connsiteX54" fmla="*/ 732703 w 5884232"/>
                <a:gd name="connsiteY54" fmla="*/ 5638146 h 6724315"/>
                <a:gd name="connsiteX55" fmla="*/ 430931 w 5884232"/>
                <a:gd name="connsiteY55" fmla="*/ 5323785 h 6724315"/>
                <a:gd name="connsiteX56" fmla="*/ 523257 w 5884232"/>
                <a:gd name="connsiteY56" fmla="*/ 5189370 h 6724315"/>
                <a:gd name="connsiteX57" fmla="*/ 41560 w 5884232"/>
                <a:gd name="connsiteY57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32893 w 5884232"/>
                <a:gd name="connsiteY50" fmla="*/ 6032071 h 6724315"/>
                <a:gd name="connsiteX51" fmla="*/ 1000086 w 5884232"/>
                <a:gd name="connsiteY51" fmla="*/ 5782751 h 6724315"/>
                <a:gd name="connsiteX52" fmla="*/ 1013916 w 5884232"/>
                <a:gd name="connsiteY52" fmla="*/ 5755327 h 6724315"/>
                <a:gd name="connsiteX53" fmla="*/ 817988 w 5884232"/>
                <a:gd name="connsiteY53" fmla="*/ 5548391 h 6724315"/>
                <a:gd name="connsiteX54" fmla="*/ 732703 w 5884232"/>
                <a:gd name="connsiteY54" fmla="*/ 5638146 h 6724315"/>
                <a:gd name="connsiteX55" fmla="*/ 430931 w 5884232"/>
                <a:gd name="connsiteY55" fmla="*/ 5323785 h 6724315"/>
                <a:gd name="connsiteX56" fmla="*/ 523257 w 5884232"/>
                <a:gd name="connsiteY56" fmla="*/ 5189370 h 6724315"/>
                <a:gd name="connsiteX57" fmla="*/ 41560 w 5884232"/>
                <a:gd name="connsiteY57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22789 w 5884232"/>
                <a:gd name="connsiteY50" fmla="*/ 6089415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66585 w 5884232"/>
                <a:gd name="connsiteY50" fmla="*/ 6176678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66585 w 5884232"/>
                <a:gd name="connsiteY50" fmla="*/ 6176678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189098 w 5884232"/>
                <a:gd name="connsiteY50" fmla="*/ 6081936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189098 w 5884232"/>
                <a:gd name="connsiteY50" fmla="*/ 6081936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81298 w 5884232"/>
                <a:gd name="connsiteY50" fmla="*/ 6114348 h 6724315"/>
                <a:gd name="connsiteX51" fmla="*/ 1189098 w 5884232"/>
                <a:gd name="connsiteY51" fmla="*/ 6081936 h 6724315"/>
                <a:gd name="connsiteX52" fmla="*/ 1232893 w 5884232"/>
                <a:gd name="connsiteY52" fmla="*/ 6032071 h 6724315"/>
                <a:gd name="connsiteX53" fmla="*/ 1000086 w 5884232"/>
                <a:gd name="connsiteY53" fmla="*/ 5782751 h 6724315"/>
                <a:gd name="connsiteX54" fmla="*/ 1013916 w 5884232"/>
                <a:gd name="connsiteY54" fmla="*/ 5755327 h 6724315"/>
                <a:gd name="connsiteX55" fmla="*/ 817988 w 5884232"/>
                <a:gd name="connsiteY55" fmla="*/ 5548391 h 6724315"/>
                <a:gd name="connsiteX56" fmla="*/ 732703 w 5884232"/>
                <a:gd name="connsiteY56" fmla="*/ 5638146 h 6724315"/>
                <a:gd name="connsiteX57" fmla="*/ 430931 w 5884232"/>
                <a:gd name="connsiteY57" fmla="*/ 5323785 h 6724315"/>
                <a:gd name="connsiteX58" fmla="*/ 523257 w 5884232"/>
                <a:gd name="connsiteY58" fmla="*/ 5189370 h 6724315"/>
                <a:gd name="connsiteX59" fmla="*/ 41560 w 5884232"/>
                <a:gd name="connsiteY5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99739 w 5884232"/>
                <a:gd name="connsiteY50" fmla="*/ 6201610 h 6724315"/>
                <a:gd name="connsiteX51" fmla="*/ 1189098 w 5884232"/>
                <a:gd name="connsiteY51" fmla="*/ 6081936 h 6724315"/>
                <a:gd name="connsiteX52" fmla="*/ 1232893 w 5884232"/>
                <a:gd name="connsiteY52" fmla="*/ 6032071 h 6724315"/>
                <a:gd name="connsiteX53" fmla="*/ 1000086 w 5884232"/>
                <a:gd name="connsiteY53" fmla="*/ 5782751 h 6724315"/>
                <a:gd name="connsiteX54" fmla="*/ 1013916 w 5884232"/>
                <a:gd name="connsiteY54" fmla="*/ 5755327 h 6724315"/>
                <a:gd name="connsiteX55" fmla="*/ 817988 w 5884232"/>
                <a:gd name="connsiteY55" fmla="*/ 5548391 h 6724315"/>
                <a:gd name="connsiteX56" fmla="*/ 732703 w 5884232"/>
                <a:gd name="connsiteY56" fmla="*/ 5638146 h 6724315"/>
                <a:gd name="connsiteX57" fmla="*/ 430931 w 5884232"/>
                <a:gd name="connsiteY57" fmla="*/ 5323785 h 6724315"/>
                <a:gd name="connsiteX58" fmla="*/ 523257 w 5884232"/>
                <a:gd name="connsiteY58" fmla="*/ 5189370 h 6724315"/>
                <a:gd name="connsiteX59" fmla="*/ 41560 w 5884232"/>
                <a:gd name="connsiteY5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99739 w 5884232"/>
                <a:gd name="connsiteY50" fmla="*/ 6201610 h 6724315"/>
                <a:gd name="connsiteX51" fmla="*/ 1189098 w 5884232"/>
                <a:gd name="connsiteY51" fmla="*/ 6081936 h 6724315"/>
                <a:gd name="connsiteX52" fmla="*/ 1232893 w 5884232"/>
                <a:gd name="connsiteY52" fmla="*/ 6032071 h 6724315"/>
                <a:gd name="connsiteX53" fmla="*/ 1000086 w 5884232"/>
                <a:gd name="connsiteY53" fmla="*/ 5782751 h 6724315"/>
                <a:gd name="connsiteX54" fmla="*/ 1013916 w 5884232"/>
                <a:gd name="connsiteY54" fmla="*/ 5755327 h 6724315"/>
                <a:gd name="connsiteX55" fmla="*/ 817988 w 5884232"/>
                <a:gd name="connsiteY55" fmla="*/ 5548391 h 6724315"/>
                <a:gd name="connsiteX56" fmla="*/ 732703 w 5884232"/>
                <a:gd name="connsiteY56" fmla="*/ 5638146 h 6724315"/>
                <a:gd name="connsiteX57" fmla="*/ 430931 w 5884232"/>
                <a:gd name="connsiteY57" fmla="*/ 5323785 h 6724315"/>
                <a:gd name="connsiteX58" fmla="*/ 523257 w 5884232"/>
                <a:gd name="connsiteY58" fmla="*/ 5189370 h 6724315"/>
                <a:gd name="connsiteX59" fmla="*/ 41560 w 5884232"/>
                <a:gd name="connsiteY5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48145 w 5884232"/>
                <a:gd name="connsiteY50" fmla="*/ 6174185 h 6724315"/>
                <a:gd name="connsiteX51" fmla="*/ 1299739 w 5884232"/>
                <a:gd name="connsiteY51" fmla="*/ 6201610 h 6724315"/>
                <a:gd name="connsiteX52" fmla="*/ 1189098 w 5884232"/>
                <a:gd name="connsiteY52" fmla="*/ 6081936 h 6724315"/>
                <a:gd name="connsiteX53" fmla="*/ 1232893 w 5884232"/>
                <a:gd name="connsiteY53" fmla="*/ 6032071 h 6724315"/>
                <a:gd name="connsiteX54" fmla="*/ 1000086 w 5884232"/>
                <a:gd name="connsiteY54" fmla="*/ 5782751 h 6724315"/>
                <a:gd name="connsiteX55" fmla="*/ 1013916 w 5884232"/>
                <a:gd name="connsiteY55" fmla="*/ 5755327 h 6724315"/>
                <a:gd name="connsiteX56" fmla="*/ 817988 w 5884232"/>
                <a:gd name="connsiteY56" fmla="*/ 5548391 h 6724315"/>
                <a:gd name="connsiteX57" fmla="*/ 732703 w 5884232"/>
                <a:gd name="connsiteY57" fmla="*/ 5638146 h 6724315"/>
                <a:gd name="connsiteX58" fmla="*/ 430931 w 5884232"/>
                <a:gd name="connsiteY58" fmla="*/ 5323785 h 6724315"/>
                <a:gd name="connsiteX59" fmla="*/ 523257 w 5884232"/>
                <a:gd name="connsiteY59" fmla="*/ 5189370 h 6724315"/>
                <a:gd name="connsiteX60" fmla="*/ 41560 w 5884232"/>
                <a:gd name="connsiteY60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45840 w 5884232"/>
                <a:gd name="connsiteY50" fmla="*/ 6151747 h 6724315"/>
                <a:gd name="connsiteX51" fmla="*/ 1299739 w 5884232"/>
                <a:gd name="connsiteY51" fmla="*/ 6201610 h 6724315"/>
                <a:gd name="connsiteX52" fmla="*/ 1189098 w 5884232"/>
                <a:gd name="connsiteY52" fmla="*/ 6081936 h 6724315"/>
                <a:gd name="connsiteX53" fmla="*/ 1232893 w 5884232"/>
                <a:gd name="connsiteY53" fmla="*/ 6032071 h 6724315"/>
                <a:gd name="connsiteX54" fmla="*/ 1000086 w 5884232"/>
                <a:gd name="connsiteY54" fmla="*/ 5782751 h 6724315"/>
                <a:gd name="connsiteX55" fmla="*/ 1013916 w 5884232"/>
                <a:gd name="connsiteY55" fmla="*/ 5755327 h 6724315"/>
                <a:gd name="connsiteX56" fmla="*/ 817988 w 5884232"/>
                <a:gd name="connsiteY56" fmla="*/ 5548391 h 6724315"/>
                <a:gd name="connsiteX57" fmla="*/ 732703 w 5884232"/>
                <a:gd name="connsiteY57" fmla="*/ 5638146 h 6724315"/>
                <a:gd name="connsiteX58" fmla="*/ 430931 w 5884232"/>
                <a:gd name="connsiteY58" fmla="*/ 5323785 h 6724315"/>
                <a:gd name="connsiteX59" fmla="*/ 523257 w 5884232"/>
                <a:gd name="connsiteY59" fmla="*/ 5189370 h 6724315"/>
                <a:gd name="connsiteX60" fmla="*/ 41560 w 5884232"/>
                <a:gd name="connsiteY60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80415 w 5884232"/>
                <a:gd name="connsiteY50" fmla="*/ 6151746 h 6724315"/>
                <a:gd name="connsiteX51" fmla="*/ 1345840 w 5884232"/>
                <a:gd name="connsiteY51" fmla="*/ 6151747 h 6724315"/>
                <a:gd name="connsiteX52" fmla="*/ 1299739 w 5884232"/>
                <a:gd name="connsiteY52" fmla="*/ 6201610 h 6724315"/>
                <a:gd name="connsiteX53" fmla="*/ 1189098 w 5884232"/>
                <a:gd name="connsiteY53" fmla="*/ 6081936 h 6724315"/>
                <a:gd name="connsiteX54" fmla="*/ 1232893 w 5884232"/>
                <a:gd name="connsiteY54" fmla="*/ 6032071 h 6724315"/>
                <a:gd name="connsiteX55" fmla="*/ 1000086 w 5884232"/>
                <a:gd name="connsiteY55" fmla="*/ 5782751 h 6724315"/>
                <a:gd name="connsiteX56" fmla="*/ 1013916 w 5884232"/>
                <a:gd name="connsiteY56" fmla="*/ 5755327 h 6724315"/>
                <a:gd name="connsiteX57" fmla="*/ 817988 w 5884232"/>
                <a:gd name="connsiteY57" fmla="*/ 5548391 h 6724315"/>
                <a:gd name="connsiteX58" fmla="*/ 732703 w 5884232"/>
                <a:gd name="connsiteY58" fmla="*/ 5638146 h 6724315"/>
                <a:gd name="connsiteX59" fmla="*/ 430931 w 5884232"/>
                <a:gd name="connsiteY59" fmla="*/ 5323785 h 6724315"/>
                <a:gd name="connsiteX60" fmla="*/ 523257 w 5884232"/>
                <a:gd name="connsiteY60" fmla="*/ 5189370 h 6724315"/>
                <a:gd name="connsiteX61" fmla="*/ 41560 w 5884232"/>
                <a:gd name="connsiteY6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71195 w 5884232"/>
                <a:gd name="connsiteY50" fmla="*/ 6184157 h 6724315"/>
                <a:gd name="connsiteX51" fmla="*/ 1345840 w 5884232"/>
                <a:gd name="connsiteY51" fmla="*/ 6151747 h 6724315"/>
                <a:gd name="connsiteX52" fmla="*/ 1299739 w 5884232"/>
                <a:gd name="connsiteY52" fmla="*/ 6201610 h 6724315"/>
                <a:gd name="connsiteX53" fmla="*/ 1189098 w 5884232"/>
                <a:gd name="connsiteY53" fmla="*/ 6081936 h 6724315"/>
                <a:gd name="connsiteX54" fmla="*/ 1232893 w 5884232"/>
                <a:gd name="connsiteY54" fmla="*/ 6032071 h 6724315"/>
                <a:gd name="connsiteX55" fmla="*/ 1000086 w 5884232"/>
                <a:gd name="connsiteY55" fmla="*/ 5782751 h 6724315"/>
                <a:gd name="connsiteX56" fmla="*/ 1013916 w 5884232"/>
                <a:gd name="connsiteY56" fmla="*/ 5755327 h 6724315"/>
                <a:gd name="connsiteX57" fmla="*/ 817988 w 5884232"/>
                <a:gd name="connsiteY57" fmla="*/ 5548391 h 6724315"/>
                <a:gd name="connsiteX58" fmla="*/ 732703 w 5884232"/>
                <a:gd name="connsiteY58" fmla="*/ 5638146 h 6724315"/>
                <a:gd name="connsiteX59" fmla="*/ 430931 w 5884232"/>
                <a:gd name="connsiteY59" fmla="*/ 5323785 h 6724315"/>
                <a:gd name="connsiteX60" fmla="*/ 523257 w 5884232"/>
                <a:gd name="connsiteY60" fmla="*/ 5189370 h 6724315"/>
                <a:gd name="connsiteX61" fmla="*/ 41560 w 5884232"/>
                <a:gd name="connsiteY6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71195 w 5884232"/>
                <a:gd name="connsiteY50" fmla="*/ 6184157 h 6724315"/>
                <a:gd name="connsiteX51" fmla="*/ 1345840 w 5884232"/>
                <a:gd name="connsiteY51" fmla="*/ 6151747 h 6724315"/>
                <a:gd name="connsiteX52" fmla="*/ 1304349 w 5884232"/>
                <a:gd name="connsiteY52" fmla="*/ 6209090 h 6724315"/>
                <a:gd name="connsiteX53" fmla="*/ 1189098 w 5884232"/>
                <a:gd name="connsiteY53" fmla="*/ 6081936 h 6724315"/>
                <a:gd name="connsiteX54" fmla="*/ 1232893 w 5884232"/>
                <a:gd name="connsiteY54" fmla="*/ 6032071 h 6724315"/>
                <a:gd name="connsiteX55" fmla="*/ 1000086 w 5884232"/>
                <a:gd name="connsiteY55" fmla="*/ 5782751 h 6724315"/>
                <a:gd name="connsiteX56" fmla="*/ 1013916 w 5884232"/>
                <a:gd name="connsiteY56" fmla="*/ 5755327 h 6724315"/>
                <a:gd name="connsiteX57" fmla="*/ 817988 w 5884232"/>
                <a:gd name="connsiteY57" fmla="*/ 5548391 h 6724315"/>
                <a:gd name="connsiteX58" fmla="*/ 732703 w 5884232"/>
                <a:gd name="connsiteY58" fmla="*/ 5638146 h 6724315"/>
                <a:gd name="connsiteX59" fmla="*/ 430931 w 5884232"/>
                <a:gd name="connsiteY59" fmla="*/ 5323785 h 6724315"/>
                <a:gd name="connsiteX60" fmla="*/ 523257 w 5884232"/>
                <a:gd name="connsiteY60" fmla="*/ 5189370 h 6724315"/>
                <a:gd name="connsiteX61" fmla="*/ 41560 w 5884232"/>
                <a:gd name="connsiteY6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85024 w 5884232"/>
                <a:gd name="connsiteY49" fmla="*/ 6164212 h 6724315"/>
                <a:gd name="connsiteX50" fmla="*/ 1371195 w 5884232"/>
                <a:gd name="connsiteY50" fmla="*/ 6184157 h 6724315"/>
                <a:gd name="connsiteX51" fmla="*/ 1345840 w 5884232"/>
                <a:gd name="connsiteY51" fmla="*/ 6151747 h 6724315"/>
                <a:gd name="connsiteX52" fmla="*/ 1304349 w 5884232"/>
                <a:gd name="connsiteY52" fmla="*/ 6209090 h 6724315"/>
                <a:gd name="connsiteX53" fmla="*/ 1189098 w 5884232"/>
                <a:gd name="connsiteY53" fmla="*/ 6081936 h 6724315"/>
                <a:gd name="connsiteX54" fmla="*/ 1232893 w 5884232"/>
                <a:gd name="connsiteY54" fmla="*/ 6032071 h 6724315"/>
                <a:gd name="connsiteX55" fmla="*/ 1000086 w 5884232"/>
                <a:gd name="connsiteY55" fmla="*/ 5782751 h 6724315"/>
                <a:gd name="connsiteX56" fmla="*/ 1013916 w 5884232"/>
                <a:gd name="connsiteY56" fmla="*/ 5755327 h 6724315"/>
                <a:gd name="connsiteX57" fmla="*/ 817988 w 5884232"/>
                <a:gd name="connsiteY57" fmla="*/ 5548391 h 6724315"/>
                <a:gd name="connsiteX58" fmla="*/ 732703 w 5884232"/>
                <a:gd name="connsiteY58" fmla="*/ 5638146 h 6724315"/>
                <a:gd name="connsiteX59" fmla="*/ 430931 w 5884232"/>
                <a:gd name="connsiteY59" fmla="*/ 5323785 h 6724315"/>
                <a:gd name="connsiteX60" fmla="*/ 523257 w 5884232"/>
                <a:gd name="connsiteY60" fmla="*/ 5189370 h 6724315"/>
                <a:gd name="connsiteX61" fmla="*/ 41560 w 5884232"/>
                <a:gd name="connsiteY6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509496 w 5884232"/>
                <a:gd name="connsiteY49" fmla="*/ 6283886 h 6724315"/>
                <a:gd name="connsiteX50" fmla="*/ 1385024 w 5884232"/>
                <a:gd name="connsiteY50" fmla="*/ 6164212 h 6724315"/>
                <a:gd name="connsiteX51" fmla="*/ 1371195 w 5884232"/>
                <a:gd name="connsiteY51" fmla="*/ 6184157 h 6724315"/>
                <a:gd name="connsiteX52" fmla="*/ 1345840 w 5884232"/>
                <a:gd name="connsiteY52" fmla="*/ 6151747 h 6724315"/>
                <a:gd name="connsiteX53" fmla="*/ 1304349 w 5884232"/>
                <a:gd name="connsiteY53" fmla="*/ 6209090 h 6724315"/>
                <a:gd name="connsiteX54" fmla="*/ 1189098 w 5884232"/>
                <a:gd name="connsiteY54" fmla="*/ 6081936 h 6724315"/>
                <a:gd name="connsiteX55" fmla="*/ 1232893 w 5884232"/>
                <a:gd name="connsiteY55" fmla="*/ 6032071 h 6724315"/>
                <a:gd name="connsiteX56" fmla="*/ 1000086 w 5884232"/>
                <a:gd name="connsiteY56" fmla="*/ 5782751 h 6724315"/>
                <a:gd name="connsiteX57" fmla="*/ 1013916 w 5884232"/>
                <a:gd name="connsiteY57" fmla="*/ 5755327 h 6724315"/>
                <a:gd name="connsiteX58" fmla="*/ 817988 w 5884232"/>
                <a:gd name="connsiteY58" fmla="*/ 5548391 h 6724315"/>
                <a:gd name="connsiteX59" fmla="*/ 732703 w 5884232"/>
                <a:gd name="connsiteY59" fmla="*/ 5638146 h 6724315"/>
                <a:gd name="connsiteX60" fmla="*/ 430931 w 5884232"/>
                <a:gd name="connsiteY60" fmla="*/ 5323785 h 6724315"/>
                <a:gd name="connsiteX61" fmla="*/ 523257 w 5884232"/>
                <a:gd name="connsiteY61" fmla="*/ 5189370 h 6724315"/>
                <a:gd name="connsiteX62" fmla="*/ 41560 w 5884232"/>
                <a:gd name="connsiteY62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541767 w 5884232"/>
                <a:gd name="connsiteY49" fmla="*/ 6338736 h 6724315"/>
                <a:gd name="connsiteX50" fmla="*/ 1385024 w 5884232"/>
                <a:gd name="connsiteY50" fmla="*/ 6164212 h 6724315"/>
                <a:gd name="connsiteX51" fmla="*/ 1371195 w 5884232"/>
                <a:gd name="connsiteY51" fmla="*/ 6184157 h 6724315"/>
                <a:gd name="connsiteX52" fmla="*/ 1345840 w 5884232"/>
                <a:gd name="connsiteY52" fmla="*/ 6151747 h 6724315"/>
                <a:gd name="connsiteX53" fmla="*/ 1304349 w 5884232"/>
                <a:gd name="connsiteY53" fmla="*/ 6209090 h 6724315"/>
                <a:gd name="connsiteX54" fmla="*/ 1189098 w 5884232"/>
                <a:gd name="connsiteY54" fmla="*/ 6081936 h 6724315"/>
                <a:gd name="connsiteX55" fmla="*/ 1232893 w 5884232"/>
                <a:gd name="connsiteY55" fmla="*/ 6032071 h 6724315"/>
                <a:gd name="connsiteX56" fmla="*/ 1000086 w 5884232"/>
                <a:gd name="connsiteY56" fmla="*/ 5782751 h 6724315"/>
                <a:gd name="connsiteX57" fmla="*/ 1013916 w 5884232"/>
                <a:gd name="connsiteY57" fmla="*/ 5755327 h 6724315"/>
                <a:gd name="connsiteX58" fmla="*/ 817988 w 5884232"/>
                <a:gd name="connsiteY58" fmla="*/ 5548391 h 6724315"/>
                <a:gd name="connsiteX59" fmla="*/ 732703 w 5884232"/>
                <a:gd name="connsiteY59" fmla="*/ 5638146 h 6724315"/>
                <a:gd name="connsiteX60" fmla="*/ 430931 w 5884232"/>
                <a:gd name="connsiteY60" fmla="*/ 5323785 h 6724315"/>
                <a:gd name="connsiteX61" fmla="*/ 523257 w 5884232"/>
                <a:gd name="connsiteY61" fmla="*/ 5189370 h 6724315"/>
                <a:gd name="connsiteX62" fmla="*/ 41560 w 5884232"/>
                <a:gd name="connsiteY62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620137 w 5884232"/>
                <a:gd name="connsiteY49" fmla="*/ 6413532 h 6724315"/>
                <a:gd name="connsiteX50" fmla="*/ 1541767 w 5884232"/>
                <a:gd name="connsiteY50" fmla="*/ 6338736 h 6724315"/>
                <a:gd name="connsiteX51" fmla="*/ 1385024 w 5884232"/>
                <a:gd name="connsiteY51" fmla="*/ 6164212 h 6724315"/>
                <a:gd name="connsiteX52" fmla="*/ 1371195 w 5884232"/>
                <a:gd name="connsiteY52" fmla="*/ 6184157 h 6724315"/>
                <a:gd name="connsiteX53" fmla="*/ 1345840 w 5884232"/>
                <a:gd name="connsiteY53" fmla="*/ 6151747 h 6724315"/>
                <a:gd name="connsiteX54" fmla="*/ 1304349 w 5884232"/>
                <a:gd name="connsiteY54" fmla="*/ 6209090 h 6724315"/>
                <a:gd name="connsiteX55" fmla="*/ 1189098 w 5884232"/>
                <a:gd name="connsiteY55" fmla="*/ 6081936 h 6724315"/>
                <a:gd name="connsiteX56" fmla="*/ 1232893 w 5884232"/>
                <a:gd name="connsiteY56" fmla="*/ 6032071 h 6724315"/>
                <a:gd name="connsiteX57" fmla="*/ 1000086 w 5884232"/>
                <a:gd name="connsiteY57" fmla="*/ 5782751 h 6724315"/>
                <a:gd name="connsiteX58" fmla="*/ 1013916 w 5884232"/>
                <a:gd name="connsiteY58" fmla="*/ 5755327 h 6724315"/>
                <a:gd name="connsiteX59" fmla="*/ 817988 w 5884232"/>
                <a:gd name="connsiteY59" fmla="*/ 5548391 h 6724315"/>
                <a:gd name="connsiteX60" fmla="*/ 732703 w 5884232"/>
                <a:gd name="connsiteY60" fmla="*/ 5638146 h 6724315"/>
                <a:gd name="connsiteX61" fmla="*/ 430931 w 5884232"/>
                <a:gd name="connsiteY61" fmla="*/ 5323785 h 6724315"/>
                <a:gd name="connsiteX62" fmla="*/ 523257 w 5884232"/>
                <a:gd name="connsiteY62" fmla="*/ 5189370 h 6724315"/>
                <a:gd name="connsiteX63" fmla="*/ 41560 w 5884232"/>
                <a:gd name="connsiteY63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578647 w 5884232"/>
                <a:gd name="connsiteY49" fmla="*/ 6346215 h 6724315"/>
                <a:gd name="connsiteX50" fmla="*/ 1541767 w 5884232"/>
                <a:gd name="connsiteY50" fmla="*/ 6338736 h 6724315"/>
                <a:gd name="connsiteX51" fmla="*/ 1385024 w 5884232"/>
                <a:gd name="connsiteY51" fmla="*/ 6164212 h 6724315"/>
                <a:gd name="connsiteX52" fmla="*/ 1371195 w 5884232"/>
                <a:gd name="connsiteY52" fmla="*/ 6184157 h 6724315"/>
                <a:gd name="connsiteX53" fmla="*/ 1345840 w 5884232"/>
                <a:gd name="connsiteY53" fmla="*/ 6151747 h 6724315"/>
                <a:gd name="connsiteX54" fmla="*/ 1304349 w 5884232"/>
                <a:gd name="connsiteY54" fmla="*/ 6209090 h 6724315"/>
                <a:gd name="connsiteX55" fmla="*/ 1189098 w 5884232"/>
                <a:gd name="connsiteY55" fmla="*/ 6081936 h 6724315"/>
                <a:gd name="connsiteX56" fmla="*/ 1232893 w 5884232"/>
                <a:gd name="connsiteY56" fmla="*/ 6032071 h 6724315"/>
                <a:gd name="connsiteX57" fmla="*/ 1000086 w 5884232"/>
                <a:gd name="connsiteY57" fmla="*/ 5782751 h 6724315"/>
                <a:gd name="connsiteX58" fmla="*/ 1013916 w 5884232"/>
                <a:gd name="connsiteY58" fmla="*/ 5755327 h 6724315"/>
                <a:gd name="connsiteX59" fmla="*/ 817988 w 5884232"/>
                <a:gd name="connsiteY59" fmla="*/ 5548391 h 6724315"/>
                <a:gd name="connsiteX60" fmla="*/ 732703 w 5884232"/>
                <a:gd name="connsiteY60" fmla="*/ 5638146 h 6724315"/>
                <a:gd name="connsiteX61" fmla="*/ 430931 w 5884232"/>
                <a:gd name="connsiteY61" fmla="*/ 5323785 h 6724315"/>
                <a:gd name="connsiteX62" fmla="*/ 523257 w 5884232"/>
                <a:gd name="connsiteY62" fmla="*/ 5189370 h 6724315"/>
                <a:gd name="connsiteX63" fmla="*/ 41560 w 5884232"/>
                <a:gd name="connsiteY63" fmla="*/ 3281515 h 6724315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1928747 w 5884232"/>
                <a:gd name="connsiteY48" fmla="*/ 6734288 h 6734288"/>
                <a:gd name="connsiteX49" fmla="*/ 1578647 w 5884232"/>
                <a:gd name="connsiteY49" fmla="*/ 6346215 h 6734288"/>
                <a:gd name="connsiteX50" fmla="*/ 1541767 w 5884232"/>
                <a:gd name="connsiteY50" fmla="*/ 6338736 h 6734288"/>
                <a:gd name="connsiteX51" fmla="*/ 1385024 w 5884232"/>
                <a:gd name="connsiteY51" fmla="*/ 6164212 h 6734288"/>
                <a:gd name="connsiteX52" fmla="*/ 1371195 w 5884232"/>
                <a:gd name="connsiteY52" fmla="*/ 6184157 h 6734288"/>
                <a:gd name="connsiteX53" fmla="*/ 1345840 w 5884232"/>
                <a:gd name="connsiteY53" fmla="*/ 6151747 h 6734288"/>
                <a:gd name="connsiteX54" fmla="*/ 1304349 w 5884232"/>
                <a:gd name="connsiteY54" fmla="*/ 6209090 h 6734288"/>
                <a:gd name="connsiteX55" fmla="*/ 1189098 w 5884232"/>
                <a:gd name="connsiteY55" fmla="*/ 6081936 h 6734288"/>
                <a:gd name="connsiteX56" fmla="*/ 1232893 w 5884232"/>
                <a:gd name="connsiteY56" fmla="*/ 6032071 h 6734288"/>
                <a:gd name="connsiteX57" fmla="*/ 1000086 w 5884232"/>
                <a:gd name="connsiteY57" fmla="*/ 5782751 h 6734288"/>
                <a:gd name="connsiteX58" fmla="*/ 1013916 w 5884232"/>
                <a:gd name="connsiteY58" fmla="*/ 5755327 h 6734288"/>
                <a:gd name="connsiteX59" fmla="*/ 817988 w 5884232"/>
                <a:gd name="connsiteY59" fmla="*/ 5548391 h 6734288"/>
                <a:gd name="connsiteX60" fmla="*/ 732703 w 5884232"/>
                <a:gd name="connsiteY60" fmla="*/ 5638146 h 6734288"/>
                <a:gd name="connsiteX61" fmla="*/ 430931 w 5884232"/>
                <a:gd name="connsiteY61" fmla="*/ 5323785 h 6734288"/>
                <a:gd name="connsiteX62" fmla="*/ 523257 w 5884232"/>
                <a:gd name="connsiteY62" fmla="*/ 5189370 h 6734288"/>
                <a:gd name="connsiteX63" fmla="*/ 41560 w 5884232"/>
                <a:gd name="connsiteY63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800310 w 5884232"/>
                <a:gd name="connsiteY48" fmla="*/ 6545671 h 6734288"/>
                <a:gd name="connsiteX49" fmla="*/ 1928747 w 5884232"/>
                <a:gd name="connsiteY49" fmla="*/ 6734288 h 6734288"/>
                <a:gd name="connsiteX50" fmla="*/ 1578647 w 5884232"/>
                <a:gd name="connsiteY50" fmla="*/ 6346215 h 6734288"/>
                <a:gd name="connsiteX51" fmla="*/ 1541767 w 5884232"/>
                <a:gd name="connsiteY51" fmla="*/ 6338736 h 6734288"/>
                <a:gd name="connsiteX52" fmla="*/ 1385024 w 5884232"/>
                <a:gd name="connsiteY52" fmla="*/ 6164212 h 6734288"/>
                <a:gd name="connsiteX53" fmla="*/ 1371195 w 5884232"/>
                <a:gd name="connsiteY53" fmla="*/ 6184157 h 6734288"/>
                <a:gd name="connsiteX54" fmla="*/ 1345840 w 5884232"/>
                <a:gd name="connsiteY54" fmla="*/ 6151747 h 6734288"/>
                <a:gd name="connsiteX55" fmla="*/ 1304349 w 5884232"/>
                <a:gd name="connsiteY55" fmla="*/ 6209090 h 6734288"/>
                <a:gd name="connsiteX56" fmla="*/ 1189098 w 5884232"/>
                <a:gd name="connsiteY56" fmla="*/ 6081936 h 6734288"/>
                <a:gd name="connsiteX57" fmla="*/ 1232893 w 5884232"/>
                <a:gd name="connsiteY57" fmla="*/ 6032071 h 6734288"/>
                <a:gd name="connsiteX58" fmla="*/ 1000086 w 5884232"/>
                <a:gd name="connsiteY58" fmla="*/ 5782751 h 6734288"/>
                <a:gd name="connsiteX59" fmla="*/ 1013916 w 5884232"/>
                <a:gd name="connsiteY59" fmla="*/ 5755327 h 6734288"/>
                <a:gd name="connsiteX60" fmla="*/ 817988 w 5884232"/>
                <a:gd name="connsiteY60" fmla="*/ 5548391 h 6734288"/>
                <a:gd name="connsiteX61" fmla="*/ 732703 w 5884232"/>
                <a:gd name="connsiteY61" fmla="*/ 5638146 h 6734288"/>
                <a:gd name="connsiteX62" fmla="*/ 430931 w 5884232"/>
                <a:gd name="connsiteY62" fmla="*/ 5323785 h 6734288"/>
                <a:gd name="connsiteX63" fmla="*/ 523257 w 5884232"/>
                <a:gd name="connsiteY63" fmla="*/ 5189370 h 6734288"/>
                <a:gd name="connsiteX64" fmla="*/ 41560 w 5884232"/>
                <a:gd name="connsiteY64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615908 w 5884232"/>
                <a:gd name="connsiteY48" fmla="*/ 6593043 h 6734288"/>
                <a:gd name="connsiteX49" fmla="*/ 1928747 w 5884232"/>
                <a:gd name="connsiteY49" fmla="*/ 6734288 h 6734288"/>
                <a:gd name="connsiteX50" fmla="*/ 1578647 w 5884232"/>
                <a:gd name="connsiteY50" fmla="*/ 6346215 h 6734288"/>
                <a:gd name="connsiteX51" fmla="*/ 1541767 w 5884232"/>
                <a:gd name="connsiteY51" fmla="*/ 6338736 h 6734288"/>
                <a:gd name="connsiteX52" fmla="*/ 1385024 w 5884232"/>
                <a:gd name="connsiteY52" fmla="*/ 6164212 h 6734288"/>
                <a:gd name="connsiteX53" fmla="*/ 1371195 w 5884232"/>
                <a:gd name="connsiteY53" fmla="*/ 6184157 h 6734288"/>
                <a:gd name="connsiteX54" fmla="*/ 1345840 w 5884232"/>
                <a:gd name="connsiteY54" fmla="*/ 6151747 h 6734288"/>
                <a:gd name="connsiteX55" fmla="*/ 1304349 w 5884232"/>
                <a:gd name="connsiteY55" fmla="*/ 6209090 h 6734288"/>
                <a:gd name="connsiteX56" fmla="*/ 1189098 w 5884232"/>
                <a:gd name="connsiteY56" fmla="*/ 6081936 h 6734288"/>
                <a:gd name="connsiteX57" fmla="*/ 1232893 w 5884232"/>
                <a:gd name="connsiteY57" fmla="*/ 6032071 h 6734288"/>
                <a:gd name="connsiteX58" fmla="*/ 1000086 w 5884232"/>
                <a:gd name="connsiteY58" fmla="*/ 5782751 h 6734288"/>
                <a:gd name="connsiteX59" fmla="*/ 1013916 w 5884232"/>
                <a:gd name="connsiteY59" fmla="*/ 5755327 h 6734288"/>
                <a:gd name="connsiteX60" fmla="*/ 817988 w 5884232"/>
                <a:gd name="connsiteY60" fmla="*/ 5548391 h 6734288"/>
                <a:gd name="connsiteX61" fmla="*/ 732703 w 5884232"/>
                <a:gd name="connsiteY61" fmla="*/ 5638146 h 6734288"/>
                <a:gd name="connsiteX62" fmla="*/ 430931 w 5884232"/>
                <a:gd name="connsiteY62" fmla="*/ 5323785 h 6734288"/>
                <a:gd name="connsiteX63" fmla="*/ 523257 w 5884232"/>
                <a:gd name="connsiteY63" fmla="*/ 5189370 h 6734288"/>
                <a:gd name="connsiteX64" fmla="*/ 41560 w 5884232"/>
                <a:gd name="connsiteY64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611297 w 5884232"/>
                <a:gd name="connsiteY48" fmla="*/ 6590550 h 6734288"/>
                <a:gd name="connsiteX49" fmla="*/ 1928747 w 5884232"/>
                <a:gd name="connsiteY49" fmla="*/ 6734288 h 6734288"/>
                <a:gd name="connsiteX50" fmla="*/ 1578647 w 5884232"/>
                <a:gd name="connsiteY50" fmla="*/ 6346215 h 6734288"/>
                <a:gd name="connsiteX51" fmla="*/ 1541767 w 5884232"/>
                <a:gd name="connsiteY51" fmla="*/ 6338736 h 6734288"/>
                <a:gd name="connsiteX52" fmla="*/ 1385024 w 5884232"/>
                <a:gd name="connsiteY52" fmla="*/ 6164212 h 6734288"/>
                <a:gd name="connsiteX53" fmla="*/ 1371195 w 5884232"/>
                <a:gd name="connsiteY53" fmla="*/ 6184157 h 6734288"/>
                <a:gd name="connsiteX54" fmla="*/ 1345840 w 5884232"/>
                <a:gd name="connsiteY54" fmla="*/ 6151747 h 6734288"/>
                <a:gd name="connsiteX55" fmla="*/ 1304349 w 5884232"/>
                <a:gd name="connsiteY55" fmla="*/ 6209090 h 6734288"/>
                <a:gd name="connsiteX56" fmla="*/ 1189098 w 5884232"/>
                <a:gd name="connsiteY56" fmla="*/ 6081936 h 6734288"/>
                <a:gd name="connsiteX57" fmla="*/ 1232893 w 5884232"/>
                <a:gd name="connsiteY57" fmla="*/ 6032071 h 6734288"/>
                <a:gd name="connsiteX58" fmla="*/ 1000086 w 5884232"/>
                <a:gd name="connsiteY58" fmla="*/ 5782751 h 6734288"/>
                <a:gd name="connsiteX59" fmla="*/ 1013916 w 5884232"/>
                <a:gd name="connsiteY59" fmla="*/ 5755327 h 6734288"/>
                <a:gd name="connsiteX60" fmla="*/ 817988 w 5884232"/>
                <a:gd name="connsiteY60" fmla="*/ 5548391 h 6734288"/>
                <a:gd name="connsiteX61" fmla="*/ 732703 w 5884232"/>
                <a:gd name="connsiteY61" fmla="*/ 5638146 h 6734288"/>
                <a:gd name="connsiteX62" fmla="*/ 430931 w 5884232"/>
                <a:gd name="connsiteY62" fmla="*/ 5323785 h 6734288"/>
                <a:gd name="connsiteX63" fmla="*/ 523257 w 5884232"/>
                <a:gd name="connsiteY63" fmla="*/ 5189370 h 6734288"/>
                <a:gd name="connsiteX64" fmla="*/ 41560 w 5884232"/>
                <a:gd name="connsiteY64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779565 w 5884232"/>
                <a:gd name="connsiteY48" fmla="*/ 6555643 h 6734288"/>
                <a:gd name="connsiteX49" fmla="*/ 2611297 w 5884232"/>
                <a:gd name="connsiteY49" fmla="*/ 6590550 h 6734288"/>
                <a:gd name="connsiteX50" fmla="*/ 1928747 w 5884232"/>
                <a:gd name="connsiteY50" fmla="*/ 6734288 h 6734288"/>
                <a:gd name="connsiteX51" fmla="*/ 1578647 w 5884232"/>
                <a:gd name="connsiteY51" fmla="*/ 6346215 h 6734288"/>
                <a:gd name="connsiteX52" fmla="*/ 1541767 w 5884232"/>
                <a:gd name="connsiteY52" fmla="*/ 6338736 h 6734288"/>
                <a:gd name="connsiteX53" fmla="*/ 1385024 w 5884232"/>
                <a:gd name="connsiteY53" fmla="*/ 6164212 h 6734288"/>
                <a:gd name="connsiteX54" fmla="*/ 1371195 w 5884232"/>
                <a:gd name="connsiteY54" fmla="*/ 6184157 h 6734288"/>
                <a:gd name="connsiteX55" fmla="*/ 1345840 w 5884232"/>
                <a:gd name="connsiteY55" fmla="*/ 6151747 h 6734288"/>
                <a:gd name="connsiteX56" fmla="*/ 1304349 w 5884232"/>
                <a:gd name="connsiteY56" fmla="*/ 6209090 h 6734288"/>
                <a:gd name="connsiteX57" fmla="*/ 1189098 w 5884232"/>
                <a:gd name="connsiteY57" fmla="*/ 6081936 h 6734288"/>
                <a:gd name="connsiteX58" fmla="*/ 1232893 w 5884232"/>
                <a:gd name="connsiteY58" fmla="*/ 6032071 h 6734288"/>
                <a:gd name="connsiteX59" fmla="*/ 1000086 w 5884232"/>
                <a:gd name="connsiteY59" fmla="*/ 5782751 h 6734288"/>
                <a:gd name="connsiteX60" fmla="*/ 1013916 w 5884232"/>
                <a:gd name="connsiteY60" fmla="*/ 5755327 h 6734288"/>
                <a:gd name="connsiteX61" fmla="*/ 817988 w 5884232"/>
                <a:gd name="connsiteY61" fmla="*/ 5548391 h 6734288"/>
                <a:gd name="connsiteX62" fmla="*/ 732703 w 5884232"/>
                <a:gd name="connsiteY62" fmla="*/ 5638146 h 6734288"/>
                <a:gd name="connsiteX63" fmla="*/ 430931 w 5884232"/>
                <a:gd name="connsiteY63" fmla="*/ 5323785 h 6734288"/>
                <a:gd name="connsiteX64" fmla="*/ 523257 w 5884232"/>
                <a:gd name="connsiteY64" fmla="*/ 5189370 h 6734288"/>
                <a:gd name="connsiteX65" fmla="*/ 41560 w 5884232"/>
                <a:gd name="connsiteY65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689669 w 5884232"/>
                <a:gd name="connsiteY48" fmla="*/ 6682796 h 6734288"/>
                <a:gd name="connsiteX49" fmla="*/ 2611297 w 5884232"/>
                <a:gd name="connsiteY49" fmla="*/ 6590550 h 6734288"/>
                <a:gd name="connsiteX50" fmla="*/ 1928747 w 5884232"/>
                <a:gd name="connsiteY50" fmla="*/ 6734288 h 6734288"/>
                <a:gd name="connsiteX51" fmla="*/ 1578647 w 5884232"/>
                <a:gd name="connsiteY51" fmla="*/ 6346215 h 6734288"/>
                <a:gd name="connsiteX52" fmla="*/ 1541767 w 5884232"/>
                <a:gd name="connsiteY52" fmla="*/ 6338736 h 6734288"/>
                <a:gd name="connsiteX53" fmla="*/ 1385024 w 5884232"/>
                <a:gd name="connsiteY53" fmla="*/ 6164212 h 6734288"/>
                <a:gd name="connsiteX54" fmla="*/ 1371195 w 5884232"/>
                <a:gd name="connsiteY54" fmla="*/ 6184157 h 6734288"/>
                <a:gd name="connsiteX55" fmla="*/ 1345840 w 5884232"/>
                <a:gd name="connsiteY55" fmla="*/ 6151747 h 6734288"/>
                <a:gd name="connsiteX56" fmla="*/ 1304349 w 5884232"/>
                <a:gd name="connsiteY56" fmla="*/ 6209090 h 6734288"/>
                <a:gd name="connsiteX57" fmla="*/ 1189098 w 5884232"/>
                <a:gd name="connsiteY57" fmla="*/ 6081936 h 6734288"/>
                <a:gd name="connsiteX58" fmla="*/ 1232893 w 5884232"/>
                <a:gd name="connsiteY58" fmla="*/ 6032071 h 6734288"/>
                <a:gd name="connsiteX59" fmla="*/ 1000086 w 5884232"/>
                <a:gd name="connsiteY59" fmla="*/ 5782751 h 6734288"/>
                <a:gd name="connsiteX60" fmla="*/ 1013916 w 5884232"/>
                <a:gd name="connsiteY60" fmla="*/ 5755327 h 6734288"/>
                <a:gd name="connsiteX61" fmla="*/ 817988 w 5884232"/>
                <a:gd name="connsiteY61" fmla="*/ 5548391 h 6734288"/>
                <a:gd name="connsiteX62" fmla="*/ 732703 w 5884232"/>
                <a:gd name="connsiteY62" fmla="*/ 5638146 h 6734288"/>
                <a:gd name="connsiteX63" fmla="*/ 430931 w 5884232"/>
                <a:gd name="connsiteY63" fmla="*/ 5323785 h 6734288"/>
                <a:gd name="connsiteX64" fmla="*/ 523257 w 5884232"/>
                <a:gd name="connsiteY64" fmla="*/ 5189370 h 6734288"/>
                <a:gd name="connsiteX65" fmla="*/ 41560 w 5884232"/>
                <a:gd name="connsiteY65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344296 w 5884232"/>
                <a:gd name="connsiteY48" fmla="*/ 6500793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76913 w 5884232"/>
                <a:gd name="connsiteY48" fmla="*/ 6657865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949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206546 w 5884232"/>
                <a:gd name="connsiteY40" fmla="*/ 5094818 h 6734288"/>
                <a:gd name="connsiteX41" fmla="*/ 1548682 w 5884232"/>
                <a:gd name="connsiteY41" fmla="*/ 5436198 h 6734288"/>
                <a:gd name="connsiteX42" fmla="*/ 1610916 w 5884232"/>
                <a:gd name="connsiteY42" fmla="*/ 5418743 h 6734288"/>
                <a:gd name="connsiteX43" fmla="*/ 1714643 w 5884232"/>
                <a:gd name="connsiteY43" fmla="*/ 5533432 h 6734288"/>
                <a:gd name="connsiteX44" fmla="*/ 1693898 w 5884232"/>
                <a:gd name="connsiteY44" fmla="*/ 5598255 h 6734288"/>
                <a:gd name="connsiteX45" fmla="*/ 1783719 w 5884232"/>
                <a:gd name="connsiteY45" fmla="*/ 5692347 h 6734288"/>
                <a:gd name="connsiteX46" fmla="*/ 3084321 w 5884232"/>
                <a:gd name="connsiteY46" fmla="*/ 6017548 h 6734288"/>
                <a:gd name="connsiteX47" fmla="*/ 4209492 w 5884232"/>
                <a:gd name="connsiteY47" fmla="*/ 5644651 h 6734288"/>
                <a:gd name="connsiteX48" fmla="*/ 4406189 w 5884232"/>
                <a:gd name="connsiteY48" fmla="*/ 6217653 h 6734288"/>
                <a:gd name="connsiteX49" fmla="*/ 3067693 w 5884232"/>
                <a:gd name="connsiteY49" fmla="*/ 6660358 h 6734288"/>
                <a:gd name="connsiteX50" fmla="*/ 2689669 w 5884232"/>
                <a:gd name="connsiteY50" fmla="*/ 6682796 h 6734288"/>
                <a:gd name="connsiteX51" fmla="*/ 2611297 w 5884232"/>
                <a:gd name="connsiteY51" fmla="*/ 6590550 h 6734288"/>
                <a:gd name="connsiteX52" fmla="*/ 1928747 w 5884232"/>
                <a:gd name="connsiteY52" fmla="*/ 6734288 h 6734288"/>
                <a:gd name="connsiteX53" fmla="*/ 1578647 w 5884232"/>
                <a:gd name="connsiteY53" fmla="*/ 6346215 h 6734288"/>
                <a:gd name="connsiteX54" fmla="*/ 1541767 w 5884232"/>
                <a:gd name="connsiteY54" fmla="*/ 6338736 h 6734288"/>
                <a:gd name="connsiteX55" fmla="*/ 1385024 w 5884232"/>
                <a:gd name="connsiteY55" fmla="*/ 6164212 h 6734288"/>
                <a:gd name="connsiteX56" fmla="*/ 1371195 w 5884232"/>
                <a:gd name="connsiteY56" fmla="*/ 6184157 h 6734288"/>
                <a:gd name="connsiteX57" fmla="*/ 1345840 w 5884232"/>
                <a:gd name="connsiteY57" fmla="*/ 6151747 h 6734288"/>
                <a:gd name="connsiteX58" fmla="*/ 1304349 w 5884232"/>
                <a:gd name="connsiteY58" fmla="*/ 6209090 h 6734288"/>
                <a:gd name="connsiteX59" fmla="*/ 1189098 w 5884232"/>
                <a:gd name="connsiteY59" fmla="*/ 6081936 h 6734288"/>
                <a:gd name="connsiteX60" fmla="*/ 1232893 w 5884232"/>
                <a:gd name="connsiteY60" fmla="*/ 6032071 h 6734288"/>
                <a:gd name="connsiteX61" fmla="*/ 1000086 w 5884232"/>
                <a:gd name="connsiteY61" fmla="*/ 5782751 h 6734288"/>
                <a:gd name="connsiteX62" fmla="*/ 1013916 w 5884232"/>
                <a:gd name="connsiteY62" fmla="*/ 5755327 h 6734288"/>
                <a:gd name="connsiteX63" fmla="*/ 817988 w 5884232"/>
                <a:gd name="connsiteY63" fmla="*/ 5548391 h 6734288"/>
                <a:gd name="connsiteX64" fmla="*/ 732703 w 5884232"/>
                <a:gd name="connsiteY64" fmla="*/ 5638146 h 6734288"/>
                <a:gd name="connsiteX65" fmla="*/ 430931 w 5884232"/>
                <a:gd name="connsiteY65" fmla="*/ 5323785 h 6734288"/>
                <a:gd name="connsiteX66" fmla="*/ 523257 w 5884232"/>
                <a:gd name="connsiteY66" fmla="*/ 5189370 h 6734288"/>
                <a:gd name="connsiteX67" fmla="*/ 41560 w 5884232"/>
                <a:gd name="connsiteY67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206546 w 5884232"/>
                <a:gd name="connsiteY40" fmla="*/ 5094818 h 6734288"/>
                <a:gd name="connsiteX41" fmla="*/ 1548682 w 5884232"/>
                <a:gd name="connsiteY41" fmla="*/ 5436198 h 6734288"/>
                <a:gd name="connsiteX42" fmla="*/ 1610916 w 5884232"/>
                <a:gd name="connsiteY42" fmla="*/ 5418743 h 6734288"/>
                <a:gd name="connsiteX43" fmla="*/ 1714643 w 5884232"/>
                <a:gd name="connsiteY43" fmla="*/ 5533432 h 6734288"/>
                <a:gd name="connsiteX44" fmla="*/ 1693898 w 5884232"/>
                <a:gd name="connsiteY44" fmla="*/ 5598255 h 6734288"/>
                <a:gd name="connsiteX45" fmla="*/ 1783719 w 5884232"/>
                <a:gd name="connsiteY45" fmla="*/ 5692347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206546 w 5884232"/>
                <a:gd name="connsiteY40" fmla="*/ 5094818 h 6734288"/>
                <a:gd name="connsiteX41" fmla="*/ 1548682 w 5884232"/>
                <a:gd name="connsiteY41" fmla="*/ 5436198 h 6734288"/>
                <a:gd name="connsiteX42" fmla="*/ 1610916 w 5884232"/>
                <a:gd name="connsiteY42" fmla="*/ 5418743 h 6734288"/>
                <a:gd name="connsiteX43" fmla="*/ 1714643 w 5884232"/>
                <a:gd name="connsiteY43" fmla="*/ 5533432 h 6734288"/>
                <a:gd name="connsiteX44" fmla="*/ 1693898 w 5884232"/>
                <a:gd name="connsiteY44" fmla="*/ 5598255 h 6734288"/>
                <a:gd name="connsiteX45" fmla="*/ 1783719 w 5884232"/>
                <a:gd name="connsiteY45" fmla="*/ 5692347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2689669 w 5884232"/>
                <a:gd name="connsiteY48" fmla="*/ 6682796 h 6734288"/>
                <a:gd name="connsiteX49" fmla="*/ 2611297 w 5884232"/>
                <a:gd name="connsiteY49" fmla="*/ 6590550 h 6734288"/>
                <a:gd name="connsiteX50" fmla="*/ 1928747 w 5884232"/>
                <a:gd name="connsiteY50" fmla="*/ 6734288 h 6734288"/>
                <a:gd name="connsiteX51" fmla="*/ 1578647 w 5884232"/>
                <a:gd name="connsiteY51" fmla="*/ 6346215 h 6734288"/>
                <a:gd name="connsiteX52" fmla="*/ 1541767 w 5884232"/>
                <a:gd name="connsiteY52" fmla="*/ 6338736 h 6734288"/>
                <a:gd name="connsiteX53" fmla="*/ 1385024 w 5884232"/>
                <a:gd name="connsiteY53" fmla="*/ 6164212 h 6734288"/>
                <a:gd name="connsiteX54" fmla="*/ 1371195 w 5884232"/>
                <a:gd name="connsiteY54" fmla="*/ 6184157 h 6734288"/>
                <a:gd name="connsiteX55" fmla="*/ 1345840 w 5884232"/>
                <a:gd name="connsiteY55" fmla="*/ 6151747 h 6734288"/>
                <a:gd name="connsiteX56" fmla="*/ 1304349 w 5884232"/>
                <a:gd name="connsiteY56" fmla="*/ 6209090 h 6734288"/>
                <a:gd name="connsiteX57" fmla="*/ 1189098 w 5884232"/>
                <a:gd name="connsiteY57" fmla="*/ 6081936 h 6734288"/>
                <a:gd name="connsiteX58" fmla="*/ 1232893 w 5884232"/>
                <a:gd name="connsiteY58" fmla="*/ 6032071 h 6734288"/>
                <a:gd name="connsiteX59" fmla="*/ 1000086 w 5884232"/>
                <a:gd name="connsiteY59" fmla="*/ 5782751 h 6734288"/>
                <a:gd name="connsiteX60" fmla="*/ 1013916 w 5884232"/>
                <a:gd name="connsiteY60" fmla="*/ 5755327 h 6734288"/>
                <a:gd name="connsiteX61" fmla="*/ 817988 w 5884232"/>
                <a:gd name="connsiteY61" fmla="*/ 5548391 h 6734288"/>
                <a:gd name="connsiteX62" fmla="*/ 732703 w 5884232"/>
                <a:gd name="connsiteY62" fmla="*/ 5638146 h 6734288"/>
                <a:gd name="connsiteX63" fmla="*/ 430931 w 5884232"/>
                <a:gd name="connsiteY63" fmla="*/ 5323785 h 6734288"/>
                <a:gd name="connsiteX64" fmla="*/ 523257 w 5884232"/>
                <a:gd name="connsiteY64" fmla="*/ 5189370 h 6734288"/>
                <a:gd name="connsiteX65" fmla="*/ 41560 w 5884232"/>
                <a:gd name="connsiteY65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206546 w 5884232"/>
                <a:gd name="connsiteY40" fmla="*/ 5094818 h 6734288"/>
                <a:gd name="connsiteX41" fmla="*/ 1548682 w 5884232"/>
                <a:gd name="connsiteY41" fmla="*/ 5436198 h 6734288"/>
                <a:gd name="connsiteX42" fmla="*/ 1610916 w 5884232"/>
                <a:gd name="connsiteY42" fmla="*/ 5418743 h 6734288"/>
                <a:gd name="connsiteX43" fmla="*/ 1714643 w 5884232"/>
                <a:gd name="connsiteY43" fmla="*/ 5533432 h 6734288"/>
                <a:gd name="connsiteX44" fmla="*/ 1693898 w 5884232"/>
                <a:gd name="connsiteY44" fmla="*/ 5598255 h 6734288"/>
                <a:gd name="connsiteX45" fmla="*/ 1783719 w 5884232"/>
                <a:gd name="connsiteY45" fmla="*/ 5692347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2611297 w 5884232"/>
                <a:gd name="connsiteY48" fmla="*/ 6590550 h 6734288"/>
                <a:gd name="connsiteX49" fmla="*/ 1928747 w 5884232"/>
                <a:gd name="connsiteY49" fmla="*/ 6734288 h 6734288"/>
                <a:gd name="connsiteX50" fmla="*/ 1578647 w 5884232"/>
                <a:gd name="connsiteY50" fmla="*/ 6346215 h 6734288"/>
                <a:gd name="connsiteX51" fmla="*/ 1541767 w 5884232"/>
                <a:gd name="connsiteY51" fmla="*/ 6338736 h 6734288"/>
                <a:gd name="connsiteX52" fmla="*/ 1385024 w 5884232"/>
                <a:gd name="connsiteY52" fmla="*/ 6164212 h 6734288"/>
                <a:gd name="connsiteX53" fmla="*/ 1371195 w 5884232"/>
                <a:gd name="connsiteY53" fmla="*/ 6184157 h 6734288"/>
                <a:gd name="connsiteX54" fmla="*/ 1345840 w 5884232"/>
                <a:gd name="connsiteY54" fmla="*/ 6151747 h 6734288"/>
                <a:gd name="connsiteX55" fmla="*/ 1304349 w 5884232"/>
                <a:gd name="connsiteY55" fmla="*/ 6209090 h 6734288"/>
                <a:gd name="connsiteX56" fmla="*/ 1189098 w 5884232"/>
                <a:gd name="connsiteY56" fmla="*/ 6081936 h 6734288"/>
                <a:gd name="connsiteX57" fmla="*/ 1232893 w 5884232"/>
                <a:gd name="connsiteY57" fmla="*/ 6032071 h 6734288"/>
                <a:gd name="connsiteX58" fmla="*/ 1000086 w 5884232"/>
                <a:gd name="connsiteY58" fmla="*/ 5782751 h 6734288"/>
                <a:gd name="connsiteX59" fmla="*/ 1013916 w 5884232"/>
                <a:gd name="connsiteY59" fmla="*/ 5755327 h 6734288"/>
                <a:gd name="connsiteX60" fmla="*/ 817988 w 5884232"/>
                <a:gd name="connsiteY60" fmla="*/ 5548391 h 6734288"/>
                <a:gd name="connsiteX61" fmla="*/ 732703 w 5884232"/>
                <a:gd name="connsiteY61" fmla="*/ 5638146 h 6734288"/>
                <a:gd name="connsiteX62" fmla="*/ 430931 w 5884232"/>
                <a:gd name="connsiteY62" fmla="*/ 5323785 h 6734288"/>
                <a:gd name="connsiteX63" fmla="*/ 523257 w 5884232"/>
                <a:gd name="connsiteY63" fmla="*/ 5189370 h 6734288"/>
                <a:gd name="connsiteX64" fmla="*/ 41560 w 5884232"/>
                <a:gd name="connsiteY64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206546 w 5884232"/>
                <a:gd name="connsiteY40" fmla="*/ 5094818 h 6734288"/>
                <a:gd name="connsiteX41" fmla="*/ 1548682 w 5884232"/>
                <a:gd name="connsiteY41" fmla="*/ 5436198 h 6734288"/>
                <a:gd name="connsiteX42" fmla="*/ 1610916 w 5884232"/>
                <a:gd name="connsiteY42" fmla="*/ 5418743 h 6734288"/>
                <a:gd name="connsiteX43" fmla="*/ 1714643 w 5884232"/>
                <a:gd name="connsiteY43" fmla="*/ 5533432 h 6734288"/>
                <a:gd name="connsiteX44" fmla="*/ 1693898 w 5884232"/>
                <a:gd name="connsiteY44" fmla="*/ 5598255 h 6734288"/>
                <a:gd name="connsiteX45" fmla="*/ 1783719 w 5884232"/>
                <a:gd name="connsiteY45" fmla="*/ 5692347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1928747 w 5884232"/>
                <a:gd name="connsiteY48" fmla="*/ 6734288 h 6734288"/>
                <a:gd name="connsiteX49" fmla="*/ 1578647 w 5884232"/>
                <a:gd name="connsiteY49" fmla="*/ 6346215 h 6734288"/>
                <a:gd name="connsiteX50" fmla="*/ 1541767 w 5884232"/>
                <a:gd name="connsiteY50" fmla="*/ 6338736 h 6734288"/>
                <a:gd name="connsiteX51" fmla="*/ 1385024 w 5884232"/>
                <a:gd name="connsiteY51" fmla="*/ 6164212 h 6734288"/>
                <a:gd name="connsiteX52" fmla="*/ 1371195 w 5884232"/>
                <a:gd name="connsiteY52" fmla="*/ 6184157 h 6734288"/>
                <a:gd name="connsiteX53" fmla="*/ 1345840 w 5884232"/>
                <a:gd name="connsiteY53" fmla="*/ 6151747 h 6734288"/>
                <a:gd name="connsiteX54" fmla="*/ 1304349 w 5884232"/>
                <a:gd name="connsiteY54" fmla="*/ 6209090 h 6734288"/>
                <a:gd name="connsiteX55" fmla="*/ 1189098 w 5884232"/>
                <a:gd name="connsiteY55" fmla="*/ 6081936 h 6734288"/>
                <a:gd name="connsiteX56" fmla="*/ 1232893 w 5884232"/>
                <a:gd name="connsiteY56" fmla="*/ 6032071 h 6734288"/>
                <a:gd name="connsiteX57" fmla="*/ 1000086 w 5884232"/>
                <a:gd name="connsiteY57" fmla="*/ 5782751 h 6734288"/>
                <a:gd name="connsiteX58" fmla="*/ 1013916 w 5884232"/>
                <a:gd name="connsiteY58" fmla="*/ 5755327 h 6734288"/>
                <a:gd name="connsiteX59" fmla="*/ 817988 w 5884232"/>
                <a:gd name="connsiteY59" fmla="*/ 5548391 h 6734288"/>
                <a:gd name="connsiteX60" fmla="*/ 732703 w 5884232"/>
                <a:gd name="connsiteY60" fmla="*/ 5638146 h 6734288"/>
                <a:gd name="connsiteX61" fmla="*/ 430931 w 5884232"/>
                <a:gd name="connsiteY61" fmla="*/ 5323785 h 6734288"/>
                <a:gd name="connsiteX62" fmla="*/ 523257 w 5884232"/>
                <a:gd name="connsiteY62" fmla="*/ 5189370 h 6734288"/>
                <a:gd name="connsiteX63" fmla="*/ 41560 w 5884232"/>
                <a:gd name="connsiteY63" fmla="*/ 3281515 h 6734288"/>
                <a:gd name="connsiteX0" fmla="*/ 41560 w 5884232"/>
                <a:gd name="connsiteY0" fmla="*/ 3281515 h 6346215"/>
                <a:gd name="connsiteX1" fmla="*/ 250907 w 5884232"/>
                <a:gd name="connsiteY1" fmla="*/ 2374266 h 6346215"/>
                <a:gd name="connsiteX2" fmla="*/ 218176 w 5884232"/>
                <a:gd name="connsiteY2" fmla="*/ 2331944 h 6346215"/>
                <a:gd name="connsiteX3" fmla="*/ 290433 w 5884232"/>
                <a:gd name="connsiteY3" fmla="*/ 2067448 h 6346215"/>
                <a:gd name="connsiteX4" fmla="*/ 326149 w 5884232"/>
                <a:gd name="connsiteY4" fmla="*/ 2050403 h 6346215"/>
                <a:gd name="connsiteX5" fmla="*/ 1333506 w 5884232"/>
                <a:gd name="connsiteY5" fmla="*/ 647002 h 6346215"/>
                <a:gd name="connsiteX6" fmla="*/ 1546422 w 5884232"/>
                <a:gd name="connsiteY6" fmla="*/ 547251 h 6346215"/>
                <a:gd name="connsiteX7" fmla="*/ 1526361 w 5884232"/>
                <a:gd name="connsiteY7" fmla="*/ 432260 h 6346215"/>
                <a:gd name="connsiteX8" fmla="*/ 1722126 w 5884232"/>
                <a:gd name="connsiteY8" fmla="*/ 380302 h 6346215"/>
                <a:gd name="connsiteX9" fmla="*/ 1739499 w 5884232"/>
                <a:gd name="connsiteY9" fmla="*/ 481442 h 6346215"/>
                <a:gd name="connsiteX10" fmla="*/ 1866574 w 5884232"/>
                <a:gd name="connsiteY10" fmla="*/ 442651 h 6346215"/>
                <a:gd name="connsiteX11" fmla="*/ 1897053 w 5884232"/>
                <a:gd name="connsiteY11" fmla="*/ 393463 h 6346215"/>
                <a:gd name="connsiteX12" fmla="*/ 2132940 w 5884232"/>
                <a:gd name="connsiteY12" fmla="*/ 319342 h 6346215"/>
                <a:gd name="connsiteX13" fmla="*/ 2173395 w 5884232"/>
                <a:gd name="connsiteY13" fmla="*/ 352592 h 6346215"/>
                <a:gd name="connsiteX14" fmla="*/ 2369937 w 5884232"/>
                <a:gd name="connsiteY14" fmla="*/ 288171 h 6346215"/>
                <a:gd name="connsiteX15" fmla="*/ 2329149 w 5884232"/>
                <a:gd name="connsiteY15" fmla="*/ 119840 h 6346215"/>
                <a:gd name="connsiteX16" fmla="*/ 2712392 w 5884232"/>
                <a:gd name="connsiteY16" fmla="*/ 0 h 6346215"/>
                <a:gd name="connsiteX17" fmla="*/ 2760690 w 5884232"/>
                <a:gd name="connsiteY17" fmla="*/ 165560 h 6346215"/>
                <a:gd name="connsiteX18" fmla="*/ 4524241 w 5884232"/>
                <a:gd name="connsiteY18" fmla="*/ 680900 h 6346215"/>
                <a:gd name="connsiteX19" fmla="*/ 5074371 w 5884232"/>
                <a:gd name="connsiteY19" fmla="*/ 1291242 h 6346215"/>
                <a:gd name="connsiteX20" fmla="*/ 5135775 w 5884232"/>
                <a:gd name="connsiteY20" fmla="*/ 1298860 h 6346215"/>
                <a:gd name="connsiteX21" fmla="*/ 5300616 w 5884232"/>
                <a:gd name="connsiteY21" fmla="*/ 1479661 h 6346215"/>
                <a:gd name="connsiteX22" fmla="*/ 5300839 w 5884232"/>
                <a:gd name="connsiteY22" fmla="*/ 1535080 h 6346215"/>
                <a:gd name="connsiteX23" fmla="*/ 5462103 w 5884232"/>
                <a:gd name="connsiteY23" fmla="*/ 1726990 h 6346215"/>
                <a:gd name="connsiteX24" fmla="*/ 5842091 w 5884232"/>
                <a:gd name="connsiteY24" fmla="*/ 3519512 h 6346215"/>
                <a:gd name="connsiteX25" fmla="*/ 5650012 w 5884232"/>
                <a:gd name="connsiteY25" fmla="*/ 4385669 h 6346215"/>
                <a:gd name="connsiteX26" fmla="*/ 5780228 w 5884232"/>
                <a:gd name="connsiteY26" fmla="*/ 4452156 h 6346215"/>
                <a:gd name="connsiteX27" fmla="*/ 5710779 w 5884232"/>
                <a:gd name="connsiteY27" fmla="*/ 4870077 h 6346215"/>
                <a:gd name="connsiteX28" fmla="*/ 5553250 w 5884232"/>
                <a:gd name="connsiteY28" fmla="*/ 4807792 h 6346215"/>
                <a:gd name="connsiteX29" fmla="*/ 4409852 w 5884232"/>
                <a:gd name="connsiteY29" fmla="*/ 6212288 h 6346215"/>
                <a:gd name="connsiteX30" fmla="*/ 4213721 w 5884232"/>
                <a:gd name="connsiteY30" fmla="*/ 5643346 h 6346215"/>
                <a:gd name="connsiteX31" fmla="*/ 5030652 w 5884232"/>
                <a:gd name="connsiteY31" fmla="*/ 4596953 h 6346215"/>
                <a:gd name="connsiteX32" fmla="*/ 5310701 w 5884232"/>
                <a:gd name="connsiteY32" fmla="*/ 3352779 h 6346215"/>
                <a:gd name="connsiteX33" fmla="*/ 4991885 w 5884232"/>
                <a:gd name="connsiteY33" fmla="*/ 2049487 h 6346215"/>
                <a:gd name="connsiteX34" fmla="*/ 4174632 w 5884232"/>
                <a:gd name="connsiteY34" fmla="*/ 1163055 h 6346215"/>
                <a:gd name="connsiteX35" fmla="*/ 2880366 w 5884232"/>
                <a:gd name="connsiteY35" fmla="*/ 761302 h 6346215"/>
                <a:gd name="connsiteX36" fmla="*/ 1882146 w 5884232"/>
                <a:gd name="connsiteY36" fmla="*/ 1081342 h 6346215"/>
                <a:gd name="connsiteX37" fmla="*/ 873226 w 5884232"/>
                <a:gd name="connsiteY37" fmla="*/ 2111591 h 6346215"/>
                <a:gd name="connsiteX38" fmla="*/ 571891 w 5884232"/>
                <a:gd name="connsiteY38" fmla="*/ 3464807 h 6346215"/>
                <a:gd name="connsiteX39" fmla="*/ 1077217 w 5884232"/>
                <a:gd name="connsiteY39" fmla="*/ 4933546 h 6346215"/>
                <a:gd name="connsiteX40" fmla="*/ 1206546 w 5884232"/>
                <a:gd name="connsiteY40" fmla="*/ 5094818 h 6346215"/>
                <a:gd name="connsiteX41" fmla="*/ 1548682 w 5884232"/>
                <a:gd name="connsiteY41" fmla="*/ 5436198 h 6346215"/>
                <a:gd name="connsiteX42" fmla="*/ 1610916 w 5884232"/>
                <a:gd name="connsiteY42" fmla="*/ 5418743 h 6346215"/>
                <a:gd name="connsiteX43" fmla="*/ 1714643 w 5884232"/>
                <a:gd name="connsiteY43" fmla="*/ 5533432 h 6346215"/>
                <a:gd name="connsiteX44" fmla="*/ 1693898 w 5884232"/>
                <a:gd name="connsiteY44" fmla="*/ 5598255 h 6346215"/>
                <a:gd name="connsiteX45" fmla="*/ 1783719 w 5884232"/>
                <a:gd name="connsiteY45" fmla="*/ 5692347 h 6346215"/>
                <a:gd name="connsiteX46" fmla="*/ 4209492 w 5884232"/>
                <a:gd name="connsiteY46" fmla="*/ 5644651 h 6346215"/>
                <a:gd name="connsiteX47" fmla="*/ 4406189 w 5884232"/>
                <a:gd name="connsiteY47" fmla="*/ 6217653 h 6346215"/>
                <a:gd name="connsiteX48" fmla="*/ 1578647 w 5884232"/>
                <a:gd name="connsiteY48" fmla="*/ 6346215 h 6346215"/>
                <a:gd name="connsiteX49" fmla="*/ 1541767 w 5884232"/>
                <a:gd name="connsiteY49" fmla="*/ 6338736 h 6346215"/>
                <a:gd name="connsiteX50" fmla="*/ 1385024 w 5884232"/>
                <a:gd name="connsiteY50" fmla="*/ 6164212 h 6346215"/>
                <a:gd name="connsiteX51" fmla="*/ 1371195 w 5884232"/>
                <a:gd name="connsiteY51" fmla="*/ 6184157 h 6346215"/>
                <a:gd name="connsiteX52" fmla="*/ 1345840 w 5884232"/>
                <a:gd name="connsiteY52" fmla="*/ 6151747 h 6346215"/>
                <a:gd name="connsiteX53" fmla="*/ 1304349 w 5884232"/>
                <a:gd name="connsiteY53" fmla="*/ 6209090 h 6346215"/>
                <a:gd name="connsiteX54" fmla="*/ 1189098 w 5884232"/>
                <a:gd name="connsiteY54" fmla="*/ 6081936 h 6346215"/>
                <a:gd name="connsiteX55" fmla="*/ 1232893 w 5884232"/>
                <a:gd name="connsiteY55" fmla="*/ 6032071 h 6346215"/>
                <a:gd name="connsiteX56" fmla="*/ 1000086 w 5884232"/>
                <a:gd name="connsiteY56" fmla="*/ 5782751 h 6346215"/>
                <a:gd name="connsiteX57" fmla="*/ 1013916 w 5884232"/>
                <a:gd name="connsiteY57" fmla="*/ 5755327 h 6346215"/>
                <a:gd name="connsiteX58" fmla="*/ 817988 w 5884232"/>
                <a:gd name="connsiteY58" fmla="*/ 5548391 h 6346215"/>
                <a:gd name="connsiteX59" fmla="*/ 732703 w 5884232"/>
                <a:gd name="connsiteY59" fmla="*/ 5638146 h 6346215"/>
                <a:gd name="connsiteX60" fmla="*/ 430931 w 5884232"/>
                <a:gd name="connsiteY60" fmla="*/ 5323785 h 6346215"/>
                <a:gd name="connsiteX61" fmla="*/ 523257 w 5884232"/>
                <a:gd name="connsiteY61" fmla="*/ 5189370 h 6346215"/>
                <a:gd name="connsiteX62" fmla="*/ 41560 w 5884232"/>
                <a:gd name="connsiteY62" fmla="*/ 3281515 h 6346215"/>
                <a:gd name="connsiteX0" fmla="*/ 41560 w 5884232"/>
                <a:gd name="connsiteY0" fmla="*/ 3281515 h 6346215"/>
                <a:gd name="connsiteX1" fmla="*/ 250907 w 5884232"/>
                <a:gd name="connsiteY1" fmla="*/ 2374266 h 6346215"/>
                <a:gd name="connsiteX2" fmla="*/ 218176 w 5884232"/>
                <a:gd name="connsiteY2" fmla="*/ 2331944 h 6346215"/>
                <a:gd name="connsiteX3" fmla="*/ 290433 w 5884232"/>
                <a:gd name="connsiteY3" fmla="*/ 2067448 h 6346215"/>
                <a:gd name="connsiteX4" fmla="*/ 326149 w 5884232"/>
                <a:gd name="connsiteY4" fmla="*/ 2050403 h 6346215"/>
                <a:gd name="connsiteX5" fmla="*/ 1333506 w 5884232"/>
                <a:gd name="connsiteY5" fmla="*/ 647002 h 6346215"/>
                <a:gd name="connsiteX6" fmla="*/ 1546422 w 5884232"/>
                <a:gd name="connsiteY6" fmla="*/ 547251 h 6346215"/>
                <a:gd name="connsiteX7" fmla="*/ 1526361 w 5884232"/>
                <a:gd name="connsiteY7" fmla="*/ 432260 h 6346215"/>
                <a:gd name="connsiteX8" fmla="*/ 1722126 w 5884232"/>
                <a:gd name="connsiteY8" fmla="*/ 380302 h 6346215"/>
                <a:gd name="connsiteX9" fmla="*/ 1739499 w 5884232"/>
                <a:gd name="connsiteY9" fmla="*/ 481442 h 6346215"/>
                <a:gd name="connsiteX10" fmla="*/ 1866574 w 5884232"/>
                <a:gd name="connsiteY10" fmla="*/ 442651 h 6346215"/>
                <a:gd name="connsiteX11" fmla="*/ 1897053 w 5884232"/>
                <a:gd name="connsiteY11" fmla="*/ 393463 h 6346215"/>
                <a:gd name="connsiteX12" fmla="*/ 2132940 w 5884232"/>
                <a:gd name="connsiteY12" fmla="*/ 319342 h 6346215"/>
                <a:gd name="connsiteX13" fmla="*/ 2173395 w 5884232"/>
                <a:gd name="connsiteY13" fmla="*/ 352592 h 6346215"/>
                <a:gd name="connsiteX14" fmla="*/ 2369937 w 5884232"/>
                <a:gd name="connsiteY14" fmla="*/ 288171 h 6346215"/>
                <a:gd name="connsiteX15" fmla="*/ 2329149 w 5884232"/>
                <a:gd name="connsiteY15" fmla="*/ 119840 h 6346215"/>
                <a:gd name="connsiteX16" fmla="*/ 2712392 w 5884232"/>
                <a:gd name="connsiteY16" fmla="*/ 0 h 6346215"/>
                <a:gd name="connsiteX17" fmla="*/ 2760690 w 5884232"/>
                <a:gd name="connsiteY17" fmla="*/ 165560 h 6346215"/>
                <a:gd name="connsiteX18" fmla="*/ 4524241 w 5884232"/>
                <a:gd name="connsiteY18" fmla="*/ 680900 h 6346215"/>
                <a:gd name="connsiteX19" fmla="*/ 5074371 w 5884232"/>
                <a:gd name="connsiteY19" fmla="*/ 1291242 h 6346215"/>
                <a:gd name="connsiteX20" fmla="*/ 5135775 w 5884232"/>
                <a:gd name="connsiteY20" fmla="*/ 1298860 h 6346215"/>
                <a:gd name="connsiteX21" fmla="*/ 5300616 w 5884232"/>
                <a:gd name="connsiteY21" fmla="*/ 1479661 h 6346215"/>
                <a:gd name="connsiteX22" fmla="*/ 5300839 w 5884232"/>
                <a:gd name="connsiteY22" fmla="*/ 1535080 h 6346215"/>
                <a:gd name="connsiteX23" fmla="*/ 5462103 w 5884232"/>
                <a:gd name="connsiteY23" fmla="*/ 1726990 h 6346215"/>
                <a:gd name="connsiteX24" fmla="*/ 5842091 w 5884232"/>
                <a:gd name="connsiteY24" fmla="*/ 3519512 h 6346215"/>
                <a:gd name="connsiteX25" fmla="*/ 5650012 w 5884232"/>
                <a:gd name="connsiteY25" fmla="*/ 4385669 h 6346215"/>
                <a:gd name="connsiteX26" fmla="*/ 5780228 w 5884232"/>
                <a:gd name="connsiteY26" fmla="*/ 4452156 h 6346215"/>
                <a:gd name="connsiteX27" fmla="*/ 5710779 w 5884232"/>
                <a:gd name="connsiteY27" fmla="*/ 4870077 h 6346215"/>
                <a:gd name="connsiteX28" fmla="*/ 5553250 w 5884232"/>
                <a:gd name="connsiteY28" fmla="*/ 4807792 h 6346215"/>
                <a:gd name="connsiteX29" fmla="*/ 4409852 w 5884232"/>
                <a:gd name="connsiteY29" fmla="*/ 6212288 h 6346215"/>
                <a:gd name="connsiteX30" fmla="*/ 4213721 w 5884232"/>
                <a:gd name="connsiteY30" fmla="*/ 5643346 h 6346215"/>
                <a:gd name="connsiteX31" fmla="*/ 5030652 w 5884232"/>
                <a:gd name="connsiteY31" fmla="*/ 4596953 h 6346215"/>
                <a:gd name="connsiteX32" fmla="*/ 5310701 w 5884232"/>
                <a:gd name="connsiteY32" fmla="*/ 3352779 h 6346215"/>
                <a:gd name="connsiteX33" fmla="*/ 4991885 w 5884232"/>
                <a:gd name="connsiteY33" fmla="*/ 2049487 h 6346215"/>
                <a:gd name="connsiteX34" fmla="*/ 4174632 w 5884232"/>
                <a:gd name="connsiteY34" fmla="*/ 1163055 h 6346215"/>
                <a:gd name="connsiteX35" fmla="*/ 2880366 w 5884232"/>
                <a:gd name="connsiteY35" fmla="*/ 761302 h 6346215"/>
                <a:gd name="connsiteX36" fmla="*/ 1882146 w 5884232"/>
                <a:gd name="connsiteY36" fmla="*/ 1081342 h 6346215"/>
                <a:gd name="connsiteX37" fmla="*/ 873226 w 5884232"/>
                <a:gd name="connsiteY37" fmla="*/ 2111591 h 6346215"/>
                <a:gd name="connsiteX38" fmla="*/ 571891 w 5884232"/>
                <a:gd name="connsiteY38" fmla="*/ 3464807 h 6346215"/>
                <a:gd name="connsiteX39" fmla="*/ 1077217 w 5884232"/>
                <a:gd name="connsiteY39" fmla="*/ 4933546 h 6346215"/>
                <a:gd name="connsiteX40" fmla="*/ 1206546 w 5884232"/>
                <a:gd name="connsiteY40" fmla="*/ 5094818 h 6346215"/>
                <a:gd name="connsiteX41" fmla="*/ 1548682 w 5884232"/>
                <a:gd name="connsiteY41" fmla="*/ 5436198 h 6346215"/>
                <a:gd name="connsiteX42" fmla="*/ 1610916 w 5884232"/>
                <a:gd name="connsiteY42" fmla="*/ 5418743 h 6346215"/>
                <a:gd name="connsiteX43" fmla="*/ 1714643 w 5884232"/>
                <a:gd name="connsiteY43" fmla="*/ 5533432 h 6346215"/>
                <a:gd name="connsiteX44" fmla="*/ 1693898 w 5884232"/>
                <a:gd name="connsiteY44" fmla="*/ 5598255 h 6346215"/>
                <a:gd name="connsiteX45" fmla="*/ 1783719 w 5884232"/>
                <a:gd name="connsiteY45" fmla="*/ 5692347 h 6346215"/>
                <a:gd name="connsiteX46" fmla="*/ 4209492 w 5884232"/>
                <a:gd name="connsiteY46" fmla="*/ 5644651 h 6346215"/>
                <a:gd name="connsiteX47" fmla="*/ 4406189 w 5884232"/>
                <a:gd name="connsiteY47" fmla="*/ 6217653 h 6346215"/>
                <a:gd name="connsiteX48" fmla="*/ 1578647 w 5884232"/>
                <a:gd name="connsiteY48" fmla="*/ 6346215 h 6346215"/>
                <a:gd name="connsiteX49" fmla="*/ 1385024 w 5884232"/>
                <a:gd name="connsiteY49" fmla="*/ 6164212 h 6346215"/>
                <a:gd name="connsiteX50" fmla="*/ 1371195 w 5884232"/>
                <a:gd name="connsiteY50" fmla="*/ 6184157 h 6346215"/>
                <a:gd name="connsiteX51" fmla="*/ 1345840 w 5884232"/>
                <a:gd name="connsiteY51" fmla="*/ 6151747 h 6346215"/>
                <a:gd name="connsiteX52" fmla="*/ 1304349 w 5884232"/>
                <a:gd name="connsiteY52" fmla="*/ 6209090 h 6346215"/>
                <a:gd name="connsiteX53" fmla="*/ 1189098 w 5884232"/>
                <a:gd name="connsiteY53" fmla="*/ 6081936 h 6346215"/>
                <a:gd name="connsiteX54" fmla="*/ 1232893 w 5884232"/>
                <a:gd name="connsiteY54" fmla="*/ 6032071 h 6346215"/>
                <a:gd name="connsiteX55" fmla="*/ 1000086 w 5884232"/>
                <a:gd name="connsiteY55" fmla="*/ 5782751 h 6346215"/>
                <a:gd name="connsiteX56" fmla="*/ 1013916 w 5884232"/>
                <a:gd name="connsiteY56" fmla="*/ 5755327 h 6346215"/>
                <a:gd name="connsiteX57" fmla="*/ 817988 w 5884232"/>
                <a:gd name="connsiteY57" fmla="*/ 5548391 h 6346215"/>
                <a:gd name="connsiteX58" fmla="*/ 732703 w 5884232"/>
                <a:gd name="connsiteY58" fmla="*/ 5638146 h 6346215"/>
                <a:gd name="connsiteX59" fmla="*/ 430931 w 5884232"/>
                <a:gd name="connsiteY59" fmla="*/ 5323785 h 6346215"/>
                <a:gd name="connsiteX60" fmla="*/ 523257 w 5884232"/>
                <a:gd name="connsiteY60" fmla="*/ 5189370 h 6346215"/>
                <a:gd name="connsiteX61" fmla="*/ 41560 w 5884232"/>
                <a:gd name="connsiteY61" fmla="*/ 3281515 h 6346215"/>
                <a:gd name="connsiteX0" fmla="*/ 41560 w 5884232"/>
                <a:gd name="connsiteY0" fmla="*/ 3281515 h 6346215"/>
                <a:gd name="connsiteX1" fmla="*/ 250907 w 5884232"/>
                <a:gd name="connsiteY1" fmla="*/ 2374266 h 6346215"/>
                <a:gd name="connsiteX2" fmla="*/ 218176 w 5884232"/>
                <a:gd name="connsiteY2" fmla="*/ 2331944 h 6346215"/>
                <a:gd name="connsiteX3" fmla="*/ 290433 w 5884232"/>
                <a:gd name="connsiteY3" fmla="*/ 2067448 h 6346215"/>
                <a:gd name="connsiteX4" fmla="*/ 326149 w 5884232"/>
                <a:gd name="connsiteY4" fmla="*/ 2050403 h 6346215"/>
                <a:gd name="connsiteX5" fmla="*/ 1333506 w 5884232"/>
                <a:gd name="connsiteY5" fmla="*/ 647002 h 6346215"/>
                <a:gd name="connsiteX6" fmla="*/ 1546422 w 5884232"/>
                <a:gd name="connsiteY6" fmla="*/ 547251 h 6346215"/>
                <a:gd name="connsiteX7" fmla="*/ 1526361 w 5884232"/>
                <a:gd name="connsiteY7" fmla="*/ 432260 h 6346215"/>
                <a:gd name="connsiteX8" fmla="*/ 1722126 w 5884232"/>
                <a:gd name="connsiteY8" fmla="*/ 380302 h 6346215"/>
                <a:gd name="connsiteX9" fmla="*/ 1739499 w 5884232"/>
                <a:gd name="connsiteY9" fmla="*/ 481442 h 6346215"/>
                <a:gd name="connsiteX10" fmla="*/ 1866574 w 5884232"/>
                <a:gd name="connsiteY10" fmla="*/ 442651 h 6346215"/>
                <a:gd name="connsiteX11" fmla="*/ 1897053 w 5884232"/>
                <a:gd name="connsiteY11" fmla="*/ 393463 h 6346215"/>
                <a:gd name="connsiteX12" fmla="*/ 2132940 w 5884232"/>
                <a:gd name="connsiteY12" fmla="*/ 319342 h 6346215"/>
                <a:gd name="connsiteX13" fmla="*/ 2173395 w 5884232"/>
                <a:gd name="connsiteY13" fmla="*/ 352592 h 6346215"/>
                <a:gd name="connsiteX14" fmla="*/ 2369937 w 5884232"/>
                <a:gd name="connsiteY14" fmla="*/ 288171 h 6346215"/>
                <a:gd name="connsiteX15" fmla="*/ 2329149 w 5884232"/>
                <a:gd name="connsiteY15" fmla="*/ 119840 h 6346215"/>
                <a:gd name="connsiteX16" fmla="*/ 2712392 w 5884232"/>
                <a:gd name="connsiteY16" fmla="*/ 0 h 6346215"/>
                <a:gd name="connsiteX17" fmla="*/ 2760690 w 5884232"/>
                <a:gd name="connsiteY17" fmla="*/ 165560 h 6346215"/>
                <a:gd name="connsiteX18" fmla="*/ 4524241 w 5884232"/>
                <a:gd name="connsiteY18" fmla="*/ 680900 h 6346215"/>
                <a:gd name="connsiteX19" fmla="*/ 5074371 w 5884232"/>
                <a:gd name="connsiteY19" fmla="*/ 1291242 h 6346215"/>
                <a:gd name="connsiteX20" fmla="*/ 5135775 w 5884232"/>
                <a:gd name="connsiteY20" fmla="*/ 1298860 h 6346215"/>
                <a:gd name="connsiteX21" fmla="*/ 5300616 w 5884232"/>
                <a:gd name="connsiteY21" fmla="*/ 1479661 h 6346215"/>
                <a:gd name="connsiteX22" fmla="*/ 5300839 w 5884232"/>
                <a:gd name="connsiteY22" fmla="*/ 1535080 h 6346215"/>
                <a:gd name="connsiteX23" fmla="*/ 5462103 w 5884232"/>
                <a:gd name="connsiteY23" fmla="*/ 1726990 h 6346215"/>
                <a:gd name="connsiteX24" fmla="*/ 5842091 w 5884232"/>
                <a:gd name="connsiteY24" fmla="*/ 3519512 h 6346215"/>
                <a:gd name="connsiteX25" fmla="*/ 5650012 w 5884232"/>
                <a:gd name="connsiteY25" fmla="*/ 4385669 h 6346215"/>
                <a:gd name="connsiteX26" fmla="*/ 5780228 w 5884232"/>
                <a:gd name="connsiteY26" fmla="*/ 4452156 h 6346215"/>
                <a:gd name="connsiteX27" fmla="*/ 5710779 w 5884232"/>
                <a:gd name="connsiteY27" fmla="*/ 4870077 h 6346215"/>
                <a:gd name="connsiteX28" fmla="*/ 5553250 w 5884232"/>
                <a:gd name="connsiteY28" fmla="*/ 4807792 h 6346215"/>
                <a:gd name="connsiteX29" fmla="*/ 4409852 w 5884232"/>
                <a:gd name="connsiteY29" fmla="*/ 6212288 h 6346215"/>
                <a:gd name="connsiteX30" fmla="*/ 4213721 w 5884232"/>
                <a:gd name="connsiteY30" fmla="*/ 5643346 h 6346215"/>
                <a:gd name="connsiteX31" fmla="*/ 5030652 w 5884232"/>
                <a:gd name="connsiteY31" fmla="*/ 4596953 h 6346215"/>
                <a:gd name="connsiteX32" fmla="*/ 5310701 w 5884232"/>
                <a:gd name="connsiteY32" fmla="*/ 3352779 h 6346215"/>
                <a:gd name="connsiteX33" fmla="*/ 4991885 w 5884232"/>
                <a:gd name="connsiteY33" fmla="*/ 2049487 h 6346215"/>
                <a:gd name="connsiteX34" fmla="*/ 4174632 w 5884232"/>
                <a:gd name="connsiteY34" fmla="*/ 1163055 h 6346215"/>
                <a:gd name="connsiteX35" fmla="*/ 2880366 w 5884232"/>
                <a:gd name="connsiteY35" fmla="*/ 761302 h 6346215"/>
                <a:gd name="connsiteX36" fmla="*/ 1882146 w 5884232"/>
                <a:gd name="connsiteY36" fmla="*/ 1081342 h 6346215"/>
                <a:gd name="connsiteX37" fmla="*/ 873226 w 5884232"/>
                <a:gd name="connsiteY37" fmla="*/ 2111591 h 6346215"/>
                <a:gd name="connsiteX38" fmla="*/ 571891 w 5884232"/>
                <a:gd name="connsiteY38" fmla="*/ 3464807 h 6346215"/>
                <a:gd name="connsiteX39" fmla="*/ 1077217 w 5884232"/>
                <a:gd name="connsiteY39" fmla="*/ 4933546 h 6346215"/>
                <a:gd name="connsiteX40" fmla="*/ 1206546 w 5884232"/>
                <a:gd name="connsiteY40" fmla="*/ 5094818 h 6346215"/>
                <a:gd name="connsiteX41" fmla="*/ 1548682 w 5884232"/>
                <a:gd name="connsiteY41" fmla="*/ 5436198 h 6346215"/>
                <a:gd name="connsiteX42" fmla="*/ 1610916 w 5884232"/>
                <a:gd name="connsiteY42" fmla="*/ 5418743 h 6346215"/>
                <a:gd name="connsiteX43" fmla="*/ 1714643 w 5884232"/>
                <a:gd name="connsiteY43" fmla="*/ 5533432 h 6346215"/>
                <a:gd name="connsiteX44" fmla="*/ 1693898 w 5884232"/>
                <a:gd name="connsiteY44" fmla="*/ 5598255 h 6346215"/>
                <a:gd name="connsiteX45" fmla="*/ 1783719 w 5884232"/>
                <a:gd name="connsiteY45" fmla="*/ 5692347 h 6346215"/>
                <a:gd name="connsiteX46" fmla="*/ 4209492 w 5884232"/>
                <a:gd name="connsiteY46" fmla="*/ 5644651 h 6346215"/>
                <a:gd name="connsiteX47" fmla="*/ 4406189 w 5884232"/>
                <a:gd name="connsiteY47" fmla="*/ 6217653 h 6346215"/>
                <a:gd name="connsiteX48" fmla="*/ 1578647 w 5884232"/>
                <a:gd name="connsiteY48" fmla="*/ 6346215 h 6346215"/>
                <a:gd name="connsiteX49" fmla="*/ 1533584 w 5884232"/>
                <a:gd name="connsiteY49" fmla="*/ 6322242 h 6346215"/>
                <a:gd name="connsiteX50" fmla="*/ 1385024 w 5884232"/>
                <a:gd name="connsiteY50" fmla="*/ 6164212 h 6346215"/>
                <a:gd name="connsiteX51" fmla="*/ 1371195 w 5884232"/>
                <a:gd name="connsiteY51" fmla="*/ 6184157 h 6346215"/>
                <a:gd name="connsiteX52" fmla="*/ 1345840 w 5884232"/>
                <a:gd name="connsiteY52" fmla="*/ 6151747 h 6346215"/>
                <a:gd name="connsiteX53" fmla="*/ 1304349 w 5884232"/>
                <a:gd name="connsiteY53" fmla="*/ 6209090 h 6346215"/>
                <a:gd name="connsiteX54" fmla="*/ 1189098 w 5884232"/>
                <a:gd name="connsiteY54" fmla="*/ 6081936 h 6346215"/>
                <a:gd name="connsiteX55" fmla="*/ 1232893 w 5884232"/>
                <a:gd name="connsiteY55" fmla="*/ 6032071 h 6346215"/>
                <a:gd name="connsiteX56" fmla="*/ 1000086 w 5884232"/>
                <a:gd name="connsiteY56" fmla="*/ 5782751 h 6346215"/>
                <a:gd name="connsiteX57" fmla="*/ 1013916 w 5884232"/>
                <a:gd name="connsiteY57" fmla="*/ 5755327 h 6346215"/>
                <a:gd name="connsiteX58" fmla="*/ 817988 w 5884232"/>
                <a:gd name="connsiteY58" fmla="*/ 5548391 h 6346215"/>
                <a:gd name="connsiteX59" fmla="*/ 732703 w 5884232"/>
                <a:gd name="connsiteY59" fmla="*/ 5638146 h 6346215"/>
                <a:gd name="connsiteX60" fmla="*/ 430931 w 5884232"/>
                <a:gd name="connsiteY60" fmla="*/ 5323785 h 6346215"/>
                <a:gd name="connsiteX61" fmla="*/ 523257 w 5884232"/>
                <a:gd name="connsiteY61" fmla="*/ 5189370 h 6346215"/>
                <a:gd name="connsiteX62" fmla="*/ 41560 w 5884232"/>
                <a:gd name="connsiteY62" fmla="*/ 3281515 h 6346215"/>
                <a:gd name="connsiteX0" fmla="*/ 41560 w 5884232"/>
                <a:gd name="connsiteY0" fmla="*/ 3281515 h 6322242"/>
                <a:gd name="connsiteX1" fmla="*/ 250907 w 5884232"/>
                <a:gd name="connsiteY1" fmla="*/ 2374266 h 6322242"/>
                <a:gd name="connsiteX2" fmla="*/ 218176 w 5884232"/>
                <a:gd name="connsiteY2" fmla="*/ 2331944 h 6322242"/>
                <a:gd name="connsiteX3" fmla="*/ 290433 w 5884232"/>
                <a:gd name="connsiteY3" fmla="*/ 2067448 h 6322242"/>
                <a:gd name="connsiteX4" fmla="*/ 326149 w 5884232"/>
                <a:gd name="connsiteY4" fmla="*/ 2050403 h 6322242"/>
                <a:gd name="connsiteX5" fmla="*/ 1333506 w 5884232"/>
                <a:gd name="connsiteY5" fmla="*/ 647002 h 6322242"/>
                <a:gd name="connsiteX6" fmla="*/ 1546422 w 5884232"/>
                <a:gd name="connsiteY6" fmla="*/ 547251 h 6322242"/>
                <a:gd name="connsiteX7" fmla="*/ 1526361 w 5884232"/>
                <a:gd name="connsiteY7" fmla="*/ 432260 h 6322242"/>
                <a:gd name="connsiteX8" fmla="*/ 1722126 w 5884232"/>
                <a:gd name="connsiteY8" fmla="*/ 380302 h 6322242"/>
                <a:gd name="connsiteX9" fmla="*/ 1739499 w 5884232"/>
                <a:gd name="connsiteY9" fmla="*/ 481442 h 6322242"/>
                <a:gd name="connsiteX10" fmla="*/ 1866574 w 5884232"/>
                <a:gd name="connsiteY10" fmla="*/ 442651 h 6322242"/>
                <a:gd name="connsiteX11" fmla="*/ 1897053 w 5884232"/>
                <a:gd name="connsiteY11" fmla="*/ 393463 h 6322242"/>
                <a:gd name="connsiteX12" fmla="*/ 2132940 w 5884232"/>
                <a:gd name="connsiteY12" fmla="*/ 319342 h 6322242"/>
                <a:gd name="connsiteX13" fmla="*/ 2173395 w 5884232"/>
                <a:gd name="connsiteY13" fmla="*/ 352592 h 6322242"/>
                <a:gd name="connsiteX14" fmla="*/ 2369937 w 5884232"/>
                <a:gd name="connsiteY14" fmla="*/ 288171 h 6322242"/>
                <a:gd name="connsiteX15" fmla="*/ 2329149 w 5884232"/>
                <a:gd name="connsiteY15" fmla="*/ 119840 h 6322242"/>
                <a:gd name="connsiteX16" fmla="*/ 2712392 w 5884232"/>
                <a:gd name="connsiteY16" fmla="*/ 0 h 6322242"/>
                <a:gd name="connsiteX17" fmla="*/ 2760690 w 5884232"/>
                <a:gd name="connsiteY17" fmla="*/ 165560 h 6322242"/>
                <a:gd name="connsiteX18" fmla="*/ 4524241 w 5884232"/>
                <a:gd name="connsiteY18" fmla="*/ 680900 h 6322242"/>
                <a:gd name="connsiteX19" fmla="*/ 5074371 w 5884232"/>
                <a:gd name="connsiteY19" fmla="*/ 1291242 h 6322242"/>
                <a:gd name="connsiteX20" fmla="*/ 5135775 w 5884232"/>
                <a:gd name="connsiteY20" fmla="*/ 1298860 h 6322242"/>
                <a:gd name="connsiteX21" fmla="*/ 5300616 w 5884232"/>
                <a:gd name="connsiteY21" fmla="*/ 1479661 h 6322242"/>
                <a:gd name="connsiteX22" fmla="*/ 5300839 w 5884232"/>
                <a:gd name="connsiteY22" fmla="*/ 1535080 h 6322242"/>
                <a:gd name="connsiteX23" fmla="*/ 5462103 w 5884232"/>
                <a:gd name="connsiteY23" fmla="*/ 1726990 h 6322242"/>
                <a:gd name="connsiteX24" fmla="*/ 5842091 w 5884232"/>
                <a:gd name="connsiteY24" fmla="*/ 3519512 h 6322242"/>
                <a:gd name="connsiteX25" fmla="*/ 5650012 w 5884232"/>
                <a:gd name="connsiteY25" fmla="*/ 4385669 h 6322242"/>
                <a:gd name="connsiteX26" fmla="*/ 5780228 w 5884232"/>
                <a:gd name="connsiteY26" fmla="*/ 4452156 h 6322242"/>
                <a:gd name="connsiteX27" fmla="*/ 5710779 w 5884232"/>
                <a:gd name="connsiteY27" fmla="*/ 4870077 h 6322242"/>
                <a:gd name="connsiteX28" fmla="*/ 5553250 w 5884232"/>
                <a:gd name="connsiteY28" fmla="*/ 4807792 h 6322242"/>
                <a:gd name="connsiteX29" fmla="*/ 4409852 w 5884232"/>
                <a:gd name="connsiteY29" fmla="*/ 6212288 h 6322242"/>
                <a:gd name="connsiteX30" fmla="*/ 4213721 w 5884232"/>
                <a:gd name="connsiteY30" fmla="*/ 5643346 h 6322242"/>
                <a:gd name="connsiteX31" fmla="*/ 5030652 w 5884232"/>
                <a:gd name="connsiteY31" fmla="*/ 4596953 h 6322242"/>
                <a:gd name="connsiteX32" fmla="*/ 5310701 w 5884232"/>
                <a:gd name="connsiteY32" fmla="*/ 3352779 h 6322242"/>
                <a:gd name="connsiteX33" fmla="*/ 4991885 w 5884232"/>
                <a:gd name="connsiteY33" fmla="*/ 2049487 h 6322242"/>
                <a:gd name="connsiteX34" fmla="*/ 4174632 w 5884232"/>
                <a:gd name="connsiteY34" fmla="*/ 1163055 h 6322242"/>
                <a:gd name="connsiteX35" fmla="*/ 2880366 w 5884232"/>
                <a:gd name="connsiteY35" fmla="*/ 761302 h 6322242"/>
                <a:gd name="connsiteX36" fmla="*/ 1882146 w 5884232"/>
                <a:gd name="connsiteY36" fmla="*/ 1081342 h 6322242"/>
                <a:gd name="connsiteX37" fmla="*/ 873226 w 5884232"/>
                <a:gd name="connsiteY37" fmla="*/ 2111591 h 6322242"/>
                <a:gd name="connsiteX38" fmla="*/ 571891 w 5884232"/>
                <a:gd name="connsiteY38" fmla="*/ 3464807 h 6322242"/>
                <a:gd name="connsiteX39" fmla="*/ 1077217 w 5884232"/>
                <a:gd name="connsiteY39" fmla="*/ 4933546 h 6322242"/>
                <a:gd name="connsiteX40" fmla="*/ 1206546 w 5884232"/>
                <a:gd name="connsiteY40" fmla="*/ 5094818 h 6322242"/>
                <a:gd name="connsiteX41" fmla="*/ 1548682 w 5884232"/>
                <a:gd name="connsiteY41" fmla="*/ 5436198 h 6322242"/>
                <a:gd name="connsiteX42" fmla="*/ 1610916 w 5884232"/>
                <a:gd name="connsiteY42" fmla="*/ 5418743 h 6322242"/>
                <a:gd name="connsiteX43" fmla="*/ 1714643 w 5884232"/>
                <a:gd name="connsiteY43" fmla="*/ 5533432 h 6322242"/>
                <a:gd name="connsiteX44" fmla="*/ 1693898 w 5884232"/>
                <a:gd name="connsiteY44" fmla="*/ 5598255 h 6322242"/>
                <a:gd name="connsiteX45" fmla="*/ 1783719 w 5884232"/>
                <a:gd name="connsiteY45" fmla="*/ 5692347 h 6322242"/>
                <a:gd name="connsiteX46" fmla="*/ 4209492 w 5884232"/>
                <a:gd name="connsiteY46" fmla="*/ 5644651 h 6322242"/>
                <a:gd name="connsiteX47" fmla="*/ 4406189 w 5884232"/>
                <a:gd name="connsiteY47" fmla="*/ 6217653 h 6322242"/>
                <a:gd name="connsiteX48" fmla="*/ 1533584 w 5884232"/>
                <a:gd name="connsiteY48" fmla="*/ 6322242 h 6322242"/>
                <a:gd name="connsiteX49" fmla="*/ 1385024 w 5884232"/>
                <a:gd name="connsiteY49" fmla="*/ 6164212 h 6322242"/>
                <a:gd name="connsiteX50" fmla="*/ 1371195 w 5884232"/>
                <a:gd name="connsiteY50" fmla="*/ 6184157 h 6322242"/>
                <a:gd name="connsiteX51" fmla="*/ 1345840 w 5884232"/>
                <a:gd name="connsiteY51" fmla="*/ 6151747 h 6322242"/>
                <a:gd name="connsiteX52" fmla="*/ 1304349 w 5884232"/>
                <a:gd name="connsiteY52" fmla="*/ 6209090 h 6322242"/>
                <a:gd name="connsiteX53" fmla="*/ 1189098 w 5884232"/>
                <a:gd name="connsiteY53" fmla="*/ 6081936 h 6322242"/>
                <a:gd name="connsiteX54" fmla="*/ 1232893 w 5884232"/>
                <a:gd name="connsiteY54" fmla="*/ 6032071 h 6322242"/>
                <a:gd name="connsiteX55" fmla="*/ 1000086 w 5884232"/>
                <a:gd name="connsiteY55" fmla="*/ 5782751 h 6322242"/>
                <a:gd name="connsiteX56" fmla="*/ 1013916 w 5884232"/>
                <a:gd name="connsiteY56" fmla="*/ 5755327 h 6322242"/>
                <a:gd name="connsiteX57" fmla="*/ 817988 w 5884232"/>
                <a:gd name="connsiteY57" fmla="*/ 5548391 h 6322242"/>
                <a:gd name="connsiteX58" fmla="*/ 732703 w 5884232"/>
                <a:gd name="connsiteY58" fmla="*/ 5638146 h 6322242"/>
                <a:gd name="connsiteX59" fmla="*/ 430931 w 5884232"/>
                <a:gd name="connsiteY59" fmla="*/ 5323785 h 6322242"/>
                <a:gd name="connsiteX60" fmla="*/ 523257 w 5884232"/>
                <a:gd name="connsiteY60" fmla="*/ 5189370 h 6322242"/>
                <a:gd name="connsiteX61" fmla="*/ 41560 w 5884232"/>
                <a:gd name="connsiteY61" fmla="*/ 3281515 h 6322242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385024 w 5884232"/>
                <a:gd name="connsiteY48" fmla="*/ 6164212 h 6217653"/>
                <a:gd name="connsiteX49" fmla="*/ 1371195 w 5884232"/>
                <a:gd name="connsiteY49" fmla="*/ 6184157 h 6217653"/>
                <a:gd name="connsiteX50" fmla="*/ 1345840 w 5884232"/>
                <a:gd name="connsiteY50" fmla="*/ 6151747 h 6217653"/>
                <a:gd name="connsiteX51" fmla="*/ 1304349 w 5884232"/>
                <a:gd name="connsiteY51" fmla="*/ 6209090 h 6217653"/>
                <a:gd name="connsiteX52" fmla="*/ 1189098 w 5884232"/>
                <a:gd name="connsiteY52" fmla="*/ 6081936 h 6217653"/>
                <a:gd name="connsiteX53" fmla="*/ 1232893 w 5884232"/>
                <a:gd name="connsiteY53" fmla="*/ 6032071 h 6217653"/>
                <a:gd name="connsiteX54" fmla="*/ 1000086 w 5884232"/>
                <a:gd name="connsiteY54" fmla="*/ 5782751 h 6217653"/>
                <a:gd name="connsiteX55" fmla="*/ 1013916 w 5884232"/>
                <a:gd name="connsiteY55" fmla="*/ 5755327 h 6217653"/>
                <a:gd name="connsiteX56" fmla="*/ 817988 w 5884232"/>
                <a:gd name="connsiteY56" fmla="*/ 5548391 h 6217653"/>
                <a:gd name="connsiteX57" fmla="*/ 732703 w 5884232"/>
                <a:gd name="connsiteY57" fmla="*/ 5638146 h 6217653"/>
                <a:gd name="connsiteX58" fmla="*/ 430931 w 5884232"/>
                <a:gd name="connsiteY58" fmla="*/ 5323785 h 6217653"/>
                <a:gd name="connsiteX59" fmla="*/ 523257 w 5884232"/>
                <a:gd name="connsiteY59" fmla="*/ 5189370 h 6217653"/>
                <a:gd name="connsiteX60" fmla="*/ 41560 w 5884232"/>
                <a:gd name="connsiteY60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385024 w 5884232"/>
                <a:gd name="connsiteY48" fmla="*/ 6164212 h 6217653"/>
                <a:gd name="connsiteX49" fmla="*/ 1345840 w 5884232"/>
                <a:gd name="connsiteY49" fmla="*/ 6151747 h 6217653"/>
                <a:gd name="connsiteX50" fmla="*/ 1304349 w 5884232"/>
                <a:gd name="connsiteY50" fmla="*/ 6209090 h 6217653"/>
                <a:gd name="connsiteX51" fmla="*/ 1189098 w 5884232"/>
                <a:gd name="connsiteY51" fmla="*/ 6081936 h 6217653"/>
                <a:gd name="connsiteX52" fmla="*/ 1232893 w 5884232"/>
                <a:gd name="connsiteY52" fmla="*/ 6032071 h 6217653"/>
                <a:gd name="connsiteX53" fmla="*/ 1000086 w 5884232"/>
                <a:gd name="connsiteY53" fmla="*/ 5782751 h 6217653"/>
                <a:gd name="connsiteX54" fmla="*/ 1013916 w 5884232"/>
                <a:gd name="connsiteY54" fmla="*/ 5755327 h 6217653"/>
                <a:gd name="connsiteX55" fmla="*/ 817988 w 5884232"/>
                <a:gd name="connsiteY55" fmla="*/ 5548391 h 6217653"/>
                <a:gd name="connsiteX56" fmla="*/ 732703 w 5884232"/>
                <a:gd name="connsiteY56" fmla="*/ 5638146 h 6217653"/>
                <a:gd name="connsiteX57" fmla="*/ 430931 w 5884232"/>
                <a:gd name="connsiteY57" fmla="*/ 5323785 h 6217653"/>
                <a:gd name="connsiteX58" fmla="*/ 523257 w 5884232"/>
                <a:gd name="connsiteY58" fmla="*/ 5189370 h 6217653"/>
                <a:gd name="connsiteX59" fmla="*/ 41560 w 5884232"/>
                <a:gd name="connsiteY5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385024 w 5884232"/>
                <a:gd name="connsiteY48" fmla="*/ 6164212 h 6217653"/>
                <a:gd name="connsiteX49" fmla="*/ 1304349 w 5884232"/>
                <a:gd name="connsiteY49" fmla="*/ 6209090 h 6217653"/>
                <a:gd name="connsiteX50" fmla="*/ 1189098 w 5884232"/>
                <a:gd name="connsiteY50" fmla="*/ 6081936 h 6217653"/>
                <a:gd name="connsiteX51" fmla="*/ 1232893 w 5884232"/>
                <a:gd name="connsiteY51" fmla="*/ 6032071 h 6217653"/>
                <a:gd name="connsiteX52" fmla="*/ 1000086 w 5884232"/>
                <a:gd name="connsiteY52" fmla="*/ 5782751 h 6217653"/>
                <a:gd name="connsiteX53" fmla="*/ 1013916 w 5884232"/>
                <a:gd name="connsiteY53" fmla="*/ 5755327 h 6217653"/>
                <a:gd name="connsiteX54" fmla="*/ 817988 w 5884232"/>
                <a:gd name="connsiteY54" fmla="*/ 5548391 h 6217653"/>
                <a:gd name="connsiteX55" fmla="*/ 732703 w 5884232"/>
                <a:gd name="connsiteY55" fmla="*/ 5638146 h 6217653"/>
                <a:gd name="connsiteX56" fmla="*/ 430931 w 5884232"/>
                <a:gd name="connsiteY56" fmla="*/ 5323785 h 6217653"/>
                <a:gd name="connsiteX57" fmla="*/ 523257 w 5884232"/>
                <a:gd name="connsiteY57" fmla="*/ 5189370 h 6217653"/>
                <a:gd name="connsiteX58" fmla="*/ 41560 w 5884232"/>
                <a:gd name="connsiteY58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304349 w 5884232"/>
                <a:gd name="connsiteY48" fmla="*/ 6209090 h 6217653"/>
                <a:gd name="connsiteX49" fmla="*/ 1189098 w 5884232"/>
                <a:gd name="connsiteY49" fmla="*/ 6081936 h 6217653"/>
                <a:gd name="connsiteX50" fmla="*/ 1232893 w 5884232"/>
                <a:gd name="connsiteY50" fmla="*/ 6032071 h 6217653"/>
                <a:gd name="connsiteX51" fmla="*/ 1000086 w 5884232"/>
                <a:gd name="connsiteY51" fmla="*/ 5782751 h 6217653"/>
                <a:gd name="connsiteX52" fmla="*/ 1013916 w 5884232"/>
                <a:gd name="connsiteY52" fmla="*/ 5755327 h 6217653"/>
                <a:gd name="connsiteX53" fmla="*/ 817988 w 5884232"/>
                <a:gd name="connsiteY53" fmla="*/ 5548391 h 6217653"/>
                <a:gd name="connsiteX54" fmla="*/ 732703 w 5884232"/>
                <a:gd name="connsiteY54" fmla="*/ 5638146 h 6217653"/>
                <a:gd name="connsiteX55" fmla="*/ 430931 w 5884232"/>
                <a:gd name="connsiteY55" fmla="*/ 5323785 h 6217653"/>
                <a:gd name="connsiteX56" fmla="*/ 523257 w 5884232"/>
                <a:gd name="connsiteY56" fmla="*/ 5189370 h 6217653"/>
                <a:gd name="connsiteX57" fmla="*/ 41560 w 5884232"/>
                <a:gd name="connsiteY57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189098 w 5884232"/>
                <a:gd name="connsiteY48" fmla="*/ 6081936 h 6217653"/>
                <a:gd name="connsiteX49" fmla="*/ 1232893 w 5884232"/>
                <a:gd name="connsiteY49" fmla="*/ 6032071 h 6217653"/>
                <a:gd name="connsiteX50" fmla="*/ 1000086 w 5884232"/>
                <a:gd name="connsiteY50" fmla="*/ 5782751 h 6217653"/>
                <a:gd name="connsiteX51" fmla="*/ 1013916 w 5884232"/>
                <a:gd name="connsiteY51" fmla="*/ 5755327 h 6217653"/>
                <a:gd name="connsiteX52" fmla="*/ 817988 w 5884232"/>
                <a:gd name="connsiteY52" fmla="*/ 5548391 h 6217653"/>
                <a:gd name="connsiteX53" fmla="*/ 732703 w 5884232"/>
                <a:gd name="connsiteY53" fmla="*/ 5638146 h 6217653"/>
                <a:gd name="connsiteX54" fmla="*/ 430931 w 5884232"/>
                <a:gd name="connsiteY54" fmla="*/ 5323785 h 6217653"/>
                <a:gd name="connsiteX55" fmla="*/ 523257 w 5884232"/>
                <a:gd name="connsiteY55" fmla="*/ 5189370 h 6217653"/>
                <a:gd name="connsiteX56" fmla="*/ 41560 w 5884232"/>
                <a:gd name="connsiteY56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232893 w 5884232"/>
                <a:gd name="connsiteY48" fmla="*/ 6032071 h 6217653"/>
                <a:gd name="connsiteX49" fmla="*/ 1000086 w 5884232"/>
                <a:gd name="connsiteY49" fmla="*/ 5782751 h 6217653"/>
                <a:gd name="connsiteX50" fmla="*/ 1013916 w 5884232"/>
                <a:gd name="connsiteY50" fmla="*/ 5755327 h 6217653"/>
                <a:gd name="connsiteX51" fmla="*/ 817988 w 5884232"/>
                <a:gd name="connsiteY51" fmla="*/ 5548391 h 6217653"/>
                <a:gd name="connsiteX52" fmla="*/ 732703 w 5884232"/>
                <a:gd name="connsiteY52" fmla="*/ 5638146 h 6217653"/>
                <a:gd name="connsiteX53" fmla="*/ 430931 w 5884232"/>
                <a:gd name="connsiteY53" fmla="*/ 5323785 h 6217653"/>
                <a:gd name="connsiteX54" fmla="*/ 523257 w 5884232"/>
                <a:gd name="connsiteY54" fmla="*/ 5189370 h 6217653"/>
                <a:gd name="connsiteX55" fmla="*/ 41560 w 5884232"/>
                <a:gd name="connsiteY55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000086 w 5884232"/>
                <a:gd name="connsiteY48" fmla="*/ 5782751 h 6217653"/>
                <a:gd name="connsiteX49" fmla="*/ 1013916 w 5884232"/>
                <a:gd name="connsiteY49" fmla="*/ 5755327 h 6217653"/>
                <a:gd name="connsiteX50" fmla="*/ 817988 w 5884232"/>
                <a:gd name="connsiteY50" fmla="*/ 5548391 h 6217653"/>
                <a:gd name="connsiteX51" fmla="*/ 732703 w 5884232"/>
                <a:gd name="connsiteY51" fmla="*/ 5638146 h 6217653"/>
                <a:gd name="connsiteX52" fmla="*/ 430931 w 5884232"/>
                <a:gd name="connsiteY52" fmla="*/ 5323785 h 6217653"/>
                <a:gd name="connsiteX53" fmla="*/ 523257 w 5884232"/>
                <a:gd name="connsiteY53" fmla="*/ 5189370 h 6217653"/>
                <a:gd name="connsiteX54" fmla="*/ 41560 w 5884232"/>
                <a:gd name="connsiteY54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000086 w 5884232"/>
                <a:gd name="connsiteY48" fmla="*/ 5782751 h 6217653"/>
                <a:gd name="connsiteX49" fmla="*/ 817988 w 5884232"/>
                <a:gd name="connsiteY49" fmla="*/ 5548391 h 6217653"/>
                <a:gd name="connsiteX50" fmla="*/ 732703 w 5884232"/>
                <a:gd name="connsiteY50" fmla="*/ 5638146 h 6217653"/>
                <a:gd name="connsiteX51" fmla="*/ 430931 w 5884232"/>
                <a:gd name="connsiteY51" fmla="*/ 5323785 h 6217653"/>
                <a:gd name="connsiteX52" fmla="*/ 523257 w 5884232"/>
                <a:gd name="connsiteY52" fmla="*/ 5189370 h 6217653"/>
                <a:gd name="connsiteX53" fmla="*/ 41560 w 5884232"/>
                <a:gd name="connsiteY53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817988 w 5884232"/>
                <a:gd name="connsiteY48" fmla="*/ 5548391 h 6217653"/>
                <a:gd name="connsiteX49" fmla="*/ 732703 w 5884232"/>
                <a:gd name="connsiteY49" fmla="*/ 5638146 h 6217653"/>
                <a:gd name="connsiteX50" fmla="*/ 430931 w 5884232"/>
                <a:gd name="connsiteY50" fmla="*/ 5323785 h 6217653"/>
                <a:gd name="connsiteX51" fmla="*/ 523257 w 5884232"/>
                <a:gd name="connsiteY51" fmla="*/ 5189370 h 6217653"/>
                <a:gd name="connsiteX52" fmla="*/ 41560 w 5884232"/>
                <a:gd name="connsiteY52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4209492 w 5884232"/>
                <a:gd name="connsiteY45" fmla="*/ 5644651 h 6217653"/>
                <a:gd name="connsiteX46" fmla="*/ 4406189 w 5884232"/>
                <a:gd name="connsiteY46" fmla="*/ 6217653 h 6217653"/>
                <a:gd name="connsiteX47" fmla="*/ 817988 w 5884232"/>
                <a:gd name="connsiteY47" fmla="*/ 5548391 h 6217653"/>
                <a:gd name="connsiteX48" fmla="*/ 732703 w 5884232"/>
                <a:gd name="connsiteY48" fmla="*/ 5638146 h 6217653"/>
                <a:gd name="connsiteX49" fmla="*/ 430931 w 5884232"/>
                <a:gd name="connsiteY49" fmla="*/ 5323785 h 6217653"/>
                <a:gd name="connsiteX50" fmla="*/ 523257 w 5884232"/>
                <a:gd name="connsiteY50" fmla="*/ 5189370 h 6217653"/>
                <a:gd name="connsiteX51" fmla="*/ 41560 w 5884232"/>
                <a:gd name="connsiteY51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4209492 w 5884232"/>
                <a:gd name="connsiteY44" fmla="*/ 5644651 h 6217653"/>
                <a:gd name="connsiteX45" fmla="*/ 4406189 w 5884232"/>
                <a:gd name="connsiteY45" fmla="*/ 6217653 h 6217653"/>
                <a:gd name="connsiteX46" fmla="*/ 817988 w 5884232"/>
                <a:gd name="connsiteY46" fmla="*/ 5548391 h 6217653"/>
                <a:gd name="connsiteX47" fmla="*/ 732703 w 5884232"/>
                <a:gd name="connsiteY47" fmla="*/ 5638146 h 6217653"/>
                <a:gd name="connsiteX48" fmla="*/ 430931 w 5884232"/>
                <a:gd name="connsiteY48" fmla="*/ 5323785 h 6217653"/>
                <a:gd name="connsiteX49" fmla="*/ 523257 w 5884232"/>
                <a:gd name="connsiteY49" fmla="*/ 5189370 h 6217653"/>
                <a:gd name="connsiteX50" fmla="*/ 41560 w 5884232"/>
                <a:gd name="connsiteY50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4209492 w 5884232"/>
                <a:gd name="connsiteY43" fmla="*/ 5644651 h 6217653"/>
                <a:gd name="connsiteX44" fmla="*/ 4406189 w 5884232"/>
                <a:gd name="connsiteY44" fmla="*/ 6217653 h 6217653"/>
                <a:gd name="connsiteX45" fmla="*/ 817988 w 5884232"/>
                <a:gd name="connsiteY45" fmla="*/ 5548391 h 6217653"/>
                <a:gd name="connsiteX46" fmla="*/ 732703 w 5884232"/>
                <a:gd name="connsiteY46" fmla="*/ 5638146 h 6217653"/>
                <a:gd name="connsiteX47" fmla="*/ 430931 w 5884232"/>
                <a:gd name="connsiteY47" fmla="*/ 5323785 h 6217653"/>
                <a:gd name="connsiteX48" fmla="*/ 523257 w 5884232"/>
                <a:gd name="connsiteY48" fmla="*/ 5189370 h 6217653"/>
                <a:gd name="connsiteX49" fmla="*/ 41560 w 5884232"/>
                <a:gd name="connsiteY4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4209492 w 5884232"/>
                <a:gd name="connsiteY42" fmla="*/ 5644651 h 6217653"/>
                <a:gd name="connsiteX43" fmla="*/ 4406189 w 5884232"/>
                <a:gd name="connsiteY43" fmla="*/ 6217653 h 6217653"/>
                <a:gd name="connsiteX44" fmla="*/ 817988 w 5884232"/>
                <a:gd name="connsiteY44" fmla="*/ 5548391 h 6217653"/>
                <a:gd name="connsiteX45" fmla="*/ 732703 w 5884232"/>
                <a:gd name="connsiteY45" fmla="*/ 5638146 h 6217653"/>
                <a:gd name="connsiteX46" fmla="*/ 430931 w 5884232"/>
                <a:gd name="connsiteY46" fmla="*/ 5323785 h 6217653"/>
                <a:gd name="connsiteX47" fmla="*/ 523257 w 5884232"/>
                <a:gd name="connsiteY47" fmla="*/ 5189370 h 6217653"/>
                <a:gd name="connsiteX48" fmla="*/ 41560 w 5884232"/>
                <a:gd name="connsiteY48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209492 w 5884232"/>
                <a:gd name="connsiteY41" fmla="*/ 5644651 h 6217653"/>
                <a:gd name="connsiteX42" fmla="*/ 4406189 w 5884232"/>
                <a:gd name="connsiteY42" fmla="*/ 6217653 h 6217653"/>
                <a:gd name="connsiteX43" fmla="*/ 817988 w 5884232"/>
                <a:gd name="connsiteY43" fmla="*/ 5548391 h 6217653"/>
                <a:gd name="connsiteX44" fmla="*/ 732703 w 5884232"/>
                <a:gd name="connsiteY44" fmla="*/ 5638146 h 6217653"/>
                <a:gd name="connsiteX45" fmla="*/ 430931 w 5884232"/>
                <a:gd name="connsiteY45" fmla="*/ 5323785 h 6217653"/>
                <a:gd name="connsiteX46" fmla="*/ 523257 w 5884232"/>
                <a:gd name="connsiteY46" fmla="*/ 5189370 h 6217653"/>
                <a:gd name="connsiteX47" fmla="*/ 41560 w 5884232"/>
                <a:gd name="connsiteY47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209492 w 5884232"/>
                <a:gd name="connsiteY41" fmla="*/ 5644651 h 6217653"/>
                <a:gd name="connsiteX42" fmla="*/ 4406189 w 5884232"/>
                <a:gd name="connsiteY42" fmla="*/ 6217653 h 6217653"/>
                <a:gd name="connsiteX43" fmla="*/ 4356065 w 5884232"/>
                <a:gd name="connsiteY43" fmla="*/ 6207172 h 6217653"/>
                <a:gd name="connsiteX44" fmla="*/ 817988 w 5884232"/>
                <a:gd name="connsiteY44" fmla="*/ 5548391 h 6217653"/>
                <a:gd name="connsiteX45" fmla="*/ 732703 w 5884232"/>
                <a:gd name="connsiteY45" fmla="*/ 5638146 h 6217653"/>
                <a:gd name="connsiteX46" fmla="*/ 430931 w 5884232"/>
                <a:gd name="connsiteY46" fmla="*/ 5323785 h 6217653"/>
                <a:gd name="connsiteX47" fmla="*/ 523257 w 5884232"/>
                <a:gd name="connsiteY47" fmla="*/ 5189370 h 6217653"/>
                <a:gd name="connsiteX48" fmla="*/ 41560 w 5884232"/>
                <a:gd name="connsiteY48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4209492 w 5884232"/>
                <a:gd name="connsiteY42" fmla="*/ 5644651 h 6217653"/>
                <a:gd name="connsiteX43" fmla="*/ 4406189 w 5884232"/>
                <a:gd name="connsiteY43" fmla="*/ 6217653 h 6217653"/>
                <a:gd name="connsiteX44" fmla="*/ 4356065 w 5884232"/>
                <a:gd name="connsiteY44" fmla="*/ 6207172 h 6217653"/>
                <a:gd name="connsiteX45" fmla="*/ 817988 w 5884232"/>
                <a:gd name="connsiteY45" fmla="*/ 5548391 h 6217653"/>
                <a:gd name="connsiteX46" fmla="*/ 732703 w 5884232"/>
                <a:gd name="connsiteY46" fmla="*/ 5638146 h 6217653"/>
                <a:gd name="connsiteX47" fmla="*/ 430931 w 5884232"/>
                <a:gd name="connsiteY47" fmla="*/ 5323785 h 6217653"/>
                <a:gd name="connsiteX48" fmla="*/ 523257 w 5884232"/>
                <a:gd name="connsiteY48" fmla="*/ 5189370 h 6217653"/>
                <a:gd name="connsiteX49" fmla="*/ 41560 w 5884232"/>
                <a:gd name="connsiteY4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3370570 w 5884232"/>
                <a:gd name="connsiteY42" fmla="*/ 5698352 h 6217653"/>
                <a:gd name="connsiteX43" fmla="*/ 4406189 w 5884232"/>
                <a:gd name="connsiteY43" fmla="*/ 6217653 h 6217653"/>
                <a:gd name="connsiteX44" fmla="*/ 4356065 w 5884232"/>
                <a:gd name="connsiteY44" fmla="*/ 6207172 h 6217653"/>
                <a:gd name="connsiteX45" fmla="*/ 817988 w 5884232"/>
                <a:gd name="connsiteY45" fmla="*/ 5548391 h 6217653"/>
                <a:gd name="connsiteX46" fmla="*/ 732703 w 5884232"/>
                <a:gd name="connsiteY46" fmla="*/ 5638146 h 6217653"/>
                <a:gd name="connsiteX47" fmla="*/ 430931 w 5884232"/>
                <a:gd name="connsiteY47" fmla="*/ 5323785 h 6217653"/>
                <a:gd name="connsiteX48" fmla="*/ 523257 w 5884232"/>
                <a:gd name="connsiteY48" fmla="*/ 5189370 h 6217653"/>
                <a:gd name="connsiteX49" fmla="*/ 41560 w 5884232"/>
                <a:gd name="connsiteY4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3370570 w 5884232"/>
                <a:gd name="connsiteY42" fmla="*/ 5698352 h 6217653"/>
                <a:gd name="connsiteX43" fmla="*/ 4406189 w 5884232"/>
                <a:gd name="connsiteY43" fmla="*/ 6217653 h 6217653"/>
                <a:gd name="connsiteX44" fmla="*/ 3154556 w 5884232"/>
                <a:gd name="connsiteY44" fmla="*/ 6122786 h 6217653"/>
                <a:gd name="connsiteX45" fmla="*/ 817988 w 5884232"/>
                <a:gd name="connsiteY45" fmla="*/ 5548391 h 6217653"/>
                <a:gd name="connsiteX46" fmla="*/ 732703 w 5884232"/>
                <a:gd name="connsiteY46" fmla="*/ 5638146 h 6217653"/>
                <a:gd name="connsiteX47" fmla="*/ 430931 w 5884232"/>
                <a:gd name="connsiteY47" fmla="*/ 5323785 h 6217653"/>
                <a:gd name="connsiteX48" fmla="*/ 523257 w 5884232"/>
                <a:gd name="connsiteY48" fmla="*/ 5189370 h 6217653"/>
                <a:gd name="connsiteX49" fmla="*/ 41560 w 5884232"/>
                <a:gd name="connsiteY4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3370570 w 5884232"/>
                <a:gd name="connsiteY42" fmla="*/ 5698352 h 6217653"/>
                <a:gd name="connsiteX43" fmla="*/ 4406189 w 5884232"/>
                <a:gd name="connsiteY43" fmla="*/ 6217653 h 6217653"/>
                <a:gd name="connsiteX44" fmla="*/ 817988 w 5884232"/>
                <a:gd name="connsiteY44" fmla="*/ 5548391 h 6217653"/>
                <a:gd name="connsiteX45" fmla="*/ 732703 w 5884232"/>
                <a:gd name="connsiteY45" fmla="*/ 5638146 h 6217653"/>
                <a:gd name="connsiteX46" fmla="*/ 430931 w 5884232"/>
                <a:gd name="connsiteY46" fmla="*/ 5323785 h 6217653"/>
                <a:gd name="connsiteX47" fmla="*/ 523257 w 5884232"/>
                <a:gd name="connsiteY47" fmla="*/ 5189370 h 6217653"/>
                <a:gd name="connsiteX48" fmla="*/ 41560 w 5884232"/>
                <a:gd name="connsiteY48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3370570 w 5884232"/>
                <a:gd name="connsiteY42" fmla="*/ 5698352 h 6217653"/>
                <a:gd name="connsiteX43" fmla="*/ 4406189 w 5884232"/>
                <a:gd name="connsiteY43" fmla="*/ 6217653 h 6217653"/>
                <a:gd name="connsiteX44" fmla="*/ 3232760 w 5884232"/>
                <a:gd name="connsiteY44" fmla="*/ 6099773 h 6217653"/>
                <a:gd name="connsiteX45" fmla="*/ 817988 w 5884232"/>
                <a:gd name="connsiteY45" fmla="*/ 5548391 h 6217653"/>
                <a:gd name="connsiteX46" fmla="*/ 732703 w 5884232"/>
                <a:gd name="connsiteY46" fmla="*/ 5638146 h 6217653"/>
                <a:gd name="connsiteX47" fmla="*/ 430931 w 5884232"/>
                <a:gd name="connsiteY47" fmla="*/ 5323785 h 6217653"/>
                <a:gd name="connsiteX48" fmla="*/ 523257 w 5884232"/>
                <a:gd name="connsiteY48" fmla="*/ 5189370 h 6217653"/>
                <a:gd name="connsiteX49" fmla="*/ 41560 w 5884232"/>
                <a:gd name="connsiteY4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3370570 w 5884232"/>
                <a:gd name="connsiteY42" fmla="*/ 5698352 h 6217653"/>
                <a:gd name="connsiteX43" fmla="*/ 4406189 w 5884232"/>
                <a:gd name="connsiteY43" fmla="*/ 6217653 h 6217653"/>
                <a:gd name="connsiteX44" fmla="*/ 817988 w 5884232"/>
                <a:gd name="connsiteY44" fmla="*/ 5548391 h 6217653"/>
                <a:gd name="connsiteX45" fmla="*/ 732703 w 5884232"/>
                <a:gd name="connsiteY45" fmla="*/ 5638146 h 6217653"/>
                <a:gd name="connsiteX46" fmla="*/ 430931 w 5884232"/>
                <a:gd name="connsiteY46" fmla="*/ 5323785 h 6217653"/>
                <a:gd name="connsiteX47" fmla="*/ 523257 w 5884232"/>
                <a:gd name="connsiteY47" fmla="*/ 5189370 h 6217653"/>
                <a:gd name="connsiteX48" fmla="*/ 41560 w 5884232"/>
                <a:gd name="connsiteY48" fmla="*/ 3281515 h 6217653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710779 w 5884232"/>
                <a:gd name="connsiteY27" fmla="*/ 4870077 h 6212288"/>
                <a:gd name="connsiteX28" fmla="*/ 5553250 w 5884232"/>
                <a:gd name="connsiteY28" fmla="*/ 4807792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4149888 w 5884232"/>
                <a:gd name="connsiteY41" fmla="*/ 5639490 h 6212288"/>
                <a:gd name="connsiteX42" fmla="*/ 3370570 w 5884232"/>
                <a:gd name="connsiteY42" fmla="*/ 5698352 h 6212288"/>
                <a:gd name="connsiteX43" fmla="*/ 3545936 w 5884232"/>
                <a:gd name="connsiteY43" fmla="*/ 6125596 h 6212288"/>
                <a:gd name="connsiteX44" fmla="*/ 817988 w 5884232"/>
                <a:gd name="connsiteY44" fmla="*/ 5548391 h 6212288"/>
                <a:gd name="connsiteX45" fmla="*/ 732703 w 5884232"/>
                <a:gd name="connsiteY45" fmla="*/ 5638146 h 6212288"/>
                <a:gd name="connsiteX46" fmla="*/ 430931 w 5884232"/>
                <a:gd name="connsiteY46" fmla="*/ 5323785 h 6212288"/>
                <a:gd name="connsiteX47" fmla="*/ 523257 w 5884232"/>
                <a:gd name="connsiteY47" fmla="*/ 5189370 h 6212288"/>
                <a:gd name="connsiteX48" fmla="*/ 41560 w 5884232"/>
                <a:gd name="connsiteY48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710779 w 5884232"/>
                <a:gd name="connsiteY27" fmla="*/ 4870077 h 6212288"/>
                <a:gd name="connsiteX28" fmla="*/ 5553250 w 5884232"/>
                <a:gd name="connsiteY28" fmla="*/ 4807792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4149888 w 5884232"/>
                <a:gd name="connsiteY41" fmla="*/ 5639490 h 6212288"/>
                <a:gd name="connsiteX42" fmla="*/ 3370570 w 5884232"/>
                <a:gd name="connsiteY42" fmla="*/ 5698352 h 6212288"/>
                <a:gd name="connsiteX43" fmla="*/ 817988 w 5884232"/>
                <a:gd name="connsiteY43" fmla="*/ 5548391 h 6212288"/>
                <a:gd name="connsiteX44" fmla="*/ 732703 w 5884232"/>
                <a:gd name="connsiteY44" fmla="*/ 5638146 h 6212288"/>
                <a:gd name="connsiteX45" fmla="*/ 430931 w 5884232"/>
                <a:gd name="connsiteY45" fmla="*/ 5323785 h 6212288"/>
                <a:gd name="connsiteX46" fmla="*/ 523257 w 5884232"/>
                <a:gd name="connsiteY46" fmla="*/ 5189370 h 6212288"/>
                <a:gd name="connsiteX47" fmla="*/ 41560 w 5884232"/>
                <a:gd name="connsiteY47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710779 w 5884232"/>
                <a:gd name="connsiteY27" fmla="*/ 4870077 h 6212288"/>
                <a:gd name="connsiteX28" fmla="*/ 5553250 w 5884232"/>
                <a:gd name="connsiteY28" fmla="*/ 4807792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3370570 w 5884232"/>
                <a:gd name="connsiteY41" fmla="*/ 5698352 h 6212288"/>
                <a:gd name="connsiteX42" fmla="*/ 817988 w 5884232"/>
                <a:gd name="connsiteY42" fmla="*/ 5548391 h 6212288"/>
                <a:gd name="connsiteX43" fmla="*/ 732703 w 5884232"/>
                <a:gd name="connsiteY43" fmla="*/ 5638146 h 6212288"/>
                <a:gd name="connsiteX44" fmla="*/ 430931 w 5884232"/>
                <a:gd name="connsiteY44" fmla="*/ 5323785 h 6212288"/>
                <a:gd name="connsiteX45" fmla="*/ 523257 w 5884232"/>
                <a:gd name="connsiteY45" fmla="*/ 5189370 h 6212288"/>
                <a:gd name="connsiteX46" fmla="*/ 41560 w 5884232"/>
                <a:gd name="connsiteY46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710779 w 5884232"/>
                <a:gd name="connsiteY27" fmla="*/ 4870077 h 6212288"/>
                <a:gd name="connsiteX28" fmla="*/ 5553250 w 5884232"/>
                <a:gd name="connsiteY28" fmla="*/ 4807792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710779 w 5884232"/>
                <a:gd name="connsiteY27" fmla="*/ 4870077 h 6212288"/>
                <a:gd name="connsiteX28" fmla="*/ 5544633 w 5884232"/>
                <a:gd name="connsiteY28" fmla="*/ 4835624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693545 w 5884232"/>
                <a:gd name="connsiteY27" fmla="*/ 4865439 h 6212288"/>
                <a:gd name="connsiteX28" fmla="*/ 5544633 w 5884232"/>
                <a:gd name="connsiteY28" fmla="*/ 4835624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693545 w 5884232"/>
                <a:gd name="connsiteY27" fmla="*/ 4865439 h 6212288"/>
                <a:gd name="connsiteX28" fmla="*/ 5557557 w 5884232"/>
                <a:gd name="connsiteY28" fmla="*/ 4817071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693545 w 5884232"/>
                <a:gd name="connsiteY27" fmla="*/ 4865439 h 6212288"/>
                <a:gd name="connsiteX28" fmla="*/ 5557557 w 5884232"/>
                <a:gd name="connsiteY28" fmla="*/ 4817071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693545 w 5884232"/>
                <a:gd name="connsiteY27" fmla="*/ 4865439 h 6212288"/>
                <a:gd name="connsiteX28" fmla="*/ 5557557 w 5884232"/>
                <a:gd name="connsiteY28" fmla="*/ 4817071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8845 w 5884232"/>
                <a:gd name="connsiteY26" fmla="*/ 4428963 h 6212288"/>
                <a:gd name="connsiteX27" fmla="*/ 5693545 w 5884232"/>
                <a:gd name="connsiteY27" fmla="*/ 4865439 h 6212288"/>
                <a:gd name="connsiteX28" fmla="*/ 5557557 w 5884232"/>
                <a:gd name="connsiteY28" fmla="*/ 4817071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57557 w 5884232"/>
                <a:gd name="connsiteY28" fmla="*/ 4817071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48942 w 5884232"/>
                <a:gd name="connsiteY28" fmla="*/ 4835626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48942 w 5884232"/>
                <a:gd name="connsiteY28" fmla="*/ 4835626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48942 w 5884232"/>
                <a:gd name="connsiteY28" fmla="*/ 4835626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76264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48942 w 5884232"/>
                <a:gd name="connsiteY28" fmla="*/ 4835626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6234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48942 w 5884232"/>
                <a:gd name="connsiteY28" fmla="*/ 4835626 h 6212288"/>
                <a:gd name="connsiteX29" fmla="*/ 4409852 w 5884232"/>
                <a:gd name="connsiteY29" fmla="*/ 6212288 h 6212288"/>
                <a:gd name="connsiteX30" fmla="*/ 4244517 w 5884232"/>
                <a:gd name="connsiteY30" fmla="*/ 5626725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6234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35626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1077217 w 5884232"/>
                <a:gd name="connsiteY39" fmla="*/ 4933546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732703 w 5884232"/>
                <a:gd name="connsiteY42" fmla="*/ 5638146 h 6198437"/>
                <a:gd name="connsiteX43" fmla="*/ 430931 w 5884232"/>
                <a:gd name="connsiteY43" fmla="*/ 5323785 h 6198437"/>
                <a:gd name="connsiteX44" fmla="*/ 523257 w 5884232"/>
                <a:gd name="connsiteY44" fmla="*/ 5189370 h 6198437"/>
                <a:gd name="connsiteX45" fmla="*/ 41560 w 5884232"/>
                <a:gd name="connsiteY45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35626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1077217 w 5884232"/>
                <a:gd name="connsiteY39" fmla="*/ 4933546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732703 w 5884232"/>
                <a:gd name="connsiteY42" fmla="*/ 5638146 h 6198437"/>
                <a:gd name="connsiteX43" fmla="*/ 430931 w 5884232"/>
                <a:gd name="connsiteY43" fmla="*/ 5323785 h 6198437"/>
                <a:gd name="connsiteX44" fmla="*/ 523257 w 5884232"/>
                <a:gd name="connsiteY44" fmla="*/ 5189370 h 6198437"/>
                <a:gd name="connsiteX45" fmla="*/ 41560 w 5884232"/>
                <a:gd name="connsiteY45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1077217 w 5884232"/>
                <a:gd name="connsiteY39" fmla="*/ 4933546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732703 w 5884232"/>
                <a:gd name="connsiteY42" fmla="*/ 5638146 h 6198437"/>
                <a:gd name="connsiteX43" fmla="*/ 430931 w 5884232"/>
                <a:gd name="connsiteY43" fmla="*/ 5323785 h 6198437"/>
                <a:gd name="connsiteX44" fmla="*/ 523257 w 5884232"/>
                <a:gd name="connsiteY44" fmla="*/ 5189370 h 6198437"/>
                <a:gd name="connsiteX45" fmla="*/ 41560 w 5884232"/>
                <a:gd name="connsiteY45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732703 w 5884232"/>
                <a:gd name="connsiteY42" fmla="*/ 5638146 h 6198437"/>
                <a:gd name="connsiteX43" fmla="*/ 430931 w 5884232"/>
                <a:gd name="connsiteY43" fmla="*/ 5323785 h 6198437"/>
                <a:gd name="connsiteX44" fmla="*/ 523257 w 5884232"/>
                <a:gd name="connsiteY44" fmla="*/ 5189370 h 6198437"/>
                <a:gd name="connsiteX45" fmla="*/ 41560 w 5884232"/>
                <a:gd name="connsiteY45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732703 w 5884232"/>
                <a:gd name="connsiteY42" fmla="*/ 5638146 h 6198437"/>
                <a:gd name="connsiteX43" fmla="*/ 430931 w 5884232"/>
                <a:gd name="connsiteY43" fmla="*/ 5323785 h 6198437"/>
                <a:gd name="connsiteX44" fmla="*/ 523257 w 5884232"/>
                <a:gd name="connsiteY44" fmla="*/ 5189370 h 6198437"/>
                <a:gd name="connsiteX45" fmla="*/ 41560 w 5884232"/>
                <a:gd name="connsiteY45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430931 w 5884232"/>
                <a:gd name="connsiteY42" fmla="*/ 5323785 h 6198437"/>
                <a:gd name="connsiteX43" fmla="*/ 523257 w 5884232"/>
                <a:gd name="connsiteY43" fmla="*/ 5189370 h 6198437"/>
                <a:gd name="connsiteX44" fmla="*/ 41560 w 5884232"/>
                <a:gd name="connsiteY44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523257 w 5884232"/>
                <a:gd name="connsiteY42" fmla="*/ 5189370 h 6198437"/>
                <a:gd name="connsiteX43" fmla="*/ 41560 w 5884232"/>
                <a:gd name="connsiteY43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1206546 w 5884232"/>
                <a:gd name="connsiteY40" fmla="*/ 5062348 h 6198437"/>
                <a:gd name="connsiteX41" fmla="*/ 523257 w 5884232"/>
                <a:gd name="connsiteY41" fmla="*/ 5189370 h 6198437"/>
                <a:gd name="connsiteX42" fmla="*/ 41560 w 5884232"/>
                <a:gd name="connsiteY42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523257 w 5884232"/>
                <a:gd name="connsiteY40" fmla="*/ 5189370 h 6198437"/>
                <a:gd name="connsiteX41" fmla="*/ 41560 w 5884232"/>
                <a:gd name="connsiteY41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32548 w 5884232"/>
                <a:gd name="connsiteY39" fmla="*/ 4771487 h 6198437"/>
                <a:gd name="connsiteX40" fmla="*/ 523257 w 5884232"/>
                <a:gd name="connsiteY40" fmla="*/ 5189370 h 6198437"/>
                <a:gd name="connsiteX41" fmla="*/ 41560 w 5884232"/>
                <a:gd name="connsiteY41" fmla="*/ 3281515 h 6198437"/>
                <a:gd name="connsiteX0" fmla="*/ 41560 w 5884232"/>
                <a:gd name="connsiteY0" fmla="*/ 3281515 h 6198437"/>
                <a:gd name="connsiteX1" fmla="*/ 93455 w 5884232"/>
                <a:gd name="connsiteY1" fmla="*/ 3106020 h 6198437"/>
                <a:gd name="connsiteX2" fmla="*/ 250907 w 5884232"/>
                <a:gd name="connsiteY2" fmla="*/ 2374266 h 6198437"/>
                <a:gd name="connsiteX3" fmla="*/ 218176 w 5884232"/>
                <a:gd name="connsiteY3" fmla="*/ 2331944 h 6198437"/>
                <a:gd name="connsiteX4" fmla="*/ 290433 w 5884232"/>
                <a:gd name="connsiteY4" fmla="*/ 2067448 h 6198437"/>
                <a:gd name="connsiteX5" fmla="*/ 326149 w 5884232"/>
                <a:gd name="connsiteY5" fmla="*/ 2050403 h 6198437"/>
                <a:gd name="connsiteX6" fmla="*/ 1333506 w 5884232"/>
                <a:gd name="connsiteY6" fmla="*/ 647002 h 6198437"/>
                <a:gd name="connsiteX7" fmla="*/ 1546422 w 5884232"/>
                <a:gd name="connsiteY7" fmla="*/ 547251 h 6198437"/>
                <a:gd name="connsiteX8" fmla="*/ 1526361 w 5884232"/>
                <a:gd name="connsiteY8" fmla="*/ 432260 h 6198437"/>
                <a:gd name="connsiteX9" fmla="*/ 1722126 w 5884232"/>
                <a:gd name="connsiteY9" fmla="*/ 380302 h 6198437"/>
                <a:gd name="connsiteX10" fmla="*/ 1739499 w 5884232"/>
                <a:gd name="connsiteY10" fmla="*/ 481442 h 6198437"/>
                <a:gd name="connsiteX11" fmla="*/ 1866574 w 5884232"/>
                <a:gd name="connsiteY11" fmla="*/ 442651 h 6198437"/>
                <a:gd name="connsiteX12" fmla="*/ 1897053 w 5884232"/>
                <a:gd name="connsiteY12" fmla="*/ 393463 h 6198437"/>
                <a:gd name="connsiteX13" fmla="*/ 2132940 w 5884232"/>
                <a:gd name="connsiteY13" fmla="*/ 319342 h 6198437"/>
                <a:gd name="connsiteX14" fmla="*/ 2173395 w 5884232"/>
                <a:gd name="connsiteY14" fmla="*/ 352592 h 6198437"/>
                <a:gd name="connsiteX15" fmla="*/ 2369937 w 5884232"/>
                <a:gd name="connsiteY15" fmla="*/ 288171 h 6198437"/>
                <a:gd name="connsiteX16" fmla="*/ 2329149 w 5884232"/>
                <a:gd name="connsiteY16" fmla="*/ 119840 h 6198437"/>
                <a:gd name="connsiteX17" fmla="*/ 2712392 w 5884232"/>
                <a:gd name="connsiteY17" fmla="*/ 0 h 6198437"/>
                <a:gd name="connsiteX18" fmla="*/ 2760690 w 5884232"/>
                <a:gd name="connsiteY18" fmla="*/ 165560 h 6198437"/>
                <a:gd name="connsiteX19" fmla="*/ 4524241 w 5884232"/>
                <a:gd name="connsiteY19" fmla="*/ 680900 h 6198437"/>
                <a:gd name="connsiteX20" fmla="*/ 5074371 w 5884232"/>
                <a:gd name="connsiteY20" fmla="*/ 1291242 h 6198437"/>
                <a:gd name="connsiteX21" fmla="*/ 5135775 w 5884232"/>
                <a:gd name="connsiteY21" fmla="*/ 1298860 h 6198437"/>
                <a:gd name="connsiteX22" fmla="*/ 5300616 w 5884232"/>
                <a:gd name="connsiteY22" fmla="*/ 1479661 h 6198437"/>
                <a:gd name="connsiteX23" fmla="*/ 5300839 w 5884232"/>
                <a:gd name="connsiteY23" fmla="*/ 1535080 h 6198437"/>
                <a:gd name="connsiteX24" fmla="*/ 5462103 w 5884232"/>
                <a:gd name="connsiteY24" fmla="*/ 1726990 h 6198437"/>
                <a:gd name="connsiteX25" fmla="*/ 5842091 w 5884232"/>
                <a:gd name="connsiteY25" fmla="*/ 3519512 h 6198437"/>
                <a:gd name="connsiteX26" fmla="*/ 5650012 w 5884232"/>
                <a:gd name="connsiteY26" fmla="*/ 4385669 h 6198437"/>
                <a:gd name="connsiteX27" fmla="*/ 5797462 w 5884232"/>
                <a:gd name="connsiteY27" fmla="*/ 4428964 h 6198437"/>
                <a:gd name="connsiteX28" fmla="*/ 5693545 w 5884232"/>
                <a:gd name="connsiteY28" fmla="*/ 4865439 h 6198437"/>
                <a:gd name="connsiteX29" fmla="*/ 5548942 w 5884232"/>
                <a:gd name="connsiteY29" fmla="*/ 4824545 h 6198437"/>
                <a:gd name="connsiteX30" fmla="*/ 4435515 w 5884232"/>
                <a:gd name="connsiteY30" fmla="*/ 6198437 h 6198437"/>
                <a:gd name="connsiteX31" fmla="*/ 4244517 w 5884232"/>
                <a:gd name="connsiteY31" fmla="*/ 5626725 h 6198437"/>
                <a:gd name="connsiteX32" fmla="*/ 5030652 w 5884232"/>
                <a:gd name="connsiteY32" fmla="*/ 4596953 h 6198437"/>
                <a:gd name="connsiteX33" fmla="*/ 5310701 w 5884232"/>
                <a:gd name="connsiteY33" fmla="*/ 3352779 h 6198437"/>
                <a:gd name="connsiteX34" fmla="*/ 4991885 w 5884232"/>
                <a:gd name="connsiteY34" fmla="*/ 2049487 h 6198437"/>
                <a:gd name="connsiteX35" fmla="*/ 4174632 w 5884232"/>
                <a:gd name="connsiteY35" fmla="*/ 1163055 h 6198437"/>
                <a:gd name="connsiteX36" fmla="*/ 2880366 w 5884232"/>
                <a:gd name="connsiteY36" fmla="*/ 761302 h 6198437"/>
                <a:gd name="connsiteX37" fmla="*/ 1882146 w 5884232"/>
                <a:gd name="connsiteY37" fmla="*/ 1081342 h 6198437"/>
                <a:gd name="connsiteX38" fmla="*/ 873226 w 5884232"/>
                <a:gd name="connsiteY38" fmla="*/ 2111591 h 6198437"/>
                <a:gd name="connsiteX39" fmla="*/ 571891 w 5884232"/>
                <a:gd name="connsiteY39" fmla="*/ 3464807 h 6198437"/>
                <a:gd name="connsiteX40" fmla="*/ 932548 w 5884232"/>
                <a:gd name="connsiteY40" fmla="*/ 4771487 h 6198437"/>
                <a:gd name="connsiteX41" fmla="*/ 523257 w 5884232"/>
                <a:gd name="connsiteY41" fmla="*/ 5189370 h 6198437"/>
                <a:gd name="connsiteX42" fmla="*/ 41560 w 5884232"/>
                <a:gd name="connsiteY42" fmla="*/ 3281515 h 6198437"/>
                <a:gd name="connsiteX0" fmla="*/ 41560 w 5884232"/>
                <a:gd name="connsiteY0" fmla="*/ 3281515 h 6198437"/>
                <a:gd name="connsiteX1" fmla="*/ 93455 w 5884232"/>
                <a:gd name="connsiteY1" fmla="*/ 3106020 h 6198437"/>
                <a:gd name="connsiteX2" fmla="*/ 250907 w 5884232"/>
                <a:gd name="connsiteY2" fmla="*/ 2374266 h 6198437"/>
                <a:gd name="connsiteX3" fmla="*/ 218176 w 5884232"/>
                <a:gd name="connsiteY3" fmla="*/ 2331944 h 6198437"/>
                <a:gd name="connsiteX4" fmla="*/ 290433 w 5884232"/>
                <a:gd name="connsiteY4" fmla="*/ 2067448 h 6198437"/>
                <a:gd name="connsiteX5" fmla="*/ 326149 w 5884232"/>
                <a:gd name="connsiteY5" fmla="*/ 2050403 h 6198437"/>
                <a:gd name="connsiteX6" fmla="*/ 1333506 w 5884232"/>
                <a:gd name="connsiteY6" fmla="*/ 647002 h 6198437"/>
                <a:gd name="connsiteX7" fmla="*/ 1546422 w 5884232"/>
                <a:gd name="connsiteY7" fmla="*/ 547251 h 6198437"/>
                <a:gd name="connsiteX8" fmla="*/ 1526361 w 5884232"/>
                <a:gd name="connsiteY8" fmla="*/ 432260 h 6198437"/>
                <a:gd name="connsiteX9" fmla="*/ 1722126 w 5884232"/>
                <a:gd name="connsiteY9" fmla="*/ 380302 h 6198437"/>
                <a:gd name="connsiteX10" fmla="*/ 1739499 w 5884232"/>
                <a:gd name="connsiteY10" fmla="*/ 481442 h 6198437"/>
                <a:gd name="connsiteX11" fmla="*/ 1866574 w 5884232"/>
                <a:gd name="connsiteY11" fmla="*/ 442651 h 6198437"/>
                <a:gd name="connsiteX12" fmla="*/ 1897053 w 5884232"/>
                <a:gd name="connsiteY12" fmla="*/ 393463 h 6198437"/>
                <a:gd name="connsiteX13" fmla="*/ 2132940 w 5884232"/>
                <a:gd name="connsiteY13" fmla="*/ 319342 h 6198437"/>
                <a:gd name="connsiteX14" fmla="*/ 2173395 w 5884232"/>
                <a:gd name="connsiteY14" fmla="*/ 352592 h 6198437"/>
                <a:gd name="connsiteX15" fmla="*/ 2369937 w 5884232"/>
                <a:gd name="connsiteY15" fmla="*/ 288171 h 6198437"/>
                <a:gd name="connsiteX16" fmla="*/ 2329149 w 5884232"/>
                <a:gd name="connsiteY16" fmla="*/ 119840 h 6198437"/>
                <a:gd name="connsiteX17" fmla="*/ 2712392 w 5884232"/>
                <a:gd name="connsiteY17" fmla="*/ 0 h 6198437"/>
                <a:gd name="connsiteX18" fmla="*/ 2760690 w 5884232"/>
                <a:gd name="connsiteY18" fmla="*/ 165560 h 6198437"/>
                <a:gd name="connsiteX19" fmla="*/ 4524241 w 5884232"/>
                <a:gd name="connsiteY19" fmla="*/ 680900 h 6198437"/>
                <a:gd name="connsiteX20" fmla="*/ 5074371 w 5884232"/>
                <a:gd name="connsiteY20" fmla="*/ 1291242 h 6198437"/>
                <a:gd name="connsiteX21" fmla="*/ 5135775 w 5884232"/>
                <a:gd name="connsiteY21" fmla="*/ 1298860 h 6198437"/>
                <a:gd name="connsiteX22" fmla="*/ 5300616 w 5884232"/>
                <a:gd name="connsiteY22" fmla="*/ 1479661 h 6198437"/>
                <a:gd name="connsiteX23" fmla="*/ 5300839 w 5884232"/>
                <a:gd name="connsiteY23" fmla="*/ 1535080 h 6198437"/>
                <a:gd name="connsiteX24" fmla="*/ 5462103 w 5884232"/>
                <a:gd name="connsiteY24" fmla="*/ 1726990 h 6198437"/>
                <a:gd name="connsiteX25" fmla="*/ 5842091 w 5884232"/>
                <a:gd name="connsiteY25" fmla="*/ 3519512 h 6198437"/>
                <a:gd name="connsiteX26" fmla="*/ 5650012 w 5884232"/>
                <a:gd name="connsiteY26" fmla="*/ 4385669 h 6198437"/>
                <a:gd name="connsiteX27" fmla="*/ 5797462 w 5884232"/>
                <a:gd name="connsiteY27" fmla="*/ 4428964 h 6198437"/>
                <a:gd name="connsiteX28" fmla="*/ 5693545 w 5884232"/>
                <a:gd name="connsiteY28" fmla="*/ 4865439 h 6198437"/>
                <a:gd name="connsiteX29" fmla="*/ 5548942 w 5884232"/>
                <a:gd name="connsiteY29" fmla="*/ 4824545 h 6198437"/>
                <a:gd name="connsiteX30" fmla="*/ 4435515 w 5884232"/>
                <a:gd name="connsiteY30" fmla="*/ 6198437 h 6198437"/>
                <a:gd name="connsiteX31" fmla="*/ 4244517 w 5884232"/>
                <a:gd name="connsiteY31" fmla="*/ 5626725 h 6198437"/>
                <a:gd name="connsiteX32" fmla="*/ 5030652 w 5884232"/>
                <a:gd name="connsiteY32" fmla="*/ 4596953 h 6198437"/>
                <a:gd name="connsiteX33" fmla="*/ 5310701 w 5884232"/>
                <a:gd name="connsiteY33" fmla="*/ 3352779 h 6198437"/>
                <a:gd name="connsiteX34" fmla="*/ 4991885 w 5884232"/>
                <a:gd name="connsiteY34" fmla="*/ 2049487 h 6198437"/>
                <a:gd name="connsiteX35" fmla="*/ 4174632 w 5884232"/>
                <a:gd name="connsiteY35" fmla="*/ 1163055 h 6198437"/>
                <a:gd name="connsiteX36" fmla="*/ 2880366 w 5884232"/>
                <a:gd name="connsiteY36" fmla="*/ 761302 h 6198437"/>
                <a:gd name="connsiteX37" fmla="*/ 1882146 w 5884232"/>
                <a:gd name="connsiteY37" fmla="*/ 1081342 h 6198437"/>
                <a:gd name="connsiteX38" fmla="*/ 873226 w 5884232"/>
                <a:gd name="connsiteY38" fmla="*/ 2111591 h 6198437"/>
                <a:gd name="connsiteX39" fmla="*/ 634507 w 5884232"/>
                <a:gd name="connsiteY39" fmla="*/ 3178546 h 6198437"/>
                <a:gd name="connsiteX40" fmla="*/ 571891 w 5884232"/>
                <a:gd name="connsiteY40" fmla="*/ 3464807 h 6198437"/>
                <a:gd name="connsiteX41" fmla="*/ 932548 w 5884232"/>
                <a:gd name="connsiteY41" fmla="*/ 4771487 h 6198437"/>
                <a:gd name="connsiteX42" fmla="*/ 523257 w 5884232"/>
                <a:gd name="connsiteY42" fmla="*/ 5189370 h 6198437"/>
                <a:gd name="connsiteX43" fmla="*/ 41560 w 5884232"/>
                <a:gd name="connsiteY43" fmla="*/ 3281515 h 6198437"/>
                <a:gd name="connsiteX0" fmla="*/ 41560 w 5884232"/>
                <a:gd name="connsiteY0" fmla="*/ 3281515 h 6198437"/>
                <a:gd name="connsiteX1" fmla="*/ 93455 w 5884232"/>
                <a:gd name="connsiteY1" fmla="*/ 3106020 h 6198437"/>
                <a:gd name="connsiteX2" fmla="*/ 250907 w 5884232"/>
                <a:gd name="connsiteY2" fmla="*/ 2374266 h 6198437"/>
                <a:gd name="connsiteX3" fmla="*/ 218176 w 5884232"/>
                <a:gd name="connsiteY3" fmla="*/ 2331944 h 6198437"/>
                <a:gd name="connsiteX4" fmla="*/ 290433 w 5884232"/>
                <a:gd name="connsiteY4" fmla="*/ 2067448 h 6198437"/>
                <a:gd name="connsiteX5" fmla="*/ 326149 w 5884232"/>
                <a:gd name="connsiteY5" fmla="*/ 2050403 h 6198437"/>
                <a:gd name="connsiteX6" fmla="*/ 1333506 w 5884232"/>
                <a:gd name="connsiteY6" fmla="*/ 647002 h 6198437"/>
                <a:gd name="connsiteX7" fmla="*/ 1546422 w 5884232"/>
                <a:gd name="connsiteY7" fmla="*/ 547251 h 6198437"/>
                <a:gd name="connsiteX8" fmla="*/ 1526361 w 5884232"/>
                <a:gd name="connsiteY8" fmla="*/ 432260 h 6198437"/>
                <a:gd name="connsiteX9" fmla="*/ 1722126 w 5884232"/>
                <a:gd name="connsiteY9" fmla="*/ 380302 h 6198437"/>
                <a:gd name="connsiteX10" fmla="*/ 1739499 w 5884232"/>
                <a:gd name="connsiteY10" fmla="*/ 481442 h 6198437"/>
                <a:gd name="connsiteX11" fmla="*/ 1866574 w 5884232"/>
                <a:gd name="connsiteY11" fmla="*/ 442651 h 6198437"/>
                <a:gd name="connsiteX12" fmla="*/ 1897053 w 5884232"/>
                <a:gd name="connsiteY12" fmla="*/ 393463 h 6198437"/>
                <a:gd name="connsiteX13" fmla="*/ 2132940 w 5884232"/>
                <a:gd name="connsiteY13" fmla="*/ 319342 h 6198437"/>
                <a:gd name="connsiteX14" fmla="*/ 2173395 w 5884232"/>
                <a:gd name="connsiteY14" fmla="*/ 352592 h 6198437"/>
                <a:gd name="connsiteX15" fmla="*/ 2369937 w 5884232"/>
                <a:gd name="connsiteY15" fmla="*/ 288171 h 6198437"/>
                <a:gd name="connsiteX16" fmla="*/ 2329149 w 5884232"/>
                <a:gd name="connsiteY16" fmla="*/ 119840 h 6198437"/>
                <a:gd name="connsiteX17" fmla="*/ 2712392 w 5884232"/>
                <a:gd name="connsiteY17" fmla="*/ 0 h 6198437"/>
                <a:gd name="connsiteX18" fmla="*/ 2760690 w 5884232"/>
                <a:gd name="connsiteY18" fmla="*/ 165560 h 6198437"/>
                <a:gd name="connsiteX19" fmla="*/ 4524241 w 5884232"/>
                <a:gd name="connsiteY19" fmla="*/ 680900 h 6198437"/>
                <a:gd name="connsiteX20" fmla="*/ 5074371 w 5884232"/>
                <a:gd name="connsiteY20" fmla="*/ 1291242 h 6198437"/>
                <a:gd name="connsiteX21" fmla="*/ 5135775 w 5884232"/>
                <a:gd name="connsiteY21" fmla="*/ 1298860 h 6198437"/>
                <a:gd name="connsiteX22" fmla="*/ 5300616 w 5884232"/>
                <a:gd name="connsiteY22" fmla="*/ 1479661 h 6198437"/>
                <a:gd name="connsiteX23" fmla="*/ 5300839 w 5884232"/>
                <a:gd name="connsiteY23" fmla="*/ 1535080 h 6198437"/>
                <a:gd name="connsiteX24" fmla="*/ 5462103 w 5884232"/>
                <a:gd name="connsiteY24" fmla="*/ 1726990 h 6198437"/>
                <a:gd name="connsiteX25" fmla="*/ 5842091 w 5884232"/>
                <a:gd name="connsiteY25" fmla="*/ 3519512 h 6198437"/>
                <a:gd name="connsiteX26" fmla="*/ 5650012 w 5884232"/>
                <a:gd name="connsiteY26" fmla="*/ 4385669 h 6198437"/>
                <a:gd name="connsiteX27" fmla="*/ 5797462 w 5884232"/>
                <a:gd name="connsiteY27" fmla="*/ 4428964 h 6198437"/>
                <a:gd name="connsiteX28" fmla="*/ 5693545 w 5884232"/>
                <a:gd name="connsiteY28" fmla="*/ 4865439 h 6198437"/>
                <a:gd name="connsiteX29" fmla="*/ 5548942 w 5884232"/>
                <a:gd name="connsiteY29" fmla="*/ 4824545 h 6198437"/>
                <a:gd name="connsiteX30" fmla="*/ 4435515 w 5884232"/>
                <a:gd name="connsiteY30" fmla="*/ 6198437 h 6198437"/>
                <a:gd name="connsiteX31" fmla="*/ 4244517 w 5884232"/>
                <a:gd name="connsiteY31" fmla="*/ 5626725 h 6198437"/>
                <a:gd name="connsiteX32" fmla="*/ 5030652 w 5884232"/>
                <a:gd name="connsiteY32" fmla="*/ 4596953 h 6198437"/>
                <a:gd name="connsiteX33" fmla="*/ 5310701 w 5884232"/>
                <a:gd name="connsiteY33" fmla="*/ 3352779 h 6198437"/>
                <a:gd name="connsiteX34" fmla="*/ 4991885 w 5884232"/>
                <a:gd name="connsiteY34" fmla="*/ 2049487 h 6198437"/>
                <a:gd name="connsiteX35" fmla="*/ 4174632 w 5884232"/>
                <a:gd name="connsiteY35" fmla="*/ 1163055 h 6198437"/>
                <a:gd name="connsiteX36" fmla="*/ 2880366 w 5884232"/>
                <a:gd name="connsiteY36" fmla="*/ 761302 h 6198437"/>
                <a:gd name="connsiteX37" fmla="*/ 1882146 w 5884232"/>
                <a:gd name="connsiteY37" fmla="*/ 1081342 h 6198437"/>
                <a:gd name="connsiteX38" fmla="*/ 873226 w 5884232"/>
                <a:gd name="connsiteY38" fmla="*/ 2111591 h 6198437"/>
                <a:gd name="connsiteX39" fmla="*/ 634507 w 5884232"/>
                <a:gd name="connsiteY39" fmla="*/ 3178546 h 6198437"/>
                <a:gd name="connsiteX40" fmla="*/ 932548 w 5884232"/>
                <a:gd name="connsiteY40" fmla="*/ 4771487 h 6198437"/>
                <a:gd name="connsiteX41" fmla="*/ 523257 w 5884232"/>
                <a:gd name="connsiteY41" fmla="*/ 5189370 h 6198437"/>
                <a:gd name="connsiteX42" fmla="*/ 41560 w 5884232"/>
                <a:gd name="connsiteY42" fmla="*/ 3281515 h 6198437"/>
                <a:gd name="connsiteX0" fmla="*/ 429802 w 5790777"/>
                <a:gd name="connsiteY0" fmla="*/ 5189370 h 6198437"/>
                <a:gd name="connsiteX1" fmla="*/ 0 w 5790777"/>
                <a:gd name="connsiteY1" fmla="*/ 3106020 h 6198437"/>
                <a:gd name="connsiteX2" fmla="*/ 157452 w 5790777"/>
                <a:gd name="connsiteY2" fmla="*/ 2374266 h 6198437"/>
                <a:gd name="connsiteX3" fmla="*/ 124721 w 5790777"/>
                <a:gd name="connsiteY3" fmla="*/ 2331944 h 6198437"/>
                <a:gd name="connsiteX4" fmla="*/ 196978 w 5790777"/>
                <a:gd name="connsiteY4" fmla="*/ 2067448 h 6198437"/>
                <a:gd name="connsiteX5" fmla="*/ 232694 w 5790777"/>
                <a:gd name="connsiteY5" fmla="*/ 2050403 h 6198437"/>
                <a:gd name="connsiteX6" fmla="*/ 1240051 w 5790777"/>
                <a:gd name="connsiteY6" fmla="*/ 647002 h 6198437"/>
                <a:gd name="connsiteX7" fmla="*/ 1452967 w 5790777"/>
                <a:gd name="connsiteY7" fmla="*/ 547251 h 6198437"/>
                <a:gd name="connsiteX8" fmla="*/ 1432906 w 5790777"/>
                <a:gd name="connsiteY8" fmla="*/ 432260 h 6198437"/>
                <a:gd name="connsiteX9" fmla="*/ 1628671 w 5790777"/>
                <a:gd name="connsiteY9" fmla="*/ 380302 h 6198437"/>
                <a:gd name="connsiteX10" fmla="*/ 1646044 w 5790777"/>
                <a:gd name="connsiteY10" fmla="*/ 481442 h 6198437"/>
                <a:gd name="connsiteX11" fmla="*/ 1773119 w 5790777"/>
                <a:gd name="connsiteY11" fmla="*/ 442651 h 6198437"/>
                <a:gd name="connsiteX12" fmla="*/ 1803598 w 5790777"/>
                <a:gd name="connsiteY12" fmla="*/ 393463 h 6198437"/>
                <a:gd name="connsiteX13" fmla="*/ 2039485 w 5790777"/>
                <a:gd name="connsiteY13" fmla="*/ 319342 h 6198437"/>
                <a:gd name="connsiteX14" fmla="*/ 2079940 w 5790777"/>
                <a:gd name="connsiteY14" fmla="*/ 352592 h 6198437"/>
                <a:gd name="connsiteX15" fmla="*/ 2276482 w 5790777"/>
                <a:gd name="connsiteY15" fmla="*/ 288171 h 6198437"/>
                <a:gd name="connsiteX16" fmla="*/ 2235694 w 5790777"/>
                <a:gd name="connsiteY16" fmla="*/ 119840 h 6198437"/>
                <a:gd name="connsiteX17" fmla="*/ 2618937 w 5790777"/>
                <a:gd name="connsiteY17" fmla="*/ 0 h 6198437"/>
                <a:gd name="connsiteX18" fmla="*/ 2667235 w 5790777"/>
                <a:gd name="connsiteY18" fmla="*/ 165560 h 6198437"/>
                <a:gd name="connsiteX19" fmla="*/ 4430786 w 5790777"/>
                <a:gd name="connsiteY19" fmla="*/ 680900 h 6198437"/>
                <a:gd name="connsiteX20" fmla="*/ 4980916 w 5790777"/>
                <a:gd name="connsiteY20" fmla="*/ 1291242 h 6198437"/>
                <a:gd name="connsiteX21" fmla="*/ 5042320 w 5790777"/>
                <a:gd name="connsiteY21" fmla="*/ 1298860 h 6198437"/>
                <a:gd name="connsiteX22" fmla="*/ 5207161 w 5790777"/>
                <a:gd name="connsiteY22" fmla="*/ 1479661 h 6198437"/>
                <a:gd name="connsiteX23" fmla="*/ 5207384 w 5790777"/>
                <a:gd name="connsiteY23" fmla="*/ 1535080 h 6198437"/>
                <a:gd name="connsiteX24" fmla="*/ 5368648 w 5790777"/>
                <a:gd name="connsiteY24" fmla="*/ 1726990 h 6198437"/>
                <a:gd name="connsiteX25" fmla="*/ 5748636 w 5790777"/>
                <a:gd name="connsiteY25" fmla="*/ 3519512 h 6198437"/>
                <a:gd name="connsiteX26" fmla="*/ 5556557 w 5790777"/>
                <a:gd name="connsiteY26" fmla="*/ 4385669 h 6198437"/>
                <a:gd name="connsiteX27" fmla="*/ 5704007 w 5790777"/>
                <a:gd name="connsiteY27" fmla="*/ 4428964 h 6198437"/>
                <a:gd name="connsiteX28" fmla="*/ 5600090 w 5790777"/>
                <a:gd name="connsiteY28" fmla="*/ 4865439 h 6198437"/>
                <a:gd name="connsiteX29" fmla="*/ 5455487 w 5790777"/>
                <a:gd name="connsiteY29" fmla="*/ 4824545 h 6198437"/>
                <a:gd name="connsiteX30" fmla="*/ 4342060 w 5790777"/>
                <a:gd name="connsiteY30" fmla="*/ 6198437 h 6198437"/>
                <a:gd name="connsiteX31" fmla="*/ 4151062 w 5790777"/>
                <a:gd name="connsiteY31" fmla="*/ 5626725 h 6198437"/>
                <a:gd name="connsiteX32" fmla="*/ 4937197 w 5790777"/>
                <a:gd name="connsiteY32" fmla="*/ 4596953 h 6198437"/>
                <a:gd name="connsiteX33" fmla="*/ 5217246 w 5790777"/>
                <a:gd name="connsiteY33" fmla="*/ 3352779 h 6198437"/>
                <a:gd name="connsiteX34" fmla="*/ 4898430 w 5790777"/>
                <a:gd name="connsiteY34" fmla="*/ 2049487 h 6198437"/>
                <a:gd name="connsiteX35" fmla="*/ 4081177 w 5790777"/>
                <a:gd name="connsiteY35" fmla="*/ 1163055 h 6198437"/>
                <a:gd name="connsiteX36" fmla="*/ 2786911 w 5790777"/>
                <a:gd name="connsiteY36" fmla="*/ 761302 h 6198437"/>
                <a:gd name="connsiteX37" fmla="*/ 1788691 w 5790777"/>
                <a:gd name="connsiteY37" fmla="*/ 1081342 h 6198437"/>
                <a:gd name="connsiteX38" fmla="*/ 779771 w 5790777"/>
                <a:gd name="connsiteY38" fmla="*/ 2111591 h 6198437"/>
                <a:gd name="connsiteX39" fmla="*/ 541052 w 5790777"/>
                <a:gd name="connsiteY39" fmla="*/ 3178546 h 6198437"/>
                <a:gd name="connsiteX40" fmla="*/ 839093 w 5790777"/>
                <a:gd name="connsiteY40" fmla="*/ 4771487 h 6198437"/>
                <a:gd name="connsiteX41" fmla="*/ 429802 w 5790777"/>
                <a:gd name="connsiteY41" fmla="*/ 5189370 h 6198437"/>
                <a:gd name="connsiteX0" fmla="*/ 429802 w 5790777"/>
                <a:gd name="connsiteY0" fmla="*/ 5189370 h 6198437"/>
                <a:gd name="connsiteX1" fmla="*/ 0 w 5790777"/>
                <a:gd name="connsiteY1" fmla="*/ 3106020 h 6198437"/>
                <a:gd name="connsiteX2" fmla="*/ 157452 w 5790777"/>
                <a:gd name="connsiteY2" fmla="*/ 2374266 h 6198437"/>
                <a:gd name="connsiteX3" fmla="*/ 124721 w 5790777"/>
                <a:gd name="connsiteY3" fmla="*/ 2331944 h 6198437"/>
                <a:gd name="connsiteX4" fmla="*/ 196978 w 5790777"/>
                <a:gd name="connsiteY4" fmla="*/ 2067448 h 6198437"/>
                <a:gd name="connsiteX5" fmla="*/ 232694 w 5790777"/>
                <a:gd name="connsiteY5" fmla="*/ 2050403 h 6198437"/>
                <a:gd name="connsiteX6" fmla="*/ 1240051 w 5790777"/>
                <a:gd name="connsiteY6" fmla="*/ 647002 h 6198437"/>
                <a:gd name="connsiteX7" fmla="*/ 1452967 w 5790777"/>
                <a:gd name="connsiteY7" fmla="*/ 547251 h 6198437"/>
                <a:gd name="connsiteX8" fmla="*/ 1432906 w 5790777"/>
                <a:gd name="connsiteY8" fmla="*/ 432260 h 6198437"/>
                <a:gd name="connsiteX9" fmla="*/ 1628671 w 5790777"/>
                <a:gd name="connsiteY9" fmla="*/ 380302 h 6198437"/>
                <a:gd name="connsiteX10" fmla="*/ 1646044 w 5790777"/>
                <a:gd name="connsiteY10" fmla="*/ 481442 h 6198437"/>
                <a:gd name="connsiteX11" fmla="*/ 1773119 w 5790777"/>
                <a:gd name="connsiteY11" fmla="*/ 442651 h 6198437"/>
                <a:gd name="connsiteX12" fmla="*/ 1803598 w 5790777"/>
                <a:gd name="connsiteY12" fmla="*/ 393463 h 6198437"/>
                <a:gd name="connsiteX13" fmla="*/ 2039485 w 5790777"/>
                <a:gd name="connsiteY13" fmla="*/ 319342 h 6198437"/>
                <a:gd name="connsiteX14" fmla="*/ 2079940 w 5790777"/>
                <a:gd name="connsiteY14" fmla="*/ 352592 h 6198437"/>
                <a:gd name="connsiteX15" fmla="*/ 2276482 w 5790777"/>
                <a:gd name="connsiteY15" fmla="*/ 288171 h 6198437"/>
                <a:gd name="connsiteX16" fmla="*/ 2235694 w 5790777"/>
                <a:gd name="connsiteY16" fmla="*/ 119840 h 6198437"/>
                <a:gd name="connsiteX17" fmla="*/ 2618937 w 5790777"/>
                <a:gd name="connsiteY17" fmla="*/ 0 h 6198437"/>
                <a:gd name="connsiteX18" fmla="*/ 2667235 w 5790777"/>
                <a:gd name="connsiteY18" fmla="*/ 165560 h 6198437"/>
                <a:gd name="connsiteX19" fmla="*/ 4430786 w 5790777"/>
                <a:gd name="connsiteY19" fmla="*/ 680900 h 6198437"/>
                <a:gd name="connsiteX20" fmla="*/ 4980916 w 5790777"/>
                <a:gd name="connsiteY20" fmla="*/ 1291242 h 6198437"/>
                <a:gd name="connsiteX21" fmla="*/ 5042320 w 5790777"/>
                <a:gd name="connsiteY21" fmla="*/ 1298860 h 6198437"/>
                <a:gd name="connsiteX22" fmla="*/ 5207161 w 5790777"/>
                <a:gd name="connsiteY22" fmla="*/ 1479661 h 6198437"/>
                <a:gd name="connsiteX23" fmla="*/ 5207384 w 5790777"/>
                <a:gd name="connsiteY23" fmla="*/ 1535080 h 6198437"/>
                <a:gd name="connsiteX24" fmla="*/ 5368648 w 5790777"/>
                <a:gd name="connsiteY24" fmla="*/ 1726990 h 6198437"/>
                <a:gd name="connsiteX25" fmla="*/ 5748636 w 5790777"/>
                <a:gd name="connsiteY25" fmla="*/ 3519512 h 6198437"/>
                <a:gd name="connsiteX26" fmla="*/ 5556557 w 5790777"/>
                <a:gd name="connsiteY26" fmla="*/ 4385669 h 6198437"/>
                <a:gd name="connsiteX27" fmla="*/ 5704007 w 5790777"/>
                <a:gd name="connsiteY27" fmla="*/ 4428964 h 6198437"/>
                <a:gd name="connsiteX28" fmla="*/ 5600090 w 5790777"/>
                <a:gd name="connsiteY28" fmla="*/ 4865439 h 6198437"/>
                <a:gd name="connsiteX29" fmla="*/ 5455487 w 5790777"/>
                <a:gd name="connsiteY29" fmla="*/ 4824545 h 6198437"/>
                <a:gd name="connsiteX30" fmla="*/ 4342060 w 5790777"/>
                <a:gd name="connsiteY30" fmla="*/ 6198437 h 6198437"/>
                <a:gd name="connsiteX31" fmla="*/ 4151062 w 5790777"/>
                <a:gd name="connsiteY31" fmla="*/ 5626725 h 6198437"/>
                <a:gd name="connsiteX32" fmla="*/ 4937197 w 5790777"/>
                <a:gd name="connsiteY32" fmla="*/ 4596953 h 6198437"/>
                <a:gd name="connsiteX33" fmla="*/ 5217246 w 5790777"/>
                <a:gd name="connsiteY33" fmla="*/ 3352779 h 6198437"/>
                <a:gd name="connsiteX34" fmla="*/ 4898430 w 5790777"/>
                <a:gd name="connsiteY34" fmla="*/ 2049487 h 6198437"/>
                <a:gd name="connsiteX35" fmla="*/ 4081177 w 5790777"/>
                <a:gd name="connsiteY35" fmla="*/ 1163055 h 6198437"/>
                <a:gd name="connsiteX36" fmla="*/ 2786911 w 5790777"/>
                <a:gd name="connsiteY36" fmla="*/ 761302 h 6198437"/>
                <a:gd name="connsiteX37" fmla="*/ 1788691 w 5790777"/>
                <a:gd name="connsiteY37" fmla="*/ 1081342 h 6198437"/>
                <a:gd name="connsiteX38" fmla="*/ 779771 w 5790777"/>
                <a:gd name="connsiteY38" fmla="*/ 2111591 h 6198437"/>
                <a:gd name="connsiteX39" fmla="*/ 541052 w 5790777"/>
                <a:gd name="connsiteY39" fmla="*/ 3178546 h 6198437"/>
                <a:gd name="connsiteX40" fmla="*/ 429802 w 5790777"/>
                <a:gd name="connsiteY40" fmla="*/ 5189370 h 6198437"/>
                <a:gd name="connsiteX0" fmla="*/ 541052 w 5790777"/>
                <a:gd name="connsiteY0" fmla="*/ 3178546 h 6198437"/>
                <a:gd name="connsiteX1" fmla="*/ 0 w 5790777"/>
                <a:gd name="connsiteY1" fmla="*/ 3106020 h 6198437"/>
                <a:gd name="connsiteX2" fmla="*/ 157452 w 5790777"/>
                <a:gd name="connsiteY2" fmla="*/ 2374266 h 6198437"/>
                <a:gd name="connsiteX3" fmla="*/ 124721 w 5790777"/>
                <a:gd name="connsiteY3" fmla="*/ 2331944 h 6198437"/>
                <a:gd name="connsiteX4" fmla="*/ 196978 w 5790777"/>
                <a:gd name="connsiteY4" fmla="*/ 2067448 h 6198437"/>
                <a:gd name="connsiteX5" fmla="*/ 232694 w 5790777"/>
                <a:gd name="connsiteY5" fmla="*/ 2050403 h 6198437"/>
                <a:gd name="connsiteX6" fmla="*/ 1240051 w 5790777"/>
                <a:gd name="connsiteY6" fmla="*/ 647002 h 6198437"/>
                <a:gd name="connsiteX7" fmla="*/ 1452967 w 5790777"/>
                <a:gd name="connsiteY7" fmla="*/ 547251 h 6198437"/>
                <a:gd name="connsiteX8" fmla="*/ 1432906 w 5790777"/>
                <a:gd name="connsiteY8" fmla="*/ 432260 h 6198437"/>
                <a:gd name="connsiteX9" fmla="*/ 1628671 w 5790777"/>
                <a:gd name="connsiteY9" fmla="*/ 380302 h 6198437"/>
                <a:gd name="connsiteX10" fmla="*/ 1646044 w 5790777"/>
                <a:gd name="connsiteY10" fmla="*/ 481442 h 6198437"/>
                <a:gd name="connsiteX11" fmla="*/ 1773119 w 5790777"/>
                <a:gd name="connsiteY11" fmla="*/ 442651 h 6198437"/>
                <a:gd name="connsiteX12" fmla="*/ 1803598 w 5790777"/>
                <a:gd name="connsiteY12" fmla="*/ 393463 h 6198437"/>
                <a:gd name="connsiteX13" fmla="*/ 2039485 w 5790777"/>
                <a:gd name="connsiteY13" fmla="*/ 319342 h 6198437"/>
                <a:gd name="connsiteX14" fmla="*/ 2079940 w 5790777"/>
                <a:gd name="connsiteY14" fmla="*/ 352592 h 6198437"/>
                <a:gd name="connsiteX15" fmla="*/ 2276482 w 5790777"/>
                <a:gd name="connsiteY15" fmla="*/ 288171 h 6198437"/>
                <a:gd name="connsiteX16" fmla="*/ 2235694 w 5790777"/>
                <a:gd name="connsiteY16" fmla="*/ 119840 h 6198437"/>
                <a:gd name="connsiteX17" fmla="*/ 2618937 w 5790777"/>
                <a:gd name="connsiteY17" fmla="*/ 0 h 6198437"/>
                <a:gd name="connsiteX18" fmla="*/ 2667235 w 5790777"/>
                <a:gd name="connsiteY18" fmla="*/ 165560 h 6198437"/>
                <a:gd name="connsiteX19" fmla="*/ 4430786 w 5790777"/>
                <a:gd name="connsiteY19" fmla="*/ 680900 h 6198437"/>
                <a:gd name="connsiteX20" fmla="*/ 4980916 w 5790777"/>
                <a:gd name="connsiteY20" fmla="*/ 1291242 h 6198437"/>
                <a:gd name="connsiteX21" fmla="*/ 5042320 w 5790777"/>
                <a:gd name="connsiteY21" fmla="*/ 1298860 h 6198437"/>
                <a:gd name="connsiteX22" fmla="*/ 5207161 w 5790777"/>
                <a:gd name="connsiteY22" fmla="*/ 1479661 h 6198437"/>
                <a:gd name="connsiteX23" fmla="*/ 5207384 w 5790777"/>
                <a:gd name="connsiteY23" fmla="*/ 1535080 h 6198437"/>
                <a:gd name="connsiteX24" fmla="*/ 5368648 w 5790777"/>
                <a:gd name="connsiteY24" fmla="*/ 1726990 h 6198437"/>
                <a:gd name="connsiteX25" fmla="*/ 5748636 w 5790777"/>
                <a:gd name="connsiteY25" fmla="*/ 3519512 h 6198437"/>
                <a:gd name="connsiteX26" fmla="*/ 5556557 w 5790777"/>
                <a:gd name="connsiteY26" fmla="*/ 4385669 h 6198437"/>
                <a:gd name="connsiteX27" fmla="*/ 5704007 w 5790777"/>
                <a:gd name="connsiteY27" fmla="*/ 4428964 h 6198437"/>
                <a:gd name="connsiteX28" fmla="*/ 5600090 w 5790777"/>
                <a:gd name="connsiteY28" fmla="*/ 4865439 h 6198437"/>
                <a:gd name="connsiteX29" fmla="*/ 5455487 w 5790777"/>
                <a:gd name="connsiteY29" fmla="*/ 4824545 h 6198437"/>
                <a:gd name="connsiteX30" fmla="*/ 4342060 w 5790777"/>
                <a:gd name="connsiteY30" fmla="*/ 6198437 h 6198437"/>
                <a:gd name="connsiteX31" fmla="*/ 4151062 w 5790777"/>
                <a:gd name="connsiteY31" fmla="*/ 5626725 h 6198437"/>
                <a:gd name="connsiteX32" fmla="*/ 4937197 w 5790777"/>
                <a:gd name="connsiteY32" fmla="*/ 4596953 h 6198437"/>
                <a:gd name="connsiteX33" fmla="*/ 5217246 w 5790777"/>
                <a:gd name="connsiteY33" fmla="*/ 3352779 h 6198437"/>
                <a:gd name="connsiteX34" fmla="*/ 4898430 w 5790777"/>
                <a:gd name="connsiteY34" fmla="*/ 2049487 h 6198437"/>
                <a:gd name="connsiteX35" fmla="*/ 4081177 w 5790777"/>
                <a:gd name="connsiteY35" fmla="*/ 1163055 h 6198437"/>
                <a:gd name="connsiteX36" fmla="*/ 2786911 w 5790777"/>
                <a:gd name="connsiteY36" fmla="*/ 761302 h 6198437"/>
                <a:gd name="connsiteX37" fmla="*/ 1788691 w 5790777"/>
                <a:gd name="connsiteY37" fmla="*/ 1081342 h 6198437"/>
                <a:gd name="connsiteX38" fmla="*/ 779771 w 5790777"/>
                <a:gd name="connsiteY38" fmla="*/ 2111591 h 6198437"/>
                <a:gd name="connsiteX39" fmla="*/ 541052 w 5790777"/>
                <a:gd name="connsiteY39" fmla="*/ 3178546 h 6198437"/>
                <a:gd name="connsiteX0" fmla="*/ 573843 w 5823568"/>
                <a:gd name="connsiteY0" fmla="*/ 3178546 h 6198437"/>
                <a:gd name="connsiteX1" fmla="*/ 0 w 5823568"/>
                <a:gd name="connsiteY1" fmla="*/ 3178546 h 6198437"/>
                <a:gd name="connsiteX2" fmla="*/ 190243 w 5823568"/>
                <a:gd name="connsiteY2" fmla="*/ 2374266 h 6198437"/>
                <a:gd name="connsiteX3" fmla="*/ 157512 w 5823568"/>
                <a:gd name="connsiteY3" fmla="*/ 2331944 h 6198437"/>
                <a:gd name="connsiteX4" fmla="*/ 229769 w 5823568"/>
                <a:gd name="connsiteY4" fmla="*/ 2067448 h 6198437"/>
                <a:gd name="connsiteX5" fmla="*/ 265485 w 5823568"/>
                <a:gd name="connsiteY5" fmla="*/ 2050403 h 6198437"/>
                <a:gd name="connsiteX6" fmla="*/ 1272842 w 5823568"/>
                <a:gd name="connsiteY6" fmla="*/ 647002 h 6198437"/>
                <a:gd name="connsiteX7" fmla="*/ 1485758 w 5823568"/>
                <a:gd name="connsiteY7" fmla="*/ 547251 h 6198437"/>
                <a:gd name="connsiteX8" fmla="*/ 1465697 w 5823568"/>
                <a:gd name="connsiteY8" fmla="*/ 432260 h 6198437"/>
                <a:gd name="connsiteX9" fmla="*/ 1661462 w 5823568"/>
                <a:gd name="connsiteY9" fmla="*/ 380302 h 6198437"/>
                <a:gd name="connsiteX10" fmla="*/ 1678835 w 5823568"/>
                <a:gd name="connsiteY10" fmla="*/ 481442 h 6198437"/>
                <a:gd name="connsiteX11" fmla="*/ 1805910 w 5823568"/>
                <a:gd name="connsiteY11" fmla="*/ 442651 h 6198437"/>
                <a:gd name="connsiteX12" fmla="*/ 1836389 w 5823568"/>
                <a:gd name="connsiteY12" fmla="*/ 393463 h 6198437"/>
                <a:gd name="connsiteX13" fmla="*/ 2072276 w 5823568"/>
                <a:gd name="connsiteY13" fmla="*/ 319342 h 6198437"/>
                <a:gd name="connsiteX14" fmla="*/ 2112731 w 5823568"/>
                <a:gd name="connsiteY14" fmla="*/ 352592 h 6198437"/>
                <a:gd name="connsiteX15" fmla="*/ 2309273 w 5823568"/>
                <a:gd name="connsiteY15" fmla="*/ 288171 h 6198437"/>
                <a:gd name="connsiteX16" fmla="*/ 2268485 w 5823568"/>
                <a:gd name="connsiteY16" fmla="*/ 119840 h 6198437"/>
                <a:gd name="connsiteX17" fmla="*/ 2651728 w 5823568"/>
                <a:gd name="connsiteY17" fmla="*/ 0 h 6198437"/>
                <a:gd name="connsiteX18" fmla="*/ 2700026 w 5823568"/>
                <a:gd name="connsiteY18" fmla="*/ 165560 h 6198437"/>
                <a:gd name="connsiteX19" fmla="*/ 4463577 w 5823568"/>
                <a:gd name="connsiteY19" fmla="*/ 680900 h 6198437"/>
                <a:gd name="connsiteX20" fmla="*/ 5013707 w 5823568"/>
                <a:gd name="connsiteY20" fmla="*/ 1291242 h 6198437"/>
                <a:gd name="connsiteX21" fmla="*/ 5075111 w 5823568"/>
                <a:gd name="connsiteY21" fmla="*/ 1298860 h 6198437"/>
                <a:gd name="connsiteX22" fmla="*/ 5239952 w 5823568"/>
                <a:gd name="connsiteY22" fmla="*/ 1479661 h 6198437"/>
                <a:gd name="connsiteX23" fmla="*/ 5240175 w 5823568"/>
                <a:gd name="connsiteY23" fmla="*/ 1535080 h 6198437"/>
                <a:gd name="connsiteX24" fmla="*/ 5401439 w 5823568"/>
                <a:gd name="connsiteY24" fmla="*/ 1726990 h 6198437"/>
                <a:gd name="connsiteX25" fmla="*/ 5781427 w 5823568"/>
                <a:gd name="connsiteY25" fmla="*/ 3519512 h 6198437"/>
                <a:gd name="connsiteX26" fmla="*/ 5589348 w 5823568"/>
                <a:gd name="connsiteY26" fmla="*/ 4385669 h 6198437"/>
                <a:gd name="connsiteX27" fmla="*/ 5736798 w 5823568"/>
                <a:gd name="connsiteY27" fmla="*/ 4428964 h 6198437"/>
                <a:gd name="connsiteX28" fmla="*/ 5632881 w 5823568"/>
                <a:gd name="connsiteY28" fmla="*/ 4865439 h 6198437"/>
                <a:gd name="connsiteX29" fmla="*/ 5488278 w 5823568"/>
                <a:gd name="connsiteY29" fmla="*/ 4824545 h 6198437"/>
                <a:gd name="connsiteX30" fmla="*/ 4374851 w 5823568"/>
                <a:gd name="connsiteY30" fmla="*/ 6198437 h 6198437"/>
                <a:gd name="connsiteX31" fmla="*/ 4183853 w 5823568"/>
                <a:gd name="connsiteY31" fmla="*/ 5626725 h 6198437"/>
                <a:gd name="connsiteX32" fmla="*/ 4969988 w 5823568"/>
                <a:gd name="connsiteY32" fmla="*/ 4596953 h 6198437"/>
                <a:gd name="connsiteX33" fmla="*/ 5250037 w 5823568"/>
                <a:gd name="connsiteY33" fmla="*/ 3352779 h 6198437"/>
                <a:gd name="connsiteX34" fmla="*/ 4931221 w 5823568"/>
                <a:gd name="connsiteY34" fmla="*/ 2049487 h 6198437"/>
                <a:gd name="connsiteX35" fmla="*/ 4113968 w 5823568"/>
                <a:gd name="connsiteY35" fmla="*/ 1163055 h 6198437"/>
                <a:gd name="connsiteX36" fmla="*/ 2819702 w 5823568"/>
                <a:gd name="connsiteY36" fmla="*/ 761302 h 6198437"/>
                <a:gd name="connsiteX37" fmla="*/ 1821482 w 5823568"/>
                <a:gd name="connsiteY37" fmla="*/ 1081342 h 6198437"/>
                <a:gd name="connsiteX38" fmla="*/ 812562 w 5823568"/>
                <a:gd name="connsiteY38" fmla="*/ 2111591 h 6198437"/>
                <a:gd name="connsiteX39" fmla="*/ 573843 w 5823568"/>
                <a:gd name="connsiteY39" fmla="*/ 3178546 h 6198437"/>
                <a:gd name="connsiteX0" fmla="*/ 518530 w 5768255"/>
                <a:gd name="connsiteY0" fmla="*/ 3178546 h 6198437"/>
                <a:gd name="connsiteX1" fmla="*/ 0 w 5768255"/>
                <a:gd name="connsiteY1" fmla="*/ 3111230 h 6198437"/>
                <a:gd name="connsiteX2" fmla="*/ 134930 w 5768255"/>
                <a:gd name="connsiteY2" fmla="*/ 2374266 h 6198437"/>
                <a:gd name="connsiteX3" fmla="*/ 102199 w 5768255"/>
                <a:gd name="connsiteY3" fmla="*/ 2331944 h 6198437"/>
                <a:gd name="connsiteX4" fmla="*/ 174456 w 5768255"/>
                <a:gd name="connsiteY4" fmla="*/ 2067448 h 6198437"/>
                <a:gd name="connsiteX5" fmla="*/ 210172 w 5768255"/>
                <a:gd name="connsiteY5" fmla="*/ 2050403 h 6198437"/>
                <a:gd name="connsiteX6" fmla="*/ 1217529 w 5768255"/>
                <a:gd name="connsiteY6" fmla="*/ 647002 h 6198437"/>
                <a:gd name="connsiteX7" fmla="*/ 1430445 w 5768255"/>
                <a:gd name="connsiteY7" fmla="*/ 547251 h 6198437"/>
                <a:gd name="connsiteX8" fmla="*/ 1410384 w 5768255"/>
                <a:gd name="connsiteY8" fmla="*/ 432260 h 6198437"/>
                <a:gd name="connsiteX9" fmla="*/ 1606149 w 5768255"/>
                <a:gd name="connsiteY9" fmla="*/ 380302 h 6198437"/>
                <a:gd name="connsiteX10" fmla="*/ 1623522 w 5768255"/>
                <a:gd name="connsiteY10" fmla="*/ 481442 h 6198437"/>
                <a:gd name="connsiteX11" fmla="*/ 1750597 w 5768255"/>
                <a:gd name="connsiteY11" fmla="*/ 442651 h 6198437"/>
                <a:gd name="connsiteX12" fmla="*/ 1781076 w 5768255"/>
                <a:gd name="connsiteY12" fmla="*/ 393463 h 6198437"/>
                <a:gd name="connsiteX13" fmla="*/ 2016963 w 5768255"/>
                <a:gd name="connsiteY13" fmla="*/ 319342 h 6198437"/>
                <a:gd name="connsiteX14" fmla="*/ 2057418 w 5768255"/>
                <a:gd name="connsiteY14" fmla="*/ 352592 h 6198437"/>
                <a:gd name="connsiteX15" fmla="*/ 2253960 w 5768255"/>
                <a:gd name="connsiteY15" fmla="*/ 288171 h 6198437"/>
                <a:gd name="connsiteX16" fmla="*/ 2213172 w 5768255"/>
                <a:gd name="connsiteY16" fmla="*/ 119840 h 6198437"/>
                <a:gd name="connsiteX17" fmla="*/ 2596415 w 5768255"/>
                <a:gd name="connsiteY17" fmla="*/ 0 h 6198437"/>
                <a:gd name="connsiteX18" fmla="*/ 2644713 w 5768255"/>
                <a:gd name="connsiteY18" fmla="*/ 165560 h 6198437"/>
                <a:gd name="connsiteX19" fmla="*/ 4408264 w 5768255"/>
                <a:gd name="connsiteY19" fmla="*/ 680900 h 6198437"/>
                <a:gd name="connsiteX20" fmla="*/ 4958394 w 5768255"/>
                <a:gd name="connsiteY20" fmla="*/ 1291242 h 6198437"/>
                <a:gd name="connsiteX21" fmla="*/ 5019798 w 5768255"/>
                <a:gd name="connsiteY21" fmla="*/ 1298860 h 6198437"/>
                <a:gd name="connsiteX22" fmla="*/ 5184639 w 5768255"/>
                <a:gd name="connsiteY22" fmla="*/ 1479661 h 6198437"/>
                <a:gd name="connsiteX23" fmla="*/ 5184862 w 5768255"/>
                <a:gd name="connsiteY23" fmla="*/ 1535080 h 6198437"/>
                <a:gd name="connsiteX24" fmla="*/ 5346126 w 5768255"/>
                <a:gd name="connsiteY24" fmla="*/ 1726990 h 6198437"/>
                <a:gd name="connsiteX25" fmla="*/ 5726114 w 5768255"/>
                <a:gd name="connsiteY25" fmla="*/ 3519512 h 6198437"/>
                <a:gd name="connsiteX26" fmla="*/ 5534035 w 5768255"/>
                <a:gd name="connsiteY26" fmla="*/ 4385669 h 6198437"/>
                <a:gd name="connsiteX27" fmla="*/ 5681485 w 5768255"/>
                <a:gd name="connsiteY27" fmla="*/ 4428964 h 6198437"/>
                <a:gd name="connsiteX28" fmla="*/ 5577568 w 5768255"/>
                <a:gd name="connsiteY28" fmla="*/ 4865439 h 6198437"/>
                <a:gd name="connsiteX29" fmla="*/ 5432965 w 5768255"/>
                <a:gd name="connsiteY29" fmla="*/ 4824545 h 6198437"/>
                <a:gd name="connsiteX30" fmla="*/ 4319538 w 5768255"/>
                <a:gd name="connsiteY30" fmla="*/ 6198437 h 6198437"/>
                <a:gd name="connsiteX31" fmla="*/ 4128540 w 5768255"/>
                <a:gd name="connsiteY31" fmla="*/ 5626725 h 6198437"/>
                <a:gd name="connsiteX32" fmla="*/ 4914675 w 5768255"/>
                <a:gd name="connsiteY32" fmla="*/ 4596953 h 6198437"/>
                <a:gd name="connsiteX33" fmla="*/ 5194724 w 5768255"/>
                <a:gd name="connsiteY33" fmla="*/ 3352779 h 6198437"/>
                <a:gd name="connsiteX34" fmla="*/ 4875908 w 5768255"/>
                <a:gd name="connsiteY34" fmla="*/ 2049487 h 6198437"/>
                <a:gd name="connsiteX35" fmla="*/ 4058655 w 5768255"/>
                <a:gd name="connsiteY35" fmla="*/ 1163055 h 6198437"/>
                <a:gd name="connsiteX36" fmla="*/ 2764389 w 5768255"/>
                <a:gd name="connsiteY36" fmla="*/ 761302 h 6198437"/>
                <a:gd name="connsiteX37" fmla="*/ 1766169 w 5768255"/>
                <a:gd name="connsiteY37" fmla="*/ 1081342 h 6198437"/>
                <a:gd name="connsiteX38" fmla="*/ 757249 w 5768255"/>
                <a:gd name="connsiteY38" fmla="*/ 2111591 h 6198437"/>
                <a:gd name="connsiteX39" fmla="*/ 518530 w 5768255"/>
                <a:gd name="connsiteY39" fmla="*/ 3178546 h 6198437"/>
                <a:gd name="connsiteX0" fmla="*/ 566929 w 5816654"/>
                <a:gd name="connsiteY0" fmla="*/ 3178546 h 6198437"/>
                <a:gd name="connsiteX1" fmla="*/ 0 w 5816654"/>
                <a:gd name="connsiteY1" fmla="*/ 3186025 h 6198437"/>
                <a:gd name="connsiteX2" fmla="*/ 183329 w 5816654"/>
                <a:gd name="connsiteY2" fmla="*/ 2374266 h 6198437"/>
                <a:gd name="connsiteX3" fmla="*/ 150598 w 5816654"/>
                <a:gd name="connsiteY3" fmla="*/ 2331944 h 6198437"/>
                <a:gd name="connsiteX4" fmla="*/ 222855 w 5816654"/>
                <a:gd name="connsiteY4" fmla="*/ 2067448 h 6198437"/>
                <a:gd name="connsiteX5" fmla="*/ 258571 w 5816654"/>
                <a:gd name="connsiteY5" fmla="*/ 2050403 h 6198437"/>
                <a:gd name="connsiteX6" fmla="*/ 1265928 w 5816654"/>
                <a:gd name="connsiteY6" fmla="*/ 647002 h 6198437"/>
                <a:gd name="connsiteX7" fmla="*/ 1478844 w 5816654"/>
                <a:gd name="connsiteY7" fmla="*/ 547251 h 6198437"/>
                <a:gd name="connsiteX8" fmla="*/ 1458783 w 5816654"/>
                <a:gd name="connsiteY8" fmla="*/ 432260 h 6198437"/>
                <a:gd name="connsiteX9" fmla="*/ 1654548 w 5816654"/>
                <a:gd name="connsiteY9" fmla="*/ 380302 h 6198437"/>
                <a:gd name="connsiteX10" fmla="*/ 1671921 w 5816654"/>
                <a:gd name="connsiteY10" fmla="*/ 481442 h 6198437"/>
                <a:gd name="connsiteX11" fmla="*/ 1798996 w 5816654"/>
                <a:gd name="connsiteY11" fmla="*/ 442651 h 6198437"/>
                <a:gd name="connsiteX12" fmla="*/ 1829475 w 5816654"/>
                <a:gd name="connsiteY12" fmla="*/ 393463 h 6198437"/>
                <a:gd name="connsiteX13" fmla="*/ 2065362 w 5816654"/>
                <a:gd name="connsiteY13" fmla="*/ 319342 h 6198437"/>
                <a:gd name="connsiteX14" fmla="*/ 2105817 w 5816654"/>
                <a:gd name="connsiteY14" fmla="*/ 352592 h 6198437"/>
                <a:gd name="connsiteX15" fmla="*/ 2302359 w 5816654"/>
                <a:gd name="connsiteY15" fmla="*/ 288171 h 6198437"/>
                <a:gd name="connsiteX16" fmla="*/ 2261571 w 5816654"/>
                <a:gd name="connsiteY16" fmla="*/ 119840 h 6198437"/>
                <a:gd name="connsiteX17" fmla="*/ 2644814 w 5816654"/>
                <a:gd name="connsiteY17" fmla="*/ 0 h 6198437"/>
                <a:gd name="connsiteX18" fmla="*/ 2693112 w 5816654"/>
                <a:gd name="connsiteY18" fmla="*/ 165560 h 6198437"/>
                <a:gd name="connsiteX19" fmla="*/ 4456663 w 5816654"/>
                <a:gd name="connsiteY19" fmla="*/ 680900 h 6198437"/>
                <a:gd name="connsiteX20" fmla="*/ 5006793 w 5816654"/>
                <a:gd name="connsiteY20" fmla="*/ 1291242 h 6198437"/>
                <a:gd name="connsiteX21" fmla="*/ 5068197 w 5816654"/>
                <a:gd name="connsiteY21" fmla="*/ 1298860 h 6198437"/>
                <a:gd name="connsiteX22" fmla="*/ 5233038 w 5816654"/>
                <a:gd name="connsiteY22" fmla="*/ 1479661 h 6198437"/>
                <a:gd name="connsiteX23" fmla="*/ 5233261 w 5816654"/>
                <a:gd name="connsiteY23" fmla="*/ 1535080 h 6198437"/>
                <a:gd name="connsiteX24" fmla="*/ 5394525 w 5816654"/>
                <a:gd name="connsiteY24" fmla="*/ 1726990 h 6198437"/>
                <a:gd name="connsiteX25" fmla="*/ 5774513 w 5816654"/>
                <a:gd name="connsiteY25" fmla="*/ 3519512 h 6198437"/>
                <a:gd name="connsiteX26" fmla="*/ 5582434 w 5816654"/>
                <a:gd name="connsiteY26" fmla="*/ 4385669 h 6198437"/>
                <a:gd name="connsiteX27" fmla="*/ 5729884 w 5816654"/>
                <a:gd name="connsiteY27" fmla="*/ 4428964 h 6198437"/>
                <a:gd name="connsiteX28" fmla="*/ 5625967 w 5816654"/>
                <a:gd name="connsiteY28" fmla="*/ 4865439 h 6198437"/>
                <a:gd name="connsiteX29" fmla="*/ 5481364 w 5816654"/>
                <a:gd name="connsiteY29" fmla="*/ 4824545 h 6198437"/>
                <a:gd name="connsiteX30" fmla="*/ 4367937 w 5816654"/>
                <a:gd name="connsiteY30" fmla="*/ 6198437 h 6198437"/>
                <a:gd name="connsiteX31" fmla="*/ 4176939 w 5816654"/>
                <a:gd name="connsiteY31" fmla="*/ 5626725 h 6198437"/>
                <a:gd name="connsiteX32" fmla="*/ 4963074 w 5816654"/>
                <a:gd name="connsiteY32" fmla="*/ 4596953 h 6198437"/>
                <a:gd name="connsiteX33" fmla="*/ 5243123 w 5816654"/>
                <a:gd name="connsiteY33" fmla="*/ 3352779 h 6198437"/>
                <a:gd name="connsiteX34" fmla="*/ 4924307 w 5816654"/>
                <a:gd name="connsiteY34" fmla="*/ 2049487 h 6198437"/>
                <a:gd name="connsiteX35" fmla="*/ 4107054 w 5816654"/>
                <a:gd name="connsiteY35" fmla="*/ 1163055 h 6198437"/>
                <a:gd name="connsiteX36" fmla="*/ 2812788 w 5816654"/>
                <a:gd name="connsiteY36" fmla="*/ 761302 h 6198437"/>
                <a:gd name="connsiteX37" fmla="*/ 1814568 w 5816654"/>
                <a:gd name="connsiteY37" fmla="*/ 1081342 h 6198437"/>
                <a:gd name="connsiteX38" fmla="*/ 805648 w 5816654"/>
                <a:gd name="connsiteY38" fmla="*/ 2111591 h 6198437"/>
                <a:gd name="connsiteX39" fmla="*/ 566929 w 5816654"/>
                <a:gd name="connsiteY39" fmla="*/ 3178546 h 6198437"/>
                <a:gd name="connsiteX0" fmla="*/ 541577 w 5816654"/>
                <a:gd name="connsiteY0" fmla="*/ 3288247 h 6198437"/>
                <a:gd name="connsiteX1" fmla="*/ 0 w 5816654"/>
                <a:gd name="connsiteY1" fmla="*/ 3186025 h 6198437"/>
                <a:gd name="connsiteX2" fmla="*/ 183329 w 5816654"/>
                <a:gd name="connsiteY2" fmla="*/ 2374266 h 6198437"/>
                <a:gd name="connsiteX3" fmla="*/ 150598 w 5816654"/>
                <a:gd name="connsiteY3" fmla="*/ 2331944 h 6198437"/>
                <a:gd name="connsiteX4" fmla="*/ 222855 w 5816654"/>
                <a:gd name="connsiteY4" fmla="*/ 2067448 h 6198437"/>
                <a:gd name="connsiteX5" fmla="*/ 258571 w 5816654"/>
                <a:gd name="connsiteY5" fmla="*/ 2050403 h 6198437"/>
                <a:gd name="connsiteX6" fmla="*/ 1265928 w 5816654"/>
                <a:gd name="connsiteY6" fmla="*/ 647002 h 6198437"/>
                <a:gd name="connsiteX7" fmla="*/ 1478844 w 5816654"/>
                <a:gd name="connsiteY7" fmla="*/ 547251 h 6198437"/>
                <a:gd name="connsiteX8" fmla="*/ 1458783 w 5816654"/>
                <a:gd name="connsiteY8" fmla="*/ 432260 h 6198437"/>
                <a:gd name="connsiteX9" fmla="*/ 1654548 w 5816654"/>
                <a:gd name="connsiteY9" fmla="*/ 380302 h 6198437"/>
                <a:gd name="connsiteX10" fmla="*/ 1671921 w 5816654"/>
                <a:gd name="connsiteY10" fmla="*/ 481442 h 6198437"/>
                <a:gd name="connsiteX11" fmla="*/ 1798996 w 5816654"/>
                <a:gd name="connsiteY11" fmla="*/ 442651 h 6198437"/>
                <a:gd name="connsiteX12" fmla="*/ 1829475 w 5816654"/>
                <a:gd name="connsiteY12" fmla="*/ 393463 h 6198437"/>
                <a:gd name="connsiteX13" fmla="*/ 2065362 w 5816654"/>
                <a:gd name="connsiteY13" fmla="*/ 319342 h 6198437"/>
                <a:gd name="connsiteX14" fmla="*/ 2105817 w 5816654"/>
                <a:gd name="connsiteY14" fmla="*/ 352592 h 6198437"/>
                <a:gd name="connsiteX15" fmla="*/ 2302359 w 5816654"/>
                <a:gd name="connsiteY15" fmla="*/ 288171 h 6198437"/>
                <a:gd name="connsiteX16" fmla="*/ 2261571 w 5816654"/>
                <a:gd name="connsiteY16" fmla="*/ 119840 h 6198437"/>
                <a:gd name="connsiteX17" fmla="*/ 2644814 w 5816654"/>
                <a:gd name="connsiteY17" fmla="*/ 0 h 6198437"/>
                <a:gd name="connsiteX18" fmla="*/ 2693112 w 5816654"/>
                <a:gd name="connsiteY18" fmla="*/ 165560 h 6198437"/>
                <a:gd name="connsiteX19" fmla="*/ 4456663 w 5816654"/>
                <a:gd name="connsiteY19" fmla="*/ 680900 h 6198437"/>
                <a:gd name="connsiteX20" fmla="*/ 5006793 w 5816654"/>
                <a:gd name="connsiteY20" fmla="*/ 1291242 h 6198437"/>
                <a:gd name="connsiteX21" fmla="*/ 5068197 w 5816654"/>
                <a:gd name="connsiteY21" fmla="*/ 1298860 h 6198437"/>
                <a:gd name="connsiteX22" fmla="*/ 5233038 w 5816654"/>
                <a:gd name="connsiteY22" fmla="*/ 1479661 h 6198437"/>
                <a:gd name="connsiteX23" fmla="*/ 5233261 w 5816654"/>
                <a:gd name="connsiteY23" fmla="*/ 1535080 h 6198437"/>
                <a:gd name="connsiteX24" fmla="*/ 5394525 w 5816654"/>
                <a:gd name="connsiteY24" fmla="*/ 1726990 h 6198437"/>
                <a:gd name="connsiteX25" fmla="*/ 5774513 w 5816654"/>
                <a:gd name="connsiteY25" fmla="*/ 3519512 h 6198437"/>
                <a:gd name="connsiteX26" fmla="*/ 5582434 w 5816654"/>
                <a:gd name="connsiteY26" fmla="*/ 4385669 h 6198437"/>
                <a:gd name="connsiteX27" fmla="*/ 5729884 w 5816654"/>
                <a:gd name="connsiteY27" fmla="*/ 4428964 h 6198437"/>
                <a:gd name="connsiteX28" fmla="*/ 5625967 w 5816654"/>
                <a:gd name="connsiteY28" fmla="*/ 4865439 h 6198437"/>
                <a:gd name="connsiteX29" fmla="*/ 5481364 w 5816654"/>
                <a:gd name="connsiteY29" fmla="*/ 4824545 h 6198437"/>
                <a:gd name="connsiteX30" fmla="*/ 4367937 w 5816654"/>
                <a:gd name="connsiteY30" fmla="*/ 6198437 h 6198437"/>
                <a:gd name="connsiteX31" fmla="*/ 4176939 w 5816654"/>
                <a:gd name="connsiteY31" fmla="*/ 5626725 h 6198437"/>
                <a:gd name="connsiteX32" fmla="*/ 4963074 w 5816654"/>
                <a:gd name="connsiteY32" fmla="*/ 4596953 h 6198437"/>
                <a:gd name="connsiteX33" fmla="*/ 5243123 w 5816654"/>
                <a:gd name="connsiteY33" fmla="*/ 3352779 h 6198437"/>
                <a:gd name="connsiteX34" fmla="*/ 4924307 w 5816654"/>
                <a:gd name="connsiteY34" fmla="*/ 2049487 h 6198437"/>
                <a:gd name="connsiteX35" fmla="*/ 4107054 w 5816654"/>
                <a:gd name="connsiteY35" fmla="*/ 1163055 h 6198437"/>
                <a:gd name="connsiteX36" fmla="*/ 2812788 w 5816654"/>
                <a:gd name="connsiteY36" fmla="*/ 761302 h 6198437"/>
                <a:gd name="connsiteX37" fmla="*/ 1814568 w 5816654"/>
                <a:gd name="connsiteY37" fmla="*/ 1081342 h 6198437"/>
                <a:gd name="connsiteX38" fmla="*/ 805648 w 5816654"/>
                <a:gd name="connsiteY38" fmla="*/ 2111591 h 6198437"/>
                <a:gd name="connsiteX39" fmla="*/ 541577 w 5816654"/>
                <a:gd name="connsiteY39" fmla="*/ 3288247 h 6198437"/>
                <a:gd name="connsiteX0" fmla="*/ 543881 w 5818958"/>
                <a:gd name="connsiteY0" fmla="*/ 3288247 h 6198437"/>
                <a:gd name="connsiteX1" fmla="*/ 0 w 5818958"/>
                <a:gd name="connsiteY1" fmla="*/ 3193505 h 6198437"/>
                <a:gd name="connsiteX2" fmla="*/ 185633 w 5818958"/>
                <a:gd name="connsiteY2" fmla="*/ 2374266 h 6198437"/>
                <a:gd name="connsiteX3" fmla="*/ 152902 w 5818958"/>
                <a:gd name="connsiteY3" fmla="*/ 2331944 h 6198437"/>
                <a:gd name="connsiteX4" fmla="*/ 225159 w 5818958"/>
                <a:gd name="connsiteY4" fmla="*/ 2067448 h 6198437"/>
                <a:gd name="connsiteX5" fmla="*/ 260875 w 5818958"/>
                <a:gd name="connsiteY5" fmla="*/ 2050403 h 6198437"/>
                <a:gd name="connsiteX6" fmla="*/ 1268232 w 5818958"/>
                <a:gd name="connsiteY6" fmla="*/ 647002 h 6198437"/>
                <a:gd name="connsiteX7" fmla="*/ 1481148 w 5818958"/>
                <a:gd name="connsiteY7" fmla="*/ 547251 h 6198437"/>
                <a:gd name="connsiteX8" fmla="*/ 1461087 w 5818958"/>
                <a:gd name="connsiteY8" fmla="*/ 432260 h 6198437"/>
                <a:gd name="connsiteX9" fmla="*/ 1656852 w 5818958"/>
                <a:gd name="connsiteY9" fmla="*/ 380302 h 6198437"/>
                <a:gd name="connsiteX10" fmla="*/ 1674225 w 5818958"/>
                <a:gd name="connsiteY10" fmla="*/ 481442 h 6198437"/>
                <a:gd name="connsiteX11" fmla="*/ 1801300 w 5818958"/>
                <a:gd name="connsiteY11" fmla="*/ 442651 h 6198437"/>
                <a:gd name="connsiteX12" fmla="*/ 1831779 w 5818958"/>
                <a:gd name="connsiteY12" fmla="*/ 393463 h 6198437"/>
                <a:gd name="connsiteX13" fmla="*/ 2067666 w 5818958"/>
                <a:gd name="connsiteY13" fmla="*/ 319342 h 6198437"/>
                <a:gd name="connsiteX14" fmla="*/ 2108121 w 5818958"/>
                <a:gd name="connsiteY14" fmla="*/ 352592 h 6198437"/>
                <a:gd name="connsiteX15" fmla="*/ 2304663 w 5818958"/>
                <a:gd name="connsiteY15" fmla="*/ 288171 h 6198437"/>
                <a:gd name="connsiteX16" fmla="*/ 2263875 w 5818958"/>
                <a:gd name="connsiteY16" fmla="*/ 119840 h 6198437"/>
                <a:gd name="connsiteX17" fmla="*/ 2647118 w 5818958"/>
                <a:gd name="connsiteY17" fmla="*/ 0 h 6198437"/>
                <a:gd name="connsiteX18" fmla="*/ 2695416 w 5818958"/>
                <a:gd name="connsiteY18" fmla="*/ 165560 h 6198437"/>
                <a:gd name="connsiteX19" fmla="*/ 4458967 w 5818958"/>
                <a:gd name="connsiteY19" fmla="*/ 680900 h 6198437"/>
                <a:gd name="connsiteX20" fmla="*/ 5009097 w 5818958"/>
                <a:gd name="connsiteY20" fmla="*/ 1291242 h 6198437"/>
                <a:gd name="connsiteX21" fmla="*/ 5070501 w 5818958"/>
                <a:gd name="connsiteY21" fmla="*/ 1298860 h 6198437"/>
                <a:gd name="connsiteX22" fmla="*/ 5235342 w 5818958"/>
                <a:gd name="connsiteY22" fmla="*/ 1479661 h 6198437"/>
                <a:gd name="connsiteX23" fmla="*/ 5235565 w 5818958"/>
                <a:gd name="connsiteY23" fmla="*/ 1535080 h 6198437"/>
                <a:gd name="connsiteX24" fmla="*/ 5396829 w 5818958"/>
                <a:gd name="connsiteY24" fmla="*/ 1726990 h 6198437"/>
                <a:gd name="connsiteX25" fmla="*/ 5776817 w 5818958"/>
                <a:gd name="connsiteY25" fmla="*/ 3519512 h 6198437"/>
                <a:gd name="connsiteX26" fmla="*/ 5584738 w 5818958"/>
                <a:gd name="connsiteY26" fmla="*/ 4385669 h 6198437"/>
                <a:gd name="connsiteX27" fmla="*/ 5732188 w 5818958"/>
                <a:gd name="connsiteY27" fmla="*/ 4428964 h 6198437"/>
                <a:gd name="connsiteX28" fmla="*/ 5628271 w 5818958"/>
                <a:gd name="connsiteY28" fmla="*/ 4865439 h 6198437"/>
                <a:gd name="connsiteX29" fmla="*/ 5483668 w 5818958"/>
                <a:gd name="connsiteY29" fmla="*/ 4824545 h 6198437"/>
                <a:gd name="connsiteX30" fmla="*/ 4370241 w 5818958"/>
                <a:gd name="connsiteY30" fmla="*/ 6198437 h 6198437"/>
                <a:gd name="connsiteX31" fmla="*/ 4179243 w 5818958"/>
                <a:gd name="connsiteY31" fmla="*/ 5626725 h 6198437"/>
                <a:gd name="connsiteX32" fmla="*/ 4965378 w 5818958"/>
                <a:gd name="connsiteY32" fmla="*/ 4596953 h 6198437"/>
                <a:gd name="connsiteX33" fmla="*/ 5245427 w 5818958"/>
                <a:gd name="connsiteY33" fmla="*/ 3352779 h 6198437"/>
                <a:gd name="connsiteX34" fmla="*/ 4926611 w 5818958"/>
                <a:gd name="connsiteY34" fmla="*/ 2049487 h 6198437"/>
                <a:gd name="connsiteX35" fmla="*/ 4109358 w 5818958"/>
                <a:gd name="connsiteY35" fmla="*/ 1163055 h 6198437"/>
                <a:gd name="connsiteX36" fmla="*/ 2815092 w 5818958"/>
                <a:gd name="connsiteY36" fmla="*/ 761302 h 6198437"/>
                <a:gd name="connsiteX37" fmla="*/ 1816872 w 5818958"/>
                <a:gd name="connsiteY37" fmla="*/ 1081342 h 6198437"/>
                <a:gd name="connsiteX38" fmla="*/ 807952 w 5818958"/>
                <a:gd name="connsiteY38" fmla="*/ 2111591 h 6198437"/>
                <a:gd name="connsiteX39" fmla="*/ 543881 w 5818958"/>
                <a:gd name="connsiteY39" fmla="*/ 3288247 h 6198437"/>
                <a:gd name="connsiteX0" fmla="*/ 807952 w 5818958"/>
                <a:gd name="connsiteY0" fmla="*/ 2111591 h 6198437"/>
                <a:gd name="connsiteX1" fmla="*/ 0 w 5818958"/>
                <a:gd name="connsiteY1" fmla="*/ 3193505 h 6198437"/>
                <a:gd name="connsiteX2" fmla="*/ 185633 w 5818958"/>
                <a:gd name="connsiteY2" fmla="*/ 2374266 h 6198437"/>
                <a:gd name="connsiteX3" fmla="*/ 152902 w 5818958"/>
                <a:gd name="connsiteY3" fmla="*/ 2331944 h 6198437"/>
                <a:gd name="connsiteX4" fmla="*/ 225159 w 5818958"/>
                <a:gd name="connsiteY4" fmla="*/ 2067448 h 6198437"/>
                <a:gd name="connsiteX5" fmla="*/ 260875 w 5818958"/>
                <a:gd name="connsiteY5" fmla="*/ 2050403 h 6198437"/>
                <a:gd name="connsiteX6" fmla="*/ 1268232 w 5818958"/>
                <a:gd name="connsiteY6" fmla="*/ 647002 h 6198437"/>
                <a:gd name="connsiteX7" fmla="*/ 1481148 w 5818958"/>
                <a:gd name="connsiteY7" fmla="*/ 547251 h 6198437"/>
                <a:gd name="connsiteX8" fmla="*/ 1461087 w 5818958"/>
                <a:gd name="connsiteY8" fmla="*/ 432260 h 6198437"/>
                <a:gd name="connsiteX9" fmla="*/ 1656852 w 5818958"/>
                <a:gd name="connsiteY9" fmla="*/ 380302 h 6198437"/>
                <a:gd name="connsiteX10" fmla="*/ 1674225 w 5818958"/>
                <a:gd name="connsiteY10" fmla="*/ 481442 h 6198437"/>
                <a:gd name="connsiteX11" fmla="*/ 1801300 w 5818958"/>
                <a:gd name="connsiteY11" fmla="*/ 442651 h 6198437"/>
                <a:gd name="connsiteX12" fmla="*/ 1831779 w 5818958"/>
                <a:gd name="connsiteY12" fmla="*/ 393463 h 6198437"/>
                <a:gd name="connsiteX13" fmla="*/ 2067666 w 5818958"/>
                <a:gd name="connsiteY13" fmla="*/ 319342 h 6198437"/>
                <a:gd name="connsiteX14" fmla="*/ 2108121 w 5818958"/>
                <a:gd name="connsiteY14" fmla="*/ 352592 h 6198437"/>
                <a:gd name="connsiteX15" fmla="*/ 2304663 w 5818958"/>
                <a:gd name="connsiteY15" fmla="*/ 288171 h 6198437"/>
                <a:gd name="connsiteX16" fmla="*/ 2263875 w 5818958"/>
                <a:gd name="connsiteY16" fmla="*/ 119840 h 6198437"/>
                <a:gd name="connsiteX17" fmla="*/ 2647118 w 5818958"/>
                <a:gd name="connsiteY17" fmla="*/ 0 h 6198437"/>
                <a:gd name="connsiteX18" fmla="*/ 2695416 w 5818958"/>
                <a:gd name="connsiteY18" fmla="*/ 165560 h 6198437"/>
                <a:gd name="connsiteX19" fmla="*/ 4458967 w 5818958"/>
                <a:gd name="connsiteY19" fmla="*/ 680900 h 6198437"/>
                <a:gd name="connsiteX20" fmla="*/ 5009097 w 5818958"/>
                <a:gd name="connsiteY20" fmla="*/ 1291242 h 6198437"/>
                <a:gd name="connsiteX21" fmla="*/ 5070501 w 5818958"/>
                <a:gd name="connsiteY21" fmla="*/ 1298860 h 6198437"/>
                <a:gd name="connsiteX22" fmla="*/ 5235342 w 5818958"/>
                <a:gd name="connsiteY22" fmla="*/ 1479661 h 6198437"/>
                <a:gd name="connsiteX23" fmla="*/ 5235565 w 5818958"/>
                <a:gd name="connsiteY23" fmla="*/ 1535080 h 6198437"/>
                <a:gd name="connsiteX24" fmla="*/ 5396829 w 5818958"/>
                <a:gd name="connsiteY24" fmla="*/ 1726990 h 6198437"/>
                <a:gd name="connsiteX25" fmla="*/ 5776817 w 5818958"/>
                <a:gd name="connsiteY25" fmla="*/ 3519512 h 6198437"/>
                <a:gd name="connsiteX26" fmla="*/ 5584738 w 5818958"/>
                <a:gd name="connsiteY26" fmla="*/ 4385669 h 6198437"/>
                <a:gd name="connsiteX27" fmla="*/ 5732188 w 5818958"/>
                <a:gd name="connsiteY27" fmla="*/ 4428964 h 6198437"/>
                <a:gd name="connsiteX28" fmla="*/ 5628271 w 5818958"/>
                <a:gd name="connsiteY28" fmla="*/ 4865439 h 6198437"/>
                <a:gd name="connsiteX29" fmla="*/ 5483668 w 5818958"/>
                <a:gd name="connsiteY29" fmla="*/ 4824545 h 6198437"/>
                <a:gd name="connsiteX30" fmla="*/ 4370241 w 5818958"/>
                <a:gd name="connsiteY30" fmla="*/ 6198437 h 6198437"/>
                <a:gd name="connsiteX31" fmla="*/ 4179243 w 5818958"/>
                <a:gd name="connsiteY31" fmla="*/ 5626725 h 6198437"/>
                <a:gd name="connsiteX32" fmla="*/ 4965378 w 5818958"/>
                <a:gd name="connsiteY32" fmla="*/ 4596953 h 6198437"/>
                <a:gd name="connsiteX33" fmla="*/ 5245427 w 5818958"/>
                <a:gd name="connsiteY33" fmla="*/ 3352779 h 6198437"/>
                <a:gd name="connsiteX34" fmla="*/ 4926611 w 5818958"/>
                <a:gd name="connsiteY34" fmla="*/ 2049487 h 6198437"/>
                <a:gd name="connsiteX35" fmla="*/ 4109358 w 5818958"/>
                <a:gd name="connsiteY35" fmla="*/ 1163055 h 6198437"/>
                <a:gd name="connsiteX36" fmla="*/ 2815092 w 5818958"/>
                <a:gd name="connsiteY36" fmla="*/ 761302 h 6198437"/>
                <a:gd name="connsiteX37" fmla="*/ 1816872 w 5818958"/>
                <a:gd name="connsiteY37" fmla="*/ 1081342 h 6198437"/>
                <a:gd name="connsiteX38" fmla="*/ 807952 w 5818958"/>
                <a:gd name="connsiteY38" fmla="*/ 2111591 h 6198437"/>
                <a:gd name="connsiteX0" fmla="*/ 655050 w 5666056"/>
                <a:gd name="connsiteY0" fmla="*/ 2111591 h 6198437"/>
                <a:gd name="connsiteX1" fmla="*/ 32731 w 5666056"/>
                <a:gd name="connsiteY1" fmla="*/ 2374266 h 6198437"/>
                <a:gd name="connsiteX2" fmla="*/ 0 w 5666056"/>
                <a:gd name="connsiteY2" fmla="*/ 2331944 h 6198437"/>
                <a:gd name="connsiteX3" fmla="*/ 72257 w 5666056"/>
                <a:gd name="connsiteY3" fmla="*/ 2067448 h 6198437"/>
                <a:gd name="connsiteX4" fmla="*/ 107973 w 5666056"/>
                <a:gd name="connsiteY4" fmla="*/ 2050403 h 6198437"/>
                <a:gd name="connsiteX5" fmla="*/ 1115330 w 5666056"/>
                <a:gd name="connsiteY5" fmla="*/ 647002 h 6198437"/>
                <a:gd name="connsiteX6" fmla="*/ 1328246 w 5666056"/>
                <a:gd name="connsiteY6" fmla="*/ 547251 h 6198437"/>
                <a:gd name="connsiteX7" fmla="*/ 1308185 w 5666056"/>
                <a:gd name="connsiteY7" fmla="*/ 432260 h 6198437"/>
                <a:gd name="connsiteX8" fmla="*/ 1503950 w 5666056"/>
                <a:gd name="connsiteY8" fmla="*/ 380302 h 6198437"/>
                <a:gd name="connsiteX9" fmla="*/ 1521323 w 5666056"/>
                <a:gd name="connsiteY9" fmla="*/ 481442 h 6198437"/>
                <a:gd name="connsiteX10" fmla="*/ 1648398 w 5666056"/>
                <a:gd name="connsiteY10" fmla="*/ 442651 h 6198437"/>
                <a:gd name="connsiteX11" fmla="*/ 1678877 w 5666056"/>
                <a:gd name="connsiteY11" fmla="*/ 393463 h 6198437"/>
                <a:gd name="connsiteX12" fmla="*/ 1914764 w 5666056"/>
                <a:gd name="connsiteY12" fmla="*/ 319342 h 6198437"/>
                <a:gd name="connsiteX13" fmla="*/ 1955219 w 5666056"/>
                <a:gd name="connsiteY13" fmla="*/ 352592 h 6198437"/>
                <a:gd name="connsiteX14" fmla="*/ 2151761 w 5666056"/>
                <a:gd name="connsiteY14" fmla="*/ 288171 h 6198437"/>
                <a:gd name="connsiteX15" fmla="*/ 2110973 w 5666056"/>
                <a:gd name="connsiteY15" fmla="*/ 119840 h 6198437"/>
                <a:gd name="connsiteX16" fmla="*/ 2494216 w 5666056"/>
                <a:gd name="connsiteY16" fmla="*/ 0 h 6198437"/>
                <a:gd name="connsiteX17" fmla="*/ 2542514 w 5666056"/>
                <a:gd name="connsiteY17" fmla="*/ 165560 h 6198437"/>
                <a:gd name="connsiteX18" fmla="*/ 4306065 w 5666056"/>
                <a:gd name="connsiteY18" fmla="*/ 680900 h 6198437"/>
                <a:gd name="connsiteX19" fmla="*/ 4856195 w 5666056"/>
                <a:gd name="connsiteY19" fmla="*/ 1291242 h 6198437"/>
                <a:gd name="connsiteX20" fmla="*/ 4917599 w 5666056"/>
                <a:gd name="connsiteY20" fmla="*/ 1298860 h 6198437"/>
                <a:gd name="connsiteX21" fmla="*/ 5082440 w 5666056"/>
                <a:gd name="connsiteY21" fmla="*/ 1479661 h 6198437"/>
                <a:gd name="connsiteX22" fmla="*/ 5082663 w 5666056"/>
                <a:gd name="connsiteY22" fmla="*/ 1535080 h 6198437"/>
                <a:gd name="connsiteX23" fmla="*/ 5243927 w 5666056"/>
                <a:gd name="connsiteY23" fmla="*/ 1726990 h 6198437"/>
                <a:gd name="connsiteX24" fmla="*/ 5623915 w 5666056"/>
                <a:gd name="connsiteY24" fmla="*/ 3519512 h 6198437"/>
                <a:gd name="connsiteX25" fmla="*/ 5431836 w 5666056"/>
                <a:gd name="connsiteY25" fmla="*/ 4385669 h 6198437"/>
                <a:gd name="connsiteX26" fmla="*/ 5579286 w 5666056"/>
                <a:gd name="connsiteY26" fmla="*/ 4428964 h 6198437"/>
                <a:gd name="connsiteX27" fmla="*/ 5475369 w 5666056"/>
                <a:gd name="connsiteY27" fmla="*/ 4865439 h 6198437"/>
                <a:gd name="connsiteX28" fmla="*/ 5330766 w 5666056"/>
                <a:gd name="connsiteY28" fmla="*/ 4824545 h 6198437"/>
                <a:gd name="connsiteX29" fmla="*/ 4217339 w 5666056"/>
                <a:gd name="connsiteY29" fmla="*/ 6198437 h 6198437"/>
                <a:gd name="connsiteX30" fmla="*/ 4026341 w 5666056"/>
                <a:gd name="connsiteY30" fmla="*/ 5626725 h 6198437"/>
                <a:gd name="connsiteX31" fmla="*/ 4812476 w 5666056"/>
                <a:gd name="connsiteY31" fmla="*/ 4596953 h 6198437"/>
                <a:gd name="connsiteX32" fmla="*/ 5092525 w 5666056"/>
                <a:gd name="connsiteY32" fmla="*/ 3352779 h 6198437"/>
                <a:gd name="connsiteX33" fmla="*/ 4773709 w 5666056"/>
                <a:gd name="connsiteY33" fmla="*/ 2049487 h 6198437"/>
                <a:gd name="connsiteX34" fmla="*/ 3956456 w 5666056"/>
                <a:gd name="connsiteY34" fmla="*/ 1163055 h 6198437"/>
                <a:gd name="connsiteX35" fmla="*/ 2662190 w 5666056"/>
                <a:gd name="connsiteY35" fmla="*/ 761302 h 6198437"/>
                <a:gd name="connsiteX36" fmla="*/ 1663970 w 5666056"/>
                <a:gd name="connsiteY36" fmla="*/ 1081342 h 6198437"/>
                <a:gd name="connsiteX37" fmla="*/ 655050 w 5666056"/>
                <a:gd name="connsiteY37" fmla="*/ 2111591 h 6198437"/>
                <a:gd name="connsiteX0" fmla="*/ 655050 w 5666056"/>
                <a:gd name="connsiteY0" fmla="*/ 2111591 h 6198437"/>
                <a:gd name="connsiteX1" fmla="*/ 0 w 5666056"/>
                <a:gd name="connsiteY1" fmla="*/ 2331944 h 6198437"/>
                <a:gd name="connsiteX2" fmla="*/ 72257 w 5666056"/>
                <a:gd name="connsiteY2" fmla="*/ 2067448 h 6198437"/>
                <a:gd name="connsiteX3" fmla="*/ 107973 w 5666056"/>
                <a:gd name="connsiteY3" fmla="*/ 2050403 h 6198437"/>
                <a:gd name="connsiteX4" fmla="*/ 1115330 w 5666056"/>
                <a:gd name="connsiteY4" fmla="*/ 647002 h 6198437"/>
                <a:gd name="connsiteX5" fmla="*/ 1328246 w 5666056"/>
                <a:gd name="connsiteY5" fmla="*/ 547251 h 6198437"/>
                <a:gd name="connsiteX6" fmla="*/ 1308185 w 5666056"/>
                <a:gd name="connsiteY6" fmla="*/ 432260 h 6198437"/>
                <a:gd name="connsiteX7" fmla="*/ 1503950 w 5666056"/>
                <a:gd name="connsiteY7" fmla="*/ 380302 h 6198437"/>
                <a:gd name="connsiteX8" fmla="*/ 1521323 w 5666056"/>
                <a:gd name="connsiteY8" fmla="*/ 481442 h 6198437"/>
                <a:gd name="connsiteX9" fmla="*/ 1648398 w 5666056"/>
                <a:gd name="connsiteY9" fmla="*/ 442651 h 6198437"/>
                <a:gd name="connsiteX10" fmla="*/ 1678877 w 5666056"/>
                <a:gd name="connsiteY10" fmla="*/ 393463 h 6198437"/>
                <a:gd name="connsiteX11" fmla="*/ 1914764 w 5666056"/>
                <a:gd name="connsiteY11" fmla="*/ 319342 h 6198437"/>
                <a:gd name="connsiteX12" fmla="*/ 1955219 w 5666056"/>
                <a:gd name="connsiteY12" fmla="*/ 352592 h 6198437"/>
                <a:gd name="connsiteX13" fmla="*/ 2151761 w 5666056"/>
                <a:gd name="connsiteY13" fmla="*/ 288171 h 6198437"/>
                <a:gd name="connsiteX14" fmla="*/ 2110973 w 5666056"/>
                <a:gd name="connsiteY14" fmla="*/ 119840 h 6198437"/>
                <a:gd name="connsiteX15" fmla="*/ 2494216 w 5666056"/>
                <a:gd name="connsiteY15" fmla="*/ 0 h 6198437"/>
                <a:gd name="connsiteX16" fmla="*/ 2542514 w 5666056"/>
                <a:gd name="connsiteY16" fmla="*/ 165560 h 6198437"/>
                <a:gd name="connsiteX17" fmla="*/ 4306065 w 5666056"/>
                <a:gd name="connsiteY17" fmla="*/ 680900 h 6198437"/>
                <a:gd name="connsiteX18" fmla="*/ 4856195 w 5666056"/>
                <a:gd name="connsiteY18" fmla="*/ 1291242 h 6198437"/>
                <a:gd name="connsiteX19" fmla="*/ 4917599 w 5666056"/>
                <a:gd name="connsiteY19" fmla="*/ 1298860 h 6198437"/>
                <a:gd name="connsiteX20" fmla="*/ 5082440 w 5666056"/>
                <a:gd name="connsiteY20" fmla="*/ 1479661 h 6198437"/>
                <a:gd name="connsiteX21" fmla="*/ 5082663 w 5666056"/>
                <a:gd name="connsiteY21" fmla="*/ 1535080 h 6198437"/>
                <a:gd name="connsiteX22" fmla="*/ 5243927 w 5666056"/>
                <a:gd name="connsiteY22" fmla="*/ 1726990 h 6198437"/>
                <a:gd name="connsiteX23" fmla="*/ 5623915 w 5666056"/>
                <a:gd name="connsiteY23" fmla="*/ 3519512 h 6198437"/>
                <a:gd name="connsiteX24" fmla="*/ 5431836 w 5666056"/>
                <a:gd name="connsiteY24" fmla="*/ 4385669 h 6198437"/>
                <a:gd name="connsiteX25" fmla="*/ 5579286 w 5666056"/>
                <a:gd name="connsiteY25" fmla="*/ 4428964 h 6198437"/>
                <a:gd name="connsiteX26" fmla="*/ 5475369 w 5666056"/>
                <a:gd name="connsiteY26" fmla="*/ 4865439 h 6198437"/>
                <a:gd name="connsiteX27" fmla="*/ 5330766 w 5666056"/>
                <a:gd name="connsiteY27" fmla="*/ 4824545 h 6198437"/>
                <a:gd name="connsiteX28" fmla="*/ 4217339 w 5666056"/>
                <a:gd name="connsiteY28" fmla="*/ 6198437 h 6198437"/>
                <a:gd name="connsiteX29" fmla="*/ 4026341 w 5666056"/>
                <a:gd name="connsiteY29" fmla="*/ 5626725 h 6198437"/>
                <a:gd name="connsiteX30" fmla="*/ 4812476 w 5666056"/>
                <a:gd name="connsiteY30" fmla="*/ 4596953 h 6198437"/>
                <a:gd name="connsiteX31" fmla="*/ 5092525 w 5666056"/>
                <a:gd name="connsiteY31" fmla="*/ 3352779 h 6198437"/>
                <a:gd name="connsiteX32" fmla="*/ 4773709 w 5666056"/>
                <a:gd name="connsiteY32" fmla="*/ 2049487 h 6198437"/>
                <a:gd name="connsiteX33" fmla="*/ 3956456 w 5666056"/>
                <a:gd name="connsiteY33" fmla="*/ 1163055 h 6198437"/>
                <a:gd name="connsiteX34" fmla="*/ 2662190 w 5666056"/>
                <a:gd name="connsiteY34" fmla="*/ 761302 h 6198437"/>
                <a:gd name="connsiteX35" fmla="*/ 1663970 w 5666056"/>
                <a:gd name="connsiteY35" fmla="*/ 1081342 h 6198437"/>
                <a:gd name="connsiteX36" fmla="*/ 655050 w 5666056"/>
                <a:gd name="connsiteY36" fmla="*/ 2111591 h 6198437"/>
                <a:gd name="connsiteX0" fmla="*/ 582793 w 5593799"/>
                <a:gd name="connsiteY0" fmla="*/ 2111591 h 6198437"/>
                <a:gd name="connsiteX1" fmla="*/ 0 w 5593799"/>
                <a:gd name="connsiteY1" fmla="*/ 2067448 h 6198437"/>
                <a:gd name="connsiteX2" fmla="*/ 35716 w 5593799"/>
                <a:gd name="connsiteY2" fmla="*/ 2050403 h 6198437"/>
                <a:gd name="connsiteX3" fmla="*/ 1043073 w 5593799"/>
                <a:gd name="connsiteY3" fmla="*/ 647002 h 6198437"/>
                <a:gd name="connsiteX4" fmla="*/ 1255989 w 5593799"/>
                <a:gd name="connsiteY4" fmla="*/ 547251 h 6198437"/>
                <a:gd name="connsiteX5" fmla="*/ 1235928 w 5593799"/>
                <a:gd name="connsiteY5" fmla="*/ 432260 h 6198437"/>
                <a:gd name="connsiteX6" fmla="*/ 1431693 w 5593799"/>
                <a:gd name="connsiteY6" fmla="*/ 380302 h 6198437"/>
                <a:gd name="connsiteX7" fmla="*/ 1449066 w 5593799"/>
                <a:gd name="connsiteY7" fmla="*/ 481442 h 6198437"/>
                <a:gd name="connsiteX8" fmla="*/ 1576141 w 5593799"/>
                <a:gd name="connsiteY8" fmla="*/ 442651 h 6198437"/>
                <a:gd name="connsiteX9" fmla="*/ 1606620 w 5593799"/>
                <a:gd name="connsiteY9" fmla="*/ 393463 h 6198437"/>
                <a:gd name="connsiteX10" fmla="*/ 1842507 w 5593799"/>
                <a:gd name="connsiteY10" fmla="*/ 319342 h 6198437"/>
                <a:gd name="connsiteX11" fmla="*/ 1882962 w 5593799"/>
                <a:gd name="connsiteY11" fmla="*/ 352592 h 6198437"/>
                <a:gd name="connsiteX12" fmla="*/ 2079504 w 5593799"/>
                <a:gd name="connsiteY12" fmla="*/ 288171 h 6198437"/>
                <a:gd name="connsiteX13" fmla="*/ 2038716 w 5593799"/>
                <a:gd name="connsiteY13" fmla="*/ 119840 h 6198437"/>
                <a:gd name="connsiteX14" fmla="*/ 2421959 w 5593799"/>
                <a:gd name="connsiteY14" fmla="*/ 0 h 6198437"/>
                <a:gd name="connsiteX15" fmla="*/ 2470257 w 5593799"/>
                <a:gd name="connsiteY15" fmla="*/ 165560 h 6198437"/>
                <a:gd name="connsiteX16" fmla="*/ 4233808 w 5593799"/>
                <a:gd name="connsiteY16" fmla="*/ 680900 h 6198437"/>
                <a:gd name="connsiteX17" fmla="*/ 4783938 w 5593799"/>
                <a:gd name="connsiteY17" fmla="*/ 1291242 h 6198437"/>
                <a:gd name="connsiteX18" fmla="*/ 4845342 w 5593799"/>
                <a:gd name="connsiteY18" fmla="*/ 1298860 h 6198437"/>
                <a:gd name="connsiteX19" fmla="*/ 5010183 w 5593799"/>
                <a:gd name="connsiteY19" fmla="*/ 1479661 h 6198437"/>
                <a:gd name="connsiteX20" fmla="*/ 5010406 w 5593799"/>
                <a:gd name="connsiteY20" fmla="*/ 1535080 h 6198437"/>
                <a:gd name="connsiteX21" fmla="*/ 5171670 w 5593799"/>
                <a:gd name="connsiteY21" fmla="*/ 1726990 h 6198437"/>
                <a:gd name="connsiteX22" fmla="*/ 5551658 w 5593799"/>
                <a:gd name="connsiteY22" fmla="*/ 3519512 h 6198437"/>
                <a:gd name="connsiteX23" fmla="*/ 5359579 w 5593799"/>
                <a:gd name="connsiteY23" fmla="*/ 4385669 h 6198437"/>
                <a:gd name="connsiteX24" fmla="*/ 5507029 w 5593799"/>
                <a:gd name="connsiteY24" fmla="*/ 4428964 h 6198437"/>
                <a:gd name="connsiteX25" fmla="*/ 5403112 w 5593799"/>
                <a:gd name="connsiteY25" fmla="*/ 4865439 h 6198437"/>
                <a:gd name="connsiteX26" fmla="*/ 5258509 w 5593799"/>
                <a:gd name="connsiteY26" fmla="*/ 4824545 h 6198437"/>
                <a:gd name="connsiteX27" fmla="*/ 4145082 w 5593799"/>
                <a:gd name="connsiteY27" fmla="*/ 6198437 h 6198437"/>
                <a:gd name="connsiteX28" fmla="*/ 3954084 w 5593799"/>
                <a:gd name="connsiteY28" fmla="*/ 5626725 h 6198437"/>
                <a:gd name="connsiteX29" fmla="*/ 4740219 w 5593799"/>
                <a:gd name="connsiteY29" fmla="*/ 4596953 h 6198437"/>
                <a:gd name="connsiteX30" fmla="*/ 5020268 w 5593799"/>
                <a:gd name="connsiteY30" fmla="*/ 3352779 h 6198437"/>
                <a:gd name="connsiteX31" fmla="*/ 4701452 w 5593799"/>
                <a:gd name="connsiteY31" fmla="*/ 2049487 h 6198437"/>
                <a:gd name="connsiteX32" fmla="*/ 3884199 w 5593799"/>
                <a:gd name="connsiteY32" fmla="*/ 1163055 h 6198437"/>
                <a:gd name="connsiteX33" fmla="*/ 2589933 w 5593799"/>
                <a:gd name="connsiteY33" fmla="*/ 761302 h 6198437"/>
                <a:gd name="connsiteX34" fmla="*/ 1591713 w 5593799"/>
                <a:gd name="connsiteY34" fmla="*/ 1081342 h 6198437"/>
                <a:gd name="connsiteX35" fmla="*/ 582793 w 5593799"/>
                <a:gd name="connsiteY35" fmla="*/ 2111591 h 6198437"/>
                <a:gd name="connsiteX0" fmla="*/ 582793 w 5593799"/>
                <a:gd name="connsiteY0" fmla="*/ 2111591 h 6198437"/>
                <a:gd name="connsiteX1" fmla="*/ 0 w 5593799"/>
                <a:gd name="connsiteY1" fmla="*/ 2067448 h 6198437"/>
                <a:gd name="connsiteX2" fmla="*/ 1043073 w 5593799"/>
                <a:gd name="connsiteY2" fmla="*/ 647002 h 6198437"/>
                <a:gd name="connsiteX3" fmla="*/ 1255989 w 5593799"/>
                <a:gd name="connsiteY3" fmla="*/ 547251 h 6198437"/>
                <a:gd name="connsiteX4" fmla="*/ 1235928 w 5593799"/>
                <a:gd name="connsiteY4" fmla="*/ 432260 h 6198437"/>
                <a:gd name="connsiteX5" fmla="*/ 1431693 w 5593799"/>
                <a:gd name="connsiteY5" fmla="*/ 380302 h 6198437"/>
                <a:gd name="connsiteX6" fmla="*/ 1449066 w 5593799"/>
                <a:gd name="connsiteY6" fmla="*/ 481442 h 6198437"/>
                <a:gd name="connsiteX7" fmla="*/ 1576141 w 5593799"/>
                <a:gd name="connsiteY7" fmla="*/ 442651 h 6198437"/>
                <a:gd name="connsiteX8" fmla="*/ 1606620 w 5593799"/>
                <a:gd name="connsiteY8" fmla="*/ 393463 h 6198437"/>
                <a:gd name="connsiteX9" fmla="*/ 1842507 w 5593799"/>
                <a:gd name="connsiteY9" fmla="*/ 319342 h 6198437"/>
                <a:gd name="connsiteX10" fmla="*/ 1882962 w 5593799"/>
                <a:gd name="connsiteY10" fmla="*/ 352592 h 6198437"/>
                <a:gd name="connsiteX11" fmla="*/ 2079504 w 5593799"/>
                <a:gd name="connsiteY11" fmla="*/ 288171 h 6198437"/>
                <a:gd name="connsiteX12" fmla="*/ 2038716 w 5593799"/>
                <a:gd name="connsiteY12" fmla="*/ 119840 h 6198437"/>
                <a:gd name="connsiteX13" fmla="*/ 2421959 w 5593799"/>
                <a:gd name="connsiteY13" fmla="*/ 0 h 6198437"/>
                <a:gd name="connsiteX14" fmla="*/ 2470257 w 5593799"/>
                <a:gd name="connsiteY14" fmla="*/ 165560 h 6198437"/>
                <a:gd name="connsiteX15" fmla="*/ 4233808 w 5593799"/>
                <a:gd name="connsiteY15" fmla="*/ 680900 h 6198437"/>
                <a:gd name="connsiteX16" fmla="*/ 4783938 w 5593799"/>
                <a:gd name="connsiteY16" fmla="*/ 1291242 h 6198437"/>
                <a:gd name="connsiteX17" fmla="*/ 4845342 w 5593799"/>
                <a:gd name="connsiteY17" fmla="*/ 1298860 h 6198437"/>
                <a:gd name="connsiteX18" fmla="*/ 5010183 w 5593799"/>
                <a:gd name="connsiteY18" fmla="*/ 1479661 h 6198437"/>
                <a:gd name="connsiteX19" fmla="*/ 5010406 w 5593799"/>
                <a:gd name="connsiteY19" fmla="*/ 1535080 h 6198437"/>
                <a:gd name="connsiteX20" fmla="*/ 5171670 w 5593799"/>
                <a:gd name="connsiteY20" fmla="*/ 1726990 h 6198437"/>
                <a:gd name="connsiteX21" fmla="*/ 5551658 w 5593799"/>
                <a:gd name="connsiteY21" fmla="*/ 3519512 h 6198437"/>
                <a:gd name="connsiteX22" fmla="*/ 5359579 w 5593799"/>
                <a:gd name="connsiteY22" fmla="*/ 4385669 h 6198437"/>
                <a:gd name="connsiteX23" fmla="*/ 5507029 w 5593799"/>
                <a:gd name="connsiteY23" fmla="*/ 4428964 h 6198437"/>
                <a:gd name="connsiteX24" fmla="*/ 5403112 w 5593799"/>
                <a:gd name="connsiteY24" fmla="*/ 4865439 h 6198437"/>
                <a:gd name="connsiteX25" fmla="*/ 5258509 w 5593799"/>
                <a:gd name="connsiteY25" fmla="*/ 4824545 h 6198437"/>
                <a:gd name="connsiteX26" fmla="*/ 4145082 w 5593799"/>
                <a:gd name="connsiteY26" fmla="*/ 6198437 h 6198437"/>
                <a:gd name="connsiteX27" fmla="*/ 3954084 w 5593799"/>
                <a:gd name="connsiteY27" fmla="*/ 5626725 h 6198437"/>
                <a:gd name="connsiteX28" fmla="*/ 4740219 w 5593799"/>
                <a:gd name="connsiteY28" fmla="*/ 4596953 h 6198437"/>
                <a:gd name="connsiteX29" fmla="*/ 5020268 w 5593799"/>
                <a:gd name="connsiteY29" fmla="*/ 3352779 h 6198437"/>
                <a:gd name="connsiteX30" fmla="*/ 4701452 w 5593799"/>
                <a:gd name="connsiteY30" fmla="*/ 2049487 h 6198437"/>
                <a:gd name="connsiteX31" fmla="*/ 3884199 w 5593799"/>
                <a:gd name="connsiteY31" fmla="*/ 1163055 h 6198437"/>
                <a:gd name="connsiteX32" fmla="*/ 2589933 w 5593799"/>
                <a:gd name="connsiteY32" fmla="*/ 761302 h 6198437"/>
                <a:gd name="connsiteX33" fmla="*/ 1591713 w 5593799"/>
                <a:gd name="connsiteY33" fmla="*/ 1081342 h 6198437"/>
                <a:gd name="connsiteX34" fmla="*/ 582793 w 5593799"/>
                <a:gd name="connsiteY34" fmla="*/ 2111591 h 6198437"/>
                <a:gd name="connsiteX0" fmla="*/ 0 w 5011006"/>
                <a:gd name="connsiteY0" fmla="*/ 2111591 h 6198437"/>
                <a:gd name="connsiteX1" fmla="*/ 460280 w 5011006"/>
                <a:gd name="connsiteY1" fmla="*/ 647002 h 6198437"/>
                <a:gd name="connsiteX2" fmla="*/ 673196 w 5011006"/>
                <a:gd name="connsiteY2" fmla="*/ 547251 h 6198437"/>
                <a:gd name="connsiteX3" fmla="*/ 653135 w 5011006"/>
                <a:gd name="connsiteY3" fmla="*/ 432260 h 6198437"/>
                <a:gd name="connsiteX4" fmla="*/ 848900 w 5011006"/>
                <a:gd name="connsiteY4" fmla="*/ 380302 h 6198437"/>
                <a:gd name="connsiteX5" fmla="*/ 866273 w 5011006"/>
                <a:gd name="connsiteY5" fmla="*/ 481442 h 6198437"/>
                <a:gd name="connsiteX6" fmla="*/ 993348 w 5011006"/>
                <a:gd name="connsiteY6" fmla="*/ 442651 h 6198437"/>
                <a:gd name="connsiteX7" fmla="*/ 1023827 w 5011006"/>
                <a:gd name="connsiteY7" fmla="*/ 393463 h 6198437"/>
                <a:gd name="connsiteX8" fmla="*/ 1259714 w 5011006"/>
                <a:gd name="connsiteY8" fmla="*/ 319342 h 6198437"/>
                <a:gd name="connsiteX9" fmla="*/ 1300169 w 5011006"/>
                <a:gd name="connsiteY9" fmla="*/ 352592 h 6198437"/>
                <a:gd name="connsiteX10" fmla="*/ 1496711 w 5011006"/>
                <a:gd name="connsiteY10" fmla="*/ 288171 h 6198437"/>
                <a:gd name="connsiteX11" fmla="*/ 1455923 w 5011006"/>
                <a:gd name="connsiteY11" fmla="*/ 119840 h 6198437"/>
                <a:gd name="connsiteX12" fmla="*/ 1839166 w 5011006"/>
                <a:gd name="connsiteY12" fmla="*/ 0 h 6198437"/>
                <a:gd name="connsiteX13" fmla="*/ 1887464 w 5011006"/>
                <a:gd name="connsiteY13" fmla="*/ 165560 h 6198437"/>
                <a:gd name="connsiteX14" fmla="*/ 3651015 w 5011006"/>
                <a:gd name="connsiteY14" fmla="*/ 680900 h 6198437"/>
                <a:gd name="connsiteX15" fmla="*/ 4201145 w 5011006"/>
                <a:gd name="connsiteY15" fmla="*/ 1291242 h 6198437"/>
                <a:gd name="connsiteX16" fmla="*/ 4262549 w 5011006"/>
                <a:gd name="connsiteY16" fmla="*/ 1298860 h 6198437"/>
                <a:gd name="connsiteX17" fmla="*/ 4427390 w 5011006"/>
                <a:gd name="connsiteY17" fmla="*/ 1479661 h 6198437"/>
                <a:gd name="connsiteX18" fmla="*/ 4427613 w 5011006"/>
                <a:gd name="connsiteY18" fmla="*/ 1535080 h 6198437"/>
                <a:gd name="connsiteX19" fmla="*/ 4588877 w 5011006"/>
                <a:gd name="connsiteY19" fmla="*/ 1726990 h 6198437"/>
                <a:gd name="connsiteX20" fmla="*/ 4968865 w 5011006"/>
                <a:gd name="connsiteY20" fmla="*/ 3519512 h 6198437"/>
                <a:gd name="connsiteX21" fmla="*/ 4776786 w 5011006"/>
                <a:gd name="connsiteY21" fmla="*/ 4385669 h 6198437"/>
                <a:gd name="connsiteX22" fmla="*/ 4924236 w 5011006"/>
                <a:gd name="connsiteY22" fmla="*/ 4428964 h 6198437"/>
                <a:gd name="connsiteX23" fmla="*/ 4820319 w 5011006"/>
                <a:gd name="connsiteY23" fmla="*/ 4865439 h 6198437"/>
                <a:gd name="connsiteX24" fmla="*/ 4675716 w 5011006"/>
                <a:gd name="connsiteY24" fmla="*/ 4824545 h 6198437"/>
                <a:gd name="connsiteX25" fmla="*/ 3562289 w 5011006"/>
                <a:gd name="connsiteY25" fmla="*/ 6198437 h 6198437"/>
                <a:gd name="connsiteX26" fmla="*/ 3371291 w 5011006"/>
                <a:gd name="connsiteY26" fmla="*/ 5626725 h 6198437"/>
                <a:gd name="connsiteX27" fmla="*/ 4157426 w 5011006"/>
                <a:gd name="connsiteY27" fmla="*/ 4596953 h 6198437"/>
                <a:gd name="connsiteX28" fmla="*/ 4437475 w 5011006"/>
                <a:gd name="connsiteY28" fmla="*/ 3352779 h 6198437"/>
                <a:gd name="connsiteX29" fmla="*/ 4118659 w 5011006"/>
                <a:gd name="connsiteY29" fmla="*/ 2049487 h 6198437"/>
                <a:gd name="connsiteX30" fmla="*/ 3301406 w 5011006"/>
                <a:gd name="connsiteY30" fmla="*/ 1163055 h 6198437"/>
                <a:gd name="connsiteX31" fmla="*/ 2007140 w 5011006"/>
                <a:gd name="connsiteY31" fmla="*/ 761302 h 6198437"/>
                <a:gd name="connsiteX32" fmla="*/ 1008920 w 5011006"/>
                <a:gd name="connsiteY32" fmla="*/ 1081342 h 6198437"/>
                <a:gd name="connsiteX33" fmla="*/ 0 w 5011006"/>
                <a:gd name="connsiteY33" fmla="*/ 2111591 h 6198437"/>
                <a:gd name="connsiteX0" fmla="*/ 548640 w 4550726"/>
                <a:gd name="connsiteY0" fmla="*/ 1081342 h 6198437"/>
                <a:gd name="connsiteX1" fmla="*/ 0 w 4550726"/>
                <a:gd name="connsiteY1" fmla="*/ 647002 h 6198437"/>
                <a:gd name="connsiteX2" fmla="*/ 212916 w 4550726"/>
                <a:gd name="connsiteY2" fmla="*/ 547251 h 6198437"/>
                <a:gd name="connsiteX3" fmla="*/ 192855 w 4550726"/>
                <a:gd name="connsiteY3" fmla="*/ 432260 h 6198437"/>
                <a:gd name="connsiteX4" fmla="*/ 388620 w 4550726"/>
                <a:gd name="connsiteY4" fmla="*/ 380302 h 6198437"/>
                <a:gd name="connsiteX5" fmla="*/ 405993 w 4550726"/>
                <a:gd name="connsiteY5" fmla="*/ 481442 h 6198437"/>
                <a:gd name="connsiteX6" fmla="*/ 533068 w 4550726"/>
                <a:gd name="connsiteY6" fmla="*/ 442651 h 6198437"/>
                <a:gd name="connsiteX7" fmla="*/ 563547 w 4550726"/>
                <a:gd name="connsiteY7" fmla="*/ 393463 h 6198437"/>
                <a:gd name="connsiteX8" fmla="*/ 799434 w 4550726"/>
                <a:gd name="connsiteY8" fmla="*/ 319342 h 6198437"/>
                <a:gd name="connsiteX9" fmla="*/ 839889 w 4550726"/>
                <a:gd name="connsiteY9" fmla="*/ 352592 h 6198437"/>
                <a:gd name="connsiteX10" fmla="*/ 1036431 w 4550726"/>
                <a:gd name="connsiteY10" fmla="*/ 288171 h 6198437"/>
                <a:gd name="connsiteX11" fmla="*/ 995643 w 4550726"/>
                <a:gd name="connsiteY11" fmla="*/ 119840 h 6198437"/>
                <a:gd name="connsiteX12" fmla="*/ 1378886 w 4550726"/>
                <a:gd name="connsiteY12" fmla="*/ 0 h 6198437"/>
                <a:gd name="connsiteX13" fmla="*/ 1427184 w 4550726"/>
                <a:gd name="connsiteY13" fmla="*/ 165560 h 6198437"/>
                <a:gd name="connsiteX14" fmla="*/ 3190735 w 4550726"/>
                <a:gd name="connsiteY14" fmla="*/ 680900 h 6198437"/>
                <a:gd name="connsiteX15" fmla="*/ 3740865 w 4550726"/>
                <a:gd name="connsiteY15" fmla="*/ 1291242 h 6198437"/>
                <a:gd name="connsiteX16" fmla="*/ 3802269 w 4550726"/>
                <a:gd name="connsiteY16" fmla="*/ 1298860 h 6198437"/>
                <a:gd name="connsiteX17" fmla="*/ 3967110 w 4550726"/>
                <a:gd name="connsiteY17" fmla="*/ 1479661 h 6198437"/>
                <a:gd name="connsiteX18" fmla="*/ 3967333 w 4550726"/>
                <a:gd name="connsiteY18" fmla="*/ 1535080 h 6198437"/>
                <a:gd name="connsiteX19" fmla="*/ 4128597 w 4550726"/>
                <a:gd name="connsiteY19" fmla="*/ 1726990 h 6198437"/>
                <a:gd name="connsiteX20" fmla="*/ 4508585 w 4550726"/>
                <a:gd name="connsiteY20" fmla="*/ 3519512 h 6198437"/>
                <a:gd name="connsiteX21" fmla="*/ 4316506 w 4550726"/>
                <a:gd name="connsiteY21" fmla="*/ 4385669 h 6198437"/>
                <a:gd name="connsiteX22" fmla="*/ 4463956 w 4550726"/>
                <a:gd name="connsiteY22" fmla="*/ 4428964 h 6198437"/>
                <a:gd name="connsiteX23" fmla="*/ 4360039 w 4550726"/>
                <a:gd name="connsiteY23" fmla="*/ 4865439 h 6198437"/>
                <a:gd name="connsiteX24" fmla="*/ 4215436 w 4550726"/>
                <a:gd name="connsiteY24" fmla="*/ 4824545 h 6198437"/>
                <a:gd name="connsiteX25" fmla="*/ 3102009 w 4550726"/>
                <a:gd name="connsiteY25" fmla="*/ 6198437 h 6198437"/>
                <a:gd name="connsiteX26" fmla="*/ 2911011 w 4550726"/>
                <a:gd name="connsiteY26" fmla="*/ 5626725 h 6198437"/>
                <a:gd name="connsiteX27" fmla="*/ 3697146 w 4550726"/>
                <a:gd name="connsiteY27" fmla="*/ 4596953 h 6198437"/>
                <a:gd name="connsiteX28" fmla="*/ 3977195 w 4550726"/>
                <a:gd name="connsiteY28" fmla="*/ 3352779 h 6198437"/>
                <a:gd name="connsiteX29" fmla="*/ 3658379 w 4550726"/>
                <a:gd name="connsiteY29" fmla="*/ 2049487 h 6198437"/>
                <a:gd name="connsiteX30" fmla="*/ 2841126 w 4550726"/>
                <a:gd name="connsiteY30" fmla="*/ 1163055 h 6198437"/>
                <a:gd name="connsiteX31" fmla="*/ 1546860 w 4550726"/>
                <a:gd name="connsiteY31" fmla="*/ 761302 h 6198437"/>
                <a:gd name="connsiteX32" fmla="*/ 548640 w 4550726"/>
                <a:gd name="connsiteY32" fmla="*/ 1081342 h 6198437"/>
                <a:gd name="connsiteX0" fmla="*/ 355785 w 4357871"/>
                <a:gd name="connsiteY0" fmla="*/ 1081342 h 6198437"/>
                <a:gd name="connsiteX1" fmla="*/ 20061 w 4357871"/>
                <a:gd name="connsiteY1" fmla="*/ 547251 h 6198437"/>
                <a:gd name="connsiteX2" fmla="*/ 0 w 4357871"/>
                <a:gd name="connsiteY2" fmla="*/ 432260 h 6198437"/>
                <a:gd name="connsiteX3" fmla="*/ 195765 w 4357871"/>
                <a:gd name="connsiteY3" fmla="*/ 380302 h 6198437"/>
                <a:gd name="connsiteX4" fmla="*/ 213138 w 4357871"/>
                <a:gd name="connsiteY4" fmla="*/ 481442 h 6198437"/>
                <a:gd name="connsiteX5" fmla="*/ 340213 w 4357871"/>
                <a:gd name="connsiteY5" fmla="*/ 442651 h 6198437"/>
                <a:gd name="connsiteX6" fmla="*/ 370692 w 4357871"/>
                <a:gd name="connsiteY6" fmla="*/ 393463 h 6198437"/>
                <a:gd name="connsiteX7" fmla="*/ 606579 w 4357871"/>
                <a:gd name="connsiteY7" fmla="*/ 319342 h 6198437"/>
                <a:gd name="connsiteX8" fmla="*/ 647034 w 4357871"/>
                <a:gd name="connsiteY8" fmla="*/ 352592 h 6198437"/>
                <a:gd name="connsiteX9" fmla="*/ 843576 w 4357871"/>
                <a:gd name="connsiteY9" fmla="*/ 288171 h 6198437"/>
                <a:gd name="connsiteX10" fmla="*/ 802788 w 4357871"/>
                <a:gd name="connsiteY10" fmla="*/ 119840 h 6198437"/>
                <a:gd name="connsiteX11" fmla="*/ 1186031 w 4357871"/>
                <a:gd name="connsiteY11" fmla="*/ 0 h 6198437"/>
                <a:gd name="connsiteX12" fmla="*/ 1234329 w 4357871"/>
                <a:gd name="connsiteY12" fmla="*/ 165560 h 6198437"/>
                <a:gd name="connsiteX13" fmla="*/ 2997880 w 4357871"/>
                <a:gd name="connsiteY13" fmla="*/ 680900 h 6198437"/>
                <a:gd name="connsiteX14" fmla="*/ 3548010 w 4357871"/>
                <a:gd name="connsiteY14" fmla="*/ 1291242 h 6198437"/>
                <a:gd name="connsiteX15" fmla="*/ 3609414 w 4357871"/>
                <a:gd name="connsiteY15" fmla="*/ 1298860 h 6198437"/>
                <a:gd name="connsiteX16" fmla="*/ 3774255 w 4357871"/>
                <a:gd name="connsiteY16" fmla="*/ 1479661 h 6198437"/>
                <a:gd name="connsiteX17" fmla="*/ 3774478 w 4357871"/>
                <a:gd name="connsiteY17" fmla="*/ 1535080 h 6198437"/>
                <a:gd name="connsiteX18" fmla="*/ 3935742 w 4357871"/>
                <a:gd name="connsiteY18" fmla="*/ 1726990 h 6198437"/>
                <a:gd name="connsiteX19" fmla="*/ 4315730 w 4357871"/>
                <a:gd name="connsiteY19" fmla="*/ 3519512 h 6198437"/>
                <a:gd name="connsiteX20" fmla="*/ 4123651 w 4357871"/>
                <a:gd name="connsiteY20" fmla="*/ 4385669 h 6198437"/>
                <a:gd name="connsiteX21" fmla="*/ 4271101 w 4357871"/>
                <a:gd name="connsiteY21" fmla="*/ 4428964 h 6198437"/>
                <a:gd name="connsiteX22" fmla="*/ 4167184 w 4357871"/>
                <a:gd name="connsiteY22" fmla="*/ 4865439 h 6198437"/>
                <a:gd name="connsiteX23" fmla="*/ 4022581 w 4357871"/>
                <a:gd name="connsiteY23" fmla="*/ 4824545 h 6198437"/>
                <a:gd name="connsiteX24" fmla="*/ 2909154 w 4357871"/>
                <a:gd name="connsiteY24" fmla="*/ 6198437 h 6198437"/>
                <a:gd name="connsiteX25" fmla="*/ 2718156 w 4357871"/>
                <a:gd name="connsiteY25" fmla="*/ 5626725 h 6198437"/>
                <a:gd name="connsiteX26" fmla="*/ 3504291 w 4357871"/>
                <a:gd name="connsiteY26" fmla="*/ 4596953 h 6198437"/>
                <a:gd name="connsiteX27" fmla="*/ 3784340 w 4357871"/>
                <a:gd name="connsiteY27" fmla="*/ 3352779 h 6198437"/>
                <a:gd name="connsiteX28" fmla="*/ 3465524 w 4357871"/>
                <a:gd name="connsiteY28" fmla="*/ 2049487 h 6198437"/>
                <a:gd name="connsiteX29" fmla="*/ 2648271 w 4357871"/>
                <a:gd name="connsiteY29" fmla="*/ 1163055 h 6198437"/>
                <a:gd name="connsiteX30" fmla="*/ 1354005 w 4357871"/>
                <a:gd name="connsiteY30" fmla="*/ 761302 h 6198437"/>
                <a:gd name="connsiteX31" fmla="*/ 355785 w 4357871"/>
                <a:gd name="connsiteY31" fmla="*/ 1081342 h 6198437"/>
                <a:gd name="connsiteX0" fmla="*/ 355785 w 4357871"/>
                <a:gd name="connsiteY0" fmla="*/ 1081342 h 6198437"/>
                <a:gd name="connsiteX1" fmla="*/ 0 w 4357871"/>
                <a:gd name="connsiteY1" fmla="*/ 432260 h 6198437"/>
                <a:gd name="connsiteX2" fmla="*/ 195765 w 4357871"/>
                <a:gd name="connsiteY2" fmla="*/ 380302 h 6198437"/>
                <a:gd name="connsiteX3" fmla="*/ 213138 w 4357871"/>
                <a:gd name="connsiteY3" fmla="*/ 481442 h 6198437"/>
                <a:gd name="connsiteX4" fmla="*/ 340213 w 4357871"/>
                <a:gd name="connsiteY4" fmla="*/ 442651 h 6198437"/>
                <a:gd name="connsiteX5" fmla="*/ 370692 w 4357871"/>
                <a:gd name="connsiteY5" fmla="*/ 393463 h 6198437"/>
                <a:gd name="connsiteX6" fmla="*/ 606579 w 4357871"/>
                <a:gd name="connsiteY6" fmla="*/ 319342 h 6198437"/>
                <a:gd name="connsiteX7" fmla="*/ 647034 w 4357871"/>
                <a:gd name="connsiteY7" fmla="*/ 352592 h 6198437"/>
                <a:gd name="connsiteX8" fmla="*/ 843576 w 4357871"/>
                <a:gd name="connsiteY8" fmla="*/ 288171 h 6198437"/>
                <a:gd name="connsiteX9" fmla="*/ 802788 w 4357871"/>
                <a:gd name="connsiteY9" fmla="*/ 119840 h 6198437"/>
                <a:gd name="connsiteX10" fmla="*/ 1186031 w 4357871"/>
                <a:gd name="connsiteY10" fmla="*/ 0 h 6198437"/>
                <a:gd name="connsiteX11" fmla="*/ 1234329 w 4357871"/>
                <a:gd name="connsiteY11" fmla="*/ 165560 h 6198437"/>
                <a:gd name="connsiteX12" fmla="*/ 2997880 w 4357871"/>
                <a:gd name="connsiteY12" fmla="*/ 680900 h 6198437"/>
                <a:gd name="connsiteX13" fmla="*/ 3548010 w 4357871"/>
                <a:gd name="connsiteY13" fmla="*/ 1291242 h 6198437"/>
                <a:gd name="connsiteX14" fmla="*/ 3609414 w 4357871"/>
                <a:gd name="connsiteY14" fmla="*/ 1298860 h 6198437"/>
                <a:gd name="connsiteX15" fmla="*/ 3774255 w 4357871"/>
                <a:gd name="connsiteY15" fmla="*/ 1479661 h 6198437"/>
                <a:gd name="connsiteX16" fmla="*/ 3774478 w 4357871"/>
                <a:gd name="connsiteY16" fmla="*/ 1535080 h 6198437"/>
                <a:gd name="connsiteX17" fmla="*/ 3935742 w 4357871"/>
                <a:gd name="connsiteY17" fmla="*/ 1726990 h 6198437"/>
                <a:gd name="connsiteX18" fmla="*/ 4315730 w 4357871"/>
                <a:gd name="connsiteY18" fmla="*/ 3519512 h 6198437"/>
                <a:gd name="connsiteX19" fmla="*/ 4123651 w 4357871"/>
                <a:gd name="connsiteY19" fmla="*/ 4385669 h 6198437"/>
                <a:gd name="connsiteX20" fmla="*/ 4271101 w 4357871"/>
                <a:gd name="connsiteY20" fmla="*/ 4428964 h 6198437"/>
                <a:gd name="connsiteX21" fmla="*/ 4167184 w 4357871"/>
                <a:gd name="connsiteY21" fmla="*/ 4865439 h 6198437"/>
                <a:gd name="connsiteX22" fmla="*/ 4022581 w 4357871"/>
                <a:gd name="connsiteY22" fmla="*/ 4824545 h 6198437"/>
                <a:gd name="connsiteX23" fmla="*/ 2909154 w 4357871"/>
                <a:gd name="connsiteY23" fmla="*/ 6198437 h 6198437"/>
                <a:gd name="connsiteX24" fmla="*/ 2718156 w 4357871"/>
                <a:gd name="connsiteY24" fmla="*/ 5626725 h 6198437"/>
                <a:gd name="connsiteX25" fmla="*/ 3504291 w 4357871"/>
                <a:gd name="connsiteY25" fmla="*/ 4596953 h 6198437"/>
                <a:gd name="connsiteX26" fmla="*/ 3784340 w 4357871"/>
                <a:gd name="connsiteY26" fmla="*/ 3352779 h 6198437"/>
                <a:gd name="connsiteX27" fmla="*/ 3465524 w 4357871"/>
                <a:gd name="connsiteY27" fmla="*/ 2049487 h 6198437"/>
                <a:gd name="connsiteX28" fmla="*/ 2648271 w 4357871"/>
                <a:gd name="connsiteY28" fmla="*/ 1163055 h 6198437"/>
                <a:gd name="connsiteX29" fmla="*/ 1354005 w 4357871"/>
                <a:gd name="connsiteY29" fmla="*/ 761302 h 6198437"/>
                <a:gd name="connsiteX30" fmla="*/ 355785 w 4357871"/>
                <a:gd name="connsiteY30" fmla="*/ 1081342 h 6198437"/>
                <a:gd name="connsiteX0" fmla="*/ 160020 w 4162106"/>
                <a:gd name="connsiteY0" fmla="*/ 1081342 h 6198437"/>
                <a:gd name="connsiteX1" fmla="*/ 0 w 4162106"/>
                <a:gd name="connsiteY1" fmla="*/ 380302 h 6198437"/>
                <a:gd name="connsiteX2" fmla="*/ 17373 w 4162106"/>
                <a:gd name="connsiteY2" fmla="*/ 481442 h 6198437"/>
                <a:gd name="connsiteX3" fmla="*/ 144448 w 4162106"/>
                <a:gd name="connsiteY3" fmla="*/ 442651 h 6198437"/>
                <a:gd name="connsiteX4" fmla="*/ 174927 w 4162106"/>
                <a:gd name="connsiteY4" fmla="*/ 393463 h 6198437"/>
                <a:gd name="connsiteX5" fmla="*/ 410814 w 4162106"/>
                <a:gd name="connsiteY5" fmla="*/ 319342 h 6198437"/>
                <a:gd name="connsiteX6" fmla="*/ 451269 w 4162106"/>
                <a:gd name="connsiteY6" fmla="*/ 352592 h 6198437"/>
                <a:gd name="connsiteX7" fmla="*/ 647811 w 4162106"/>
                <a:gd name="connsiteY7" fmla="*/ 288171 h 6198437"/>
                <a:gd name="connsiteX8" fmla="*/ 607023 w 4162106"/>
                <a:gd name="connsiteY8" fmla="*/ 119840 h 6198437"/>
                <a:gd name="connsiteX9" fmla="*/ 990266 w 4162106"/>
                <a:gd name="connsiteY9" fmla="*/ 0 h 6198437"/>
                <a:gd name="connsiteX10" fmla="*/ 1038564 w 4162106"/>
                <a:gd name="connsiteY10" fmla="*/ 165560 h 6198437"/>
                <a:gd name="connsiteX11" fmla="*/ 2802115 w 4162106"/>
                <a:gd name="connsiteY11" fmla="*/ 680900 h 6198437"/>
                <a:gd name="connsiteX12" fmla="*/ 3352245 w 4162106"/>
                <a:gd name="connsiteY12" fmla="*/ 1291242 h 6198437"/>
                <a:gd name="connsiteX13" fmla="*/ 3413649 w 4162106"/>
                <a:gd name="connsiteY13" fmla="*/ 1298860 h 6198437"/>
                <a:gd name="connsiteX14" fmla="*/ 3578490 w 4162106"/>
                <a:gd name="connsiteY14" fmla="*/ 1479661 h 6198437"/>
                <a:gd name="connsiteX15" fmla="*/ 3578713 w 4162106"/>
                <a:gd name="connsiteY15" fmla="*/ 1535080 h 6198437"/>
                <a:gd name="connsiteX16" fmla="*/ 3739977 w 4162106"/>
                <a:gd name="connsiteY16" fmla="*/ 1726990 h 6198437"/>
                <a:gd name="connsiteX17" fmla="*/ 4119965 w 4162106"/>
                <a:gd name="connsiteY17" fmla="*/ 3519512 h 6198437"/>
                <a:gd name="connsiteX18" fmla="*/ 3927886 w 4162106"/>
                <a:gd name="connsiteY18" fmla="*/ 4385669 h 6198437"/>
                <a:gd name="connsiteX19" fmla="*/ 4075336 w 4162106"/>
                <a:gd name="connsiteY19" fmla="*/ 4428964 h 6198437"/>
                <a:gd name="connsiteX20" fmla="*/ 3971419 w 4162106"/>
                <a:gd name="connsiteY20" fmla="*/ 4865439 h 6198437"/>
                <a:gd name="connsiteX21" fmla="*/ 3826816 w 4162106"/>
                <a:gd name="connsiteY21" fmla="*/ 4824545 h 6198437"/>
                <a:gd name="connsiteX22" fmla="*/ 2713389 w 4162106"/>
                <a:gd name="connsiteY22" fmla="*/ 6198437 h 6198437"/>
                <a:gd name="connsiteX23" fmla="*/ 2522391 w 4162106"/>
                <a:gd name="connsiteY23" fmla="*/ 5626725 h 6198437"/>
                <a:gd name="connsiteX24" fmla="*/ 3308526 w 4162106"/>
                <a:gd name="connsiteY24" fmla="*/ 4596953 h 6198437"/>
                <a:gd name="connsiteX25" fmla="*/ 3588575 w 4162106"/>
                <a:gd name="connsiteY25" fmla="*/ 3352779 h 6198437"/>
                <a:gd name="connsiteX26" fmla="*/ 3269759 w 4162106"/>
                <a:gd name="connsiteY26" fmla="*/ 2049487 h 6198437"/>
                <a:gd name="connsiteX27" fmla="*/ 2452506 w 4162106"/>
                <a:gd name="connsiteY27" fmla="*/ 1163055 h 6198437"/>
                <a:gd name="connsiteX28" fmla="*/ 1158240 w 4162106"/>
                <a:gd name="connsiteY28" fmla="*/ 761302 h 6198437"/>
                <a:gd name="connsiteX29" fmla="*/ 160020 w 4162106"/>
                <a:gd name="connsiteY29" fmla="*/ 1081342 h 6198437"/>
                <a:gd name="connsiteX0" fmla="*/ 146766 w 4148852"/>
                <a:gd name="connsiteY0" fmla="*/ 1081342 h 6198437"/>
                <a:gd name="connsiteX1" fmla="*/ 4119 w 4148852"/>
                <a:gd name="connsiteY1" fmla="*/ 481442 h 6198437"/>
                <a:gd name="connsiteX2" fmla="*/ 131194 w 4148852"/>
                <a:gd name="connsiteY2" fmla="*/ 442651 h 6198437"/>
                <a:gd name="connsiteX3" fmla="*/ 161673 w 4148852"/>
                <a:gd name="connsiteY3" fmla="*/ 393463 h 6198437"/>
                <a:gd name="connsiteX4" fmla="*/ 397560 w 4148852"/>
                <a:gd name="connsiteY4" fmla="*/ 319342 h 6198437"/>
                <a:gd name="connsiteX5" fmla="*/ 438015 w 4148852"/>
                <a:gd name="connsiteY5" fmla="*/ 352592 h 6198437"/>
                <a:gd name="connsiteX6" fmla="*/ 634557 w 4148852"/>
                <a:gd name="connsiteY6" fmla="*/ 288171 h 6198437"/>
                <a:gd name="connsiteX7" fmla="*/ 593769 w 4148852"/>
                <a:gd name="connsiteY7" fmla="*/ 119840 h 6198437"/>
                <a:gd name="connsiteX8" fmla="*/ 977012 w 4148852"/>
                <a:gd name="connsiteY8" fmla="*/ 0 h 6198437"/>
                <a:gd name="connsiteX9" fmla="*/ 1025310 w 4148852"/>
                <a:gd name="connsiteY9" fmla="*/ 165560 h 6198437"/>
                <a:gd name="connsiteX10" fmla="*/ 2788861 w 4148852"/>
                <a:gd name="connsiteY10" fmla="*/ 680900 h 6198437"/>
                <a:gd name="connsiteX11" fmla="*/ 3338991 w 4148852"/>
                <a:gd name="connsiteY11" fmla="*/ 1291242 h 6198437"/>
                <a:gd name="connsiteX12" fmla="*/ 3400395 w 4148852"/>
                <a:gd name="connsiteY12" fmla="*/ 1298860 h 6198437"/>
                <a:gd name="connsiteX13" fmla="*/ 3565236 w 4148852"/>
                <a:gd name="connsiteY13" fmla="*/ 1479661 h 6198437"/>
                <a:gd name="connsiteX14" fmla="*/ 3565459 w 4148852"/>
                <a:gd name="connsiteY14" fmla="*/ 1535080 h 6198437"/>
                <a:gd name="connsiteX15" fmla="*/ 3726723 w 4148852"/>
                <a:gd name="connsiteY15" fmla="*/ 1726990 h 6198437"/>
                <a:gd name="connsiteX16" fmla="*/ 4106711 w 4148852"/>
                <a:gd name="connsiteY16" fmla="*/ 3519512 h 6198437"/>
                <a:gd name="connsiteX17" fmla="*/ 3914632 w 4148852"/>
                <a:gd name="connsiteY17" fmla="*/ 4385669 h 6198437"/>
                <a:gd name="connsiteX18" fmla="*/ 4062082 w 4148852"/>
                <a:gd name="connsiteY18" fmla="*/ 4428964 h 6198437"/>
                <a:gd name="connsiteX19" fmla="*/ 3958165 w 4148852"/>
                <a:gd name="connsiteY19" fmla="*/ 4865439 h 6198437"/>
                <a:gd name="connsiteX20" fmla="*/ 3813562 w 4148852"/>
                <a:gd name="connsiteY20" fmla="*/ 4824545 h 6198437"/>
                <a:gd name="connsiteX21" fmla="*/ 2700135 w 4148852"/>
                <a:gd name="connsiteY21" fmla="*/ 6198437 h 6198437"/>
                <a:gd name="connsiteX22" fmla="*/ 2509137 w 4148852"/>
                <a:gd name="connsiteY22" fmla="*/ 5626725 h 6198437"/>
                <a:gd name="connsiteX23" fmla="*/ 3295272 w 4148852"/>
                <a:gd name="connsiteY23" fmla="*/ 4596953 h 6198437"/>
                <a:gd name="connsiteX24" fmla="*/ 3575321 w 4148852"/>
                <a:gd name="connsiteY24" fmla="*/ 3352779 h 6198437"/>
                <a:gd name="connsiteX25" fmla="*/ 3256505 w 4148852"/>
                <a:gd name="connsiteY25" fmla="*/ 2049487 h 6198437"/>
                <a:gd name="connsiteX26" fmla="*/ 2439252 w 4148852"/>
                <a:gd name="connsiteY26" fmla="*/ 1163055 h 6198437"/>
                <a:gd name="connsiteX27" fmla="*/ 1144986 w 4148852"/>
                <a:gd name="connsiteY27" fmla="*/ 761302 h 6198437"/>
                <a:gd name="connsiteX28" fmla="*/ 146766 w 4148852"/>
                <a:gd name="connsiteY28" fmla="*/ 1081342 h 6198437"/>
                <a:gd name="connsiteX0" fmla="*/ 142647 w 4144733"/>
                <a:gd name="connsiteY0" fmla="*/ 1081342 h 6198437"/>
                <a:gd name="connsiteX1" fmla="*/ 0 w 4144733"/>
                <a:gd name="connsiteY1" fmla="*/ 481442 h 6198437"/>
                <a:gd name="connsiteX2" fmla="*/ 127075 w 4144733"/>
                <a:gd name="connsiteY2" fmla="*/ 442651 h 6198437"/>
                <a:gd name="connsiteX3" fmla="*/ 157554 w 4144733"/>
                <a:gd name="connsiteY3" fmla="*/ 393463 h 6198437"/>
                <a:gd name="connsiteX4" fmla="*/ 393441 w 4144733"/>
                <a:gd name="connsiteY4" fmla="*/ 319342 h 6198437"/>
                <a:gd name="connsiteX5" fmla="*/ 433896 w 4144733"/>
                <a:gd name="connsiteY5" fmla="*/ 352592 h 6198437"/>
                <a:gd name="connsiteX6" fmla="*/ 630438 w 4144733"/>
                <a:gd name="connsiteY6" fmla="*/ 288171 h 6198437"/>
                <a:gd name="connsiteX7" fmla="*/ 589650 w 4144733"/>
                <a:gd name="connsiteY7" fmla="*/ 119840 h 6198437"/>
                <a:gd name="connsiteX8" fmla="*/ 972893 w 4144733"/>
                <a:gd name="connsiteY8" fmla="*/ 0 h 6198437"/>
                <a:gd name="connsiteX9" fmla="*/ 1021191 w 4144733"/>
                <a:gd name="connsiteY9" fmla="*/ 165560 h 6198437"/>
                <a:gd name="connsiteX10" fmla="*/ 2784742 w 4144733"/>
                <a:gd name="connsiteY10" fmla="*/ 680900 h 6198437"/>
                <a:gd name="connsiteX11" fmla="*/ 3334872 w 4144733"/>
                <a:gd name="connsiteY11" fmla="*/ 1291242 h 6198437"/>
                <a:gd name="connsiteX12" fmla="*/ 3396276 w 4144733"/>
                <a:gd name="connsiteY12" fmla="*/ 1298860 h 6198437"/>
                <a:gd name="connsiteX13" fmla="*/ 3561117 w 4144733"/>
                <a:gd name="connsiteY13" fmla="*/ 1479661 h 6198437"/>
                <a:gd name="connsiteX14" fmla="*/ 3561340 w 4144733"/>
                <a:gd name="connsiteY14" fmla="*/ 1535080 h 6198437"/>
                <a:gd name="connsiteX15" fmla="*/ 3722604 w 4144733"/>
                <a:gd name="connsiteY15" fmla="*/ 1726990 h 6198437"/>
                <a:gd name="connsiteX16" fmla="*/ 4102592 w 4144733"/>
                <a:gd name="connsiteY16" fmla="*/ 3519512 h 6198437"/>
                <a:gd name="connsiteX17" fmla="*/ 3910513 w 4144733"/>
                <a:gd name="connsiteY17" fmla="*/ 4385669 h 6198437"/>
                <a:gd name="connsiteX18" fmla="*/ 4057963 w 4144733"/>
                <a:gd name="connsiteY18" fmla="*/ 4428964 h 6198437"/>
                <a:gd name="connsiteX19" fmla="*/ 3954046 w 4144733"/>
                <a:gd name="connsiteY19" fmla="*/ 4865439 h 6198437"/>
                <a:gd name="connsiteX20" fmla="*/ 3809443 w 4144733"/>
                <a:gd name="connsiteY20" fmla="*/ 4824545 h 6198437"/>
                <a:gd name="connsiteX21" fmla="*/ 2696016 w 4144733"/>
                <a:gd name="connsiteY21" fmla="*/ 6198437 h 6198437"/>
                <a:gd name="connsiteX22" fmla="*/ 2505018 w 4144733"/>
                <a:gd name="connsiteY22" fmla="*/ 5626725 h 6198437"/>
                <a:gd name="connsiteX23" fmla="*/ 3291153 w 4144733"/>
                <a:gd name="connsiteY23" fmla="*/ 4596953 h 6198437"/>
                <a:gd name="connsiteX24" fmla="*/ 3571202 w 4144733"/>
                <a:gd name="connsiteY24" fmla="*/ 3352779 h 6198437"/>
                <a:gd name="connsiteX25" fmla="*/ 3252386 w 4144733"/>
                <a:gd name="connsiteY25" fmla="*/ 2049487 h 6198437"/>
                <a:gd name="connsiteX26" fmla="*/ 2435133 w 4144733"/>
                <a:gd name="connsiteY26" fmla="*/ 1163055 h 6198437"/>
                <a:gd name="connsiteX27" fmla="*/ 1140867 w 4144733"/>
                <a:gd name="connsiteY27" fmla="*/ 761302 h 6198437"/>
                <a:gd name="connsiteX28" fmla="*/ 142647 w 4144733"/>
                <a:gd name="connsiteY28" fmla="*/ 1081342 h 6198437"/>
                <a:gd name="connsiteX0" fmla="*/ 142647 w 4144733"/>
                <a:gd name="connsiteY0" fmla="*/ 1081342 h 6198437"/>
                <a:gd name="connsiteX1" fmla="*/ 0 w 4144733"/>
                <a:gd name="connsiteY1" fmla="*/ 481442 h 6198437"/>
                <a:gd name="connsiteX2" fmla="*/ 127075 w 4144733"/>
                <a:gd name="connsiteY2" fmla="*/ 442651 h 6198437"/>
                <a:gd name="connsiteX3" fmla="*/ 157554 w 4144733"/>
                <a:gd name="connsiteY3" fmla="*/ 393463 h 6198437"/>
                <a:gd name="connsiteX4" fmla="*/ 393441 w 4144733"/>
                <a:gd name="connsiteY4" fmla="*/ 319342 h 6198437"/>
                <a:gd name="connsiteX5" fmla="*/ 433896 w 4144733"/>
                <a:gd name="connsiteY5" fmla="*/ 352592 h 6198437"/>
                <a:gd name="connsiteX6" fmla="*/ 630438 w 4144733"/>
                <a:gd name="connsiteY6" fmla="*/ 288171 h 6198437"/>
                <a:gd name="connsiteX7" fmla="*/ 589650 w 4144733"/>
                <a:gd name="connsiteY7" fmla="*/ 119840 h 6198437"/>
                <a:gd name="connsiteX8" fmla="*/ 972893 w 4144733"/>
                <a:gd name="connsiteY8" fmla="*/ 0 h 6198437"/>
                <a:gd name="connsiteX9" fmla="*/ 1021191 w 4144733"/>
                <a:gd name="connsiteY9" fmla="*/ 165560 h 6198437"/>
                <a:gd name="connsiteX10" fmla="*/ 2784742 w 4144733"/>
                <a:gd name="connsiteY10" fmla="*/ 680900 h 6198437"/>
                <a:gd name="connsiteX11" fmla="*/ 3334872 w 4144733"/>
                <a:gd name="connsiteY11" fmla="*/ 1291242 h 6198437"/>
                <a:gd name="connsiteX12" fmla="*/ 3396276 w 4144733"/>
                <a:gd name="connsiteY12" fmla="*/ 1298860 h 6198437"/>
                <a:gd name="connsiteX13" fmla="*/ 3561117 w 4144733"/>
                <a:gd name="connsiteY13" fmla="*/ 1479661 h 6198437"/>
                <a:gd name="connsiteX14" fmla="*/ 3561340 w 4144733"/>
                <a:gd name="connsiteY14" fmla="*/ 1535080 h 6198437"/>
                <a:gd name="connsiteX15" fmla="*/ 3722604 w 4144733"/>
                <a:gd name="connsiteY15" fmla="*/ 1726990 h 6198437"/>
                <a:gd name="connsiteX16" fmla="*/ 4102592 w 4144733"/>
                <a:gd name="connsiteY16" fmla="*/ 3519512 h 6198437"/>
                <a:gd name="connsiteX17" fmla="*/ 3910513 w 4144733"/>
                <a:gd name="connsiteY17" fmla="*/ 4385669 h 6198437"/>
                <a:gd name="connsiteX18" fmla="*/ 4057963 w 4144733"/>
                <a:gd name="connsiteY18" fmla="*/ 4428964 h 6198437"/>
                <a:gd name="connsiteX19" fmla="*/ 3954046 w 4144733"/>
                <a:gd name="connsiteY19" fmla="*/ 4865439 h 6198437"/>
                <a:gd name="connsiteX20" fmla="*/ 3809443 w 4144733"/>
                <a:gd name="connsiteY20" fmla="*/ 4824545 h 6198437"/>
                <a:gd name="connsiteX21" fmla="*/ 2696016 w 4144733"/>
                <a:gd name="connsiteY21" fmla="*/ 6198437 h 6198437"/>
                <a:gd name="connsiteX22" fmla="*/ 2505018 w 4144733"/>
                <a:gd name="connsiteY22" fmla="*/ 5626725 h 6198437"/>
                <a:gd name="connsiteX23" fmla="*/ 3291153 w 4144733"/>
                <a:gd name="connsiteY23" fmla="*/ 4596953 h 6198437"/>
                <a:gd name="connsiteX24" fmla="*/ 3571202 w 4144733"/>
                <a:gd name="connsiteY24" fmla="*/ 3352779 h 6198437"/>
                <a:gd name="connsiteX25" fmla="*/ 3252386 w 4144733"/>
                <a:gd name="connsiteY25" fmla="*/ 2049487 h 6198437"/>
                <a:gd name="connsiteX26" fmla="*/ 2435133 w 4144733"/>
                <a:gd name="connsiteY26" fmla="*/ 1163055 h 6198437"/>
                <a:gd name="connsiteX27" fmla="*/ 1140867 w 4144733"/>
                <a:gd name="connsiteY27" fmla="*/ 761302 h 6198437"/>
                <a:gd name="connsiteX28" fmla="*/ 142647 w 4144733"/>
                <a:gd name="connsiteY28" fmla="*/ 1081342 h 6198437"/>
                <a:gd name="connsiteX0" fmla="*/ 150413 w 4144733"/>
                <a:gd name="connsiteY0" fmla="*/ 1077187 h 6198437"/>
                <a:gd name="connsiteX1" fmla="*/ 0 w 4144733"/>
                <a:gd name="connsiteY1" fmla="*/ 481442 h 6198437"/>
                <a:gd name="connsiteX2" fmla="*/ 127075 w 4144733"/>
                <a:gd name="connsiteY2" fmla="*/ 442651 h 6198437"/>
                <a:gd name="connsiteX3" fmla="*/ 157554 w 4144733"/>
                <a:gd name="connsiteY3" fmla="*/ 393463 h 6198437"/>
                <a:gd name="connsiteX4" fmla="*/ 393441 w 4144733"/>
                <a:gd name="connsiteY4" fmla="*/ 319342 h 6198437"/>
                <a:gd name="connsiteX5" fmla="*/ 433896 w 4144733"/>
                <a:gd name="connsiteY5" fmla="*/ 352592 h 6198437"/>
                <a:gd name="connsiteX6" fmla="*/ 630438 w 4144733"/>
                <a:gd name="connsiteY6" fmla="*/ 288171 h 6198437"/>
                <a:gd name="connsiteX7" fmla="*/ 589650 w 4144733"/>
                <a:gd name="connsiteY7" fmla="*/ 119840 h 6198437"/>
                <a:gd name="connsiteX8" fmla="*/ 972893 w 4144733"/>
                <a:gd name="connsiteY8" fmla="*/ 0 h 6198437"/>
                <a:gd name="connsiteX9" fmla="*/ 1021191 w 4144733"/>
                <a:gd name="connsiteY9" fmla="*/ 165560 h 6198437"/>
                <a:gd name="connsiteX10" fmla="*/ 2784742 w 4144733"/>
                <a:gd name="connsiteY10" fmla="*/ 680900 h 6198437"/>
                <a:gd name="connsiteX11" fmla="*/ 3334872 w 4144733"/>
                <a:gd name="connsiteY11" fmla="*/ 1291242 h 6198437"/>
                <a:gd name="connsiteX12" fmla="*/ 3396276 w 4144733"/>
                <a:gd name="connsiteY12" fmla="*/ 1298860 h 6198437"/>
                <a:gd name="connsiteX13" fmla="*/ 3561117 w 4144733"/>
                <a:gd name="connsiteY13" fmla="*/ 1479661 h 6198437"/>
                <a:gd name="connsiteX14" fmla="*/ 3561340 w 4144733"/>
                <a:gd name="connsiteY14" fmla="*/ 1535080 h 6198437"/>
                <a:gd name="connsiteX15" fmla="*/ 3722604 w 4144733"/>
                <a:gd name="connsiteY15" fmla="*/ 1726990 h 6198437"/>
                <a:gd name="connsiteX16" fmla="*/ 4102592 w 4144733"/>
                <a:gd name="connsiteY16" fmla="*/ 3519512 h 6198437"/>
                <a:gd name="connsiteX17" fmla="*/ 3910513 w 4144733"/>
                <a:gd name="connsiteY17" fmla="*/ 4385669 h 6198437"/>
                <a:gd name="connsiteX18" fmla="*/ 4057963 w 4144733"/>
                <a:gd name="connsiteY18" fmla="*/ 4428964 h 6198437"/>
                <a:gd name="connsiteX19" fmla="*/ 3954046 w 4144733"/>
                <a:gd name="connsiteY19" fmla="*/ 4865439 h 6198437"/>
                <a:gd name="connsiteX20" fmla="*/ 3809443 w 4144733"/>
                <a:gd name="connsiteY20" fmla="*/ 4824545 h 6198437"/>
                <a:gd name="connsiteX21" fmla="*/ 2696016 w 4144733"/>
                <a:gd name="connsiteY21" fmla="*/ 6198437 h 6198437"/>
                <a:gd name="connsiteX22" fmla="*/ 2505018 w 4144733"/>
                <a:gd name="connsiteY22" fmla="*/ 5626725 h 6198437"/>
                <a:gd name="connsiteX23" fmla="*/ 3291153 w 4144733"/>
                <a:gd name="connsiteY23" fmla="*/ 4596953 h 6198437"/>
                <a:gd name="connsiteX24" fmla="*/ 3571202 w 4144733"/>
                <a:gd name="connsiteY24" fmla="*/ 3352779 h 6198437"/>
                <a:gd name="connsiteX25" fmla="*/ 3252386 w 4144733"/>
                <a:gd name="connsiteY25" fmla="*/ 2049487 h 6198437"/>
                <a:gd name="connsiteX26" fmla="*/ 2435133 w 4144733"/>
                <a:gd name="connsiteY26" fmla="*/ 1163055 h 6198437"/>
                <a:gd name="connsiteX27" fmla="*/ 1140867 w 4144733"/>
                <a:gd name="connsiteY27" fmla="*/ 761302 h 6198437"/>
                <a:gd name="connsiteX28" fmla="*/ 150413 w 4144733"/>
                <a:gd name="connsiteY28" fmla="*/ 1077187 h 6198437"/>
                <a:gd name="connsiteX0" fmla="*/ 150413 w 4144733"/>
                <a:gd name="connsiteY0" fmla="*/ 1077187 h 6198437"/>
                <a:gd name="connsiteX1" fmla="*/ 0 w 4144733"/>
                <a:gd name="connsiteY1" fmla="*/ 481442 h 6198437"/>
                <a:gd name="connsiteX2" fmla="*/ 127075 w 4144733"/>
                <a:gd name="connsiteY2" fmla="*/ 442651 h 6198437"/>
                <a:gd name="connsiteX3" fmla="*/ 157554 w 4144733"/>
                <a:gd name="connsiteY3" fmla="*/ 393463 h 6198437"/>
                <a:gd name="connsiteX4" fmla="*/ 393441 w 4144733"/>
                <a:gd name="connsiteY4" fmla="*/ 319342 h 6198437"/>
                <a:gd name="connsiteX5" fmla="*/ 433896 w 4144733"/>
                <a:gd name="connsiteY5" fmla="*/ 352592 h 6198437"/>
                <a:gd name="connsiteX6" fmla="*/ 630438 w 4144733"/>
                <a:gd name="connsiteY6" fmla="*/ 288171 h 6198437"/>
                <a:gd name="connsiteX7" fmla="*/ 589650 w 4144733"/>
                <a:gd name="connsiteY7" fmla="*/ 119840 h 6198437"/>
                <a:gd name="connsiteX8" fmla="*/ 972893 w 4144733"/>
                <a:gd name="connsiteY8" fmla="*/ 0 h 6198437"/>
                <a:gd name="connsiteX9" fmla="*/ 1021191 w 4144733"/>
                <a:gd name="connsiteY9" fmla="*/ 165560 h 6198437"/>
                <a:gd name="connsiteX10" fmla="*/ 2784742 w 4144733"/>
                <a:gd name="connsiteY10" fmla="*/ 680900 h 6198437"/>
                <a:gd name="connsiteX11" fmla="*/ 3334872 w 4144733"/>
                <a:gd name="connsiteY11" fmla="*/ 1291242 h 6198437"/>
                <a:gd name="connsiteX12" fmla="*/ 3396276 w 4144733"/>
                <a:gd name="connsiteY12" fmla="*/ 1298860 h 6198437"/>
                <a:gd name="connsiteX13" fmla="*/ 3561117 w 4144733"/>
                <a:gd name="connsiteY13" fmla="*/ 1479661 h 6198437"/>
                <a:gd name="connsiteX14" fmla="*/ 3561340 w 4144733"/>
                <a:gd name="connsiteY14" fmla="*/ 1535080 h 6198437"/>
                <a:gd name="connsiteX15" fmla="*/ 3722604 w 4144733"/>
                <a:gd name="connsiteY15" fmla="*/ 1726990 h 6198437"/>
                <a:gd name="connsiteX16" fmla="*/ 4102592 w 4144733"/>
                <a:gd name="connsiteY16" fmla="*/ 3519512 h 6198437"/>
                <a:gd name="connsiteX17" fmla="*/ 3910513 w 4144733"/>
                <a:gd name="connsiteY17" fmla="*/ 4385669 h 6198437"/>
                <a:gd name="connsiteX18" fmla="*/ 4057963 w 4144733"/>
                <a:gd name="connsiteY18" fmla="*/ 4428964 h 6198437"/>
                <a:gd name="connsiteX19" fmla="*/ 3954046 w 4144733"/>
                <a:gd name="connsiteY19" fmla="*/ 4865439 h 6198437"/>
                <a:gd name="connsiteX20" fmla="*/ 3809443 w 4144733"/>
                <a:gd name="connsiteY20" fmla="*/ 4824545 h 6198437"/>
                <a:gd name="connsiteX21" fmla="*/ 2696016 w 4144733"/>
                <a:gd name="connsiteY21" fmla="*/ 6198437 h 6198437"/>
                <a:gd name="connsiteX22" fmla="*/ 2505018 w 4144733"/>
                <a:gd name="connsiteY22" fmla="*/ 5626725 h 6198437"/>
                <a:gd name="connsiteX23" fmla="*/ 3291153 w 4144733"/>
                <a:gd name="connsiteY23" fmla="*/ 4596953 h 6198437"/>
                <a:gd name="connsiteX24" fmla="*/ 3571202 w 4144733"/>
                <a:gd name="connsiteY24" fmla="*/ 3352779 h 6198437"/>
                <a:gd name="connsiteX25" fmla="*/ 3252386 w 4144733"/>
                <a:gd name="connsiteY25" fmla="*/ 2049487 h 6198437"/>
                <a:gd name="connsiteX26" fmla="*/ 2435133 w 4144733"/>
                <a:gd name="connsiteY26" fmla="*/ 1163055 h 6198437"/>
                <a:gd name="connsiteX27" fmla="*/ 1140867 w 4144733"/>
                <a:gd name="connsiteY27" fmla="*/ 761302 h 6198437"/>
                <a:gd name="connsiteX28" fmla="*/ 150413 w 4144733"/>
                <a:gd name="connsiteY28" fmla="*/ 1077187 h 6198437"/>
                <a:gd name="connsiteX0" fmla="*/ 1140867 w 4144733"/>
                <a:gd name="connsiteY0" fmla="*/ 761302 h 6198437"/>
                <a:gd name="connsiteX1" fmla="*/ 0 w 4144733"/>
                <a:gd name="connsiteY1" fmla="*/ 481442 h 6198437"/>
                <a:gd name="connsiteX2" fmla="*/ 127075 w 4144733"/>
                <a:gd name="connsiteY2" fmla="*/ 442651 h 6198437"/>
                <a:gd name="connsiteX3" fmla="*/ 157554 w 4144733"/>
                <a:gd name="connsiteY3" fmla="*/ 393463 h 6198437"/>
                <a:gd name="connsiteX4" fmla="*/ 393441 w 4144733"/>
                <a:gd name="connsiteY4" fmla="*/ 319342 h 6198437"/>
                <a:gd name="connsiteX5" fmla="*/ 433896 w 4144733"/>
                <a:gd name="connsiteY5" fmla="*/ 352592 h 6198437"/>
                <a:gd name="connsiteX6" fmla="*/ 630438 w 4144733"/>
                <a:gd name="connsiteY6" fmla="*/ 288171 h 6198437"/>
                <a:gd name="connsiteX7" fmla="*/ 589650 w 4144733"/>
                <a:gd name="connsiteY7" fmla="*/ 119840 h 6198437"/>
                <a:gd name="connsiteX8" fmla="*/ 972893 w 4144733"/>
                <a:gd name="connsiteY8" fmla="*/ 0 h 6198437"/>
                <a:gd name="connsiteX9" fmla="*/ 1021191 w 4144733"/>
                <a:gd name="connsiteY9" fmla="*/ 165560 h 6198437"/>
                <a:gd name="connsiteX10" fmla="*/ 2784742 w 4144733"/>
                <a:gd name="connsiteY10" fmla="*/ 680900 h 6198437"/>
                <a:gd name="connsiteX11" fmla="*/ 3334872 w 4144733"/>
                <a:gd name="connsiteY11" fmla="*/ 1291242 h 6198437"/>
                <a:gd name="connsiteX12" fmla="*/ 3396276 w 4144733"/>
                <a:gd name="connsiteY12" fmla="*/ 1298860 h 6198437"/>
                <a:gd name="connsiteX13" fmla="*/ 3561117 w 4144733"/>
                <a:gd name="connsiteY13" fmla="*/ 1479661 h 6198437"/>
                <a:gd name="connsiteX14" fmla="*/ 3561340 w 4144733"/>
                <a:gd name="connsiteY14" fmla="*/ 1535080 h 6198437"/>
                <a:gd name="connsiteX15" fmla="*/ 3722604 w 4144733"/>
                <a:gd name="connsiteY15" fmla="*/ 1726990 h 6198437"/>
                <a:gd name="connsiteX16" fmla="*/ 4102592 w 4144733"/>
                <a:gd name="connsiteY16" fmla="*/ 3519512 h 6198437"/>
                <a:gd name="connsiteX17" fmla="*/ 3910513 w 4144733"/>
                <a:gd name="connsiteY17" fmla="*/ 4385669 h 6198437"/>
                <a:gd name="connsiteX18" fmla="*/ 4057963 w 4144733"/>
                <a:gd name="connsiteY18" fmla="*/ 4428964 h 6198437"/>
                <a:gd name="connsiteX19" fmla="*/ 3954046 w 4144733"/>
                <a:gd name="connsiteY19" fmla="*/ 4865439 h 6198437"/>
                <a:gd name="connsiteX20" fmla="*/ 3809443 w 4144733"/>
                <a:gd name="connsiteY20" fmla="*/ 4824545 h 6198437"/>
                <a:gd name="connsiteX21" fmla="*/ 2696016 w 4144733"/>
                <a:gd name="connsiteY21" fmla="*/ 6198437 h 6198437"/>
                <a:gd name="connsiteX22" fmla="*/ 2505018 w 4144733"/>
                <a:gd name="connsiteY22" fmla="*/ 5626725 h 6198437"/>
                <a:gd name="connsiteX23" fmla="*/ 3291153 w 4144733"/>
                <a:gd name="connsiteY23" fmla="*/ 4596953 h 6198437"/>
                <a:gd name="connsiteX24" fmla="*/ 3571202 w 4144733"/>
                <a:gd name="connsiteY24" fmla="*/ 3352779 h 6198437"/>
                <a:gd name="connsiteX25" fmla="*/ 3252386 w 4144733"/>
                <a:gd name="connsiteY25" fmla="*/ 2049487 h 6198437"/>
                <a:gd name="connsiteX26" fmla="*/ 2435133 w 4144733"/>
                <a:gd name="connsiteY26" fmla="*/ 1163055 h 6198437"/>
                <a:gd name="connsiteX27" fmla="*/ 1140867 w 4144733"/>
                <a:gd name="connsiteY27" fmla="*/ 761302 h 6198437"/>
                <a:gd name="connsiteX0" fmla="*/ 1013792 w 4017658"/>
                <a:gd name="connsiteY0" fmla="*/ 761302 h 6198437"/>
                <a:gd name="connsiteX1" fmla="*/ 0 w 4017658"/>
                <a:gd name="connsiteY1" fmla="*/ 442651 h 6198437"/>
                <a:gd name="connsiteX2" fmla="*/ 30479 w 4017658"/>
                <a:gd name="connsiteY2" fmla="*/ 393463 h 6198437"/>
                <a:gd name="connsiteX3" fmla="*/ 266366 w 4017658"/>
                <a:gd name="connsiteY3" fmla="*/ 319342 h 6198437"/>
                <a:gd name="connsiteX4" fmla="*/ 306821 w 4017658"/>
                <a:gd name="connsiteY4" fmla="*/ 352592 h 6198437"/>
                <a:gd name="connsiteX5" fmla="*/ 503363 w 4017658"/>
                <a:gd name="connsiteY5" fmla="*/ 288171 h 6198437"/>
                <a:gd name="connsiteX6" fmla="*/ 462575 w 4017658"/>
                <a:gd name="connsiteY6" fmla="*/ 119840 h 6198437"/>
                <a:gd name="connsiteX7" fmla="*/ 845818 w 4017658"/>
                <a:gd name="connsiteY7" fmla="*/ 0 h 6198437"/>
                <a:gd name="connsiteX8" fmla="*/ 894116 w 4017658"/>
                <a:gd name="connsiteY8" fmla="*/ 165560 h 6198437"/>
                <a:gd name="connsiteX9" fmla="*/ 2657667 w 4017658"/>
                <a:gd name="connsiteY9" fmla="*/ 680900 h 6198437"/>
                <a:gd name="connsiteX10" fmla="*/ 3207797 w 4017658"/>
                <a:gd name="connsiteY10" fmla="*/ 1291242 h 6198437"/>
                <a:gd name="connsiteX11" fmla="*/ 3269201 w 4017658"/>
                <a:gd name="connsiteY11" fmla="*/ 1298860 h 6198437"/>
                <a:gd name="connsiteX12" fmla="*/ 3434042 w 4017658"/>
                <a:gd name="connsiteY12" fmla="*/ 1479661 h 6198437"/>
                <a:gd name="connsiteX13" fmla="*/ 3434265 w 4017658"/>
                <a:gd name="connsiteY13" fmla="*/ 1535080 h 6198437"/>
                <a:gd name="connsiteX14" fmla="*/ 3595529 w 4017658"/>
                <a:gd name="connsiteY14" fmla="*/ 1726990 h 6198437"/>
                <a:gd name="connsiteX15" fmla="*/ 3975517 w 4017658"/>
                <a:gd name="connsiteY15" fmla="*/ 3519512 h 6198437"/>
                <a:gd name="connsiteX16" fmla="*/ 3783438 w 4017658"/>
                <a:gd name="connsiteY16" fmla="*/ 4385669 h 6198437"/>
                <a:gd name="connsiteX17" fmla="*/ 3930888 w 4017658"/>
                <a:gd name="connsiteY17" fmla="*/ 4428964 h 6198437"/>
                <a:gd name="connsiteX18" fmla="*/ 3826971 w 4017658"/>
                <a:gd name="connsiteY18" fmla="*/ 4865439 h 6198437"/>
                <a:gd name="connsiteX19" fmla="*/ 3682368 w 4017658"/>
                <a:gd name="connsiteY19" fmla="*/ 4824545 h 6198437"/>
                <a:gd name="connsiteX20" fmla="*/ 2568941 w 4017658"/>
                <a:gd name="connsiteY20" fmla="*/ 6198437 h 6198437"/>
                <a:gd name="connsiteX21" fmla="*/ 2377943 w 4017658"/>
                <a:gd name="connsiteY21" fmla="*/ 5626725 h 6198437"/>
                <a:gd name="connsiteX22" fmla="*/ 3164078 w 4017658"/>
                <a:gd name="connsiteY22" fmla="*/ 4596953 h 6198437"/>
                <a:gd name="connsiteX23" fmla="*/ 3444127 w 4017658"/>
                <a:gd name="connsiteY23" fmla="*/ 3352779 h 6198437"/>
                <a:gd name="connsiteX24" fmla="*/ 3125311 w 4017658"/>
                <a:gd name="connsiteY24" fmla="*/ 2049487 h 6198437"/>
                <a:gd name="connsiteX25" fmla="*/ 2308058 w 4017658"/>
                <a:gd name="connsiteY25" fmla="*/ 1163055 h 6198437"/>
                <a:gd name="connsiteX26" fmla="*/ 1013792 w 4017658"/>
                <a:gd name="connsiteY26" fmla="*/ 761302 h 6198437"/>
                <a:gd name="connsiteX0" fmla="*/ 983313 w 3987179"/>
                <a:gd name="connsiteY0" fmla="*/ 761302 h 6198437"/>
                <a:gd name="connsiteX1" fmla="*/ 0 w 3987179"/>
                <a:gd name="connsiteY1" fmla="*/ 393463 h 6198437"/>
                <a:gd name="connsiteX2" fmla="*/ 235887 w 3987179"/>
                <a:gd name="connsiteY2" fmla="*/ 319342 h 6198437"/>
                <a:gd name="connsiteX3" fmla="*/ 276342 w 3987179"/>
                <a:gd name="connsiteY3" fmla="*/ 352592 h 6198437"/>
                <a:gd name="connsiteX4" fmla="*/ 472884 w 3987179"/>
                <a:gd name="connsiteY4" fmla="*/ 288171 h 6198437"/>
                <a:gd name="connsiteX5" fmla="*/ 432096 w 3987179"/>
                <a:gd name="connsiteY5" fmla="*/ 119840 h 6198437"/>
                <a:gd name="connsiteX6" fmla="*/ 815339 w 3987179"/>
                <a:gd name="connsiteY6" fmla="*/ 0 h 6198437"/>
                <a:gd name="connsiteX7" fmla="*/ 863637 w 3987179"/>
                <a:gd name="connsiteY7" fmla="*/ 165560 h 6198437"/>
                <a:gd name="connsiteX8" fmla="*/ 2627188 w 3987179"/>
                <a:gd name="connsiteY8" fmla="*/ 680900 h 6198437"/>
                <a:gd name="connsiteX9" fmla="*/ 3177318 w 3987179"/>
                <a:gd name="connsiteY9" fmla="*/ 1291242 h 6198437"/>
                <a:gd name="connsiteX10" fmla="*/ 3238722 w 3987179"/>
                <a:gd name="connsiteY10" fmla="*/ 1298860 h 6198437"/>
                <a:gd name="connsiteX11" fmla="*/ 3403563 w 3987179"/>
                <a:gd name="connsiteY11" fmla="*/ 1479661 h 6198437"/>
                <a:gd name="connsiteX12" fmla="*/ 3403786 w 3987179"/>
                <a:gd name="connsiteY12" fmla="*/ 1535080 h 6198437"/>
                <a:gd name="connsiteX13" fmla="*/ 3565050 w 3987179"/>
                <a:gd name="connsiteY13" fmla="*/ 1726990 h 6198437"/>
                <a:gd name="connsiteX14" fmla="*/ 3945038 w 3987179"/>
                <a:gd name="connsiteY14" fmla="*/ 3519512 h 6198437"/>
                <a:gd name="connsiteX15" fmla="*/ 3752959 w 3987179"/>
                <a:gd name="connsiteY15" fmla="*/ 4385669 h 6198437"/>
                <a:gd name="connsiteX16" fmla="*/ 3900409 w 3987179"/>
                <a:gd name="connsiteY16" fmla="*/ 4428964 h 6198437"/>
                <a:gd name="connsiteX17" fmla="*/ 3796492 w 3987179"/>
                <a:gd name="connsiteY17" fmla="*/ 4865439 h 6198437"/>
                <a:gd name="connsiteX18" fmla="*/ 3651889 w 3987179"/>
                <a:gd name="connsiteY18" fmla="*/ 4824545 h 6198437"/>
                <a:gd name="connsiteX19" fmla="*/ 2538462 w 3987179"/>
                <a:gd name="connsiteY19" fmla="*/ 6198437 h 6198437"/>
                <a:gd name="connsiteX20" fmla="*/ 2347464 w 3987179"/>
                <a:gd name="connsiteY20" fmla="*/ 5626725 h 6198437"/>
                <a:gd name="connsiteX21" fmla="*/ 3133599 w 3987179"/>
                <a:gd name="connsiteY21" fmla="*/ 4596953 h 6198437"/>
                <a:gd name="connsiteX22" fmla="*/ 3413648 w 3987179"/>
                <a:gd name="connsiteY22" fmla="*/ 3352779 h 6198437"/>
                <a:gd name="connsiteX23" fmla="*/ 3094832 w 3987179"/>
                <a:gd name="connsiteY23" fmla="*/ 2049487 h 6198437"/>
                <a:gd name="connsiteX24" fmla="*/ 2277579 w 3987179"/>
                <a:gd name="connsiteY24" fmla="*/ 1163055 h 6198437"/>
                <a:gd name="connsiteX25" fmla="*/ 983313 w 3987179"/>
                <a:gd name="connsiteY25" fmla="*/ 761302 h 6198437"/>
                <a:gd name="connsiteX0" fmla="*/ 747426 w 3751292"/>
                <a:gd name="connsiteY0" fmla="*/ 761302 h 6198437"/>
                <a:gd name="connsiteX1" fmla="*/ 0 w 3751292"/>
                <a:gd name="connsiteY1" fmla="*/ 319342 h 6198437"/>
                <a:gd name="connsiteX2" fmla="*/ 40455 w 3751292"/>
                <a:gd name="connsiteY2" fmla="*/ 352592 h 6198437"/>
                <a:gd name="connsiteX3" fmla="*/ 236997 w 3751292"/>
                <a:gd name="connsiteY3" fmla="*/ 288171 h 6198437"/>
                <a:gd name="connsiteX4" fmla="*/ 196209 w 3751292"/>
                <a:gd name="connsiteY4" fmla="*/ 119840 h 6198437"/>
                <a:gd name="connsiteX5" fmla="*/ 579452 w 3751292"/>
                <a:gd name="connsiteY5" fmla="*/ 0 h 6198437"/>
                <a:gd name="connsiteX6" fmla="*/ 627750 w 3751292"/>
                <a:gd name="connsiteY6" fmla="*/ 165560 h 6198437"/>
                <a:gd name="connsiteX7" fmla="*/ 2391301 w 3751292"/>
                <a:gd name="connsiteY7" fmla="*/ 680900 h 6198437"/>
                <a:gd name="connsiteX8" fmla="*/ 2941431 w 3751292"/>
                <a:gd name="connsiteY8" fmla="*/ 1291242 h 6198437"/>
                <a:gd name="connsiteX9" fmla="*/ 3002835 w 3751292"/>
                <a:gd name="connsiteY9" fmla="*/ 1298860 h 6198437"/>
                <a:gd name="connsiteX10" fmla="*/ 3167676 w 3751292"/>
                <a:gd name="connsiteY10" fmla="*/ 1479661 h 6198437"/>
                <a:gd name="connsiteX11" fmla="*/ 3167899 w 3751292"/>
                <a:gd name="connsiteY11" fmla="*/ 1535080 h 6198437"/>
                <a:gd name="connsiteX12" fmla="*/ 3329163 w 3751292"/>
                <a:gd name="connsiteY12" fmla="*/ 1726990 h 6198437"/>
                <a:gd name="connsiteX13" fmla="*/ 3709151 w 3751292"/>
                <a:gd name="connsiteY13" fmla="*/ 3519512 h 6198437"/>
                <a:gd name="connsiteX14" fmla="*/ 3517072 w 3751292"/>
                <a:gd name="connsiteY14" fmla="*/ 4385669 h 6198437"/>
                <a:gd name="connsiteX15" fmla="*/ 3664522 w 3751292"/>
                <a:gd name="connsiteY15" fmla="*/ 4428964 h 6198437"/>
                <a:gd name="connsiteX16" fmla="*/ 3560605 w 3751292"/>
                <a:gd name="connsiteY16" fmla="*/ 4865439 h 6198437"/>
                <a:gd name="connsiteX17" fmla="*/ 3416002 w 3751292"/>
                <a:gd name="connsiteY17" fmla="*/ 4824545 h 6198437"/>
                <a:gd name="connsiteX18" fmla="*/ 2302575 w 3751292"/>
                <a:gd name="connsiteY18" fmla="*/ 6198437 h 6198437"/>
                <a:gd name="connsiteX19" fmla="*/ 2111577 w 3751292"/>
                <a:gd name="connsiteY19" fmla="*/ 5626725 h 6198437"/>
                <a:gd name="connsiteX20" fmla="*/ 2897712 w 3751292"/>
                <a:gd name="connsiteY20" fmla="*/ 4596953 h 6198437"/>
                <a:gd name="connsiteX21" fmla="*/ 3177761 w 3751292"/>
                <a:gd name="connsiteY21" fmla="*/ 3352779 h 6198437"/>
                <a:gd name="connsiteX22" fmla="*/ 2858945 w 3751292"/>
                <a:gd name="connsiteY22" fmla="*/ 2049487 h 6198437"/>
                <a:gd name="connsiteX23" fmla="*/ 2041692 w 3751292"/>
                <a:gd name="connsiteY23" fmla="*/ 1163055 h 6198437"/>
                <a:gd name="connsiteX24" fmla="*/ 747426 w 3751292"/>
                <a:gd name="connsiteY24" fmla="*/ 761302 h 6198437"/>
                <a:gd name="connsiteX0" fmla="*/ 706971 w 3710837"/>
                <a:gd name="connsiteY0" fmla="*/ 761302 h 6198437"/>
                <a:gd name="connsiteX1" fmla="*/ 0 w 3710837"/>
                <a:gd name="connsiteY1" fmla="*/ 352592 h 6198437"/>
                <a:gd name="connsiteX2" fmla="*/ 196542 w 3710837"/>
                <a:gd name="connsiteY2" fmla="*/ 288171 h 6198437"/>
                <a:gd name="connsiteX3" fmla="*/ 155754 w 3710837"/>
                <a:gd name="connsiteY3" fmla="*/ 119840 h 6198437"/>
                <a:gd name="connsiteX4" fmla="*/ 538997 w 3710837"/>
                <a:gd name="connsiteY4" fmla="*/ 0 h 6198437"/>
                <a:gd name="connsiteX5" fmla="*/ 587295 w 3710837"/>
                <a:gd name="connsiteY5" fmla="*/ 165560 h 6198437"/>
                <a:gd name="connsiteX6" fmla="*/ 2350846 w 3710837"/>
                <a:gd name="connsiteY6" fmla="*/ 680900 h 6198437"/>
                <a:gd name="connsiteX7" fmla="*/ 2900976 w 3710837"/>
                <a:gd name="connsiteY7" fmla="*/ 1291242 h 6198437"/>
                <a:gd name="connsiteX8" fmla="*/ 2962380 w 3710837"/>
                <a:gd name="connsiteY8" fmla="*/ 1298860 h 6198437"/>
                <a:gd name="connsiteX9" fmla="*/ 3127221 w 3710837"/>
                <a:gd name="connsiteY9" fmla="*/ 1479661 h 6198437"/>
                <a:gd name="connsiteX10" fmla="*/ 3127444 w 3710837"/>
                <a:gd name="connsiteY10" fmla="*/ 1535080 h 6198437"/>
                <a:gd name="connsiteX11" fmla="*/ 3288708 w 3710837"/>
                <a:gd name="connsiteY11" fmla="*/ 1726990 h 6198437"/>
                <a:gd name="connsiteX12" fmla="*/ 3668696 w 3710837"/>
                <a:gd name="connsiteY12" fmla="*/ 3519512 h 6198437"/>
                <a:gd name="connsiteX13" fmla="*/ 3476617 w 3710837"/>
                <a:gd name="connsiteY13" fmla="*/ 4385669 h 6198437"/>
                <a:gd name="connsiteX14" fmla="*/ 3624067 w 3710837"/>
                <a:gd name="connsiteY14" fmla="*/ 4428964 h 6198437"/>
                <a:gd name="connsiteX15" fmla="*/ 3520150 w 3710837"/>
                <a:gd name="connsiteY15" fmla="*/ 4865439 h 6198437"/>
                <a:gd name="connsiteX16" fmla="*/ 3375547 w 3710837"/>
                <a:gd name="connsiteY16" fmla="*/ 4824545 h 6198437"/>
                <a:gd name="connsiteX17" fmla="*/ 2262120 w 3710837"/>
                <a:gd name="connsiteY17" fmla="*/ 6198437 h 6198437"/>
                <a:gd name="connsiteX18" fmla="*/ 2071122 w 3710837"/>
                <a:gd name="connsiteY18" fmla="*/ 5626725 h 6198437"/>
                <a:gd name="connsiteX19" fmla="*/ 2857257 w 3710837"/>
                <a:gd name="connsiteY19" fmla="*/ 4596953 h 6198437"/>
                <a:gd name="connsiteX20" fmla="*/ 3137306 w 3710837"/>
                <a:gd name="connsiteY20" fmla="*/ 3352779 h 6198437"/>
                <a:gd name="connsiteX21" fmla="*/ 2818490 w 3710837"/>
                <a:gd name="connsiteY21" fmla="*/ 2049487 h 6198437"/>
                <a:gd name="connsiteX22" fmla="*/ 2001237 w 3710837"/>
                <a:gd name="connsiteY22" fmla="*/ 1163055 h 6198437"/>
                <a:gd name="connsiteX23" fmla="*/ 706971 w 3710837"/>
                <a:gd name="connsiteY23" fmla="*/ 761302 h 6198437"/>
                <a:gd name="connsiteX0" fmla="*/ 551217 w 3555083"/>
                <a:gd name="connsiteY0" fmla="*/ 761302 h 6198437"/>
                <a:gd name="connsiteX1" fmla="*/ 40788 w 3555083"/>
                <a:gd name="connsiteY1" fmla="*/ 288171 h 6198437"/>
                <a:gd name="connsiteX2" fmla="*/ 0 w 3555083"/>
                <a:gd name="connsiteY2" fmla="*/ 119840 h 6198437"/>
                <a:gd name="connsiteX3" fmla="*/ 383243 w 3555083"/>
                <a:gd name="connsiteY3" fmla="*/ 0 h 6198437"/>
                <a:gd name="connsiteX4" fmla="*/ 431541 w 3555083"/>
                <a:gd name="connsiteY4" fmla="*/ 165560 h 6198437"/>
                <a:gd name="connsiteX5" fmla="*/ 2195092 w 3555083"/>
                <a:gd name="connsiteY5" fmla="*/ 680900 h 6198437"/>
                <a:gd name="connsiteX6" fmla="*/ 2745222 w 3555083"/>
                <a:gd name="connsiteY6" fmla="*/ 1291242 h 6198437"/>
                <a:gd name="connsiteX7" fmla="*/ 2806626 w 3555083"/>
                <a:gd name="connsiteY7" fmla="*/ 1298860 h 6198437"/>
                <a:gd name="connsiteX8" fmla="*/ 2971467 w 3555083"/>
                <a:gd name="connsiteY8" fmla="*/ 1479661 h 6198437"/>
                <a:gd name="connsiteX9" fmla="*/ 2971690 w 3555083"/>
                <a:gd name="connsiteY9" fmla="*/ 1535080 h 6198437"/>
                <a:gd name="connsiteX10" fmla="*/ 3132954 w 3555083"/>
                <a:gd name="connsiteY10" fmla="*/ 1726990 h 6198437"/>
                <a:gd name="connsiteX11" fmla="*/ 3512942 w 3555083"/>
                <a:gd name="connsiteY11" fmla="*/ 3519512 h 6198437"/>
                <a:gd name="connsiteX12" fmla="*/ 3320863 w 3555083"/>
                <a:gd name="connsiteY12" fmla="*/ 4385669 h 6198437"/>
                <a:gd name="connsiteX13" fmla="*/ 3468313 w 3555083"/>
                <a:gd name="connsiteY13" fmla="*/ 4428964 h 6198437"/>
                <a:gd name="connsiteX14" fmla="*/ 3364396 w 3555083"/>
                <a:gd name="connsiteY14" fmla="*/ 4865439 h 6198437"/>
                <a:gd name="connsiteX15" fmla="*/ 3219793 w 3555083"/>
                <a:gd name="connsiteY15" fmla="*/ 4824545 h 6198437"/>
                <a:gd name="connsiteX16" fmla="*/ 2106366 w 3555083"/>
                <a:gd name="connsiteY16" fmla="*/ 6198437 h 6198437"/>
                <a:gd name="connsiteX17" fmla="*/ 1915368 w 3555083"/>
                <a:gd name="connsiteY17" fmla="*/ 5626725 h 6198437"/>
                <a:gd name="connsiteX18" fmla="*/ 2701503 w 3555083"/>
                <a:gd name="connsiteY18" fmla="*/ 4596953 h 6198437"/>
                <a:gd name="connsiteX19" fmla="*/ 2981552 w 3555083"/>
                <a:gd name="connsiteY19" fmla="*/ 3352779 h 6198437"/>
                <a:gd name="connsiteX20" fmla="*/ 2662736 w 3555083"/>
                <a:gd name="connsiteY20" fmla="*/ 2049487 h 6198437"/>
                <a:gd name="connsiteX21" fmla="*/ 1845483 w 3555083"/>
                <a:gd name="connsiteY21" fmla="*/ 1163055 h 6198437"/>
                <a:gd name="connsiteX22" fmla="*/ 551217 w 3555083"/>
                <a:gd name="connsiteY22" fmla="*/ 761302 h 6198437"/>
                <a:gd name="connsiteX0" fmla="*/ 551217 w 3555083"/>
                <a:gd name="connsiteY0" fmla="*/ 761302 h 6198437"/>
                <a:gd name="connsiteX1" fmla="*/ 0 w 3555083"/>
                <a:gd name="connsiteY1" fmla="*/ 119840 h 6198437"/>
                <a:gd name="connsiteX2" fmla="*/ 383243 w 3555083"/>
                <a:gd name="connsiteY2" fmla="*/ 0 h 6198437"/>
                <a:gd name="connsiteX3" fmla="*/ 431541 w 3555083"/>
                <a:gd name="connsiteY3" fmla="*/ 165560 h 6198437"/>
                <a:gd name="connsiteX4" fmla="*/ 2195092 w 3555083"/>
                <a:gd name="connsiteY4" fmla="*/ 680900 h 6198437"/>
                <a:gd name="connsiteX5" fmla="*/ 2745222 w 3555083"/>
                <a:gd name="connsiteY5" fmla="*/ 1291242 h 6198437"/>
                <a:gd name="connsiteX6" fmla="*/ 2806626 w 3555083"/>
                <a:gd name="connsiteY6" fmla="*/ 1298860 h 6198437"/>
                <a:gd name="connsiteX7" fmla="*/ 2971467 w 3555083"/>
                <a:gd name="connsiteY7" fmla="*/ 1479661 h 6198437"/>
                <a:gd name="connsiteX8" fmla="*/ 2971690 w 3555083"/>
                <a:gd name="connsiteY8" fmla="*/ 1535080 h 6198437"/>
                <a:gd name="connsiteX9" fmla="*/ 3132954 w 3555083"/>
                <a:gd name="connsiteY9" fmla="*/ 1726990 h 6198437"/>
                <a:gd name="connsiteX10" fmla="*/ 3512942 w 3555083"/>
                <a:gd name="connsiteY10" fmla="*/ 3519512 h 6198437"/>
                <a:gd name="connsiteX11" fmla="*/ 3320863 w 3555083"/>
                <a:gd name="connsiteY11" fmla="*/ 4385669 h 6198437"/>
                <a:gd name="connsiteX12" fmla="*/ 3468313 w 3555083"/>
                <a:gd name="connsiteY12" fmla="*/ 4428964 h 6198437"/>
                <a:gd name="connsiteX13" fmla="*/ 3364396 w 3555083"/>
                <a:gd name="connsiteY13" fmla="*/ 4865439 h 6198437"/>
                <a:gd name="connsiteX14" fmla="*/ 3219793 w 3555083"/>
                <a:gd name="connsiteY14" fmla="*/ 4824545 h 6198437"/>
                <a:gd name="connsiteX15" fmla="*/ 2106366 w 3555083"/>
                <a:gd name="connsiteY15" fmla="*/ 6198437 h 6198437"/>
                <a:gd name="connsiteX16" fmla="*/ 1915368 w 3555083"/>
                <a:gd name="connsiteY16" fmla="*/ 5626725 h 6198437"/>
                <a:gd name="connsiteX17" fmla="*/ 2701503 w 3555083"/>
                <a:gd name="connsiteY17" fmla="*/ 4596953 h 6198437"/>
                <a:gd name="connsiteX18" fmla="*/ 2981552 w 3555083"/>
                <a:gd name="connsiteY18" fmla="*/ 3352779 h 6198437"/>
                <a:gd name="connsiteX19" fmla="*/ 2662736 w 3555083"/>
                <a:gd name="connsiteY19" fmla="*/ 2049487 h 6198437"/>
                <a:gd name="connsiteX20" fmla="*/ 1845483 w 3555083"/>
                <a:gd name="connsiteY20" fmla="*/ 1163055 h 6198437"/>
                <a:gd name="connsiteX21" fmla="*/ 551217 w 3555083"/>
                <a:gd name="connsiteY21" fmla="*/ 761302 h 6198437"/>
                <a:gd name="connsiteX0" fmla="*/ 167974 w 3171840"/>
                <a:gd name="connsiteY0" fmla="*/ 761302 h 6198437"/>
                <a:gd name="connsiteX1" fmla="*/ 0 w 3171840"/>
                <a:gd name="connsiteY1" fmla="*/ 0 h 6198437"/>
                <a:gd name="connsiteX2" fmla="*/ 48298 w 3171840"/>
                <a:gd name="connsiteY2" fmla="*/ 165560 h 6198437"/>
                <a:gd name="connsiteX3" fmla="*/ 1811849 w 3171840"/>
                <a:gd name="connsiteY3" fmla="*/ 680900 h 6198437"/>
                <a:gd name="connsiteX4" fmla="*/ 2361979 w 3171840"/>
                <a:gd name="connsiteY4" fmla="*/ 1291242 h 6198437"/>
                <a:gd name="connsiteX5" fmla="*/ 2423383 w 3171840"/>
                <a:gd name="connsiteY5" fmla="*/ 1298860 h 6198437"/>
                <a:gd name="connsiteX6" fmla="*/ 2588224 w 3171840"/>
                <a:gd name="connsiteY6" fmla="*/ 1479661 h 6198437"/>
                <a:gd name="connsiteX7" fmla="*/ 2588447 w 3171840"/>
                <a:gd name="connsiteY7" fmla="*/ 1535080 h 6198437"/>
                <a:gd name="connsiteX8" fmla="*/ 2749711 w 3171840"/>
                <a:gd name="connsiteY8" fmla="*/ 1726990 h 6198437"/>
                <a:gd name="connsiteX9" fmla="*/ 3129699 w 3171840"/>
                <a:gd name="connsiteY9" fmla="*/ 3519512 h 6198437"/>
                <a:gd name="connsiteX10" fmla="*/ 2937620 w 3171840"/>
                <a:gd name="connsiteY10" fmla="*/ 4385669 h 6198437"/>
                <a:gd name="connsiteX11" fmla="*/ 3085070 w 3171840"/>
                <a:gd name="connsiteY11" fmla="*/ 4428964 h 6198437"/>
                <a:gd name="connsiteX12" fmla="*/ 2981153 w 3171840"/>
                <a:gd name="connsiteY12" fmla="*/ 4865439 h 6198437"/>
                <a:gd name="connsiteX13" fmla="*/ 2836550 w 3171840"/>
                <a:gd name="connsiteY13" fmla="*/ 4824545 h 6198437"/>
                <a:gd name="connsiteX14" fmla="*/ 1723123 w 3171840"/>
                <a:gd name="connsiteY14" fmla="*/ 6198437 h 6198437"/>
                <a:gd name="connsiteX15" fmla="*/ 1532125 w 3171840"/>
                <a:gd name="connsiteY15" fmla="*/ 5626725 h 6198437"/>
                <a:gd name="connsiteX16" fmla="*/ 2318260 w 3171840"/>
                <a:gd name="connsiteY16" fmla="*/ 4596953 h 6198437"/>
                <a:gd name="connsiteX17" fmla="*/ 2598309 w 3171840"/>
                <a:gd name="connsiteY17" fmla="*/ 3352779 h 6198437"/>
                <a:gd name="connsiteX18" fmla="*/ 2279493 w 3171840"/>
                <a:gd name="connsiteY18" fmla="*/ 2049487 h 6198437"/>
                <a:gd name="connsiteX19" fmla="*/ 1462240 w 3171840"/>
                <a:gd name="connsiteY19" fmla="*/ 1163055 h 6198437"/>
                <a:gd name="connsiteX20" fmla="*/ 167974 w 3171840"/>
                <a:gd name="connsiteY20" fmla="*/ 761302 h 6198437"/>
                <a:gd name="connsiteX0" fmla="*/ 119676 w 3123542"/>
                <a:gd name="connsiteY0" fmla="*/ 648673 h 6085808"/>
                <a:gd name="connsiteX1" fmla="*/ 0 w 3123542"/>
                <a:gd name="connsiteY1" fmla="*/ 52931 h 6085808"/>
                <a:gd name="connsiteX2" fmla="*/ 1763551 w 3123542"/>
                <a:gd name="connsiteY2" fmla="*/ 568271 h 6085808"/>
                <a:gd name="connsiteX3" fmla="*/ 2313681 w 3123542"/>
                <a:gd name="connsiteY3" fmla="*/ 1178613 h 6085808"/>
                <a:gd name="connsiteX4" fmla="*/ 2375085 w 3123542"/>
                <a:gd name="connsiteY4" fmla="*/ 1186231 h 6085808"/>
                <a:gd name="connsiteX5" fmla="*/ 2539926 w 3123542"/>
                <a:gd name="connsiteY5" fmla="*/ 1367032 h 6085808"/>
                <a:gd name="connsiteX6" fmla="*/ 2540149 w 3123542"/>
                <a:gd name="connsiteY6" fmla="*/ 1422451 h 6085808"/>
                <a:gd name="connsiteX7" fmla="*/ 2701413 w 3123542"/>
                <a:gd name="connsiteY7" fmla="*/ 1614361 h 6085808"/>
                <a:gd name="connsiteX8" fmla="*/ 3081401 w 3123542"/>
                <a:gd name="connsiteY8" fmla="*/ 3406883 h 6085808"/>
                <a:gd name="connsiteX9" fmla="*/ 2889322 w 3123542"/>
                <a:gd name="connsiteY9" fmla="*/ 4273040 h 6085808"/>
                <a:gd name="connsiteX10" fmla="*/ 3036772 w 3123542"/>
                <a:gd name="connsiteY10" fmla="*/ 4316335 h 6085808"/>
                <a:gd name="connsiteX11" fmla="*/ 2932855 w 3123542"/>
                <a:gd name="connsiteY11" fmla="*/ 4752810 h 6085808"/>
                <a:gd name="connsiteX12" fmla="*/ 2788252 w 3123542"/>
                <a:gd name="connsiteY12" fmla="*/ 4711916 h 6085808"/>
                <a:gd name="connsiteX13" fmla="*/ 1674825 w 3123542"/>
                <a:gd name="connsiteY13" fmla="*/ 6085808 h 6085808"/>
                <a:gd name="connsiteX14" fmla="*/ 1483827 w 3123542"/>
                <a:gd name="connsiteY14" fmla="*/ 5514096 h 6085808"/>
                <a:gd name="connsiteX15" fmla="*/ 2269962 w 3123542"/>
                <a:gd name="connsiteY15" fmla="*/ 4484324 h 6085808"/>
                <a:gd name="connsiteX16" fmla="*/ 2550011 w 3123542"/>
                <a:gd name="connsiteY16" fmla="*/ 3240150 h 6085808"/>
                <a:gd name="connsiteX17" fmla="*/ 2231195 w 3123542"/>
                <a:gd name="connsiteY17" fmla="*/ 1936858 h 6085808"/>
                <a:gd name="connsiteX18" fmla="*/ 1413942 w 3123542"/>
                <a:gd name="connsiteY18" fmla="*/ 1050426 h 6085808"/>
                <a:gd name="connsiteX19" fmla="*/ 119676 w 3123542"/>
                <a:gd name="connsiteY19" fmla="*/ 648673 h 6085808"/>
                <a:gd name="connsiteX0" fmla="*/ 0 w 3003866"/>
                <a:gd name="connsiteY0" fmla="*/ 80402 h 5517537"/>
                <a:gd name="connsiteX1" fmla="*/ 1643875 w 3003866"/>
                <a:gd name="connsiteY1" fmla="*/ 0 h 5517537"/>
                <a:gd name="connsiteX2" fmla="*/ 2194005 w 3003866"/>
                <a:gd name="connsiteY2" fmla="*/ 610342 h 5517537"/>
                <a:gd name="connsiteX3" fmla="*/ 2255409 w 3003866"/>
                <a:gd name="connsiteY3" fmla="*/ 617960 h 5517537"/>
                <a:gd name="connsiteX4" fmla="*/ 2420250 w 3003866"/>
                <a:gd name="connsiteY4" fmla="*/ 798761 h 5517537"/>
                <a:gd name="connsiteX5" fmla="*/ 2420473 w 3003866"/>
                <a:gd name="connsiteY5" fmla="*/ 854180 h 5517537"/>
                <a:gd name="connsiteX6" fmla="*/ 2581737 w 3003866"/>
                <a:gd name="connsiteY6" fmla="*/ 1046090 h 5517537"/>
                <a:gd name="connsiteX7" fmla="*/ 2961725 w 3003866"/>
                <a:gd name="connsiteY7" fmla="*/ 2838612 h 5517537"/>
                <a:gd name="connsiteX8" fmla="*/ 2769646 w 3003866"/>
                <a:gd name="connsiteY8" fmla="*/ 3704769 h 5517537"/>
                <a:gd name="connsiteX9" fmla="*/ 2917096 w 3003866"/>
                <a:gd name="connsiteY9" fmla="*/ 3748064 h 5517537"/>
                <a:gd name="connsiteX10" fmla="*/ 2813179 w 3003866"/>
                <a:gd name="connsiteY10" fmla="*/ 4184539 h 5517537"/>
                <a:gd name="connsiteX11" fmla="*/ 2668576 w 3003866"/>
                <a:gd name="connsiteY11" fmla="*/ 4143645 h 5517537"/>
                <a:gd name="connsiteX12" fmla="*/ 1555149 w 3003866"/>
                <a:gd name="connsiteY12" fmla="*/ 5517537 h 5517537"/>
                <a:gd name="connsiteX13" fmla="*/ 1364151 w 3003866"/>
                <a:gd name="connsiteY13" fmla="*/ 4945825 h 5517537"/>
                <a:gd name="connsiteX14" fmla="*/ 2150286 w 3003866"/>
                <a:gd name="connsiteY14" fmla="*/ 3916053 h 5517537"/>
                <a:gd name="connsiteX15" fmla="*/ 2430335 w 3003866"/>
                <a:gd name="connsiteY15" fmla="*/ 2671879 h 5517537"/>
                <a:gd name="connsiteX16" fmla="*/ 2111519 w 3003866"/>
                <a:gd name="connsiteY16" fmla="*/ 1368587 h 5517537"/>
                <a:gd name="connsiteX17" fmla="*/ 1294266 w 3003866"/>
                <a:gd name="connsiteY17" fmla="*/ 482155 h 5517537"/>
                <a:gd name="connsiteX18" fmla="*/ 0 w 3003866"/>
                <a:gd name="connsiteY18" fmla="*/ 80402 h 5517537"/>
                <a:gd name="connsiteX0" fmla="*/ 13536 w 1723136"/>
                <a:gd name="connsiteY0" fmla="*/ 483325 h 5518707"/>
                <a:gd name="connsiteX1" fmla="*/ 363145 w 1723136"/>
                <a:gd name="connsiteY1" fmla="*/ 1170 h 5518707"/>
                <a:gd name="connsiteX2" fmla="*/ 913275 w 1723136"/>
                <a:gd name="connsiteY2" fmla="*/ 611512 h 5518707"/>
                <a:gd name="connsiteX3" fmla="*/ 974679 w 1723136"/>
                <a:gd name="connsiteY3" fmla="*/ 619130 h 5518707"/>
                <a:gd name="connsiteX4" fmla="*/ 1139520 w 1723136"/>
                <a:gd name="connsiteY4" fmla="*/ 799931 h 5518707"/>
                <a:gd name="connsiteX5" fmla="*/ 1139743 w 1723136"/>
                <a:gd name="connsiteY5" fmla="*/ 855350 h 5518707"/>
                <a:gd name="connsiteX6" fmla="*/ 1301007 w 1723136"/>
                <a:gd name="connsiteY6" fmla="*/ 1047260 h 5518707"/>
                <a:gd name="connsiteX7" fmla="*/ 1680995 w 1723136"/>
                <a:gd name="connsiteY7" fmla="*/ 2839782 h 5518707"/>
                <a:gd name="connsiteX8" fmla="*/ 1488916 w 1723136"/>
                <a:gd name="connsiteY8" fmla="*/ 3705939 h 5518707"/>
                <a:gd name="connsiteX9" fmla="*/ 1636366 w 1723136"/>
                <a:gd name="connsiteY9" fmla="*/ 3749234 h 5518707"/>
                <a:gd name="connsiteX10" fmla="*/ 1532449 w 1723136"/>
                <a:gd name="connsiteY10" fmla="*/ 4185709 h 5518707"/>
                <a:gd name="connsiteX11" fmla="*/ 1387846 w 1723136"/>
                <a:gd name="connsiteY11" fmla="*/ 4144815 h 5518707"/>
                <a:gd name="connsiteX12" fmla="*/ 274419 w 1723136"/>
                <a:gd name="connsiteY12" fmla="*/ 5518707 h 5518707"/>
                <a:gd name="connsiteX13" fmla="*/ 83421 w 1723136"/>
                <a:gd name="connsiteY13" fmla="*/ 4946995 h 5518707"/>
                <a:gd name="connsiteX14" fmla="*/ 869556 w 1723136"/>
                <a:gd name="connsiteY14" fmla="*/ 3917223 h 5518707"/>
                <a:gd name="connsiteX15" fmla="*/ 1149605 w 1723136"/>
                <a:gd name="connsiteY15" fmla="*/ 2673049 h 5518707"/>
                <a:gd name="connsiteX16" fmla="*/ 830789 w 1723136"/>
                <a:gd name="connsiteY16" fmla="*/ 1369757 h 5518707"/>
                <a:gd name="connsiteX17" fmla="*/ 13536 w 1723136"/>
                <a:gd name="connsiteY17" fmla="*/ 483325 h 5518707"/>
                <a:gd name="connsiteX0" fmla="*/ 0 w 1709600"/>
                <a:gd name="connsiteY0" fmla="*/ 483078 h 5518460"/>
                <a:gd name="connsiteX1" fmla="*/ 349609 w 1709600"/>
                <a:gd name="connsiteY1" fmla="*/ 923 h 5518460"/>
                <a:gd name="connsiteX2" fmla="*/ 899739 w 1709600"/>
                <a:gd name="connsiteY2" fmla="*/ 611265 h 5518460"/>
                <a:gd name="connsiteX3" fmla="*/ 961143 w 1709600"/>
                <a:gd name="connsiteY3" fmla="*/ 618883 h 5518460"/>
                <a:gd name="connsiteX4" fmla="*/ 1125984 w 1709600"/>
                <a:gd name="connsiteY4" fmla="*/ 799684 h 5518460"/>
                <a:gd name="connsiteX5" fmla="*/ 1126207 w 1709600"/>
                <a:gd name="connsiteY5" fmla="*/ 855103 h 5518460"/>
                <a:gd name="connsiteX6" fmla="*/ 1287471 w 1709600"/>
                <a:gd name="connsiteY6" fmla="*/ 1047013 h 5518460"/>
                <a:gd name="connsiteX7" fmla="*/ 1667459 w 1709600"/>
                <a:gd name="connsiteY7" fmla="*/ 2839535 h 5518460"/>
                <a:gd name="connsiteX8" fmla="*/ 1475380 w 1709600"/>
                <a:gd name="connsiteY8" fmla="*/ 3705692 h 5518460"/>
                <a:gd name="connsiteX9" fmla="*/ 1622830 w 1709600"/>
                <a:gd name="connsiteY9" fmla="*/ 3748987 h 5518460"/>
                <a:gd name="connsiteX10" fmla="*/ 1518913 w 1709600"/>
                <a:gd name="connsiteY10" fmla="*/ 4185462 h 5518460"/>
                <a:gd name="connsiteX11" fmla="*/ 1374310 w 1709600"/>
                <a:gd name="connsiteY11" fmla="*/ 4144568 h 5518460"/>
                <a:gd name="connsiteX12" fmla="*/ 260883 w 1709600"/>
                <a:gd name="connsiteY12" fmla="*/ 5518460 h 5518460"/>
                <a:gd name="connsiteX13" fmla="*/ 69885 w 1709600"/>
                <a:gd name="connsiteY13" fmla="*/ 4946748 h 5518460"/>
                <a:gd name="connsiteX14" fmla="*/ 856020 w 1709600"/>
                <a:gd name="connsiteY14" fmla="*/ 3916976 h 5518460"/>
                <a:gd name="connsiteX15" fmla="*/ 1136069 w 1709600"/>
                <a:gd name="connsiteY15" fmla="*/ 2672802 h 5518460"/>
                <a:gd name="connsiteX16" fmla="*/ 817253 w 1709600"/>
                <a:gd name="connsiteY16" fmla="*/ 1369510 h 5518460"/>
                <a:gd name="connsiteX17" fmla="*/ 0 w 1709600"/>
                <a:gd name="connsiteY17" fmla="*/ 483078 h 5518460"/>
                <a:gd name="connsiteX0" fmla="*/ 0 w 1732009"/>
                <a:gd name="connsiteY0" fmla="*/ 467166 h 5518500"/>
                <a:gd name="connsiteX1" fmla="*/ 372018 w 1732009"/>
                <a:gd name="connsiteY1" fmla="*/ 963 h 5518500"/>
                <a:gd name="connsiteX2" fmla="*/ 922148 w 1732009"/>
                <a:gd name="connsiteY2" fmla="*/ 611305 h 5518500"/>
                <a:gd name="connsiteX3" fmla="*/ 983552 w 1732009"/>
                <a:gd name="connsiteY3" fmla="*/ 618923 h 5518500"/>
                <a:gd name="connsiteX4" fmla="*/ 1148393 w 1732009"/>
                <a:gd name="connsiteY4" fmla="*/ 799724 h 5518500"/>
                <a:gd name="connsiteX5" fmla="*/ 1148616 w 1732009"/>
                <a:gd name="connsiteY5" fmla="*/ 855143 h 5518500"/>
                <a:gd name="connsiteX6" fmla="*/ 1309880 w 1732009"/>
                <a:gd name="connsiteY6" fmla="*/ 1047053 h 5518500"/>
                <a:gd name="connsiteX7" fmla="*/ 1689868 w 1732009"/>
                <a:gd name="connsiteY7" fmla="*/ 2839575 h 5518500"/>
                <a:gd name="connsiteX8" fmla="*/ 1497789 w 1732009"/>
                <a:gd name="connsiteY8" fmla="*/ 3705732 h 5518500"/>
                <a:gd name="connsiteX9" fmla="*/ 1645239 w 1732009"/>
                <a:gd name="connsiteY9" fmla="*/ 3749027 h 5518500"/>
                <a:gd name="connsiteX10" fmla="*/ 1541322 w 1732009"/>
                <a:gd name="connsiteY10" fmla="*/ 4185502 h 5518500"/>
                <a:gd name="connsiteX11" fmla="*/ 1396719 w 1732009"/>
                <a:gd name="connsiteY11" fmla="*/ 4144608 h 5518500"/>
                <a:gd name="connsiteX12" fmla="*/ 283292 w 1732009"/>
                <a:gd name="connsiteY12" fmla="*/ 5518500 h 5518500"/>
                <a:gd name="connsiteX13" fmla="*/ 92294 w 1732009"/>
                <a:gd name="connsiteY13" fmla="*/ 4946788 h 5518500"/>
                <a:gd name="connsiteX14" fmla="*/ 878429 w 1732009"/>
                <a:gd name="connsiteY14" fmla="*/ 3917016 h 5518500"/>
                <a:gd name="connsiteX15" fmla="*/ 1158478 w 1732009"/>
                <a:gd name="connsiteY15" fmla="*/ 2672842 h 5518500"/>
                <a:gd name="connsiteX16" fmla="*/ 839662 w 1732009"/>
                <a:gd name="connsiteY16" fmla="*/ 1369550 h 5518500"/>
                <a:gd name="connsiteX17" fmla="*/ 0 w 1732009"/>
                <a:gd name="connsiteY17" fmla="*/ 467166 h 5518500"/>
                <a:gd name="connsiteX0" fmla="*/ 0 w 1732009"/>
                <a:gd name="connsiteY0" fmla="*/ 466203 h 5517537"/>
                <a:gd name="connsiteX1" fmla="*/ 372018 w 1732009"/>
                <a:gd name="connsiteY1" fmla="*/ 0 h 5517537"/>
                <a:gd name="connsiteX2" fmla="*/ 922148 w 1732009"/>
                <a:gd name="connsiteY2" fmla="*/ 610342 h 5517537"/>
                <a:gd name="connsiteX3" fmla="*/ 983552 w 1732009"/>
                <a:gd name="connsiteY3" fmla="*/ 617960 h 5517537"/>
                <a:gd name="connsiteX4" fmla="*/ 1148393 w 1732009"/>
                <a:gd name="connsiteY4" fmla="*/ 798761 h 5517537"/>
                <a:gd name="connsiteX5" fmla="*/ 1148616 w 1732009"/>
                <a:gd name="connsiteY5" fmla="*/ 854180 h 5517537"/>
                <a:gd name="connsiteX6" fmla="*/ 1309880 w 1732009"/>
                <a:gd name="connsiteY6" fmla="*/ 1046090 h 5517537"/>
                <a:gd name="connsiteX7" fmla="*/ 1689868 w 1732009"/>
                <a:gd name="connsiteY7" fmla="*/ 2838612 h 5517537"/>
                <a:gd name="connsiteX8" fmla="*/ 1497789 w 1732009"/>
                <a:gd name="connsiteY8" fmla="*/ 3704769 h 5517537"/>
                <a:gd name="connsiteX9" fmla="*/ 1645239 w 1732009"/>
                <a:gd name="connsiteY9" fmla="*/ 3748064 h 5517537"/>
                <a:gd name="connsiteX10" fmla="*/ 1541322 w 1732009"/>
                <a:gd name="connsiteY10" fmla="*/ 4184539 h 5517537"/>
                <a:gd name="connsiteX11" fmla="*/ 1396719 w 1732009"/>
                <a:gd name="connsiteY11" fmla="*/ 4143645 h 5517537"/>
                <a:gd name="connsiteX12" fmla="*/ 283292 w 1732009"/>
                <a:gd name="connsiteY12" fmla="*/ 5517537 h 5517537"/>
                <a:gd name="connsiteX13" fmla="*/ 92294 w 1732009"/>
                <a:gd name="connsiteY13" fmla="*/ 4945825 h 5517537"/>
                <a:gd name="connsiteX14" fmla="*/ 878429 w 1732009"/>
                <a:gd name="connsiteY14" fmla="*/ 3916053 h 5517537"/>
                <a:gd name="connsiteX15" fmla="*/ 1158478 w 1732009"/>
                <a:gd name="connsiteY15" fmla="*/ 2671879 h 5517537"/>
                <a:gd name="connsiteX16" fmla="*/ 839662 w 1732009"/>
                <a:gd name="connsiteY16" fmla="*/ 1368587 h 5517537"/>
                <a:gd name="connsiteX17" fmla="*/ 0 w 1732009"/>
                <a:gd name="connsiteY17" fmla="*/ 466203 h 5517537"/>
                <a:gd name="connsiteX0" fmla="*/ 0 w 1739354"/>
                <a:gd name="connsiteY0" fmla="*/ 442272 h 5517537"/>
                <a:gd name="connsiteX1" fmla="*/ 379363 w 1739354"/>
                <a:gd name="connsiteY1" fmla="*/ 0 h 5517537"/>
                <a:gd name="connsiteX2" fmla="*/ 929493 w 1739354"/>
                <a:gd name="connsiteY2" fmla="*/ 610342 h 5517537"/>
                <a:gd name="connsiteX3" fmla="*/ 990897 w 1739354"/>
                <a:gd name="connsiteY3" fmla="*/ 617960 h 5517537"/>
                <a:gd name="connsiteX4" fmla="*/ 1155738 w 1739354"/>
                <a:gd name="connsiteY4" fmla="*/ 798761 h 5517537"/>
                <a:gd name="connsiteX5" fmla="*/ 1155961 w 1739354"/>
                <a:gd name="connsiteY5" fmla="*/ 854180 h 5517537"/>
                <a:gd name="connsiteX6" fmla="*/ 1317225 w 1739354"/>
                <a:gd name="connsiteY6" fmla="*/ 1046090 h 5517537"/>
                <a:gd name="connsiteX7" fmla="*/ 1697213 w 1739354"/>
                <a:gd name="connsiteY7" fmla="*/ 2838612 h 5517537"/>
                <a:gd name="connsiteX8" fmla="*/ 1505134 w 1739354"/>
                <a:gd name="connsiteY8" fmla="*/ 3704769 h 5517537"/>
                <a:gd name="connsiteX9" fmla="*/ 1652584 w 1739354"/>
                <a:gd name="connsiteY9" fmla="*/ 3748064 h 5517537"/>
                <a:gd name="connsiteX10" fmla="*/ 1548667 w 1739354"/>
                <a:gd name="connsiteY10" fmla="*/ 4184539 h 5517537"/>
                <a:gd name="connsiteX11" fmla="*/ 1404064 w 1739354"/>
                <a:gd name="connsiteY11" fmla="*/ 4143645 h 5517537"/>
                <a:gd name="connsiteX12" fmla="*/ 290637 w 1739354"/>
                <a:gd name="connsiteY12" fmla="*/ 5517537 h 5517537"/>
                <a:gd name="connsiteX13" fmla="*/ 99639 w 1739354"/>
                <a:gd name="connsiteY13" fmla="*/ 4945825 h 5517537"/>
                <a:gd name="connsiteX14" fmla="*/ 885774 w 1739354"/>
                <a:gd name="connsiteY14" fmla="*/ 3916053 h 5517537"/>
                <a:gd name="connsiteX15" fmla="*/ 1165823 w 1739354"/>
                <a:gd name="connsiteY15" fmla="*/ 2671879 h 5517537"/>
                <a:gd name="connsiteX16" fmla="*/ 847007 w 1739354"/>
                <a:gd name="connsiteY16" fmla="*/ 1368587 h 5517537"/>
                <a:gd name="connsiteX17" fmla="*/ 0 w 1739354"/>
                <a:gd name="connsiteY17" fmla="*/ 442272 h 5517537"/>
                <a:gd name="connsiteX0" fmla="*/ 0 w 1739354"/>
                <a:gd name="connsiteY0" fmla="*/ 460885 h 5536150"/>
                <a:gd name="connsiteX1" fmla="*/ 367121 w 1739354"/>
                <a:gd name="connsiteY1" fmla="*/ 0 h 5536150"/>
                <a:gd name="connsiteX2" fmla="*/ 929493 w 1739354"/>
                <a:gd name="connsiteY2" fmla="*/ 628955 h 5536150"/>
                <a:gd name="connsiteX3" fmla="*/ 990897 w 1739354"/>
                <a:gd name="connsiteY3" fmla="*/ 636573 h 5536150"/>
                <a:gd name="connsiteX4" fmla="*/ 1155738 w 1739354"/>
                <a:gd name="connsiteY4" fmla="*/ 817374 h 5536150"/>
                <a:gd name="connsiteX5" fmla="*/ 1155961 w 1739354"/>
                <a:gd name="connsiteY5" fmla="*/ 872793 h 5536150"/>
                <a:gd name="connsiteX6" fmla="*/ 1317225 w 1739354"/>
                <a:gd name="connsiteY6" fmla="*/ 1064703 h 5536150"/>
                <a:gd name="connsiteX7" fmla="*/ 1697213 w 1739354"/>
                <a:gd name="connsiteY7" fmla="*/ 2857225 h 5536150"/>
                <a:gd name="connsiteX8" fmla="*/ 1505134 w 1739354"/>
                <a:gd name="connsiteY8" fmla="*/ 3723382 h 5536150"/>
                <a:gd name="connsiteX9" fmla="*/ 1652584 w 1739354"/>
                <a:gd name="connsiteY9" fmla="*/ 3766677 h 5536150"/>
                <a:gd name="connsiteX10" fmla="*/ 1548667 w 1739354"/>
                <a:gd name="connsiteY10" fmla="*/ 4203152 h 5536150"/>
                <a:gd name="connsiteX11" fmla="*/ 1404064 w 1739354"/>
                <a:gd name="connsiteY11" fmla="*/ 4162258 h 5536150"/>
                <a:gd name="connsiteX12" fmla="*/ 290637 w 1739354"/>
                <a:gd name="connsiteY12" fmla="*/ 5536150 h 5536150"/>
                <a:gd name="connsiteX13" fmla="*/ 99639 w 1739354"/>
                <a:gd name="connsiteY13" fmla="*/ 4964438 h 5536150"/>
                <a:gd name="connsiteX14" fmla="*/ 885774 w 1739354"/>
                <a:gd name="connsiteY14" fmla="*/ 3934666 h 5536150"/>
                <a:gd name="connsiteX15" fmla="*/ 1165823 w 1739354"/>
                <a:gd name="connsiteY15" fmla="*/ 2690492 h 5536150"/>
                <a:gd name="connsiteX16" fmla="*/ 847007 w 1739354"/>
                <a:gd name="connsiteY16" fmla="*/ 1387200 h 5536150"/>
                <a:gd name="connsiteX17" fmla="*/ 0 w 1739354"/>
                <a:gd name="connsiteY17" fmla="*/ 460885 h 5536150"/>
                <a:gd name="connsiteX0" fmla="*/ 0 w 1739354"/>
                <a:gd name="connsiteY0" fmla="*/ 460885 h 5536150"/>
                <a:gd name="connsiteX1" fmla="*/ 367121 w 1739354"/>
                <a:gd name="connsiteY1" fmla="*/ 0 h 5536150"/>
                <a:gd name="connsiteX2" fmla="*/ 929493 w 1739354"/>
                <a:gd name="connsiteY2" fmla="*/ 628955 h 5536150"/>
                <a:gd name="connsiteX3" fmla="*/ 990897 w 1739354"/>
                <a:gd name="connsiteY3" fmla="*/ 636573 h 5536150"/>
                <a:gd name="connsiteX4" fmla="*/ 1155738 w 1739354"/>
                <a:gd name="connsiteY4" fmla="*/ 817374 h 5536150"/>
                <a:gd name="connsiteX5" fmla="*/ 1155961 w 1739354"/>
                <a:gd name="connsiteY5" fmla="*/ 872793 h 5536150"/>
                <a:gd name="connsiteX6" fmla="*/ 1317225 w 1739354"/>
                <a:gd name="connsiteY6" fmla="*/ 1064703 h 5536150"/>
                <a:gd name="connsiteX7" fmla="*/ 1697213 w 1739354"/>
                <a:gd name="connsiteY7" fmla="*/ 2857225 h 5536150"/>
                <a:gd name="connsiteX8" fmla="*/ 1505134 w 1739354"/>
                <a:gd name="connsiteY8" fmla="*/ 3723382 h 5536150"/>
                <a:gd name="connsiteX9" fmla="*/ 1652584 w 1739354"/>
                <a:gd name="connsiteY9" fmla="*/ 3766677 h 5536150"/>
                <a:gd name="connsiteX10" fmla="*/ 1548667 w 1739354"/>
                <a:gd name="connsiteY10" fmla="*/ 4203152 h 5536150"/>
                <a:gd name="connsiteX11" fmla="*/ 1404064 w 1739354"/>
                <a:gd name="connsiteY11" fmla="*/ 4162258 h 5536150"/>
                <a:gd name="connsiteX12" fmla="*/ 290637 w 1739354"/>
                <a:gd name="connsiteY12" fmla="*/ 5536150 h 5536150"/>
                <a:gd name="connsiteX13" fmla="*/ 99639 w 1739354"/>
                <a:gd name="connsiteY13" fmla="*/ 4964438 h 5536150"/>
                <a:gd name="connsiteX14" fmla="*/ 885774 w 1739354"/>
                <a:gd name="connsiteY14" fmla="*/ 3934666 h 5536150"/>
                <a:gd name="connsiteX15" fmla="*/ 1165823 w 1739354"/>
                <a:gd name="connsiteY15" fmla="*/ 2690492 h 5536150"/>
                <a:gd name="connsiteX16" fmla="*/ 847007 w 1739354"/>
                <a:gd name="connsiteY16" fmla="*/ 1387200 h 5536150"/>
                <a:gd name="connsiteX17" fmla="*/ 0 w 1739354"/>
                <a:gd name="connsiteY17" fmla="*/ 460885 h 5536150"/>
                <a:gd name="connsiteX0" fmla="*/ 0 w 1739354"/>
                <a:gd name="connsiteY0" fmla="*/ 460885 h 5536150"/>
                <a:gd name="connsiteX1" fmla="*/ 367121 w 1739354"/>
                <a:gd name="connsiteY1" fmla="*/ 0 h 5536150"/>
                <a:gd name="connsiteX2" fmla="*/ 929493 w 1739354"/>
                <a:gd name="connsiteY2" fmla="*/ 628955 h 5536150"/>
                <a:gd name="connsiteX3" fmla="*/ 990897 w 1739354"/>
                <a:gd name="connsiteY3" fmla="*/ 636573 h 5536150"/>
                <a:gd name="connsiteX4" fmla="*/ 1155738 w 1739354"/>
                <a:gd name="connsiteY4" fmla="*/ 817374 h 5536150"/>
                <a:gd name="connsiteX5" fmla="*/ 1155961 w 1739354"/>
                <a:gd name="connsiteY5" fmla="*/ 872793 h 5536150"/>
                <a:gd name="connsiteX6" fmla="*/ 1317225 w 1739354"/>
                <a:gd name="connsiteY6" fmla="*/ 1064703 h 5536150"/>
                <a:gd name="connsiteX7" fmla="*/ 1697213 w 1739354"/>
                <a:gd name="connsiteY7" fmla="*/ 2857225 h 5536150"/>
                <a:gd name="connsiteX8" fmla="*/ 1505134 w 1739354"/>
                <a:gd name="connsiteY8" fmla="*/ 3723382 h 5536150"/>
                <a:gd name="connsiteX9" fmla="*/ 1652584 w 1739354"/>
                <a:gd name="connsiteY9" fmla="*/ 3766677 h 5536150"/>
                <a:gd name="connsiteX10" fmla="*/ 1548667 w 1739354"/>
                <a:gd name="connsiteY10" fmla="*/ 4203152 h 5536150"/>
                <a:gd name="connsiteX11" fmla="*/ 1404064 w 1739354"/>
                <a:gd name="connsiteY11" fmla="*/ 4162258 h 5536150"/>
                <a:gd name="connsiteX12" fmla="*/ 290637 w 1739354"/>
                <a:gd name="connsiteY12" fmla="*/ 5536150 h 5536150"/>
                <a:gd name="connsiteX13" fmla="*/ 885774 w 1739354"/>
                <a:gd name="connsiteY13" fmla="*/ 3934666 h 5536150"/>
                <a:gd name="connsiteX14" fmla="*/ 1165823 w 1739354"/>
                <a:gd name="connsiteY14" fmla="*/ 2690492 h 5536150"/>
                <a:gd name="connsiteX15" fmla="*/ 847007 w 1739354"/>
                <a:gd name="connsiteY15" fmla="*/ 1387200 h 5536150"/>
                <a:gd name="connsiteX16" fmla="*/ 0 w 1739354"/>
                <a:gd name="connsiteY16" fmla="*/ 460885 h 5536150"/>
                <a:gd name="connsiteX0" fmla="*/ 0 w 1739354"/>
                <a:gd name="connsiteY0" fmla="*/ 460885 h 4203152"/>
                <a:gd name="connsiteX1" fmla="*/ 367121 w 1739354"/>
                <a:gd name="connsiteY1" fmla="*/ 0 h 4203152"/>
                <a:gd name="connsiteX2" fmla="*/ 929493 w 1739354"/>
                <a:gd name="connsiteY2" fmla="*/ 628955 h 4203152"/>
                <a:gd name="connsiteX3" fmla="*/ 990897 w 1739354"/>
                <a:gd name="connsiteY3" fmla="*/ 636573 h 4203152"/>
                <a:gd name="connsiteX4" fmla="*/ 1155738 w 1739354"/>
                <a:gd name="connsiteY4" fmla="*/ 817374 h 4203152"/>
                <a:gd name="connsiteX5" fmla="*/ 1155961 w 1739354"/>
                <a:gd name="connsiteY5" fmla="*/ 872793 h 4203152"/>
                <a:gd name="connsiteX6" fmla="*/ 1317225 w 1739354"/>
                <a:gd name="connsiteY6" fmla="*/ 1064703 h 4203152"/>
                <a:gd name="connsiteX7" fmla="*/ 1697213 w 1739354"/>
                <a:gd name="connsiteY7" fmla="*/ 2857225 h 4203152"/>
                <a:gd name="connsiteX8" fmla="*/ 1505134 w 1739354"/>
                <a:gd name="connsiteY8" fmla="*/ 3723382 h 4203152"/>
                <a:gd name="connsiteX9" fmla="*/ 1652584 w 1739354"/>
                <a:gd name="connsiteY9" fmla="*/ 3766677 h 4203152"/>
                <a:gd name="connsiteX10" fmla="*/ 1548667 w 1739354"/>
                <a:gd name="connsiteY10" fmla="*/ 4203152 h 4203152"/>
                <a:gd name="connsiteX11" fmla="*/ 1404064 w 1739354"/>
                <a:gd name="connsiteY11" fmla="*/ 4162258 h 4203152"/>
                <a:gd name="connsiteX12" fmla="*/ 885774 w 1739354"/>
                <a:gd name="connsiteY12" fmla="*/ 3934666 h 4203152"/>
                <a:gd name="connsiteX13" fmla="*/ 1165823 w 1739354"/>
                <a:gd name="connsiteY13" fmla="*/ 2690492 h 4203152"/>
                <a:gd name="connsiteX14" fmla="*/ 847007 w 1739354"/>
                <a:gd name="connsiteY14" fmla="*/ 1387200 h 4203152"/>
                <a:gd name="connsiteX15" fmla="*/ 0 w 1739354"/>
                <a:gd name="connsiteY15" fmla="*/ 460885 h 4203152"/>
                <a:gd name="connsiteX0" fmla="*/ 0 w 1739354"/>
                <a:gd name="connsiteY0" fmla="*/ 460885 h 4203152"/>
                <a:gd name="connsiteX1" fmla="*/ 367121 w 1739354"/>
                <a:gd name="connsiteY1" fmla="*/ 0 h 4203152"/>
                <a:gd name="connsiteX2" fmla="*/ 929493 w 1739354"/>
                <a:gd name="connsiteY2" fmla="*/ 628955 h 4203152"/>
                <a:gd name="connsiteX3" fmla="*/ 990897 w 1739354"/>
                <a:gd name="connsiteY3" fmla="*/ 636573 h 4203152"/>
                <a:gd name="connsiteX4" fmla="*/ 1155738 w 1739354"/>
                <a:gd name="connsiteY4" fmla="*/ 817374 h 4203152"/>
                <a:gd name="connsiteX5" fmla="*/ 1155961 w 1739354"/>
                <a:gd name="connsiteY5" fmla="*/ 872793 h 4203152"/>
                <a:gd name="connsiteX6" fmla="*/ 1317225 w 1739354"/>
                <a:gd name="connsiteY6" fmla="*/ 1064703 h 4203152"/>
                <a:gd name="connsiteX7" fmla="*/ 1697213 w 1739354"/>
                <a:gd name="connsiteY7" fmla="*/ 2857225 h 4203152"/>
                <a:gd name="connsiteX8" fmla="*/ 1505134 w 1739354"/>
                <a:gd name="connsiteY8" fmla="*/ 3723382 h 4203152"/>
                <a:gd name="connsiteX9" fmla="*/ 1652584 w 1739354"/>
                <a:gd name="connsiteY9" fmla="*/ 3766677 h 4203152"/>
                <a:gd name="connsiteX10" fmla="*/ 1548667 w 1739354"/>
                <a:gd name="connsiteY10" fmla="*/ 4203152 h 4203152"/>
                <a:gd name="connsiteX11" fmla="*/ 1404064 w 1739354"/>
                <a:gd name="connsiteY11" fmla="*/ 4162258 h 4203152"/>
                <a:gd name="connsiteX12" fmla="*/ 1165823 w 1739354"/>
                <a:gd name="connsiteY12" fmla="*/ 2690492 h 4203152"/>
                <a:gd name="connsiteX13" fmla="*/ 847007 w 1739354"/>
                <a:gd name="connsiteY13" fmla="*/ 1387200 h 4203152"/>
                <a:gd name="connsiteX14" fmla="*/ 0 w 1739354"/>
                <a:gd name="connsiteY14" fmla="*/ 460885 h 4203152"/>
                <a:gd name="connsiteX0" fmla="*/ 0 w 1739354"/>
                <a:gd name="connsiteY0" fmla="*/ 460885 h 4203152"/>
                <a:gd name="connsiteX1" fmla="*/ 367121 w 1739354"/>
                <a:gd name="connsiteY1" fmla="*/ 0 h 4203152"/>
                <a:gd name="connsiteX2" fmla="*/ 929493 w 1739354"/>
                <a:gd name="connsiteY2" fmla="*/ 628955 h 4203152"/>
                <a:gd name="connsiteX3" fmla="*/ 990897 w 1739354"/>
                <a:gd name="connsiteY3" fmla="*/ 636573 h 4203152"/>
                <a:gd name="connsiteX4" fmla="*/ 1155738 w 1739354"/>
                <a:gd name="connsiteY4" fmla="*/ 817374 h 4203152"/>
                <a:gd name="connsiteX5" fmla="*/ 1155961 w 1739354"/>
                <a:gd name="connsiteY5" fmla="*/ 872793 h 4203152"/>
                <a:gd name="connsiteX6" fmla="*/ 1317225 w 1739354"/>
                <a:gd name="connsiteY6" fmla="*/ 1064703 h 4203152"/>
                <a:gd name="connsiteX7" fmla="*/ 1697213 w 1739354"/>
                <a:gd name="connsiteY7" fmla="*/ 2857225 h 4203152"/>
                <a:gd name="connsiteX8" fmla="*/ 1505134 w 1739354"/>
                <a:gd name="connsiteY8" fmla="*/ 3723382 h 4203152"/>
                <a:gd name="connsiteX9" fmla="*/ 1652584 w 1739354"/>
                <a:gd name="connsiteY9" fmla="*/ 3766677 h 4203152"/>
                <a:gd name="connsiteX10" fmla="*/ 1548667 w 1739354"/>
                <a:gd name="connsiteY10" fmla="*/ 4203152 h 4203152"/>
                <a:gd name="connsiteX11" fmla="*/ 1165823 w 1739354"/>
                <a:gd name="connsiteY11" fmla="*/ 2690492 h 4203152"/>
                <a:gd name="connsiteX12" fmla="*/ 847007 w 1739354"/>
                <a:gd name="connsiteY12" fmla="*/ 1387200 h 4203152"/>
                <a:gd name="connsiteX13" fmla="*/ 0 w 1739354"/>
                <a:gd name="connsiteY13" fmla="*/ 460885 h 4203152"/>
                <a:gd name="connsiteX0" fmla="*/ 0 w 1739354"/>
                <a:gd name="connsiteY0" fmla="*/ 460885 h 3766677"/>
                <a:gd name="connsiteX1" fmla="*/ 367121 w 1739354"/>
                <a:gd name="connsiteY1" fmla="*/ 0 h 3766677"/>
                <a:gd name="connsiteX2" fmla="*/ 929493 w 1739354"/>
                <a:gd name="connsiteY2" fmla="*/ 628955 h 3766677"/>
                <a:gd name="connsiteX3" fmla="*/ 990897 w 1739354"/>
                <a:gd name="connsiteY3" fmla="*/ 636573 h 3766677"/>
                <a:gd name="connsiteX4" fmla="*/ 1155738 w 1739354"/>
                <a:gd name="connsiteY4" fmla="*/ 817374 h 3766677"/>
                <a:gd name="connsiteX5" fmla="*/ 1155961 w 1739354"/>
                <a:gd name="connsiteY5" fmla="*/ 872793 h 3766677"/>
                <a:gd name="connsiteX6" fmla="*/ 1317225 w 1739354"/>
                <a:gd name="connsiteY6" fmla="*/ 1064703 h 3766677"/>
                <a:gd name="connsiteX7" fmla="*/ 1697213 w 1739354"/>
                <a:gd name="connsiteY7" fmla="*/ 2857225 h 3766677"/>
                <a:gd name="connsiteX8" fmla="*/ 1505134 w 1739354"/>
                <a:gd name="connsiteY8" fmla="*/ 3723382 h 3766677"/>
                <a:gd name="connsiteX9" fmla="*/ 1652584 w 1739354"/>
                <a:gd name="connsiteY9" fmla="*/ 3766677 h 3766677"/>
                <a:gd name="connsiteX10" fmla="*/ 1165823 w 1739354"/>
                <a:gd name="connsiteY10" fmla="*/ 2690492 h 3766677"/>
                <a:gd name="connsiteX11" fmla="*/ 847007 w 1739354"/>
                <a:gd name="connsiteY11" fmla="*/ 1387200 h 3766677"/>
                <a:gd name="connsiteX12" fmla="*/ 0 w 1739354"/>
                <a:gd name="connsiteY12" fmla="*/ 460885 h 3766677"/>
                <a:gd name="connsiteX0" fmla="*/ 0 w 1739354"/>
                <a:gd name="connsiteY0" fmla="*/ 460885 h 3723382"/>
                <a:gd name="connsiteX1" fmla="*/ 367121 w 1739354"/>
                <a:gd name="connsiteY1" fmla="*/ 0 h 3723382"/>
                <a:gd name="connsiteX2" fmla="*/ 929493 w 1739354"/>
                <a:gd name="connsiteY2" fmla="*/ 628955 h 3723382"/>
                <a:gd name="connsiteX3" fmla="*/ 990897 w 1739354"/>
                <a:gd name="connsiteY3" fmla="*/ 636573 h 3723382"/>
                <a:gd name="connsiteX4" fmla="*/ 1155738 w 1739354"/>
                <a:gd name="connsiteY4" fmla="*/ 817374 h 3723382"/>
                <a:gd name="connsiteX5" fmla="*/ 1155961 w 1739354"/>
                <a:gd name="connsiteY5" fmla="*/ 872793 h 3723382"/>
                <a:gd name="connsiteX6" fmla="*/ 1317225 w 1739354"/>
                <a:gd name="connsiteY6" fmla="*/ 1064703 h 3723382"/>
                <a:gd name="connsiteX7" fmla="*/ 1697213 w 1739354"/>
                <a:gd name="connsiteY7" fmla="*/ 2857225 h 3723382"/>
                <a:gd name="connsiteX8" fmla="*/ 1505134 w 1739354"/>
                <a:gd name="connsiteY8" fmla="*/ 3723382 h 3723382"/>
                <a:gd name="connsiteX9" fmla="*/ 1165823 w 1739354"/>
                <a:gd name="connsiteY9" fmla="*/ 2690492 h 3723382"/>
                <a:gd name="connsiteX10" fmla="*/ 847007 w 1739354"/>
                <a:gd name="connsiteY10" fmla="*/ 1387200 h 3723382"/>
                <a:gd name="connsiteX11" fmla="*/ 0 w 1739354"/>
                <a:gd name="connsiteY11" fmla="*/ 460885 h 3723382"/>
                <a:gd name="connsiteX0" fmla="*/ 0 w 1739354"/>
                <a:gd name="connsiteY0" fmla="*/ 460885 h 2857224"/>
                <a:gd name="connsiteX1" fmla="*/ 367121 w 1739354"/>
                <a:gd name="connsiteY1" fmla="*/ 0 h 2857224"/>
                <a:gd name="connsiteX2" fmla="*/ 929493 w 1739354"/>
                <a:gd name="connsiteY2" fmla="*/ 628955 h 2857224"/>
                <a:gd name="connsiteX3" fmla="*/ 990897 w 1739354"/>
                <a:gd name="connsiteY3" fmla="*/ 636573 h 2857224"/>
                <a:gd name="connsiteX4" fmla="*/ 1155738 w 1739354"/>
                <a:gd name="connsiteY4" fmla="*/ 817374 h 2857224"/>
                <a:gd name="connsiteX5" fmla="*/ 1155961 w 1739354"/>
                <a:gd name="connsiteY5" fmla="*/ 872793 h 2857224"/>
                <a:gd name="connsiteX6" fmla="*/ 1317225 w 1739354"/>
                <a:gd name="connsiteY6" fmla="*/ 1064703 h 2857224"/>
                <a:gd name="connsiteX7" fmla="*/ 1697213 w 1739354"/>
                <a:gd name="connsiteY7" fmla="*/ 2857225 h 2857224"/>
                <a:gd name="connsiteX8" fmla="*/ 1165823 w 1739354"/>
                <a:gd name="connsiteY8" fmla="*/ 2690492 h 2857224"/>
                <a:gd name="connsiteX9" fmla="*/ 847007 w 1739354"/>
                <a:gd name="connsiteY9" fmla="*/ 1387200 h 2857224"/>
                <a:gd name="connsiteX10" fmla="*/ 0 w 1739354"/>
                <a:gd name="connsiteY10" fmla="*/ 460885 h 2857224"/>
                <a:gd name="connsiteX0" fmla="*/ 0 w 1747930"/>
                <a:gd name="connsiteY0" fmla="*/ 460885 h 2810014"/>
                <a:gd name="connsiteX1" fmla="*/ 367121 w 1747930"/>
                <a:gd name="connsiteY1" fmla="*/ 0 h 2810014"/>
                <a:gd name="connsiteX2" fmla="*/ 929493 w 1747930"/>
                <a:gd name="connsiteY2" fmla="*/ 628955 h 2810014"/>
                <a:gd name="connsiteX3" fmla="*/ 990897 w 1747930"/>
                <a:gd name="connsiteY3" fmla="*/ 636573 h 2810014"/>
                <a:gd name="connsiteX4" fmla="*/ 1155738 w 1747930"/>
                <a:gd name="connsiteY4" fmla="*/ 817374 h 2810014"/>
                <a:gd name="connsiteX5" fmla="*/ 1155961 w 1747930"/>
                <a:gd name="connsiteY5" fmla="*/ 872793 h 2810014"/>
                <a:gd name="connsiteX6" fmla="*/ 1317225 w 1747930"/>
                <a:gd name="connsiteY6" fmla="*/ 1064703 h 2810014"/>
                <a:gd name="connsiteX7" fmla="*/ 1706885 w 1747930"/>
                <a:gd name="connsiteY7" fmla="*/ 2810014 h 2810014"/>
                <a:gd name="connsiteX8" fmla="*/ 1165823 w 1747930"/>
                <a:gd name="connsiteY8" fmla="*/ 2690492 h 2810014"/>
                <a:gd name="connsiteX9" fmla="*/ 847007 w 1747930"/>
                <a:gd name="connsiteY9" fmla="*/ 1387200 h 2810014"/>
                <a:gd name="connsiteX10" fmla="*/ 0 w 1747930"/>
                <a:gd name="connsiteY10" fmla="*/ 460885 h 2810014"/>
                <a:gd name="connsiteX0" fmla="*/ 0 w 1746047"/>
                <a:gd name="connsiteY0" fmla="*/ 460885 h 2810014"/>
                <a:gd name="connsiteX1" fmla="*/ 367121 w 1746047"/>
                <a:gd name="connsiteY1" fmla="*/ 0 h 2810014"/>
                <a:gd name="connsiteX2" fmla="*/ 929493 w 1746047"/>
                <a:gd name="connsiteY2" fmla="*/ 628955 h 2810014"/>
                <a:gd name="connsiteX3" fmla="*/ 990897 w 1746047"/>
                <a:gd name="connsiteY3" fmla="*/ 636573 h 2810014"/>
                <a:gd name="connsiteX4" fmla="*/ 1155738 w 1746047"/>
                <a:gd name="connsiteY4" fmla="*/ 817374 h 2810014"/>
                <a:gd name="connsiteX5" fmla="*/ 1155961 w 1746047"/>
                <a:gd name="connsiteY5" fmla="*/ 872793 h 2810014"/>
                <a:gd name="connsiteX6" fmla="*/ 1317225 w 1746047"/>
                <a:gd name="connsiteY6" fmla="*/ 1064703 h 2810014"/>
                <a:gd name="connsiteX7" fmla="*/ 1706885 w 1746047"/>
                <a:gd name="connsiteY7" fmla="*/ 2810014 h 2810014"/>
                <a:gd name="connsiteX8" fmla="*/ 1165823 w 1746047"/>
                <a:gd name="connsiteY8" fmla="*/ 2690492 h 2810014"/>
                <a:gd name="connsiteX9" fmla="*/ 847007 w 1746047"/>
                <a:gd name="connsiteY9" fmla="*/ 1387200 h 2810014"/>
                <a:gd name="connsiteX10" fmla="*/ 0 w 1746047"/>
                <a:gd name="connsiteY10" fmla="*/ 460885 h 2810014"/>
                <a:gd name="connsiteX0" fmla="*/ 0 w 1731757"/>
                <a:gd name="connsiteY0" fmla="*/ 450275 h 2810014"/>
                <a:gd name="connsiteX1" fmla="*/ 352831 w 1731757"/>
                <a:gd name="connsiteY1" fmla="*/ 0 h 2810014"/>
                <a:gd name="connsiteX2" fmla="*/ 915203 w 1731757"/>
                <a:gd name="connsiteY2" fmla="*/ 628955 h 2810014"/>
                <a:gd name="connsiteX3" fmla="*/ 976607 w 1731757"/>
                <a:gd name="connsiteY3" fmla="*/ 636573 h 2810014"/>
                <a:gd name="connsiteX4" fmla="*/ 1141448 w 1731757"/>
                <a:gd name="connsiteY4" fmla="*/ 817374 h 2810014"/>
                <a:gd name="connsiteX5" fmla="*/ 1141671 w 1731757"/>
                <a:gd name="connsiteY5" fmla="*/ 872793 h 2810014"/>
                <a:gd name="connsiteX6" fmla="*/ 1302935 w 1731757"/>
                <a:gd name="connsiteY6" fmla="*/ 1064703 h 2810014"/>
                <a:gd name="connsiteX7" fmla="*/ 1692595 w 1731757"/>
                <a:gd name="connsiteY7" fmla="*/ 2810014 h 2810014"/>
                <a:gd name="connsiteX8" fmla="*/ 1151533 w 1731757"/>
                <a:gd name="connsiteY8" fmla="*/ 2690492 h 2810014"/>
                <a:gd name="connsiteX9" fmla="*/ 832717 w 1731757"/>
                <a:gd name="connsiteY9" fmla="*/ 1387200 h 2810014"/>
                <a:gd name="connsiteX10" fmla="*/ 0 w 1731757"/>
                <a:gd name="connsiteY10" fmla="*/ 450275 h 2810014"/>
                <a:gd name="connsiteX0" fmla="*/ 0 w 1719072"/>
                <a:gd name="connsiteY0" fmla="*/ 450275 h 2804709"/>
                <a:gd name="connsiteX1" fmla="*/ 352831 w 1719072"/>
                <a:gd name="connsiteY1" fmla="*/ 0 h 2804709"/>
                <a:gd name="connsiteX2" fmla="*/ 915203 w 1719072"/>
                <a:gd name="connsiteY2" fmla="*/ 628955 h 2804709"/>
                <a:gd name="connsiteX3" fmla="*/ 976607 w 1719072"/>
                <a:gd name="connsiteY3" fmla="*/ 636573 h 2804709"/>
                <a:gd name="connsiteX4" fmla="*/ 1141448 w 1719072"/>
                <a:gd name="connsiteY4" fmla="*/ 817374 h 2804709"/>
                <a:gd name="connsiteX5" fmla="*/ 1141671 w 1719072"/>
                <a:gd name="connsiteY5" fmla="*/ 872793 h 2804709"/>
                <a:gd name="connsiteX6" fmla="*/ 1302935 w 1719072"/>
                <a:gd name="connsiteY6" fmla="*/ 1064703 h 2804709"/>
                <a:gd name="connsiteX7" fmla="*/ 1678305 w 1719072"/>
                <a:gd name="connsiteY7" fmla="*/ 2804709 h 2804709"/>
                <a:gd name="connsiteX8" fmla="*/ 1151533 w 1719072"/>
                <a:gd name="connsiteY8" fmla="*/ 2690492 h 2804709"/>
                <a:gd name="connsiteX9" fmla="*/ 832717 w 1719072"/>
                <a:gd name="connsiteY9" fmla="*/ 1387200 h 2804709"/>
                <a:gd name="connsiteX10" fmla="*/ 0 w 1719072"/>
                <a:gd name="connsiteY10" fmla="*/ 450275 h 28047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19072" h="2804709">
                  <a:moveTo>
                    <a:pt x="0" y="450275"/>
                  </a:moveTo>
                  <a:cubicBezTo>
                    <a:pt x="123747" y="301936"/>
                    <a:pt x="227984" y="151446"/>
                    <a:pt x="352831" y="0"/>
                  </a:cubicBezTo>
                  <a:lnTo>
                    <a:pt x="915203" y="628955"/>
                  </a:lnTo>
                  <a:lnTo>
                    <a:pt x="976607" y="636573"/>
                  </a:lnTo>
                  <a:lnTo>
                    <a:pt x="1141448" y="817374"/>
                  </a:lnTo>
                  <a:cubicBezTo>
                    <a:pt x="1141522" y="835847"/>
                    <a:pt x="1141597" y="854320"/>
                    <a:pt x="1141671" y="872793"/>
                  </a:cubicBezTo>
                  <a:lnTo>
                    <a:pt x="1302935" y="1064703"/>
                  </a:lnTo>
                  <a:cubicBezTo>
                    <a:pt x="1607412" y="1476603"/>
                    <a:pt x="1809661" y="2139358"/>
                    <a:pt x="1678305" y="2804709"/>
                  </a:cubicBezTo>
                  <a:lnTo>
                    <a:pt x="1151533" y="2690492"/>
                  </a:lnTo>
                  <a:cubicBezTo>
                    <a:pt x="1202108" y="2261429"/>
                    <a:pt x="1151368" y="1810924"/>
                    <a:pt x="832717" y="1387200"/>
                  </a:cubicBezTo>
                  <a:cubicBezTo>
                    <a:pt x="514772" y="1049246"/>
                    <a:pt x="323100" y="779919"/>
                    <a:pt x="0" y="450275"/>
                  </a:cubicBezTo>
                  <a:close/>
                </a:path>
              </a:pathLst>
            </a:custGeom>
            <a:solidFill>
              <a:srgbClr val="008000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DE" sz="6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0" name="Text_T110N_BA3">
              <a:extLst>
                <a:ext uri="{FF2B5EF4-FFF2-40B4-BE49-F238E27FC236}">
                  <a16:creationId xmlns:a16="http://schemas.microsoft.com/office/drawing/2014/main" id="{D74D54C5-3A5B-4603-AF73-C69DD4F5A79F}"/>
                </a:ext>
              </a:extLst>
            </p:cNvPr>
            <p:cNvSpPr/>
            <p:nvPr/>
          </p:nvSpPr>
          <p:spPr>
            <a:xfrm>
              <a:off x="8530933" y="2955906"/>
              <a:ext cx="781924" cy="187704"/>
            </a:xfrm>
            <a:prstGeom prst="borderCallout1">
              <a:avLst>
                <a:gd name="adj1" fmla="val 50659"/>
                <a:gd name="adj2" fmla="val -489"/>
                <a:gd name="adj3" fmla="val 53256"/>
                <a:gd name="adj4" fmla="val -68769"/>
              </a:avLst>
            </a:prstGeom>
            <a:solidFill>
              <a:schemeClr val="tx2">
                <a:lumMod val="20000"/>
                <a:lumOff val="80000"/>
              </a:schemeClr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257312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>
                  <a:solidFill>
                    <a:sysClr val="windowText" lastClr="000000"/>
                  </a:solidFill>
                </a:rPr>
                <a:t>T110N, 3. BA</a:t>
              </a:r>
            </a:p>
          </p:txBody>
        </p:sp>
        <p:sp>
          <p:nvSpPr>
            <p:cNvPr id="21" name="Text_T110N_BA3">
              <a:extLst>
                <a:ext uri="{FF2B5EF4-FFF2-40B4-BE49-F238E27FC236}">
                  <a16:creationId xmlns:a16="http://schemas.microsoft.com/office/drawing/2014/main" id="{F400E59A-958C-4F7D-B5D1-399F81C1C93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982737" y="3042418"/>
              <a:ext cx="25094" cy="24487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de-DE" dirty="0"/>
            </a:p>
          </p:txBody>
        </p:sp>
        <p:sp>
          <p:nvSpPr>
            <p:cNvPr id="22" name="T110N_BA2">
              <a:extLst>
                <a:ext uri="{FF2B5EF4-FFF2-40B4-BE49-F238E27FC236}">
                  <a16:creationId xmlns:a16="http://schemas.microsoft.com/office/drawing/2014/main" id="{ADFB0196-A695-4298-AD88-823D2641F5E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221854" y="3342014"/>
              <a:ext cx="867132" cy="1346234"/>
            </a:xfrm>
            <a:custGeom>
              <a:avLst/>
              <a:gdLst>
                <a:gd name="connsiteX0" fmla="*/ 0 w 5234940"/>
                <a:gd name="connsiteY0" fmla="*/ 1219200 h 4191000"/>
                <a:gd name="connsiteX1" fmla="*/ 190500 w 5234940"/>
                <a:gd name="connsiteY1" fmla="*/ 990600 h 4191000"/>
                <a:gd name="connsiteX2" fmla="*/ 434340 w 5234940"/>
                <a:gd name="connsiteY2" fmla="*/ 792480 h 4191000"/>
                <a:gd name="connsiteX3" fmla="*/ 662940 w 5234940"/>
                <a:gd name="connsiteY3" fmla="*/ 624840 h 4191000"/>
                <a:gd name="connsiteX4" fmla="*/ 906780 w 5234940"/>
                <a:gd name="connsiteY4" fmla="*/ 533400 h 4191000"/>
                <a:gd name="connsiteX5" fmla="*/ 868680 w 5234940"/>
                <a:gd name="connsiteY5" fmla="*/ 426720 h 4191000"/>
                <a:gd name="connsiteX6" fmla="*/ 1051560 w 5234940"/>
                <a:gd name="connsiteY6" fmla="*/ 358140 h 4191000"/>
                <a:gd name="connsiteX7" fmla="*/ 1097280 w 5234940"/>
                <a:gd name="connsiteY7" fmla="*/ 464820 h 4191000"/>
                <a:gd name="connsiteX8" fmla="*/ 1219200 w 5234940"/>
                <a:gd name="connsiteY8" fmla="*/ 434340 h 4191000"/>
                <a:gd name="connsiteX9" fmla="*/ 1249680 w 5234940"/>
                <a:gd name="connsiteY9" fmla="*/ 365760 h 4191000"/>
                <a:gd name="connsiteX10" fmla="*/ 1508760 w 5234940"/>
                <a:gd name="connsiteY10" fmla="*/ 297180 h 4191000"/>
                <a:gd name="connsiteX11" fmla="*/ 1562100 w 5234940"/>
                <a:gd name="connsiteY11" fmla="*/ 327660 h 4191000"/>
                <a:gd name="connsiteX12" fmla="*/ 1691640 w 5234940"/>
                <a:gd name="connsiteY12" fmla="*/ 274320 h 4191000"/>
                <a:gd name="connsiteX13" fmla="*/ 1661160 w 5234940"/>
                <a:gd name="connsiteY13" fmla="*/ 114300 h 4191000"/>
                <a:gd name="connsiteX14" fmla="*/ 2065020 w 5234940"/>
                <a:gd name="connsiteY14" fmla="*/ 0 h 4191000"/>
                <a:gd name="connsiteX15" fmla="*/ 2110740 w 5234940"/>
                <a:gd name="connsiteY15" fmla="*/ 160020 h 4191000"/>
                <a:gd name="connsiteX16" fmla="*/ 2362200 w 5234940"/>
                <a:gd name="connsiteY16" fmla="*/ 106680 h 4191000"/>
                <a:gd name="connsiteX17" fmla="*/ 2621280 w 5234940"/>
                <a:gd name="connsiteY17" fmla="*/ 99060 h 4191000"/>
                <a:gd name="connsiteX18" fmla="*/ 2948940 w 5234940"/>
                <a:gd name="connsiteY18" fmla="*/ 152400 h 4191000"/>
                <a:gd name="connsiteX19" fmla="*/ 3276600 w 5234940"/>
                <a:gd name="connsiteY19" fmla="*/ 251460 h 4191000"/>
                <a:gd name="connsiteX20" fmla="*/ 3642360 w 5234940"/>
                <a:gd name="connsiteY20" fmla="*/ 464820 h 4191000"/>
                <a:gd name="connsiteX21" fmla="*/ 3931920 w 5234940"/>
                <a:gd name="connsiteY21" fmla="*/ 723900 h 4191000"/>
                <a:gd name="connsiteX22" fmla="*/ 4442460 w 5234940"/>
                <a:gd name="connsiteY22" fmla="*/ 1280160 h 4191000"/>
                <a:gd name="connsiteX23" fmla="*/ 4472940 w 5234940"/>
                <a:gd name="connsiteY23" fmla="*/ 1287780 h 4191000"/>
                <a:gd name="connsiteX24" fmla="*/ 4655820 w 5234940"/>
                <a:gd name="connsiteY24" fmla="*/ 1463040 h 4191000"/>
                <a:gd name="connsiteX25" fmla="*/ 4640580 w 5234940"/>
                <a:gd name="connsiteY25" fmla="*/ 1524000 h 4191000"/>
                <a:gd name="connsiteX26" fmla="*/ 4892040 w 5234940"/>
                <a:gd name="connsiteY26" fmla="*/ 1821180 h 4191000"/>
                <a:gd name="connsiteX27" fmla="*/ 5082540 w 5234940"/>
                <a:gd name="connsiteY27" fmla="*/ 2217420 h 4191000"/>
                <a:gd name="connsiteX28" fmla="*/ 5204460 w 5234940"/>
                <a:gd name="connsiteY28" fmla="*/ 2636520 h 4191000"/>
                <a:gd name="connsiteX29" fmla="*/ 5234940 w 5234940"/>
                <a:gd name="connsiteY29" fmla="*/ 3086100 h 4191000"/>
                <a:gd name="connsiteX30" fmla="*/ 5181600 w 5234940"/>
                <a:gd name="connsiteY30" fmla="*/ 3611880 h 4191000"/>
                <a:gd name="connsiteX31" fmla="*/ 5029200 w 5234940"/>
                <a:gd name="connsiteY31" fmla="*/ 4175760 h 4191000"/>
                <a:gd name="connsiteX32" fmla="*/ 4450080 w 5234940"/>
                <a:gd name="connsiteY32" fmla="*/ 4191000 h 4191000"/>
                <a:gd name="connsiteX33" fmla="*/ 4671060 w 5234940"/>
                <a:gd name="connsiteY33" fmla="*/ 3261360 h 4191000"/>
                <a:gd name="connsiteX34" fmla="*/ 4678680 w 5234940"/>
                <a:gd name="connsiteY34" fmla="*/ 2834640 h 4191000"/>
                <a:gd name="connsiteX35" fmla="*/ 4556760 w 5234940"/>
                <a:gd name="connsiteY35" fmla="*/ 2415540 h 4191000"/>
                <a:gd name="connsiteX36" fmla="*/ 4351020 w 5234940"/>
                <a:gd name="connsiteY36" fmla="*/ 2057400 h 4191000"/>
                <a:gd name="connsiteX37" fmla="*/ 3406140 w 5234940"/>
                <a:gd name="connsiteY37" fmla="*/ 1013460 h 4191000"/>
                <a:gd name="connsiteX38" fmla="*/ 3169920 w 5234940"/>
                <a:gd name="connsiteY38" fmla="*/ 853440 h 4191000"/>
                <a:gd name="connsiteX39" fmla="*/ 2887980 w 5234940"/>
                <a:gd name="connsiteY39" fmla="*/ 739140 h 4191000"/>
                <a:gd name="connsiteX40" fmla="*/ 2491740 w 5234940"/>
                <a:gd name="connsiteY40" fmla="*/ 693420 h 4191000"/>
                <a:gd name="connsiteX41" fmla="*/ 2209800 w 5234940"/>
                <a:gd name="connsiteY41" fmla="*/ 739140 h 4191000"/>
                <a:gd name="connsiteX42" fmla="*/ 1211580 w 5234940"/>
                <a:gd name="connsiteY42" fmla="*/ 1059180 h 4191000"/>
                <a:gd name="connsiteX43" fmla="*/ 937260 w 5234940"/>
                <a:gd name="connsiteY43" fmla="*/ 1165860 h 4191000"/>
                <a:gd name="connsiteX44" fmla="*/ 792480 w 5234940"/>
                <a:gd name="connsiteY44" fmla="*/ 1257300 h 4191000"/>
                <a:gd name="connsiteX45" fmla="*/ 0 w 5234940"/>
                <a:gd name="connsiteY45" fmla="*/ 1219200 h 4191000"/>
                <a:gd name="connsiteX0" fmla="*/ 0 w 5257800"/>
                <a:gd name="connsiteY0" fmla="*/ 1234440 h 4191000"/>
                <a:gd name="connsiteX1" fmla="*/ 213360 w 5257800"/>
                <a:gd name="connsiteY1" fmla="*/ 990600 h 4191000"/>
                <a:gd name="connsiteX2" fmla="*/ 457200 w 5257800"/>
                <a:gd name="connsiteY2" fmla="*/ 792480 h 4191000"/>
                <a:gd name="connsiteX3" fmla="*/ 685800 w 5257800"/>
                <a:gd name="connsiteY3" fmla="*/ 624840 h 4191000"/>
                <a:gd name="connsiteX4" fmla="*/ 929640 w 5257800"/>
                <a:gd name="connsiteY4" fmla="*/ 533400 h 4191000"/>
                <a:gd name="connsiteX5" fmla="*/ 891540 w 5257800"/>
                <a:gd name="connsiteY5" fmla="*/ 426720 h 4191000"/>
                <a:gd name="connsiteX6" fmla="*/ 1074420 w 5257800"/>
                <a:gd name="connsiteY6" fmla="*/ 358140 h 4191000"/>
                <a:gd name="connsiteX7" fmla="*/ 1120140 w 5257800"/>
                <a:gd name="connsiteY7" fmla="*/ 464820 h 4191000"/>
                <a:gd name="connsiteX8" fmla="*/ 1242060 w 5257800"/>
                <a:gd name="connsiteY8" fmla="*/ 434340 h 4191000"/>
                <a:gd name="connsiteX9" fmla="*/ 1272540 w 5257800"/>
                <a:gd name="connsiteY9" fmla="*/ 365760 h 4191000"/>
                <a:gd name="connsiteX10" fmla="*/ 1531620 w 5257800"/>
                <a:gd name="connsiteY10" fmla="*/ 297180 h 4191000"/>
                <a:gd name="connsiteX11" fmla="*/ 1584960 w 5257800"/>
                <a:gd name="connsiteY11" fmla="*/ 327660 h 4191000"/>
                <a:gd name="connsiteX12" fmla="*/ 1714500 w 5257800"/>
                <a:gd name="connsiteY12" fmla="*/ 274320 h 4191000"/>
                <a:gd name="connsiteX13" fmla="*/ 1684020 w 5257800"/>
                <a:gd name="connsiteY13" fmla="*/ 114300 h 4191000"/>
                <a:gd name="connsiteX14" fmla="*/ 2087880 w 5257800"/>
                <a:gd name="connsiteY14" fmla="*/ 0 h 4191000"/>
                <a:gd name="connsiteX15" fmla="*/ 2133600 w 5257800"/>
                <a:gd name="connsiteY15" fmla="*/ 160020 h 4191000"/>
                <a:gd name="connsiteX16" fmla="*/ 2385060 w 5257800"/>
                <a:gd name="connsiteY16" fmla="*/ 106680 h 4191000"/>
                <a:gd name="connsiteX17" fmla="*/ 2644140 w 5257800"/>
                <a:gd name="connsiteY17" fmla="*/ 99060 h 4191000"/>
                <a:gd name="connsiteX18" fmla="*/ 2971800 w 5257800"/>
                <a:gd name="connsiteY18" fmla="*/ 152400 h 4191000"/>
                <a:gd name="connsiteX19" fmla="*/ 3299460 w 5257800"/>
                <a:gd name="connsiteY19" fmla="*/ 251460 h 4191000"/>
                <a:gd name="connsiteX20" fmla="*/ 3665220 w 5257800"/>
                <a:gd name="connsiteY20" fmla="*/ 464820 h 4191000"/>
                <a:gd name="connsiteX21" fmla="*/ 3954780 w 5257800"/>
                <a:gd name="connsiteY21" fmla="*/ 723900 h 4191000"/>
                <a:gd name="connsiteX22" fmla="*/ 4465320 w 5257800"/>
                <a:gd name="connsiteY22" fmla="*/ 1280160 h 4191000"/>
                <a:gd name="connsiteX23" fmla="*/ 4495800 w 5257800"/>
                <a:gd name="connsiteY23" fmla="*/ 1287780 h 4191000"/>
                <a:gd name="connsiteX24" fmla="*/ 4678680 w 5257800"/>
                <a:gd name="connsiteY24" fmla="*/ 1463040 h 4191000"/>
                <a:gd name="connsiteX25" fmla="*/ 4663440 w 5257800"/>
                <a:gd name="connsiteY25" fmla="*/ 1524000 h 4191000"/>
                <a:gd name="connsiteX26" fmla="*/ 4914900 w 5257800"/>
                <a:gd name="connsiteY26" fmla="*/ 1821180 h 4191000"/>
                <a:gd name="connsiteX27" fmla="*/ 5105400 w 5257800"/>
                <a:gd name="connsiteY27" fmla="*/ 2217420 h 4191000"/>
                <a:gd name="connsiteX28" fmla="*/ 5227320 w 5257800"/>
                <a:gd name="connsiteY28" fmla="*/ 2636520 h 4191000"/>
                <a:gd name="connsiteX29" fmla="*/ 5257800 w 5257800"/>
                <a:gd name="connsiteY29" fmla="*/ 3086100 h 4191000"/>
                <a:gd name="connsiteX30" fmla="*/ 5204460 w 5257800"/>
                <a:gd name="connsiteY30" fmla="*/ 3611880 h 4191000"/>
                <a:gd name="connsiteX31" fmla="*/ 5052060 w 5257800"/>
                <a:gd name="connsiteY31" fmla="*/ 4175760 h 4191000"/>
                <a:gd name="connsiteX32" fmla="*/ 4472940 w 5257800"/>
                <a:gd name="connsiteY32" fmla="*/ 4191000 h 4191000"/>
                <a:gd name="connsiteX33" fmla="*/ 4693920 w 5257800"/>
                <a:gd name="connsiteY33" fmla="*/ 3261360 h 4191000"/>
                <a:gd name="connsiteX34" fmla="*/ 4701540 w 5257800"/>
                <a:gd name="connsiteY34" fmla="*/ 2834640 h 4191000"/>
                <a:gd name="connsiteX35" fmla="*/ 4579620 w 5257800"/>
                <a:gd name="connsiteY35" fmla="*/ 2415540 h 4191000"/>
                <a:gd name="connsiteX36" fmla="*/ 4373880 w 5257800"/>
                <a:gd name="connsiteY36" fmla="*/ 2057400 h 4191000"/>
                <a:gd name="connsiteX37" fmla="*/ 3429000 w 5257800"/>
                <a:gd name="connsiteY37" fmla="*/ 1013460 h 4191000"/>
                <a:gd name="connsiteX38" fmla="*/ 3192780 w 5257800"/>
                <a:gd name="connsiteY38" fmla="*/ 853440 h 4191000"/>
                <a:gd name="connsiteX39" fmla="*/ 2910840 w 5257800"/>
                <a:gd name="connsiteY39" fmla="*/ 739140 h 4191000"/>
                <a:gd name="connsiteX40" fmla="*/ 2514600 w 5257800"/>
                <a:gd name="connsiteY40" fmla="*/ 693420 h 4191000"/>
                <a:gd name="connsiteX41" fmla="*/ 2232660 w 5257800"/>
                <a:gd name="connsiteY41" fmla="*/ 739140 h 4191000"/>
                <a:gd name="connsiteX42" fmla="*/ 1234440 w 5257800"/>
                <a:gd name="connsiteY42" fmla="*/ 1059180 h 4191000"/>
                <a:gd name="connsiteX43" fmla="*/ 960120 w 5257800"/>
                <a:gd name="connsiteY43" fmla="*/ 1165860 h 4191000"/>
                <a:gd name="connsiteX44" fmla="*/ 815340 w 5257800"/>
                <a:gd name="connsiteY44" fmla="*/ 1257300 h 4191000"/>
                <a:gd name="connsiteX45" fmla="*/ 0 w 5257800"/>
                <a:gd name="connsiteY45" fmla="*/ 1234440 h 4191000"/>
                <a:gd name="connsiteX0" fmla="*/ 0 w 5257800"/>
                <a:gd name="connsiteY0" fmla="*/ 1234440 h 4206240"/>
                <a:gd name="connsiteX1" fmla="*/ 213360 w 5257800"/>
                <a:gd name="connsiteY1" fmla="*/ 990600 h 4206240"/>
                <a:gd name="connsiteX2" fmla="*/ 457200 w 5257800"/>
                <a:gd name="connsiteY2" fmla="*/ 792480 h 4206240"/>
                <a:gd name="connsiteX3" fmla="*/ 685800 w 5257800"/>
                <a:gd name="connsiteY3" fmla="*/ 624840 h 4206240"/>
                <a:gd name="connsiteX4" fmla="*/ 929640 w 5257800"/>
                <a:gd name="connsiteY4" fmla="*/ 533400 h 4206240"/>
                <a:gd name="connsiteX5" fmla="*/ 891540 w 5257800"/>
                <a:gd name="connsiteY5" fmla="*/ 426720 h 4206240"/>
                <a:gd name="connsiteX6" fmla="*/ 1074420 w 5257800"/>
                <a:gd name="connsiteY6" fmla="*/ 358140 h 4206240"/>
                <a:gd name="connsiteX7" fmla="*/ 1120140 w 5257800"/>
                <a:gd name="connsiteY7" fmla="*/ 464820 h 4206240"/>
                <a:gd name="connsiteX8" fmla="*/ 1242060 w 5257800"/>
                <a:gd name="connsiteY8" fmla="*/ 434340 h 4206240"/>
                <a:gd name="connsiteX9" fmla="*/ 1272540 w 5257800"/>
                <a:gd name="connsiteY9" fmla="*/ 365760 h 4206240"/>
                <a:gd name="connsiteX10" fmla="*/ 1531620 w 5257800"/>
                <a:gd name="connsiteY10" fmla="*/ 297180 h 4206240"/>
                <a:gd name="connsiteX11" fmla="*/ 1584960 w 5257800"/>
                <a:gd name="connsiteY11" fmla="*/ 327660 h 4206240"/>
                <a:gd name="connsiteX12" fmla="*/ 1714500 w 5257800"/>
                <a:gd name="connsiteY12" fmla="*/ 274320 h 4206240"/>
                <a:gd name="connsiteX13" fmla="*/ 1684020 w 5257800"/>
                <a:gd name="connsiteY13" fmla="*/ 114300 h 4206240"/>
                <a:gd name="connsiteX14" fmla="*/ 2087880 w 5257800"/>
                <a:gd name="connsiteY14" fmla="*/ 0 h 4206240"/>
                <a:gd name="connsiteX15" fmla="*/ 2133600 w 5257800"/>
                <a:gd name="connsiteY15" fmla="*/ 160020 h 4206240"/>
                <a:gd name="connsiteX16" fmla="*/ 2385060 w 5257800"/>
                <a:gd name="connsiteY16" fmla="*/ 106680 h 4206240"/>
                <a:gd name="connsiteX17" fmla="*/ 2644140 w 5257800"/>
                <a:gd name="connsiteY17" fmla="*/ 99060 h 4206240"/>
                <a:gd name="connsiteX18" fmla="*/ 2971800 w 5257800"/>
                <a:gd name="connsiteY18" fmla="*/ 152400 h 4206240"/>
                <a:gd name="connsiteX19" fmla="*/ 3299460 w 5257800"/>
                <a:gd name="connsiteY19" fmla="*/ 251460 h 4206240"/>
                <a:gd name="connsiteX20" fmla="*/ 3665220 w 5257800"/>
                <a:gd name="connsiteY20" fmla="*/ 464820 h 4206240"/>
                <a:gd name="connsiteX21" fmla="*/ 3954780 w 5257800"/>
                <a:gd name="connsiteY21" fmla="*/ 723900 h 4206240"/>
                <a:gd name="connsiteX22" fmla="*/ 4465320 w 5257800"/>
                <a:gd name="connsiteY22" fmla="*/ 1280160 h 4206240"/>
                <a:gd name="connsiteX23" fmla="*/ 4495800 w 5257800"/>
                <a:gd name="connsiteY23" fmla="*/ 1287780 h 4206240"/>
                <a:gd name="connsiteX24" fmla="*/ 4678680 w 5257800"/>
                <a:gd name="connsiteY24" fmla="*/ 1463040 h 4206240"/>
                <a:gd name="connsiteX25" fmla="*/ 4663440 w 5257800"/>
                <a:gd name="connsiteY25" fmla="*/ 1524000 h 4206240"/>
                <a:gd name="connsiteX26" fmla="*/ 4914900 w 5257800"/>
                <a:gd name="connsiteY26" fmla="*/ 1821180 h 4206240"/>
                <a:gd name="connsiteX27" fmla="*/ 5105400 w 5257800"/>
                <a:gd name="connsiteY27" fmla="*/ 2217420 h 4206240"/>
                <a:gd name="connsiteX28" fmla="*/ 5227320 w 5257800"/>
                <a:gd name="connsiteY28" fmla="*/ 2636520 h 4206240"/>
                <a:gd name="connsiteX29" fmla="*/ 5257800 w 5257800"/>
                <a:gd name="connsiteY29" fmla="*/ 3086100 h 4206240"/>
                <a:gd name="connsiteX30" fmla="*/ 5204460 w 5257800"/>
                <a:gd name="connsiteY30" fmla="*/ 3611880 h 4206240"/>
                <a:gd name="connsiteX31" fmla="*/ 5044440 w 5257800"/>
                <a:gd name="connsiteY31" fmla="*/ 4206240 h 4206240"/>
                <a:gd name="connsiteX32" fmla="*/ 4472940 w 5257800"/>
                <a:gd name="connsiteY32" fmla="*/ 4191000 h 4206240"/>
                <a:gd name="connsiteX33" fmla="*/ 4693920 w 5257800"/>
                <a:gd name="connsiteY33" fmla="*/ 3261360 h 4206240"/>
                <a:gd name="connsiteX34" fmla="*/ 4701540 w 5257800"/>
                <a:gd name="connsiteY34" fmla="*/ 2834640 h 4206240"/>
                <a:gd name="connsiteX35" fmla="*/ 4579620 w 5257800"/>
                <a:gd name="connsiteY35" fmla="*/ 2415540 h 4206240"/>
                <a:gd name="connsiteX36" fmla="*/ 4373880 w 5257800"/>
                <a:gd name="connsiteY36" fmla="*/ 2057400 h 4206240"/>
                <a:gd name="connsiteX37" fmla="*/ 3429000 w 5257800"/>
                <a:gd name="connsiteY37" fmla="*/ 1013460 h 4206240"/>
                <a:gd name="connsiteX38" fmla="*/ 3192780 w 5257800"/>
                <a:gd name="connsiteY38" fmla="*/ 853440 h 4206240"/>
                <a:gd name="connsiteX39" fmla="*/ 2910840 w 5257800"/>
                <a:gd name="connsiteY39" fmla="*/ 739140 h 4206240"/>
                <a:gd name="connsiteX40" fmla="*/ 2514600 w 5257800"/>
                <a:gd name="connsiteY40" fmla="*/ 693420 h 4206240"/>
                <a:gd name="connsiteX41" fmla="*/ 2232660 w 5257800"/>
                <a:gd name="connsiteY41" fmla="*/ 739140 h 4206240"/>
                <a:gd name="connsiteX42" fmla="*/ 1234440 w 5257800"/>
                <a:gd name="connsiteY42" fmla="*/ 1059180 h 4206240"/>
                <a:gd name="connsiteX43" fmla="*/ 960120 w 5257800"/>
                <a:gd name="connsiteY43" fmla="*/ 1165860 h 4206240"/>
                <a:gd name="connsiteX44" fmla="*/ 815340 w 5257800"/>
                <a:gd name="connsiteY44" fmla="*/ 1257300 h 4206240"/>
                <a:gd name="connsiteX45" fmla="*/ 0 w 5257800"/>
                <a:gd name="connsiteY45" fmla="*/ 1234440 h 4206240"/>
                <a:gd name="connsiteX0" fmla="*/ 0 w 5257800"/>
                <a:gd name="connsiteY0" fmla="*/ 1234440 h 4213860"/>
                <a:gd name="connsiteX1" fmla="*/ 213360 w 5257800"/>
                <a:gd name="connsiteY1" fmla="*/ 990600 h 4213860"/>
                <a:gd name="connsiteX2" fmla="*/ 457200 w 5257800"/>
                <a:gd name="connsiteY2" fmla="*/ 792480 h 4213860"/>
                <a:gd name="connsiteX3" fmla="*/ 685800 w 5257800"/>
                <a:gd name="connsiteY3" fmla="*/ 624840 h 4213860"/>
                <a:gd name="connsiteX4" fmla="*/ 929640 w 5257800"/>
                <a:gd name="connsiteY4" fmla="*/ 533400 h 4213860"/>
                <a:gd name="connsiteX5" fmla="*/ 891540 w 5257800"/>
                <a:gd name="connsiteY5" fmla="*/ 426720 h 4213860"/>
                <a:gd name="connsiteX6" fmla="*/ 1074420 w 5257800"/>
                <a:gd name="connsiteY6" fmla="*/ 358140 h 4213860"/>
                <a:gd name="connsiteX7" fmla="*/ 1120140 w 5257800"/>
                <a:gd name="connsiteY7" fmla="*/ 464820 h 4213860"/>
                <a:gd name="connsiteX8" fmla="*/ 1242060 w 5257800"/>
                <a:gd name="connsiteY8" fmla="*/ 434340 h 4213860"/>
                <a:gd name="connsiteX9" fmla="*/ 1272540 w 5257800"/>
                <a:gd name="connsiteY9" fmla="*/ 365760 h 4213860"/>
                <a:gd name="connsiteX10" fmla="*/ 1531620 w 5257800"/>
                <a:gd name="connsiteY10" fmla="*/ 297180 h 4213860"/>
                <a:gd name="connsiteX11" fmla="*/ 1584960 w 5257800"/>
                <a:gd name="connsiteY11" fmla="*/ 327660 h 4213860"/>
                <a:gd name="connsiteX12" fmla="*/ 1714500 w 5257800"/>
                <a:gd name="connsiteY12" fmla="*/ 274320 h 4213860"/>
                <a:gd name="connsiteX13" fmla="*/ 1684020 w 5257800"/>
                <a:gd name="connsiteY13" fmla="*/ 114300 h 4213860"/>
                <a:gd name="connsiteX14" fmla="*/ 2087880 w 5257800"/>
                <a:gd name="connsiteY14" fmla="*/ 0 h 4213860"/>
                <a:gd name="connsiteX15" fmla="*/ 2133600 w 5257800"/>
                <a:gd name="connsiteY15" fmla="*/ 160020 h 4213860"/>
                <a:gd name="connsiteX16" fmla="*/ 2385060 w 5257800"/>
                <a:gd name="connsiteY16" fmla="*/ 106680 h 4213860"/>
                <a:gd name="connsiteX17" fmla="*/ 2644140 w 5257800"/>
                <a:gd name="connsiteY17" fmla="*/ 99060 h 4213860"/>
                <a:gd name="connsiteX18" fmla="*/ 2971800 w 5257800"/>
                <a:gd name="connsiteY18" fmla="*/ 152400 h 4213860"/>
                <a:gd name="connsiteX19" fmla="*/ 3299460 w 5257800"/>
                <a:gd name="connsiteY19" fmla="*/ 251460 h 4213860"/>
                <a:gd name="connsiteX20" fmla="*/ 3665220 w 5257800"/>
                <a:gd name="connsiteY20" fmla="*/ 464820 h 4213860"/>
                <a:gd name="connsiteX21" fmla="*/ 3954780 w 5257800"/>
                <a:gd name="connsiteY21" fmla="*/ 723900 h 4213860"/>
                <a:gd name="connsiteX22" fmla="*/ 4465320 w 5257800"/>
                <a:gd name="connsiteY22" fmla="*/ 1280160 h 4213860"/>
                <a:gd name="connsiteX23" fmla="*/ 4495800 w 5257800"/>
                <a:gd name="connsiteY23" fmla="*/ 1287780 h 4213860"/>
                <a:gd name="connsiteX24" fmla="*/ 4678680 w 5257800"/>
                <a:gd name="connsiteY24" fmla="*/ 1463040 h 4213860"/>
                <a:gd name="connsiteX25" fmla="*/ 4663440 w 5257800"/>
                <a:gd name="connsiteY25" fmla="*/ 1524000 h 4213860"/>
                <a:gd name="connsiteX26" fmla="*/ 4914900 w 5257800"/>
                <a:gd name="connsiteY26" fmla="*/ 1821180 h 4213860"/>
                <a:gd name="connsiteX27" fmla="*/ 5105400 w 5257800"/>
                <a:gd name="connsiteY27" fmla="*/ 2217420 h 4213860"/>
                <a:gd name="connsiteX28" fmla="*/ 5227320 w 5257800"/>
                <a:gd name="connsiteY28" fmla="*/ 2636520 h 4213860"/>
                <a:gd name="connsiteX29" fmla="*/ 5257800 w 5257800"/>
                <a:gd name="connsiteY29" fmla="*/ 3086100 h 4213860"/>
                <a:gd name="connsiteX30" fmla="*/ 5204460 w 5257800"/>
                <a:gd name="connsiteY30" fmla="*/ 3611880 h 4213860"/>
                <a:gd name="connsiteX31" fmla="*/ 5044440 w 5257800"/>
                <a:gd name="connsiteY31" fmla="*/ 4206240 h 4213860"/>
                <a:gd name="connsiteX32" fmla="*/ 4495800 w 5257800"/>
                <a:gd name="connsiteY32" fmla="*/ 4213860 h 4213860"/>
                <a:gd name="connsiteX33" fmla="*/ 4693920 w 5257800"/>
                <a:gd name="connsiteY33" fmla="*/ 3261360 h 4213860"/>
                <a:gd name="connsiteX34" fmla="*/ 4701540 w 5257800"/>
                <a:gd name="connsiteY34" fmla="*/ 2834640 h 4213860"/>
                <a:gd name="connsiteX35" fmla="*/ 4579620 w 5257800"/>
                <a:gd name="connsiteY35" fmla="*/ 2415540 h 4213860"/>
                <a:gd name="connsiteX36" fmla="*/ 4373880 w 5257800"/>
                <a:gd name="connsiteY36" fmla="*/ 2057400 h 4213860"/>
                <a:gd name="connsiteX37" fmla="*/ 3429000 w 5257800"/>
                <a:gd name="connsiteY37" fmla="*/ 1013460 h 4213860"/>
                <a:gd name="connsiteX38" fmla="*/ 3192780 w 5257800"/>
                <a:gd name="connsiteY38" fmla="*/ 853440 h 4213860"/>
                <a:gd name="connsiteX39" fmla="*/ 2910840 w 5257800"/>
                <a:gd name="connsiteY39" fmla="*/ 739140 h 4213860"/>
                <a:gd name="connsiteX40" fmla="*/ 2514600 w 5257800"/>
                <a:gd name="connsiteY40" fmla="*/ 693420 h 4213860"/>
                <a:gd name="connsiteX41" fmla="*/ 2232660 w 5257800"/>
                <a:gd name="connsiteY41" fmla="*/ 739140 h 4213860"/>
                <a:gd name="connsiteX42" fmla="*/ 1234440 w 5257800"/>
                <a:gd name="connsiteY42" fmla="*/ 1059180 h 4213860"/>
                <a:gd name="connsiteX43" fmla="*/ 960120 w 5257800"/>
                <a:gd name="connsiteY43" fmla="*/ 1165860 h 4213860"/>
                <a:gd name="connsiteX44" fmla="*/ 815340 w 5257800"/>
                <a:gd name="connsiteY44" fmla="*/ 1257300 h 4213860"/>
                <a:gd name="connsiteX45" fmla="*/ 0 w 5257800"/>
                <a:gd name="connsiteY45" fmla="*/ 1234440 h 4213860"/>
                <a:gd name="connsiteX0" fmla="*/ 0 w 5257800"/>
                <a:gd name="connsiteY0" fmla="*/ 1234440 h 4213860"/>
                <a:gd name="connsiteX1" fmla="*/ 213360 w 5257800"/>
                <a:gd name="connsiteY1" fmla="*/ 990600 h 4213860"/>
                <a:gd name="connsiteX2" fmla="*/ 457200 w 5257800"/>
                <a:gd name="connsiteY2" fmla="*/ 792480 h 4213860"/>
                <a:gd name="connsiteX3" fmla="*/ 685800 w 5257800"/>
                <a:gd name="connsiteY3" fmla="*/ 624840 h 4213860"/>
                <a:gd name="connsiteX4" fmla="*/ 929640 w 5257800"/>
                <a:gd name="connsiteY4" fmla="*/ 533400 h 4213860"/>
                <a:gd name="connsiteX5" fmla="*/ 891540 w 5257800"/>
                <a:gd name="connsiteY5" fmla="*/ 426720 h 4213860"/>
                <a:gd name="connsiteX6" fmla="*/ 1074420 w 5257800"/>
                <a:gd name="connsiteY6" fmla="*/ 358140 h 4213860"/>
                <a:gd name="connsiteX7" fmla="*/ 1120140 w 5257800"/>
                <a:gd name="connsiteY7" fmla="*/ 464820 h 4213860"/>
                <a:gd name="connsiteX8" fmla="*/ 1242060 w 5257800"/>
                <a:gd name="connsiteY8" fmla="*/ 434340 h 4213860"/>
                <a:gd name="connsiteX9" fmla="*/ 1272540 w 5257800"/>
                <a:gd name="connsiteY9" fmla="*/ 365760 h 4213860"/>
                <a:gd name="connsiteX10" fmla="*/ 1531620 w 5257800"/>
                <a:gd name="connsiteY10" fmla="*/ 297180 h 4213860"/>
                <a:gd name="connsiteX11" fmla="*/ 1584960 w 5257800"/>
                <a:gd name="connsiteY11" fmla="*/ 327660 h 4213860"/>
                <a:gd name="connsiteX12" fmla="*/ 1714500 w 5257800"/>
                <a:gd name="connsiteY12" fmla="*/ 274320 h 4213860"/>
                <a:gd name="connsiteX13" fmla="*/ 1684020 w 5257800"/>
                <a:gd name="connsiteY13" fmla="*/ 114300 h 4213860"/>
                <a:gd name="connsiteX14" fmla="*/ 2087880 w 5257800"/>
                <a:gd name="connsiteY14" fmla="*/ 0 h 4213860"/>
                <a:gd name="connsiteX15" fmla="*/ 2133600 w 5257800"/>
                <a:gd name="connsiteY15" fmla="*/ 160020 h 4213860"/>
                <a:gd name="connsiteX16" fmla="*/ 2385060 w 5257800"/>
                <a:gd name="connsiteY16" fmla="*/ 106680 h 4213860"/>
                <a:gd name="connsiteX17" fmla="*/ 2644140 w 5257800"/>
                <a:gd name="connsiteY17" fmla="*/ 99060 h 4213860"/>
                <a:gd name="connsiteX18" fmla="*/ 2971800 w 5257800"/>
                <a:gd name="connsiteY18" fmla="*/ 152400 h 4213860"/>
                <a:gd name="connsiteX19" fmla="*/ 3299460 w 5257800"/>
                <a:gd name="connsiteY19" fmla="*/ 251460 h 4213860"/>
                <a:gd name="connsiteX20" fmla="*/ 3665220 w 5257800"/>
                <a:gd name="connsiteY20" fmla="*/ 464820 h 4213860"/>
                <a:gd name="connsiteX21" fmla="*/ 3954780 w 5257800"/>
                <a:gd name="connsiteY21" fmla="*/ 723900 h 4213860"/>
                <a:gd name="connsiteX22" fmla="*/ 4465320 w 5257800"/>
                <a:gd name="connsiteY22" fmla="*/ 1280160 h 4213860"/>
                <a:gd name="connsiteX23" fmla="*/ 4495800 w 5257800"/>
                <a:gd name="connsiteY23" fmla="*/ 1287780 h 4213860"/>
                <a:gd name="connsiteX24" fmla="*/ 4678680 w 5257800"/>
                <a:gd name="connsiteY24" fmla="*/ 1463040 h 4213860"/>
                <a:gd name="connsiteX25" fmla="*/ 4663440 w 5257800"/>
                <a:gd name="connsiteY25" fmla="*/ 1524000 h 4213860"/>
                <a:gd name="connsiteX26" fmla="*/ 4914900 w 5257800"/>
                <a:gd name="connsiteY26" fmla="*/ 1821180 h 4213860"/>
                <a:gd name="connsiteX27" fmla="*/ 5105400 w 5257800"/>
                <a:gd name="connsiteY27" fmla="*/ 2217420 h 4213860"/>
                <a:gd name="connsiteX28" fmla="*/ 5227320 w 5257800"/>
                <a:gd name="connsiteY28" fmla="*/ 2636520 h 4213860"/>
                <a:gd name="connsiteX29" fmla="*/ 5257800 w 5257800"/>
                <a:gd name="connsiteY29" fmla="*/ 3086100 h 4213860"/>
                <a:gd name="connsiteX30" fmla="*/ 5204460 w 5257800"/>
                <a:gd name="connsiteY30" fmla="*/ 3611880 h 4213860"/>
                <a:gd name="connsiteX31" fmla="*/ 5044440 w 5257800"/>
                <a:gd name="connsiteY31" fmla="*/ 4206240 h 4213860"/>
                <a:gd name="connsiteX32" fmla="*/ 4495800 w 5257800"/>
                <a:gd name="connsiteY32" fmla="*/ 4213860 h 4213860"/>
                <a:gd name="connsiteX33" fmla="*/ 4693920 w 5257800"/>
                <a:gd name="connsiteY33" fmla="*/ 3261360 h 4213860"/>
                <a:gd name="connsiteX34" fmla="*/ 4701540 w 5257800"/>
                <a:gd name="connsiteY34" fmla="*/ 2834640 h 4213860"/>
                <a:gd name="connsiteX35" fmla="*/ 4579620 w 5257800"/>
                <a:gd name="connsiteY35" fmla="*/ 2415540 h 4213860"/>
                <a:gd name="connsiteX36" fmla="*/ 4373880 w 5257800"/>
                <a:gd name="connsiteY36" fmla="*/ 2057400 h 4213860"/>
                <a:gd name="connsiteX37" fmla="*/ 3429000 w 5257800"/>
                <a:gd name="connsiteY37" fmla="*/ 1013460 h 4213860"/>
                <a:gd name="connsiteX38" fmla="*/ 3192780 w 5257800"/>
                <a:gd name="connsiteY38" fmla="*/ 853440 h 4213860"/>
                <a:gd name="connsiteX39" fmla="*/ 2910840 w 5257800"/>
                <a:gd name="connsiteY39" fmla="*/ 739140 h 4213860"/>
                <a:gd name="connsiteX40" fmla="*/ 2514600 w 5257800"/>
                <a:gd name="connsiteY40" fmla="*/ 693420 h 4213860"/>
                <a:gd name="connsiteX41" fmla="*/ 2232660 w 5257800"/>
                <a:gd name="connsiteY41" fmla="*/ 739140 h 4213860"/>
                <a:gd name="connsiteX42" fmla="*/ 1234440 w 5257800"/>
                <a:gd name="connsiteY42" fmla="*/ 1059180 h 4213860"/>
                <a:gd name="connsiteX43" fmla="*/ 960120 w 5257800"/>
                <a:gd name="connsiteY43" fmla="*/ 1165860 h 4213860"/>
                <a:gd name="connsiteX44" fmla="*/ 815340 w 5257800"/>
                <a:gd name="connsiteY44" fmla="*/ 1257300 h 4213860"/>
                <a:gd name="connsiteX45" fmla="*/ 0 w 5257800"/>
                <a:gd name="connsiteY45" fmla="*/ 1234440 h 4213860"/>
                <a:gd name="connsiteX0" fmla="*/ 0 w 5257800"/>
                <a:gd name="connsiteY0" fmla="*/ 1234440 h 4213860"/>
                <a:gd name="connsiteX1" fmla="*/ 213360 w 5257800"/>
                <a:gd name="connsiteY1" fmla="*/ 990600 h 4213860"/>
                <a:gd name="connsiteX2" fmla="*/ 457200 w 5257800"/>
                <a:gd name="connsiteY2" fmla="*/ 792480 h 4213860"/>
                <a:gd name="connsiteX3" fmla="*/ 685800 w 5257800"/>
                <a:gd name="connsiteY3" fmla="*/ 624840 h 4213860"/>
                <a:gd name="connsiteX4" fmla="*/ 929640 w 5257800"/>
                <a:gd name="connsiteY4" fmla="*/ 533400 h 4213860"/>
                <a:gd name="connsiteX5" fmla="*/ 891540 w 5257800"/>
                <a:gd name="connsiteY5" fmla="*/ 426720 h 4213860"/>
                <a:gd name="connsiteX6" fmla="*/ 1074420 w 5257800"/>
                <a:gd name="connsiteY6" fmla="*/ 358140 h 4213860"/>
                <a:gd name="connsiteX7" fmla="*/ 1120140 w 5257800"/>
                <a:gd name="connsiteY7" fmla="*/ 464820 h 4213860"/>
                <a:gd name="connsiteX8" fmla="*/ 1242060 w 5257800"/>
                <a:gd name="connsiteY8" fmla="*/ 434340 h 4213860"/>
                <a:gd name="connsiteX9" fmla="*/ 1272540 w 5257800"/>
                <a:gd name="connsiteY9" fmla="*/ 365760 h 4213860"/>
                <a:gd name="connsiteX10" fmla="*/ 1531620 w 5257800"/>
                <a:gd name="connsiteY10" fmla="*/ 297180 h 4213860"/>
                <a:gd name="connsiteX11" fmla="*/ 1584960 w 5257800"/>
                <a:gd name="connsiteY11" fmla="*/ 327660 h 4213860"/>
                <a:gd name="connsiteX12" fmla="*/ 1714500 w 5257800"/>
                <a:gd name="connsiteY12" fmla="*/ 274320 h 4213860"/>
                <a:gd name="connsiteX13" fmla="*/ 1684020 w 5257800"/>
                <a:gd name="connsiteY13" fmla="*/ 114300 h 4213860"/>
                <a:gd name="connsiteX14" fmla="*/ 2087880 w 5257800"/>
                <a:gd name="connsiteY14" fmla="*/ 0 h 4213860"/>
                <a:gd name="connsiteX15" fmla="*/ 2133600 w 5257800"/>
                <a:gd name="connsiteY15" fmla="*/ 160020 h 4213860"/>
                <a:gd name="connsiteX16" fmla="*/ 2385060 w 5257800"/>
                <a:gd name="connsiteY16" fmla="*/ 106680 h 4213860"/>
                <a:gd name="connsiteX17" fmla="*/ 2644140 w 5257800"/>
                <a:gd name="connsiteY17" fmla="*/ 99060 h 4213860"/>
                <a:gd name="connsiteX18" fmla="*/ 2971800 w 5257800"/>
                <a:gd name="connsiteY18" fmla="*/ 152400 h 4213860"/>
                <a:gd name="connsiteX19" fmla="*/ 3299460 w 5257800"/>
                <a:gd name="connsiteY19" fmla="*/ 251460 h 4213860"/>
                <a:gd name="connsiteX20" fmla="*/ 3665220 w 5257800"/>
                <a:gd name="connsiteY20" fmla="*/ 464820 h 4213860"/>
                <a:gd name="connsiteX21" fmla="*/ 3954780 w 5257800"/>
                <a:gd name="connsiteY21" fmla="*/ 723900 h 4213860"/>
                <a:gd name="connsiteX22" fmla="*/ 4465320 w 5257800"/>
                <a:gd name="connsiteY22" fmla="*/ 1280160 h 4213860"/>
                <a:gd name="connsiteX23" fmla="*/ 4495800 w 5257800"/>
                <a:gd name="connsiteY23" fmla="*/ 1287780 h 4213860"/>
                <a:gd name="connsiteX24" fmla="*/ 4678680 w 5257800"/>
                <a:gd name="connsiteY24" fmla="*/ 1463040 h 4213860"/>
                <a:gd name="connsiteX25" fmla="*/ 4663440 w 5257800"/>
                <a:gd name="connsiteY25" fmla="*/ 1524000 h 4213860"/>
                <a:gd name="connsiteX26" fmla="*/ 4914900 w 5257800"/>
                <a:gd name="connsiteY26" fmla="*/ 1821180 h 4213860"/>
                <a:gd name="connsiteX27" fmla="*/ 5105400 w 5257800"/>
                <a:gd name="connsiteY27" fmla="*/ 2217420 h 4213860"/>
                <a:gd name="connsiteX28" fmla="*/ 5227320 w 5257800"/>
                <a:gd name="connsiteY28" fmla="*/ 2636520 h 4213860"/>
                <a:gd name="connsiteX29" fmla="*/ 5257800 w 5257800"/>
                <a:gd name="connsiteY29" fmla="*/ 3086100 h 4213860"/>
                <a:gd name="connsiteX30" fmla="*/ 5204460 w 5257800"/>
                <a:gd name="connsiteY30" fmla="*/ 3611880 h 4213860"/>
                <a:gd name="connsiteX31" fmla="*/ 5044440 w 5257800"/>
                <a:gd name="connsiteY31" fmla="*/ 4206240 h 4213860"/>
                <a:gd name="connsiteX32" fmla="*/ 4495800 w 5257800"/>
                <a:gd name="connsiteY32" fmla="*/ 4213860 h 4213860"/>
                <a:gd name="connsiteX33" fmla="*/ 4693920 w 5257800"/>
                <a:gd name="connsiteY33" fmla="*/ 3261360 h 4213860"/>
                <a:gd name="connsiteX34" fmla="*/ 4701540 w 5257800"/>
                <a:gd name="connsiteY34" fmla="*/ 2834640 h 4213860"/>
                <a:gd name="connsiteX35" fmla="*/ 4579620 w 5257800"/>
                <a:gd name="connsiteY35" fmla="*/ 2415540 h 4213860"/>
                <a:gd name="connsiteX36" fmla="*/ 4373880 w 5257800"/>
                <a:gd name="connsiteY36" fmla="*/ 2057400 h 4213860"/>
                <a:gd name="connsiteX37" fmla="*/ 3429000 w 5257800"/>
                <a:gd name="connsiteY37" fmla="*/ 1013460 h 4213860"/>
                <a:gd name="connsiteX38" fmla="*/ 3192780 w 5257800"/>
                <a:gd name="connsiteY38" fmla="*/ 853440 h 4213860"/>
                <a:gd name="connsiteX39" fmla="*/ 2910840 w 5257800"/>
                <a:gd name="connsiteY39" fmla="*/ 739140 h 4213860"/>
                <a:gd name="connsiteX40" fmla="*/ 2514600 w 5257800"/>
                <a:gd name="connsiteY40" fmla="*/ 693420 h 4213860"/>
                <a:gd name="connsiteX41" fmla="*/ 2232660 w 5257800"/>
                <a:gd name="connsiteY41" fmla="*/ 739140 h 4213860"/>
                <a:gd name="connsiteX42" fmla="*/ 1234440 w 5257800"/>
                <a:gd name="connsiteY42" fmla="*/ 1059180 h 4213860"/>
                <a:gd name="connsiteX43" fmla="*/ 960120 w 5257800"/>
                <a:gd name="connsiteY43" fmla="*/ 1165860 h 4213860"/>
                <a:gd name="connsiteX44" fmla="*/ 815340 w 5257800"/>
                <a:gd name="connsiteY44" fmla="*/ 1257300 h 4213860"/>
                <a:gd name="connsiteX45" fmla="*/ 0 w 5257800"/>
                <a:gd name="connsiteY45" fmla="*/ 1234440 h 4213860"/>
                <a:gd name="connsiteX0" fmla="*/ 0 w 5257800"/>
                <a:gd name="connsiteY0" fmla="*/ 1234440 h 4213860"/>
                <a:gd name="connsiteX1" fmla="*/ 213360 w 5257800"/>
                <a:gd name="connsiteY1" fmla="*/ 990600 h 4213860"/>
                <a:gd name="connsiteX2" fmla="*/ 457200 w 5257800"/>
                <a:gd name="connsiteY2" fmla="*/ 792480 h 4213860"/>
                <a:gd name="connsiteX3" fmla="*/ 685800 w 5257800"/>
                <a:gd name="connsiteY3" fmla="*/ 624840 h 4213860"/>
                <a:gd name="connsiteX4" fmla="*/ 929640 w 5257800"/>
                <a:gd name="connsiteY4" fmla="*/ 533400 h 4213860"/>
                <a:gd name="connsiteX5" fmla="*/ 891540 w 5257800"/>
                <a:gd name="connsiteY5" fmla="*/ 426720 h 4213860"/>
                <a:gd name="connsiteX6" fmla="*/ 1074420 w 5257800"/>
                <a:gd name="connsiteY6" fmla="*/ 358140 h 4213860"/>
                <a:gd name="connsiteX7" fmla="*/ 1120140 w 5257800"/>
                <a:gd name="connsiteY7" fmla="*/ 464820 h 4213860"/>
                <a:gd name="connsiteX8" fmla="*/ 1242060 w 5257800"/>
                <a:gd name="connsiteY8" fmla="*/ 434340 h 4213860"/>
                <a:gd name="connsiteX9" fmla="*/ 1272540 w 5257800"/>
                <a:gd name="connsiteY9" fmla="*/ 365760 h 4213860"/>
                <a:gd name="connsiteX10" fmla="*/ 1531620 w 5257800"/>
                <a:gd name="connsiteY10" fmla="*/ 297180 h 4213860"/>
                <a:gd name="connsiteX11" fmla="*/ 1584960 w 5257800"/>
                <a:gd name="connsiteY11" fmla="*/ 327660 h 4213860"/>
                <a:gd name="connsiteX12" fmla="*/ 1714500 w 5257800"/>
                <a:gd name="connsiteY12" fmla="*/ 274320 h 4213860"/>
                <a:gd name="connsiteX13" fmla="*/ 1684020 w 5257800"/>
                <a:gd name="connsiteY13" fmla="*/ 114300 h 4213860"/>
                <a:gd name="connsiteX14" fmla="*/ 2087880 w 5257800"/>
                <a:gd name="connsiteY14" fmla="*/ 0 h 4213860"/>
                <a:gd name="connsiteX15" fmla="*/ 2133600 w 5257800"/>
                <a:gd name="connsiteY15" fmla="*/ 160020 h 4213860"/>
                <a:gd name="connsiteX16" fmla="*/ 2385060 w 5257800"/>
                <a:gd name="connsiteY16" fmla="*/ 106680 h 4213860"/>
                <a:gd name="connsiteX17" fmla="*/ 2644140 w 5257800"/>
                <a:gd name="connsiteY17" fmla="*/ 99060 h 4213860"/>
                <a:gd name="connsiteX18" fmla="*/ 2971800 w 5257800"/>
                <a:gd name="connsiteY18" fmla="*/ 152400 h 4213860"/>
                <a:gd name="connsiteX19" fmla="*/ 3299460 w 5257800"/>
                <a:gd name="connsiteY19" fmla="*/ 251460 h 4213860"/>
                <a:gd name="connsiteX20" fmla="*/ 3665220 w 5257800"/>
                <a:gd name="connsiteY20" fmla="*/ 464820 h 4213860"/>
                <a:gd name="connsiteX21" fmla="*/ 3954780 w 5257800"/>
                <a:gd name="connsiteY21" fmla="*/ 723900 h 4213860"/>
                <a:gd name="connsiteX22" fmla="*/ 4465320 w 5257800"/>
                <a:gd name="connsiteY22" fmla="*/ 1280160 h 4213860"/>
                <a:gd name="connsiteX23" fmla="*/ 4495800 w 5257800"/>
                <a:gd name="connsiteY23" fmla="*/ 1287780 h 4213860"/>
                <a:gd name="connsiteX24" fmla="*/ 4678680 w 5257800"/>
                <a:gd name="connsiteY24" fmla="*/ 1463040 h 4213860"/>
                <a:gd name="connsiteX25" fmla="*/ 4663440 w 5257800"/>
                <a:gd name="connsiteY25" fmla="*/ 1524000 h 4213860"/>
                <a:gd name="connsiteX26" fmla="*/ 4914900 w 5257800"/>
                <a:gd name="connsiteY26" fmla="*/ 1821180 h 4213860"/>
                <a:gd name="connsiteX27" fmla="*/ 5105400 w 5257800"/>
                <a:gd name="connsiteY27" fmla="*/ 2217420 h 4213860"/>
                <a:gd name="connsiteX28" fmla="*/ 5227320 w 5257800"/>
                <a:gd name="connsiteY28" fmla="*/ 2636520 h 4213860"/>
                <a:gd name="connsiteX29" fmla="*/ 5257800 w 5257800"/>
                <a:gd name="connsiteY29" fmla="*/ 3086100 h 4213860"/>
                <a:gd name="connsiteX30" fmla="*/ 5204460 w 5257800"/>
                <a:gd name="connsiteY30" fmla="*/ 3611880 h 4213860"/>
                <a:gd name="connsiteX31" fmla="*/ 5044440 w 5257800"/>
                <a:gd name="connsiteY31" fmla="*/ 4206240 h 4213860"/>
                <a:gd name="connsiteX32" fmla="*/ 4495800 w 5257800"/>
                <a:gd name="connsiteY32" fmla="*/ 4213860 h 4213860"/>
                <a:gd name="connsiteX33" fmla="*/ 4693920 w 5257800"/>
                <a:gd name="connsiteY33" fmla="*/ 3261360 h 4213860"/>
                <a:gd name="connsiteX34" fmla="*/ 4701540 w 5257800"/>
                <a:gd name="connsiteY34" fmla="*/ 2834640 h 4213860"/>
                <a:gd name="connsiteX35" fmla="*/ 4579620 w 5257800"/>
                <a:gd name="connsiteY35" fmla="*/ 2415540 h 4213860"/>
                <a:gd name="connsiteX36" fmla="*/ 4373880 w 5257800"/>
                <a:gd name="connsiteY36" fmla="*/ 2057400 h 4213860"/>
                <a:gd name="connsiteX37" fmla="*/ 3429000 w 5257800"/>
                <a:gd name="connsiteY37" fmla="*/ 1013460 h 4213860"/>
                <a:gd name="connsiteX38" fmla="*/ 3192780 w 5257800"/>
                <a:gd name="connsiteY38" fmla="*/ 853440 h 4213860"/>
                <a:gd name="connsiteX39" fmla="*/ 2910840 w 5257800"/>
                <a:gd name="connsiteY39" fmla="*/ 739140 h 4213860"/>
                <a:gd name="connsiteX40" fmla="*/ 2514600 w 5257800"/>
                <a:gd name="connsiteY40" fmla="*/ 693420 h 4213860"/>
                <a:gd name="connsiteX41" fmla="*/ 2232660 w 5257800"/>
                <a:gd name="connsiteY41" fmla="*/ 739140 h 4213860"/>
                <a:gd name="connsiteX42" fmla="*/ 1234440 w 5257800"/>
                <a:gd name="connsiteY42" fmla="*/ 1059180 h 4213860"/>
                <a:gd name="connsiteX43" fmla="*/ 960120 w 5257800"/>
                <a:gd name="connsiteY43" fmla="*/ 1165860 h 4213860"/>
                <a:gd name="connsiteX44" fmla="*/ 815340 w 5257800"/>
                <a:gd name="connsiteY44" fmla="*/ 1257300 h 4213860"/>
                <a:gd name="connsiteX45" fmla="*/ 0 w 5257800"/>
                <a:gd name="connsiteY45" fmla="*/ 1234440 h 4213860"/>
                <a:gd name="connsiteX0" fmla="*/ 0 w 5257800"/>
                <a:gd name="connsiteY0" fmla="*/ 1234440 h 4574791"/>
                <a:gd name="connsiteX1" fmla="*/ 213360 w 5257800"/>
                <a:gd name="connsiteY1" fmla="*/ 990600 h 4574791"/>
                <a:gd name="connsiteX2" fmla="*/ 457200 w 5257800"/>
                <a:gd name="connsiteY2" fmla="*/ 792480 h 4574791"/>
                <a:gd name="connsiteX3" fmla="*/ 685800 w 5257800"/>
                <a:gd name="connsiteY3" fmla="*/ 624840 h 4574791"/>
                <a:gd name="connsiteX4" fmla="*/ 929640 w 5257800"/>
                <a:gd name="connsiteY4" fmla="*/ 533400 h 4574791"/>
                <a:gd name="connsiteX5" fmla="*/ 891540 w 5257800"/>
                <a:gd name="connsiteY5" fmla="*/ 426720 h 4574791"/>
                <a:gd name="connsiteX6" fmla="*/ 1074420 w 5257800"/>
                <a:gd name="connsiteY6" fmla="*/ 358140 h 4574791"/>
                <a:gd name="connsiteX7" fmla="*/ 1120140 w 5257800"/>
                <a:gd name="connsiteY7" fmla="*/ 464820 h 4574791"/>
                <a:gd name="connsiteX8" fmla="*/ 1242060 w 5257800"/>
                <a:gd name="connsiteY8" fmla="*/ 434340 h 4574791"/>
                <a:gd name="connsiteX9" fmla="*/ 1272540 w 5257800"/>
                <a:gd name="connsiteY9" fmla="*/ 365760 h 4574791"/>
                <a:gd name="connsiteX10" fmla="*/ 1531620 w 5257800"/>
                <a:gd name="connsiteY10" fmla="*/ 297180 h 4574791"/>
                <a:gd name="connsiteX11" fmla="*/ 1584960 w 5257800"/>
                <a:gd name="connsiteY11" fmla="*/ 327660 h 4574791"/>
                <a:gd name="connsiteX12" fmla="*/ 1714500 w 5257800"/>
                <a:gd name="connsiteY12" fmla="*/ 274320 h 4574791"/>
                <a:gd name="connsiteX13" fmla="*/ 1684020 w 5257800"/>
                <a:gd name="connsiteY13" fmla="*/ 114300 h 4574791"/>
                <a:gd name="connsiteX14" fmla="*/ 2087880 w 5257800"/>
                <a:gd name="connsiteY14" fmla="*/ 0 h 4574791"/>
                <a:gd name="connsiteX15" fmla="*/ 2133600 w 5257800"/>
                <a:gd name="connsiteY15" fmla="*/ 160020 h 4574791"/>
                <a:gd name="connsiteX16" fmla="*/ 2385060 w 5257800"/>
                <a:gd name="connsiteY16" fmla="*/ 106680 h 4574791"/>
                <a:gd name="connsiteX17" fmla="*/ 2644140 w 5257800"/>
                <a:gd name="connsiteY17" fmla="*/ 99060 h 4574791"/>
                <a:gd name="connsiteX18" fmla="*/ 2971800 w 5257800"/>
                <a:gd name="connsiteY18" fmla="*/ 152400 h 4574791"/>
                <a:gd name="connsiteX19" fmla="*/ 3299460 w 5257800"/>
                <a:gd name="connsiteY19" fmla="*/ 251460 h 4574791"/>
                <a:gd name="connsiteX20" fmla="*/ 3665220 w 5257800"/>
                <a:gd name="connsiteY20" fmla="*/ 464820 h 4574791"/>
                <a:gd name="connsiteX21" fmla="*/ 3954780 w 5257800"/>
                <a:gd name="connsiteY21" fmla="*/ 723900 h 4574791"/>
                <a:gd name="connsiteX22" fmla="*/ 4465320 w 5257800"/>
                <a:gd name="connsiteY22" fmla="*/ 1280160 h 4574791"/>
                <a:gd name="connsiteX23" fmla="*/ 4495800 w 5257800"/>
                <a:gd name="connsiteY23" fmla="*/ 1287780 h 4574791"/>
                <a:gd name="connsiteX24" fmla="*/ 4678680 w 5257800"/>
                <a:gd name="connsiteY24" fmla="*/ 1463040 h 4574791"/>
                <a:gd name="connsiteX25" fmla="*/ 4663440 w 5257800"/>
                <a:gd name="connsiteY25" fmla="*/ 1524000 h 4574791"/>
                <a:gd name="connsiteX26" fmla="*/ 4914900 w 5257800"/>
                <a:gd name="connsiteY26" fmla="*/ 1821180 h 4574791"/>
                <a:gd name="connsiteX27" fmla="*/ 5105400 w 5257800"/>
                <a:gd name="connsiteY27" fmla="*/ 2217420 h 4574791"/>
                <a:gd name="connsiteX28" fmla="*/ 5227320 w 5257800"/>
                <a:gd name="connsiteY28" fmla="*/ 2636520 h 4574791"/>
                <a:gd name="connsiteX29" fmla="*/ 5257800 w 5257800"/>
                <a:gd name="connsiteY29" fmla="*/ 3086100 h 4574791"/>
                <a:gd name="connsiteX30" fmla="*/ 5204460 w 5257800"/>
                <a:gd name="connsiteY30" fmla="*/ 3611880 h 4574791"/>
                <a:gd name="connsiteX31" fmla="*/ 5044440 w 5257800"/>
                <a:gd name="connsiteY31" fmla="*/ 4206240 h 4574791"/>
                <a:gd name="connsiteX32" fmla="*/ 4382946 w 5257800"/>
                <a:gd name="connsiteY32" fmla="*/ 4574791 h 4574791"/>
                <a:gd name="connsiteX33" fmla="*/ 4693920 w 5257800"/>
                <a:gd name="connsiteY33" fmla="*/ 3261360 h 4574791"/>
                <a:gd name="connsiteX34" fmla="*/ 4701540 w 5257800"/>
                <a:gd name="connsiteY34" fmla="*/ 2834640 h 4574791"/>
                <a:gd name="connsiteX35" fmla="*/ 4579620 w 5257800"/>
                <a:gd name="connsiteY35" fmla="*/ 2415540 h 4574791"/>
                <a:gd name="connsiteX36" fmla="*/ 4373880 w 5257800"/>
                <a:gd name="connsiteY36" fmla="*/ 2057400 h 4574791"/>
                <a:gd name="connsiteX37" fmla="*/ 3429000 w 5257800"/>
                <a:gd name="connsiteY37" fmla="*/ 1013460 h 4574791"/>
                <a:gd name="connsiteX38" fmla="*/ 3192780 w 5257800"/>
                <a:gd name="connsiteY38" fmla="*/ 853440 h 4574791"/>
                <a:gd name="connsiteX39" fmla="*/ 2910840 w 5257800"/>
                <a:gd name="connsiteY39" fmla="*/ 739140 h 4574791"/>
                <a:gd name="connsiteX40" fmla="*/ 2514600 w 5257800"/>
                <a:gd name="connsiteY40" fmla="*/ 693420 h 4574791"/>
                <a:gd name="connsiteX41" fmla="*/ 2232660 w 5257800"/>
                <a:gd name="connsiteY41" fmla="*/ 739140 h 4574791"/>
                <a:gd name="connsiteX42" fmla="*/ 1234440 w 5257800"/>
                <a:gd name="connsiteY42" fmla="*/ 1059180 h 4574791"/>
                <a:gd name="connsiteX43" fmla="*/ 960120 w 5257800"/>
                <a:gd name="connsiteY43" fmla="*/ 1165860 h 4574791"/>
                <a:gd name="connsiteX44" fmla="*/ 815340 w 5257800"/>
                <a:gd name="connsiteY44" fmla="*/ 1257300 h 4574791"/>
                <a:gd name="connsiteX45" fmla="*/ 0 w 5257800"/>
                <a:gd name="connsiteY45" fmla="*/ 1234440 h 4574791"/>
                <a:gd name="connsiteX0" fmla="*/ 0 w 5257800"/>
                <a:gd name="connsiteY0" fmla="*/ 1234440 h 4785630"/>
                <a:gd name="connsiteX1" fmla="*/ 213360 w 5257800"/>
                <a:gd name="connsiteY1" fmla="*/ 990600 h 4785630"/>
                <a:gd name="connsiteX2" fmla="*/ 457200 w 5257800"/>
                <a:gd name="connsiteY2" fmla="*/ 792480 h 4785630"/>
                <a:gd name="connsiteX3" fmla="*/ 685800 w 5257800"/>
                <a:gd name="connsiteY3" fmla="*/ 624840 h 4785630"/>
                <a:gd name="connsiteX4" fmla="*/ 929640 w 5257800"/>
                <a:gd name="connsiteY4" fmla="*/ 533400 h 4785630"/>
                <a:gd name="connsiteX5" fmla="*/ 891540 w 5257800"/>
                <a:gd name="connsiteY5" fmla="*/ 426720 h 4785630"/>
                <a:gd name="connsiteX6" fmla="*/ 1074420 w 5257800"/>
                <a:gd name="connsiteY6" fmla="*/ 358140 h 4785630"/>
                <a:gd name="connsiteX7" fmla="*/ 1120140 w 5257800"/>
                <a:gd name="connsiteY7" fmla="*/ 464820 h 4785630"/>
                <a:gd name="connsiteX8" fmla="*/ 1242060 w 5257800"/>
                <a:gd name="connsiteY8" fmla="*/ 434340 h 4785630"/>
                <a:gd name="connsiteX9" fmla="*/ 1272540 w 5257800"/>
                <a:gd name="connsiteY9" fmla="*/ 365760 h 4785630"/>
                <a:gd name="connsiteX10" fmla="*/ 1531620 w 5257800"/>
                <a:gd name="connsiteY10" fmla="*/ 297180 h 4785630"/>
                <a:gd name="connsiteX11" fmla="*/ 1584960 w 5257800"/>
                <a:gd name="connsiteY11" fmla="*/ 327660 h 4785630"/>
                <a:gd name="connsiteX12" fmla="*/ 1714500 w 5257800"/>
                <a:gd name="connsiteY12" fmla="*/ 274320 h 4785630"/>
                <a:gd name="connsiteX13" fmla="*/ 1684020 w 5257800"/>
                <a:gd name="connsiteY13" fmla="*/ 114300 h 4785630"/>
                <a:gd name="connsiteX14" fmla="*/ 2087880 w 5257800"/>
                <a:gd name="connsiteY14" fmla="*/ 0 h 4785630"/>
                <a:gd name="connsiteX15" fmla="*/ 2133600 w 5257800"/>
                <a:gd name="connsiteY15" fmla="*/ 160020 h 4785630"/>
                <a:gd name="connsiteX16" fmla="*/ 2385060 w 5257800"/>
                <a:gd name="connsiteY16" fmla="*/ 106680 h 4785630"/>
                <a:gd name="connsiteX17" fmla="*/ 2644140 w 5257800"/>
                <a:gd name="connsiteY17" fmla="*/ 99060 h 4785630"/>
                <a:gd name="connsiteX18" fmla="*/ 2971800 w 5257800"/>
                <a:gd name="connsiteY18" fmla="*/ 152400 h 4785630"/>
                <a:gd name="connsiteX19" fmla="*/ 3299460 w 5257800"/>
                <a:gd name="connsiteY19" fmla="*/ 251460 h 4785630"/>
                <a:gd name="connsiteX20" fmla="*/ 3665220 w 5257800"/>
                <a:gd name="connsiteY20" fmla="*/ 464820 h 4785630"/>
                <a:gd name="connsiteX21" fmla="*/ 3954780 w 5257800"/>
                <a:gd name="connsiteY21" fmla="*/ 723900 h 4785630"/>
                <a:gd name="connsiteX22" fmla="*/ 4465320 w 5257800"/>
                <a:gd name="connsiteY22" fmla="*/ 1280160 h 4785630"/>
                <a:gd name="connsiteX23" fmla="*/ 4495800 w 5257800"/>
                <a:gd name="connsiteY23" fmla="*/ 1287780 h 4785630"/>
                <a:gd name="connsiteX24" fmla="*/ 4678680 w 5257800"/>
                <a:gd name="connsiteY24" fmla="*/ 1463040 h 4785630"/>
                <a:gd name="connsiteX25" fmla="*/ 4663440 w 5257800"/>
                <a:gd name="connsiteY25" fmla="*/ 1524000 h 4785630"/>
                <a:gd name="connsiteX26" fmla="*/ 4914900 w 5257800"/>
                <a:gd name="connsiteY26" fmla="*/ 1821180 h 4785630"/>
                <a:gd name="connsiteX27" fmla="*/ 5105400 w 5257800"/>
                <a:gd name="connsiteY27" fmla="*/ 2217420 h 4785630"/>
                <a:gd name="connsiteX28" fmla="*/ 5227320 w 5257800"/>
                <a:gd name="connsiteY28" fmla="*/ 2636520 h 4785630"/>
                <a:gd name="connsiteX29" fmla="*/ 5257800 w 5257800"/>
                <a:gd name="connsiteY29" fmla="*/ 3086100 h 4785630"/>
                <a:gd name="connsiteX30" fmla="*/ 5204460 w 5257800"/>
                <a:gd name="connsiteY30" fmla="*/ 3611880 h 4785630"/>
                <a:gd name="connsiteX31" fmla="*/ 4905544 w 5257800"/>
                <a:gd name="connsiteY31" fmla="*/ 4785630 h 4785630"/>
                <a:gd name="connsiteX32" fmla="*/ 4382946 w 5257800"/>
                <a:gd name="connsiteY32" fmla="*/ 4574791 h 4785630"/>
                <a:gd name="connsiteX33" fmla="*/ 4693920 w 5257800"/>
                <a:gd name="connsiteY33" fmla="*/ 3261360 h 4785630"/>
                <a:gd name="connsiteX34" fmla="*/ 4701540 w 5257800"/>
                <a:gd name="connsiteY34" fmla="*/ 2834640 h 4785630"/>
                <a:gd name="connsiteX35" fmla="*/ 4579620 w 5257800"/>
                <a:gd name="connsiteY35" fmla="*/ 2415540 h 4785630"/>
                <a:gd name="connsiteX36" fmla="*/ 4373880 w 5257800"/>
                <a:gd name="connsiteY36" fmla="*/ 2057400 h 4785630"/>
                <a:gd name="connsiteX37" fmla="*/ 3429000 w 5257800"/>
                <a:gd name="connsiteY37" fmla="*/ 1013460 h 4785630"/>
                <a:gd name="connsiteX38" fmla="*/ 3192780 w 5257800"/>
                <a:gd name="connsiteY38" fmla="*/ 853440 h 4785630"/>
                <a:gd name="connsiteX39" fmla="*/ 2910840 w 5257800"/>
                <a:gd name="connsiteY39" fmla="*/ 739140 h 4785630"/>
                <a:gd name="connsiteX40" fmla="*/ 2514600 w 5257800"/>
                <a:gd name="connsiteY40" fmla="*/ 693420 h 4785630"/>
                <a:gd name="connsiteX41" fmla="*/ 2232660 w 5257800"/>
                <a:gd name="connsiteY41" fmla="*/ 739140 h 4785630"/>
                <a:gd name="connsiteX42" fmla="*/ 1234440 w 5257800"/>
                <a:gd name="connsiteY42" fmla="*/ 1059180 h 4785630"/>
                <a:gd name="connsiteX43" fmla="*/ 960120 w 5257800"/>
                <a:gd name="connsiteY43" fmla="*/ 1165860 h 4785630"/>
                <a:gd name="connsiteX44" fmla="*/ 815340 w 5257800"/>
                <a:gd name="connsiteY44" fmla="*/ 1257300 h 4785630"/>
                <a:gd name="connsiteX45" fmla="*/ 0 w 5257800"/>
                <a:gd name="connsiteY45" fmla="*/ 1234440 h 4785630"/>
                <a:gd name="connsiteX0" fmla="*/ 0 w 5257800"/>
                <a:gd name="connsiteY0" fmla="*/ 1234440 h 4785630"/>
                <a:gd name="connsiteX1" fmla="*/ 213360 w 5257800"/>
                <a:gd name="connsiteY1" fmla="*/ 990600 h 4785630"/>
                <a:gd name="connsiteX2" fmla="*/ 457200 w 5257800"/>
                <a:gd name="connsiteY2" fmla="*/ 792480 h 4785630"/>
                <a:gd name="connsiteX3" fmla="*/ 685800 w 5257800"/>
                <a:gd name="connsiteY3" fmla="*/ 624840 h 4785630"/>
                <a:gd name="connsiteX4" fmla="*/ 929640 w 5257800"/>
                <a:gd name="connsiteY4" fmla="*/ 533400 h 4785630"/>
                <a:gd name="connsiteX5" fmla="*/ 891540 w 5257800"/>
                <a:gd name="connsiteY5" fmla="*/ 426720 h 4785630"/>
                <a:gd name="connsiteX6" fmla="*/ 1074420 w 5257800"/>
                <a:gd name="connsiteY6" fmla="*/ 358140 h 4785630"/>
                <a:gd name="connsiteX7" fmla="*/ 1120140 w 5257800"/>
                <a:gd name="connsiteY7" fmla="*/ 464820 h 4785630"/>
                <a:gd name="connsiteX8" fmla="*/ 1242060 w 5257800"/>
                <a:gd name="connsiteY8" fmla="*/ 434340 h 4785630"/>
                <a:gd name="connsiteX9" fmla="*/ 1272540 w 5257800"/>
                <a:gd name="connsiteY9" fmla="*/ 365760 h 4785630"/>
                <a:gd name="connsiteX10" fmla="*/ 1531620 w 5257800"/>
                <a:gd name="connsiteY10" fmla="*/ 297180 h 4785630"/>
                <a:gd name="connsiteX11" fmla="*/ 1584960 w 5257800"/>
                <a:gd name="connsiteY11" fmla="*/ 327660 h 4785630"/>
                <a:gd name="connsiteX12" fmla="*/ 1714500 w 5257800"/>
                <a:gd name="connsiteY12" fmla="*/ 274320 h 4785630"/>
                <a:gd name="connsiteX13" fmla="*/ 1684020 w 5257800"/>
                <a:gd name="connsiteY13" fmla="*/ 114300 h 4785630"/>
                <a:gd name="connsiteX14" fmla="*/ 2087880 w 5257800"/>
                <a:gd name="connsiteY14" fmla="*/ 0 h 4785630"/>
                <a:gd name="connsiteX15" fmla="*/ 2133600 w 5257800"/>
                <a:gd name="connsiteY15" fmla="*/ 160020 h 4785630"/>
                <a:gd name="connsiteX16" fmla="*/ 2385060 w 5257800"/>
                <a:gd name="connsiteY16" fmla="*/ 106680 h 4785630"/>
                <a:gd name="connsiteX17" fmla="*/ 2644140 w 5257800"/>
                <a:gd name="connsiteY17" fmla="*/ 99060 h 4785630"/>
                <a:gd name="connsiteX18" fmla="*/ 2971800 w 5257800"/>
                <a:gd name="connsiteY18" fmla="*/ 152400 h 4785630"/>
                <a:gd name="connsiteX19" fmla="*/ 3299460 w 5257800"/>
                <a:gd name="connsiteY19" fmla="*/ 251460 h 4785630"/>
                <a:gd name="connsiteX20" fmla="*/ 3665220 w 5257800"/>
                <a:gd name="connsiteY20" fmla="*/ 464820 h 4785630"/>
                <a:gd name="connsiteX21" fmla="*/ 3954780 w 5257800"/>
                <a:gd name="connsiteY21" fmla="*/ 723900 h 4785630"/>
                <a:gd name="connsiteX22" fmla="*/ 4465320 w 5257800"/>
                <a:gd name="connsiteY22" fmla="*/ 1280160 h 4785630"/>
                <a:gd name="connsiteX23" fmla="*/ 4495800 w 5257800"/>
                <a:gd name="connsiteY23" fmla="*/ 1287780 h 4785630"/>
                <a:gd name="connsiteX24" fmla="*/ 4678680 w 5257800"/>
                <a:gd name="connsiteY24" fmla="*/ 1463040 h 4785630"/>
                <a:gd name="connsiteX25" fmla="*/ 4663440 w 5257800"/>
                <a:gd name="connsiteY25" fmla="*/ 1524000 h 4785630"/>
                <a:gd name="connsiteX26" fmla="*/ 4914900 w 5257800"/>
                <a:gd name="connsiteY26" fmla="*/ 1821180 h 4785630"/>
                <a:gd name="connsiteX27" fmla="*/ 5105400 w 5257800"/>
                <a:gd name="connsiteY27" fmla="*/ 2217420 h 4785630"/>
                <a:gd name="connsiteX28" fmla="*/ 5227320 w 5257800"/>
                <a:gd name="connsiteY28" fmla="*/ 2636520 h 4785630"/>
                <a:gd name="connsiteX29" fmla="*/ 5257800 w 5257800"/>
                <a:gd name="connsiteY29" fmla="*/ 3086100 h 4785630"/>
                <a:gd name="connsiteX30" fmla="*/ 5204460 w 5257800"/>
                <a:gd name="connsiteY30" fmla="*/ 3611880 h 4785630"/>
                <a:gd name="connsiteX31" fmla="*/ 4958901 w 5257800"/>
                <a:gd name="connsiteY31" fmla="*/ 4553471 h 4785630"/>
                <a:gd name="connsiteX32" fmla="*/ 4905544 w 5257800"/>
                <a:gd name="connsiteY32" fmla="*/ 4785630 h 4785630"/>
                <a:gd name="connsiteX33" fmla="*/ 4382946 w 5257800"/>
                <a:gd name="connsiteY33" fmla="*/ 4574791 h 4785630"/>
                <a:gd name="connsiteX34" fmla="*/ 4693920 w 5257800"/>
                <a:gd name="connsiteY34" fmla="*/ 3261360 h 4785630"/>
                <a:gd name="connsiteX35" fmla="*/ 4701540 w 5257800"/>
                <a:gd name="connsiteY35" fmla="*/ 2834640 h 4785630"/>
                <a:gd name="connsiteX36" fmla="*/ 4579620 w 5257800"/>
                <a:gd name="connsiteY36" fmla="*/ 2415540 h 4785630"/>
                <a:gd name="connsiteX37" fmla="*/ 4373880 w 5257800"/>
                <a:gd name="connsiteY37" fmla="*/ 2057400 h 4785630"/>
                <a:gd name="connsiteX38" fmla="*/ 3429000 w 5257800"/>
                <a:gd name="connsiteY38" fmla="*/ 1013460 h 4785630"/>
                <a:gd name="connsiteX39" fmla="*/ 3192780 w 5257800"/>
                <a:gd name="connsiteY39" fmla="*/ 853440 h 4785630"/>
                <a:gd name="connsiteX40" fmla="*/ 2910840 w 5257800"/>
                <a:gd name="connsiteY40" fmla="*/ 739140 h 4785630"/>
                <a:gd name="connsiteX41" fmla="*/ 2514600 w 5257800"/>
                <a:gd name="connsiteY41" fmla="*/ 693420 h 4785630"/>
                <a:gd name="connsiteX42" fmla="*/ 2232660 w 5257800"/>
                <a:gd name="connsiteY42" fmla="*/ 739140 h 4785630"/>
                <a:gd name="connsiteX43" fmla="*/ 1234440 w 5257800"/>
                <a:gd name="connsiteY43" fmla="*/ 1059180 h 4785630"/>
                <a:gd name="connsiteX44" fmla="*/ 960120 w 5257800"/>
                <a:gd name="connsiteY44" fmla="*/ 1165860 h 4785630"/>
                <a:gd name="connsiteX45" fmla="*/ 815340 w 5257800"/>
                <a:gd name="connsiteY45" fmla="*/ 1257300 h 4785630"/>
                <a:gd name="connsiteX46" fmla="*/ 0 w 5257800"/>
                <a:gd name="connsiteY46" fmla="*/ 1234440 h 4785630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63073 w 5257800"/>
                <a:gd name="connsiteY31" fmla="*/ 4847915 h 4847915"/>
                <a:gd name="connsiteX32" fmla="*/ 4905544 w 5257800"/>
                <a:gd name="connsiteY32" fmla="*/ 4785630 h 4847915"/>
                <a:gd name="connsiteX33" fmla="*/ 4382946 w 5257800"/>
                <a:gd name="connsiteY33" fmla="*/ 4574791 h 4847915"/>
                <a:gd name="connsiteX34" fmla="*/ 4693920 w 5257800"/>
                <a:gd name="connsiteY34" fmla="*/ 3261360 h 4847915"/>
                <a:gd name="connsiteX35" fmla="*/ 4701540 w 5257800"/>
                <a:gd name="connsiteY35" fmla="*/ 2834640 h 4847915"/>
                <a:gd name="connsiteX36" fmla="*/ 4579620 w 5257800"/>
                <a:gd name="connsiteY36" fmla="*/ 2415540 h 4847915"/>
                <a:gd name="connsiteX37" fmla="*/ 4373880 w 5257800"/>
                <a:gd name="connsiteY37" fmla="*/ 2057400 h 4847915"/>
                <a:gd name="connsiteX38" fmla="*/ 3429000 w 5257800"/>
                <a:gd name="connsiteY38" fmla="*/ 1013460 h 4847915"/>
                <a:gd name="connsiteX39" fmla="*/ 3192780 w 5257800"/>
                <a:gd name="connsiteY39" fmla="*/ 853440 h 4847915"/>
                <a:gd name="connsiteX40" fmla="*/ 2910840 w 5257800"/>
                <a:gd name="connsiteY40" fmla="*/ 739140 h 4847915"/>
                <a:gd name="connsiteX41" fmla="*/ 2514600 w 5257800"/>
                <a:gd name="connsiteY41" fmla="*/ 693420 h 4847915"/>
                <a:gd name="connsiteX42" fmla="*/ 2232660 w 5257800"/>
                <a:gd name="connsiteY42" fmla="*/ 739140 h 4847915"/>
                <a:gd name="connsiteX43" fmla="*/ 1234440 w 5257800"/>
                <a:gd name="connsiteY43" fmla="*/ 1059180 h 4847915"/>
                <a:gd name="connsiteX44" fmla="*/ 960120 w 5257800"/>
                <a:gd name="connsiteY44" fmla="*/ 1165860 h 4847915"/>
                <a:gd name="connsiteX45" fmla="*/ 815340 w 5257800"/>
                <a:gd name="connsiteY45" fmla="*/ 1257300 h 4847915"/>
                <a:gd name="connsiteX46" fmla="*/ 0 w 5257800"/>
                <a:gd name="connsiteY46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132522 w 5257800"/>
                <a:gd name="connsiteY31" fmla="*/ 4173543 h 4847915"/>
                <a:gd name="connsiteX32" fmla="*/ 5063073 w 5257800"/>
                <a:gd name="connsiteY32" fmla="*/ 4847915 h 4847915"/>
                <a:gd name="connsiteX33" fmla="*/ 4905544 w 5257800"/>
                <a:gd name="connsiteY33" fmla="*/ 4785630 h 4847915"/>
                <a:gd name="connsiteX34" fmla="*/ 4382946 w 5257800"/>
                <a:gd name="connsiteY34" fmla="*/ 4574791 h 4847915"/>
                <a:gd name="connsiteX35" fmla="*/ 4693920 w 5257800"/>
                <a:gd name="connsiteY35" fmla="*/ 3261360 h 4847915"/>
                <a:gd name="connsiteX36" fmla="*/ 4701540 w 5257800"/>
                <a:gd name="connsiteY36" fmla="*/ 2834640 h 4847915"/>
                <a:gd name="connsiteX37" fmla="*/ 4579620 w 5257800"/>
                <a:gd name="connsiteY37" fmla="*/ 2415540 h 4847915"/>
                <a:gd name="connsiteX38" fmla="*/ 4373880 w 5257800"/>
                <a:gd name="connsiteY38" fmla="*/ 2057400 h 4847915"/>
                <a:gd name="connsiteX39" fmla="*/ 3429000 w 5257800"/>
                <a:gd name="connsiteY39" fmla="*/ 1013460 h 4847915"/>
                <a:gd name="connsiteX40" fmla="*/ 3192780 w 5257800"/>
                <a:gd name="connsiteY40" fmla="*/ 853440 h 4847915"/>
                <a:gd name="connsiteX41" fmla="*/ 2910840 w 5257800"/>
                <a:gd name="connsiteY41" fmla="*/ 739140 h 4847915"/>
                <a:gd name="connsiteX42" fmla="*/ 2514600 w 5257800"/>
                <a:gd name="connsiteY42" fmla="*/ 693420 h 4847915"/>
                <a:gd name="connsiteX43" fmla="*/ 2232660 w 5257800"/>
                <a:gd name="connsiteY43" fmla="*/ 739140 h 4847915"/>
                <a:gd name="connsiteX44" fmla="*/ 1234440 w 5257800"/>
                <a:gd name="connsiteY44" fmla="*/ 1059180 h 4847915"/>
                <a:gd name="connsiteX45" fmla="*/ 960120 w 5257800"/>
                <a:gd name="connsiteY45" fmla="*/ 1165860 h 4847915"/>
                <a:gd name="connsiteX46" fmla="*/ 815340 w 5257800"/>
                <a:gd name="connsiteY46" fmla="*/ 1257300 h 4847915"/>
                <a:gd name="connsiteX47" fmla="*/ 0 w 5257800"/>
                <a:gd name="connsiteY47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02306 w 5257800"/>
                <a:gd name="connsiteY31" fmla="*/ 4363507 h 4847915"/>
                <a:gd name="connsiteX32" fmla="*/ 5063073 w 5257800"/>
                <a:gd name="connsiteY32" fmla="*/ 4847915 h 4847915"/>
                <a:gd name="connsiteX33" fmla="*/ 4905544 w 5257800"/>
                <a:gd name="connsiteY33" fmla="*/ 4785630 h 4847915"/>
                <a:gd name="connsiteX34" fmla="*/ 4382946 w 5257800"/>
                <a:gd name="connsiteY34" fmla="*/ 4574791 h 4847915"/>
                <a:gd name="connsiteX35" fmla="*/ 4693920 w 5257800"/>
                <a:gd name="connsiteY35" fmla="*/ 3261360 h 4847915"/>
                <a:gd name="connsiteX36" fmla="*/ 4701540 w 5257800"/>
                <a:gd name="connsiteY36" fmla="*/ 2834640 h 4847915"/>
                <a:gd name="connsiteX37" fmla="*/ 4579620 w 5257800"/>
                <a:gd name="connsiteY37" fmla="*/ 2415540 h 4847915"/>
                <a:gd name="connsiteX38" fmla="*/ 4373880 w 5257800"/>
                <a:gd name="connsiteY38" fmla="*/ 2057400 h 4847915"/>
                <a:gd name="connsiteX39" fmla="*/ 3429000 w 5257800"/>
                <a:gd name="connsiteY39" fmla="*/ 1013460 h 4847915"/>
                <a:gd name="connsiteX40" fmla="*/ 3192780 w 5257800"/>
                <a:gd name="connsiteY40" fmla="*/ 853440 h 4847915"/>
                <a:gd name="connsiteX41" fmla="*/ 2910840 w 5257800"/>
                <a:gd name="connsiteY41" fmla="*/ 739140 h 4847915"/>
                <a:gd name="connsiteX42" fmla="*/ 2514600 w 5257800"/>
                <a:gd name="connsiteY42" fmla="*/ 693420 h 4847915"/>
                <a:gd name="connsiteX43" fmla="*/ 2232660 w 5257800"/>
                <a:gd name="connsiteY43" fmla="*/ 739140 h 4847915"/>
                <a:gd name="connsiteX44" fmla="*/ 1234440 w 5257800"/>
                <a:gd name="connsiteY44" fmla="*/ 1059180 h 4847915"/>
                <a:gd name="connsiteX45" fmla="*/ 960120 w 5257800"/>
                <a:gd name="connsiteY45" fmla="*/ 1165860 h 4847915"/>
                <a:gd name="connsiteX46" fmla="*/ 815340 w 5257800"/>
                <a:gd name="connsiteY46" fmla="*/ 1257300 h 4847915"/>
                <a:gd name="connsiteX47" fmla="*/ 0 w 5257800"/>
                <a:gd name="connsiteY47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02306 w 5257800"/>
                <a:gd name="connsiteY31" fmla="*/ 4363507 h 4847915"/>
                <a:gd name="connsiteX32" fmla="*/ 5010987 w 5257800"/>
                <a:gd name="connsiteY32" fmla="*/ 4600961 h 4847915"/>
                <a:gd name="connsiteX33" fmla="*/ 5063073 w 5257800"/>
                <a:gd name="connsiteY33" fmla="*/ 4847915 h 4847915"/>
                <a:gd name="connsiteX34" fmla="*/ 4905544 w 5257800"/>
                <a:gd name="connsiteY34" fmla="*/ 4785630 h 4847915"/>
                <a:gd name="connsiteX35" fmla="*/ 4382946 w 5257800"/>
                <a:gd name="connsiteY35" fmla="*/ 4574791 h 4847915"/>
                <a:gd name="connsiteX36" fmla="*/ 4693920 w 5257800"/>
                <a:gd name="connsiteY36" fmla="*/ 3261360 h 4847915"/>
                <a:gd name="connsiteX37" fmla="*/ 4701540 w 5257800"/>
                <a:gd name="connsiteY37" fmla="*/ 2834640 h 4847915"/>
                <a:gd name="connsiteX38" fmla="*/ 4579620 w 5257800"/>
                <a:gd name="connsiteY38" fmla="*/ 2415540 h 4847915"/>
                <a:gd name="connsiteX39" fmla="*/ 4373880 w 5257800"/>
                <a:gd name="connsiteY39" fmla="*/ 2057400 h 4847915"/>
                <a:gd name="connsiteX40" fmla="*/ 3429000 w 5257800"/>
                <a:gd name="connsiteY40" fmla="*/ 1013460 h 4847915"/>
                <a:gd name="connsiteX41" fmla="*/ 3192780 w 5257800"/>
                <a:gd name="connsiteY41" fmla="*/ 853440 h 4847915"/>
                <a:gd name="connsiteX42" fmla="*/ 2910840 w 5257800"/>
                <a:gd name="connsiteY42" fmla="*/ 739140 h 4847915"/>
                <a:gd name="connsiteX43" fmla="*/ 2514600 w 5257800"/>
                <a:gd name="connsiteY43" fmla="*/ 693420 h 4847915"/>
                <a:gd name="connsiteX44" fmla="*/ 2232660 w 5257800"/>
                <a:gd name="connsiteY44" fmla="*/ 739140 h 4847915"/>
                <a:gd name="connsiteX45" fmla="*/ 1234440 w 5257800"/>
                <a:gd name="connsiteY45" fmla="*/ 1059180 h 4847915"/>
                <a:gd name="connsiteX46" fmla="*/ 960120 w 5257800"/>
                <a:gd name="connsiteY46" fmla="*/ 1165860 h 4847915"/>
                <a:gd name="connsiteX47" fmla="*/ 815340 w 5257800"/>
                <a:gd name="connsiteY47" fmla="*/ 1257300 h 4847915"/>
                <a:gd name="connsiteX48" fmla="*/ 0 w 5257800"/>
                <a:gd name="connsiteY48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02306 w 5257800"/>
                <a:gd name="connsiteY31" fmla="*/ 4363507 h 4847915"/>
                <a:gd name="connsiteX32" fmla="*/ 5132522 w 5257800"/>
                <a:gd name="connsiteY32" fmla="*/ 4429994 h 4847915"/>
                <a:gd name="connsiteX33" fmla="*/ 5063073 w 5257800"/>
                <a:gd name="connsiteY33" fmla="*/ 4847915 h 4847915"/>
                <a:gd name="connsiteX34" fmla="*/ 4905544 w 5257800"/>
                <a:gd name="connsiteY34" fmla="*/ 4785630 h 4847915"/>
                <a:gd name="connsiteX35" fmla="*/ 4382946 w 5257800"/>
                <a:gd name="connsiteY35" fmla="*/ 4574791 h 4847915"/>
                <a:gd name="connsiteX36" fmla="*/ 4693920 w 5257800"/>
                <a:gd name="connsiteY36" fmla="*/ 3261360 h 4847915"/>
                <a:gd name="connsiteX37" fmla="*/ 4701540 w 5257800"/>
                <a:gd name="connsiteY37" fmla="*/ 2834640 h 4847915"/>
                <a:gd name="connsiteX38" fmla="*/ 4579620 w 5257800"/>
                <a:gd name="connsiteY38" fmla="*/ 2415540 h 4847915"/>
                <a:gd name="connsiteX39" fmla="*/ 4373880 w 5257800"/>
                <a:gd name="connsiteY39" fmla="*/ 2057400 h 4847915"/>
                <a:gd name="connsiteX40" fmla="*/ 3429000 w 5257800"/>
                <a:gd name="connsiteY40" fmla="*/ 1013460 h 4847915"/>
                <a:gd name="connsiteX41" fmla="*/ 3192780 w 5257800"/>
                <a:gd name="connsiteY41" fmla="*/ 853440 h 4847915"/>
                <a:gd name="connsiteX42" fmla="*/ 2910840 w 5257800"/>
                <a:gd name="connsiteY42" fmla="*/ 739140 h 4847915"/>
                <a:gd name="connsiteX43" fmla="*/ 2514600 w 5257800"/>
                <a:gd name="connsiteY43" fmla="*/ 693420 h 4847915"/>
                <a:gd name="connsiteX44" fmla="*/ 2232660 w 5257800"/>
                <a:gd name="connsiteY44" fmla="*/ 739140 h 4847915"/>
                <a:gd name="connsiteX45" fmla="*/ 1234440 w 5257800"/>
                <a:gd name="connsiteY45" fmla="*/ 1059180 h 4847915"/>
                <a:gd name="connsiteX46" fmla="*/ 960120 w 5257800"/>
                <a:gd name="connsiteY46" fmla="*/ 1165860 h 4847915"/>
                <a:gd name="connsiteX47" fmla="*/ 815340 w 5257800"/>
                <a:gd name="connsiteY47" fmla="*/ 1257300 h 4847915"/>
                <a:gd name="connsiteX48" fmla="*/ 0 w 5257800"/>
                <a:gd name="connsiteY48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02306 w 5257800"/>
                <a:gd name="connsiteY31" fmla="*/ 4363507 h 4847915"/>
                <a:gd name="connsiteX32" fmla="*/ 5132522 w 5257800"/>
                <a:gd name="connsiteY32" fmla="*/ 4429994 h 4847915"/>
                <a:gd name="connsiteX33" fmla="*/ 5063073 w 5257800"/>
                <a:gd name="connsiteY33" fmla="*/ 4847915 h 4847915"/>
                <a:gd name="connsiteX34" fmla="*/ 4905544 w 5257800"/>
                <a:gd name="connsiteY34" fmla="*/ 4785630 h 4847915"/>
                <a:gd name="connsiteX35" fmla="*/ 4655065 w 5257800"/>
                <a:gd name="connsiteY35" fmla="*/ 4676947 h 4847915"/>
                <a:gd name="connsiteX36" fmla="*/ 4382946 w 5257800"/>
                <a:gd name="connsiteY36" fmla="*/ 4574791 h 4847915"/>
                <a:gd name="connsiteX37" fmla="*/ 4693920 w 5257800"/>
                <a:gd name="connsiteY37" fmla="*/ 3261360 h 4847915"/>
                <a:gd name="connsiteX38" fmla="*/ 4701540 w 5257800"/>
                <a:gd name="connsiteY38" fmla="*/ 2834640 h 4847915"/>
                <a:gd name="connsiteX39" fmla="*/ 4579620 w 5257800"/>
                <a:gd name="connsiteY39" fmla="*/ 2415540 h 4847915"/>
                <a:gd name="connsiteX40" fmla="*/ 4373880 w 5257800"/>
                <a:gd name="connsiteY40" fmla="*/ 2057400 h 4847915"/>
                <a:gd name="connsiteX41" fmla="*/ 3429000 w 5257800"/>
                <a:gd name="connsiteY41" fmla="*/ 1013460 h 4847915"/>
                <a:gd name="connsiteX42" fmla="*/ 3192780 w 5257800"/>
                <a:gd name="connsiteY42" fmla="*/ 853440 h 4847915"/>
                <a:gd name="connsiteX43" fmla="*/ 2910840 w 5257800"/>
                <a:gd name="connsiteY43" fmla="*/ 739140 h 4847915"/>
                <a:gd name="connsiteX44" fmla="*/ 2514600 w 5257800"/>
                <a:gd name="connsiteY44" fmla="*/ 693420 h 4847915"/>
                <a:gd name="connsiteX45" fmla="*/ 2232660 w 5257800"/>
                <a:gd name="connsiteY45" fmla="*/ 739140 h 4847915"/>
                <a:gd name="connsiteX46" fmla="*/ 1234440 w 5257800"/>
                <a:gd name="connsiteY46" fmla="*/ 1059180 h 4847915"/>
                <a:gd name="connsiteX47" fmla="*/ 960120 w 5257800"/>
                <a:gd name="connsiteY47" fmla="*/ 1165860 h 4847915"/>
                <a:gd name="connsiteX48" fmla="*/ 815340 w 5257800"/>
                <a:gd name="connsiteY48" fmla="*/ 1257300 h 4847915"/>
                <a:gd name="connsiteX49" fmla="*/ 0 w 5257800"/>
                <a:gd name="connsiteY49" fmla="*/ 1234440 h 4847915"/>
                <a:gd name="connsiteX0" fmla="*/ 0 w 5257800"/>
                <a:gd name="connsiteY0" fmla="*/ 1234440 h 5588772"/>
                <a:gd name="connsiteX1" fmla="*/ 213360 w 5257800"/>
                <a:gd name="connsiteY1" fmla="*/ 990600 h 5588772"/>
                <a:gd name="connsiteX2" fmla="*/ 457200 w 5257800"/>
                <a:gd name="connsiteY2" fmla="*/ 792480 h 5588772"/>
                <a:gd name="connsiteX3" fmla="*/ 685800 w 5257800"/>
                <a:gd name="connsiteY3" fmla="*/ 624840 h 5588772"/>
                <a:gd name="connsiteX4" fmla="*/ 929640 w 5257800"/>
                <a:gd name="connsiteY4" fmla="*/ 533400 h 5588772"/>
                <a:gd name="connsiteX5" fmla="*/ 891540 w 5257800"/>
                <a:gd name="connsiteY5" fmla="*/ 426720 h 5588772"/>
                <a:gd name="connsiteX6" fmla="*/ 1074420 w 5257800"/>
                <a:gd name="connsiteY6" fmla="*/ 358140 h 5588772"/>
                <a:gd name="connsiteX7" fmla="*/ 1120140 w 5257800"/>
                <a:gd name="connsiteY7" fmla="*/ 464820 h 5588772"/>
                <a:gd name="connsiteX8" fmla="*/ 1242060 w 5257800"/>
                <a:gd name="connsiteY8" fmla="*/ 434340 h 5588772"/>
                <a:gd name="connsiteX9" fmla="*/ 1272540 w 5257800"/>
                <a:gd name="connsiteY9" fmla="*/ 365760 h 5588772"/>
                <a:gd name="connsiteX10" fmla="*/ 1531620 w 5257800"/>
                <a:gd name="connsiteY10" fmla="*/ 297180 h 5588772"/>
                <a:gd name="connsiteX11" fmla="*/ 1584960 w 5257800"/>
                <a:gd name="connsiteY11" fmla="*/ 327660 h 5588772"/>
                <a:gd name="connsiteX12" fmla="*/ 1714500 w 5257800"/>
                <a:gd name="connsiteY12" fmla="*/ 274320 h 5588772"/>
                <a:gd name="connsiteX13" fmla="*/ 1684020 w 5257800"/>
                <a:gd name="connsiteY13" fmla="*/ 114300 h 5588772"/>
                <a:gd name="connsiteX14" fmla="*/ 2087880 w 5257800"/>
                <a:gd name="connsiteY14" fmla="*/ 0 h 5588772"/>
                <a:gd name="connsiteX15" fmla="*/ 2133600 w 5257800"/>
                <a:gd name="connsiteY15" fmla="*/ 160020 h 5588772"/>
                <a:gd name="connsiteX16" fmla="*/ 2385060 w 5257800"/>
                <a:gd name="connsiteY16" fmla="*/ 106680 h 5588772"/>
                <a:gd name="connsiteX17" fmla="*/ 2644140 w 5257800"/>
                <a:gd name="connsiteY17" fmla="*/ 99060 h 5588772"/>
                <a:gd name="connsiteX18" fmla="*/ 2971800 w 5257800"/>
                <a:gd name="connsiteY18" fmla="*/ 152400 h 5588772"/>
                <a:gd name="connsiteX19" fmla="*/ 3299460 w 5257800"/>
                <a:gd name="connsiteY19" fmla="*/ 251460 h 5588772"/>
                <a:gd name="connsiteX20" fmla="*/ 3665220 w 5257800"/>
                <a:gd name="connsiteY20" fmla="*/ 464820 h 5588772"/>
                <a:gd name="connsiteX21" fmla="*/ 3954780 w 5257800"/>
                <a:gd name="connsiteY21" fmla="*/ 723900 h 5588772"/>
                <a:gd name="connsiteX22" fmla="*/ 4465320 w 5257800"/>
                <a:gd name="connsiteY22" fmla="*/ 1280160 h 5588772"/>
                <a:gd name="connsiteX23" fmla="*/ 4495800 w 5257800"/>
                <a:gd name="connsiteY23" fmla="*/ 1287780 h 5588772"/>
                <a:gd name="connsiteX24" fmla="*/ 4678680 w 5257800"/>
                <a:gd name="connsiteY24" fmla="*/ 1463040 h 5588772"/>
                <a:gd name="connsiteX25" fmla="*/ 4663440 w 5257800"/>
                <a:gd name="connsiteY25" fmla="*/ 1524000 h 5588772"/>
                <a:gd name="connsiteX26" fmla="*/ 4914900 w 5257800"/>
                <a:gd name="connsiteY26" fmla="*/ 1821180 h 5588772"/>
                <a:gd name="connsiteX27" fmla="*/ 5105400 w 5257800"/>
                <a:gd name="connsiteY27" fmla="*/ 2217420 h 5588772"/>
                <a:gd name="connsiteX28" fmla="*/ 5227320 w 5257800"/>
                <a:gd name="connsiteY28" fmla="*/ 2636520 h 5588772"/>
                <a:gd name="connsiteX29" fmla="*/ 5257800 w 5257800"/>
                <a:gd name="connsiteY29" fmla="*/ 3086100 h 5588772"/>
                <a:gd name="connsiteX30" fmla="*/ 5204460 w 5257800"/>
                <a:gd name="connsiteY30" fmla="*/ 3611880 h 5588772"/>
                <a:gd name="connsiteX31" fmla="*/ 5002306 w 5257800"/>
                <a:gd name="connsiteY31" fmla="*/ 4363507 h 5588772"/>
                <a:gd name="connsiteX32" fmla="*/ 5132522 w 5257800"/>
                <a:gd name="connsiteY32" fmla="*/ 4429994 h 5588772"/>
                <a:gd name="connsiteX33" fmla="*/ 5063073 w 5257800"/>
                <a:gd name="connsiteY33" fmla="*/ 4847915 h 5588772"/>
                <a:gd name="connsiteX34" fmla="*/ 4905544 w 5257800"/>
                <a:gd name="connsiteY34" fmla="*/ 4785630 h 5588772"/>
                <a:gd name="connsiteX35" fmla="*/ 3595980 w 5257800"/>
                <a:gd name="connsiteY35" fmla="*/ 5588772 h 5588772"/>
                <a:gd name="connsiteX36" fmla="*/ 4382946 w 5257800"/>
                <a:gd name="connsiteY36" fmla="*/ 4574791 h 5588772"/>
                <a:gd name="connsiteX37" fmla="*/ 4693920 w 5257800"/>
                <a:gd name="connsiteY37" fmla="*/ 3261360 h 5588772"/>
                <a:gd name="connsiteX38" fmla="*/ 4701540 w 5257800"/>
                <a:gd name="connsiteY38" fmla="*/ 2834640 h 5588772"/>
                <a:gd name="connsiteX39" fmla="*/ 4579620 w 5257800"/>
                <a:gd name="connsiteY39" fmla="*/ 2415540 h 5588772"/>
                <a:gd name="connsiteX40" fmla="*/ 4373880 w 5257800"/>
                <a:gd name="connsiteY40" fmla="*/ 2057400 h 5588772"/>
                <a:gd name="connsiteX41" fmla="*/ 3429000 w 5257800"/>
                <a:gd name="connsiteY41" fmla="*/ 1013460 h 5588772"/>
                <a:gd name="connsiteX42" fmla="*/ 3192780 w 5257800"/>
                <a:gd name="connsiteY42" fmla="*/ 853440 h 5588772"/>
                <a:gd name="connsiteX43" fmla="*/ 2910840 w 5257800"/>
                <a:gd name="connsiteY43" fmla="*/ 739140 h 5588772"/>
                <a:gd name="connsiteX44" fmla="*/ 2514600 w 5257800"/>
                <a:gd name="connsiteY44" fmla="*/ 693420 h 5588772"/>
                <a:gd name="connsiteX45" fmla="*/ 2232660 w 5257800"/>
                <a:gd name="connsiteY45" fmla="*/ 739140 h 5588772"/>
                <a:gd name="connsiteX46" fmla="*/ 1234440 w 5257800"/>
                <a:gd name="connsiteY46" fmla="*/ 1059180 h 5588772"/>
                <a:gd name="connsiteX47" fmla="*/ 960120 w 5257800"/>
                <a:gd name="connsiteY47" fmla="*/ 1165860 h 5588772"/>
                <a:gd name="connsiteX48" fmla="*/ 815340 w 5257800"/>
                <a:gd name="connsiteY48" fmla="*/ 1257300 h 5588772"/>
                <a:gd name="connsiteX49" fmla="*/ 0 w 5257800"/>
                <a:gd name="connsiteY49" fmla="*/ 1234440 h 5588772"/>
                <a:gd name="connsiteX0" fmla="*/ 0 w 5257800"/>
                <a:gd name="connsiteY0" fmla="*/ 1234440 h 5588772"/>
                <a:gd name="connsiteX1" fmla="*/ 213360 w 5257800"/>
                <a:gd name="connsiteY1" fmla="*/ 990600 h 5588772"/>
                <a:gd name="connsiteX2" fmla="*/ 457200 w 5257800"/>
                <a:gd name="connsiteY2" fmla="*/ 792480 h 5588772"/>
                <a:gd name="connsiteX3" fmla="*/ 685800 w 5257800"/>
                <a:gd name="connsiteY3" fmla="*/ 624840 h 5588772"/>
                <a:gd name="connsiteX4" fmla="*/ 929640 w 5257800"/>
                <a:gd name="connsiteY4" fmla="*/ 533400 h 5588772"/>
                <a:gd name="connsiteX5" fmla="*/ 891540 w 5257800"/>
                <a:gd name="connsiteY5" fmla="*/ 426720 h 5588772"/>
                <a:gd name="connsiteX6" fmla="*/ 1074420 w 5257800"/>
                <a:gd name="connsiteY6" fmla="*/ 358140 h 5588772"/>
                <a:gd name="connsiteX7" fmla="*/ 1120140 w 5257800"/>
                <a:gd name="connsiteY7" fmla="*/ 464820 h 5588772"/>
                <a:gd name="connsiteX8" fmla="*/ 1242060 w 5257800"/>
                <a:gd name="connsiteY8" fmla="*/ 434340 h 5588772"/>
                <a:gd name="connsiteX9" fmla="*/ 1272540 w 5257800"/>
                <a:gd name="connsiteY9" fmla="*/ 365760 h 5588772"/>
                <a:gd name="connsiteX10" fmla="*/ 1531620 w 5257800"/>
                <a:gd name="connsiteY10" fmla="*/ 297180 h 5588772"/>
                <a:gd name="connsiteX11" fmla="*/ 1584960 w 5257800"/>
                <a:gd name="connsiteY11" fmla="*/ 327660 h 5588772"/>
                <a:gd name="connsiteX12" fmla="*/ 1714500 w 5257800"/>
                <a:gd name="connsiteY12" fmla="*/ 274320 h 5588772"/>
                <a:gd name="connsiteX13" fmla="*/ 1684020 w 5257800"/>
                <a:gd name="connsiteY13" fmla="*/ 114300 h 5588772"/>
                <a:gd name="connsiteX14" fmla="*/ 2087880 w 5257800"/>
                <a:gd name="connsiteY14" fmla="*/ 0 h 5588772"/>
                <a:gd name="connsiteX15" fmla="*/ 2133600 w 5257800"/>
                <a:gd name="connsiteY15" fmla="*/ 160020 h 5588772"/>
                <a:gd name="connsiteX16" fmla="*/ 2385060 w 5257800"/>
                <a:gd name="connsiteY16" fmla="*/ 106680 h 5588772"/>
                <a:gd name="connsiteX17" fmla="*/ 2644140 w 5257800"/>
                <a:gd name="connsiteY17" fmla="*/ 99060 h 5588772"/>
                <a:gd name="connsiteX18" fmla="*/ 2971800 w 5257800"/>
                <a:gd name="connsiteY18" fmla="*/ 152400 h 5588772"/>
                <a:gd name="connsiteX19" fmla="*/ 3299460 w 5257800"/>
                <a:gd name="connsiteY19" fmla="*/ 251460 h 5588772"/>
                <a:gd name="connsiteX20" fmla="*/ 3665220 w 5257800"/>
                <a:gd name="connsiteY20" fmla="*/ 464820 h 5588772"/>
                <a:gd name="connsiteX21" fmla="*/ 3954780 w 5257800"/>
                <a:gd name="connsiteY21" fmla="*/ 723900 h 5588772"/>
                <a:gd name="connsiteX22" fmla="*/ 4465320 w 5257800"/>
                <a:gd name="connsiteY22" fmla="*/ 1280160 h 5588772"/>
                <a:gd name="connsiteX23" fmla="*/ 4495800 w 5257800"/>
                <a:gd name="connsiteY23" fmla="*/ 1287780 h 5588772"/>
                <a:gd name="connsiteX24" fmla="*/ 4678680 w 5257800"/>
                <a:gd name="connsiteY24" fmla="*/ 1463040 h 5588772"/>
                <a:gd name="connsiteX25" fmla="*/ 4663440 w 5257800"/>
                <a:gd name="connsiteY25" fmla="*/ 1524000 h 5588772"/>
                <a:gd name="connsiteX26" fmla="*/ 4914900 w 5257800"/>
                <a:gd name="connsiteY26" fmla="*/ 1821180 h 5588772"/>
                <a:gd name="connsiteX27" fmla="*/ 5105400 w 5257800"/>
                <a:gd name="connsiteY27" fmla="*/ 2217420 h 5588772"/>
                <a:gd name="connsiteX28" fmla="*/ 5227320 w 5257800"/>
                <a:gd name="connsiteY28" fmla="*/ 2636520 h 5588772"/>
                <a:gd name="connsiteX29" fmla="*/ 5257800 w 5257800"/>
                <a:gd name="connsiteY29" fmla="*/ 3086100 h 5588772"/>
                <a:gd name="connsiteX30" fmla="*/ 5204460 w 5257800"/>
                <a:gd name="connsiteY30" fmla="*/ 3611880 h 5588772"/>
                <a:gd name="connsiteX31" fmla="*/ 5002306 w 5257800"/>
                <a:gd name="connsiteY31" fmla="*/ 4363507 h 5588772"/>
                <a:gd name="connsiteX32" fmla="*/ 5132522 w 5257800"/>
                <a:gd name="connsiteY32" fmla="*/ 4429994 h 5588772"/>
                <a:gd name="connsiteX33" fmla="*/ 5063073 w 5257800"/>
                <a:gd name="connsiteY33" fmla="*/ 4847915 h 5588772"/>
                <a:gd name="connsiteX34" fmla="*/ 4905544 w 5257800"/>
                <a:gd name="connsiteY34" fmla="*/ 4785630 h 5588772"/>
                <a:gd name="connsiteX35" fmla="*/ 4385953 w 5257800"/>
                <a:gd name="connsiteY35" fmla="*/ 5104365 h 5588772"/>
                <a:gd name="connsiteX36" fmla="*/ 3595980 w 5257800"/>
                <a:gd name="connsiteY36" fmla="*/ 5588772 h 5588772"/>
                <a:gd name="connsiteX37" fmla="*/ 4382946 w 5257800"/>
                <a:gd name="connsiteY37" fmla="*/ 4574791 h 5588772"/>
                <a:gd name="connsiteX38" fmla="*/ 4693920 w 5257800"/>
                <a:gd name="connsiteY38" fmla="*/ 3261360 h 5588772"/>
                <a:gd name="connsiteX39" fmla="*/ 4701540 w 5257800"/>
                <a:gd name="connsiteY39" fmla="*/ 2834640 h 5588772"/>
                <a:gd name="connsiteX40" fmla="*/ 4579620 w 5257800"/>
                <a:gd name="connsiteY40" fmla="*/ 2415540 h 5588772"/>
                <a:gd name="connsiteX41" fmla="*/ 4373880 w 5257800"/>
                <a:gd name="connsiteY41" fmla="*/ 2057400 h 5588772"/>
                <a:gd name="connsiteX42" fmla="*/ 3429000 w 5257800"/>
                <a:gd name="connsiteY42" fmla="*/ 1013460 h 5588772"/>
                <a:gd name="connsiteX43" fmla="*/ 3192780 w 5257800"/>
                <a:gd name="connsiteY43" fmla="*/ 853440 h 5588772"/>
                <a:gd name="connsiteX44" fmla="*/ 2910840 w 5257800"/>
                <a:gd name="connsiteY44" fmla="*/ 739140 h 5588772"/>
                <a:gd name="connsiteX45" fmla="*/ 2514600 w 5257800"/>
                <a:gd name="connsiteY45" fmla="*/ 693420 h 5588772"/>
                <a:gd name="connsiteX46" fmla="*/ 2232660 w 5257800"/>
                <a:gd name="connsiteY46" fmla="*/ 739140 h 5588772"/>
                <a:gd name="connsiteX47" fmla="*/ 1234440 w 5257800"/>
                <a:gd name="connsiteY47" fmla="*/ 1059180 h 5588772"/>
                <a:gd name="connsiteX48" fmla="*/ 960120 w 5257800"/>
                <a:gd name="connsiteY48" fmla="*/ 1165860 h 5588772"/>
                <a:gd name="connsiteX49" fmla="*/ 815340 w 5257800"/>
                <a:gd name="connsiteY49" fmla="*/ 1257300 h 5588772"/>
                <a:gd name="connsiteX50" fmla="*/ 0 w 5257800"/>
                <a:gd name="connsiteY50" fmla="*/ 1234440 h 5588772"/>
                <a:gd name="connsiteX0" fmla="*/ 0 w 5257800"/>
                <a:gd name="connsiteY0" fmla="*/ 1234440 h 6187157"/>
                <a:gd name="connsiteX1" fmla="*/ 213360 w 5257800"/>
                <a:gd name="connsiteY1" fmla="*/ 990600 h 6187157"/>
                <a:gd name="connsiteX2" fmla="*/ 457200 w 5257800"/>
                <a:gd name="connsiteY2" fmla="*/ 792480 h 6187157"/>
                <a:gd name="connsiteX3" fmla="*/ 685800 w 5257800"/>
                <a:gd name="connsiteY3" fmla="*/ 624840 h 6187157"/>
                <a:gd name="connsiteX4" fmla="*/ 929640 w 5257800"/>
                <a:gd name="connsiteY4" fmla="*/ 533400 h 6187157"/>
                <a:gd name="connsiteX5" fmla="*/ 891540 w 5257800"/>
                <a:gd name="connsiteY5" fmla="*/ 426720 h 6187157"/>
                <a:gd name="connsiteX6" fmla="*/ 1074420 w 5257800"/>
                <a:gd name="connsiteY6" fmla="*/ 358140 h 6187157"/>
                <a:gd name="connsiteX7" fmla="*/ 1120140 w 5257800"/>
                <a:gd name="connsiteY7" fmla="*/ 464820 h 6187157"/>
                <a:gd name="connsiteX8" fmla="*/ 1242060 w 5257800"/>
                <a:gd name="connsiteY8" fmla="*/ 434340 h 6187157"/>
                <a:gd name="connsiteX9" fmla="*/ 1272540 w 5257800"/>
                <a:gd name="connsiteY9" fmla="*/ 365760 h 6187157"/>
                <a:gd name="connsiteX10" fmla="*/ 1531620 w 5257800"/>
                <a:gd name="connsiteY10" fmla="*/ 297180 h 6187157"/>
                <a:gd name="connsiteX11" fmla="*/ 1584960 w 5257800"/>
                <a:gd name="connsiteY11" fmla="*/ 327660 h 6187157"/>
                <a:gd name="connsiteX12" fmla="*/ 1714500 w 5257800"/>
                <a:gd name="connsiteY12" fmla="*/ 274320 h 6187157"/>
                <a:gd name="connsiteX13" fmla="*/ 1684020 w 5257800"/>
                <a:gd name="connsiteY13" fmla="*/ 114300 h 6187157"/>
                <a:gd name="connsiteX14" fmla="*/ 2087880 w 5257800"/>
                <a:gd name="connsiteY14" fmla="*/ 0 h 6187157"/>
                <a:gd name="connsiteX15" fmla="*/ 2133600 w 5257800"/>
                <a:gd name="connsiteY15" fmla="*/ 160020 h 6187157"/>
                <a:gd name="connsiteX16" fmla="*/ 2385060 w 5257800"/>
                <a:gd name="connsiteY16" fmla="*/ 106680 h 6187157"/>
                <a:gd name="connsiteX17" fmla="*/ 2644140 w 5257800"/>
                <a:gd name="connsiteY17" fmla="*/ 99060 h 6187157"/>
                <a:gd name="connsiteX18" fmla="*/ 2971800 w 5257800"/>
                <a:gd name="connsiteY18" fmla="*/ 152400 h 6187157"/>
                <a:gd name="connsiteX19" fmla="*/ 3299460 w 5257800"/>
                <a:gd name="connsiteY19" fmla="*/ 251460 h 6187157"/>
                <a:gd name="connsiteX20" fmla="*/ 3665220 w 5257800"/>
                <a:gd name="connsiteY20" fmla="*/ 464820 h 6187157"/>
                <a:gd name="connsiteX21" fmla="*/ 3954780 w 5257800"/>
                <a:gd name="connsiteY21" fmla="*/ 723900 h 6187157"/>
                <a:gd name="connsiteX22" fmla="*/ 4465320 w 5257800"/>
                <a:gd name="connsiteY22" fmla="*/ 1280160 h 6187157"/>
                <a:gd name="connsiteX23" fmla="*/ 4495800 w 5257800"/>
                <a:gd name="connsiteY23" fmla="*/ 1287780 h 6187157"/>
                <a:gd name="connsiteX24" fmla="*/ 4678680 w 5257800"/>
                <a:gd name="connsiteY24" fmla="*/ 1463040 h 6187157"/>
                <a:gd name="connsiteX25" fmla="*/ 4663440 w 5257800"/>
                <a:gd name="connsiteY25" fmla="*/ 1524000 h 6187157"/>
                <a:gd name="connsiteX26" fmla="*/ 4914900 w 5257800"/>
                <a:gd name="connsiteY26" fmla="*/ 1821180 h 6187157"/>
                <a:gd name="connsiteX27" fmla="*/ 5105400 w 5257800"/>
                <a:gd name="connsiteY27" fmla="*/ 2217420 h 6187157"/>
                <a:gd name="connsiteX28" fmla="*/ 5227320 w 5257800"/>
                <a:gd name="connsiteY28" fmla="*/ 2636520 h 6187157"/>
                <a:gd name="connsiteX29" fmla="*/ 5257800 w 5257800"/>
                <a:gd name="connsiteY29" fmla="*/ 3086100 h 6187157"/>
                <a:gd name="connsiteX30" fmla="*/ 5204460 w 5257800"/>
                <a:gd name="connsiteY30" fmla="*/ 3611880 h 6187157"/>
                <a:gd name="connsiteX31" fmla="*/ 5002306 w 5257800"/>
                <a:gd name="connsiteY31" fmla="*/ 4363507 h 6187157"/>
                <a:gd name="connsiteX32" fmla="*/ 5132522 w 5257800"/>
                <a:gd name="connsiteY32" fmla="*/ 4429994 h 6187157"/>
                <a:gd name="connsiteX33" fmla="*/ 5063073 w 5257800"/>
                <a:gd name="connsiteY33" fmla="*/ 4847915 h 6187157"/>
                <a:gd name="connsiteX34" fmla="*/ 4905544 w 5257800"/>
                <a:gd name="connsiteY34" fmla="*/ 4785630 h 6187157"/>
                <a:gd name="connsiteX35" fmla="*/ 3743556 w 5257800"/>
                <a:gd name="connsiteY35" fmla="*/ 6187157 h 6187157"/>
                <a:gd name="connsiteX36" fmla="*/ 3595980 w 5257800"/>
                <a:gd name="connsiteY36" fmla="*/ 5588772 h 6187157"/>
                <a:gd name="connsiteX37" fmla="*/ 4382946 w 5257800"/>
                <a:gd name="connsiteY37" fmla="*/ 4574791 h 6187157"/>
                <a:gd name="connsiteX38" fmla="*/ 4693920 w 5257800"/>
                <a:gd name="connsiteY38" fmla="*/ 3261360 h 6187157"/>
                <a:gd name="connsiteX39" fmla="*/ 4701540 w 5257800"/>
                <a:gd name="connsiteY39" fmla="*/ 2834640 h 6187157"/>
                <a:gd name="connsiteX40" fmla="*/ 4579620 w 5257800"/>
                <a:gd name="connsiteY40" fmla="*/ 2415540 h 6187157"/>
                <a:gd name="connsiteX41" fmla="*/ 4373880 w 5257800"/>
                <a:gd name="connsiteY41" fmla="*/ 2057400 h 6187157"/>
                <a:gd name="connsiteX42" fmla="*/ 3429000 w 5257800"/>
                <a:gd name="connsiteY42" fmla="*/ 1013460 h 6187157"/>
                <a:gd name="connsiteX43" fmla="*/ 3192780 w 5257800"/>
                <a:gd name="connsiteY43" fmla="*/ 853440 h 6187157"/>
                <a:gd name="connsiteX44" fmla="*/ 2910840 w 5257800"/>
                <a:gd name="connsiteY44" fmla="*/ 739140 h 6187157"/>
                <a:gd name="connsiteX45" fmla="*/ 2514600 w 5257800"/>
                <a:gd name="connsiteY45" fmla="*/ 693420 h 6187157"/>
                <a:gd name="connsiteX46" fmla="*/ 2232660 w 5257800"/>
                <a:gd name="connsiteY46" fmla="*/ 739140 h 6187157"/>
                <a:gd name="connsiteX47" fmla="*/ 1234440 w 5257800"/>
                <a:gd name="connsiteY47" fmla="*/ 1059180 h 6187157"/>
                <a:gd name="connsiteX48" fmla="*/ 960120 w 5257800"/>
                <a:gd name="connsiteY48" fmla="*/ 1165860 h 6187157"/>
                <a:gd name="connsiteX49" fmla="*/ 815340 w 5257800"/>
                <a:gd name="connsiteY49" fmla="*/ 1257300 h 6187157"/>
                <a:gd name="connsiteX50" fmla="*/ 0 w 5257800"/>
                <a:gd name="connsiteY50" fmla="*/ 1234440 h 6187157"/>
                <a:gd name="connsiteX0" fmla="*/ 0 w 5257800"/>
                <a:gd name="connsiteY0" fmla="*/ 1234440 h 6187157"/>
                <a:gd name="connsiteX1" fmla="*/ 213360 w 5257800"/>
                <a:gd name="connsiteY1" fmla="*/ 990600 h 6187157"/>
                <a:gd name="connsiteX2" fmla="*/ 457200 w 5257800"/>
                <a:gd name="connsiteY2" fmla="*/ 792480 h 6187157"/>
                <a:gd name="connsiteX3" fmla="*/ 685800 w 5257800"/>
                <a:gd name="connsiteY3" fmla="*/ 624840 h 6187157"/>
                <a:gd name="connsiteX4" fmla="*/ 929640 w 5257800"/>
                <a:gd name="connsiteY4" fmla="*/ 533400 h 6187157"/>
                <a:gd name="connsiteX5" fmla="*/ 891540 w 5257800"/>
                <a:gd name="connsiteY5" fmla="*/ 426720 h 6187157"/>
                <a:gd name="connsiteX6" fmla="*/ 1074420 w 5257800"/>
                <a:gd name="connsiteY6" fmla="*/ 358140 h 6187157"/>
                <a:gd name="connsiteX7" fmla="*/ 1120140 w 5257800"/>
                <a:gd name="connsiteY7" fmla="*/ 464820 h 6187157"/>
                <a:gd name="connsiteX8" fmla="*/ 1242060 w 5257800"/>
                <a:gd name="connsiteY8" fmla="*/ 434340 h 6187157"/>
                <a:gd name="connsiteX9" fmla="*/ 1272540 w 5257800"/>
                <a:gd name="connsiteY9" fmla="*/ 365760 h 6187157"/>
                <a:gd name="connsiteX10" fmla="*/ 1531620 w 5257800"/>
                <a:gd name="connsiteY10" fmla="*/ 297180 h 6187157"/>
                <a:gd name="connsiteX11" fmla="*/ 1584960 w 5257800"/>
                <a:gd name="connsiteY11" fmla="*/ 327660 h 6187157"/>
                <a:gd name="connsiteX12" fmla="*/ 1714500 w 5257800"/>
                <a:gd name="connsiteY12" fmla="*/ 274320 h 6187157"/>
                <a:gd name="connsiteX13" fmla="*/ 1684020 w 5257800"/>
                <a:gd name="connsiteY13" fmla="*/ 114300 h 6187157"/>
                <a:gd name="connsiteX14" fmla="*/ 2087880 w 5257800"/>
                <a:gd name="connsiteY14" fmla="*/ 0 h 6187157"/>
                <a:gd name="connsiteX15" fmla="*/ 2133600 w 5257800"/>
                <a:gd name="connsiteY15" fmla="*/ 160020 h 6187157"/>
                <a:gd name="connsiteX16" fmla="*/ 2385060 w 5257800"/>
                <a:gd name="connsiteY16" fmla="*/ 106680 h 6187157"/>
                <a:gd name="connsiteX17" fmla="*/ 2644140 w 5257800"/>
                <a:gd name="connsiteY17" fmla="*/ 99060 h 6187157"/>
                <a:gd name="connsiteX18" fmla="*/ 2971800 w 5257800"/>
                <a:gd name="connsiteY18" fmla="*/ 152400 h 6187157"/>
                <a:gd name="connsiteX19" fmla="*/ 3299460 w 5257800"/>
                <a:gd name="connsiteY19" fmla="*/ 251460 h 6187157"/>
                <a:gd name="connsiteX20" fmla="*/ 3665220 w 5257800"/>
                <a:gd name="connsiteY20" fmla="*/ 464820 h 6187157"/>
                <a:gd name="connsiteX21" fmla="*/ 3954780 w 5257800"/>
                <a:gd name="connsiteY21" fmla="*/ 723900 h 6187157"/>
                <a:gd name="connsiteX22" fmla="*/ 4465320 w 5257800"/>
                <a:gd name="connsiteY22" fmla="*/ 1280160 h 6187157"/>
                <a:gd name="connsiteX23" fmla="*/ 4495800 w 5257800"/>
                <a:gd name="connsiteY23" fmla="*/ 1287780 h 6187157"/>
                <a:gd name="connsiteX24" fmla="*/ 4678680 w 5257800"/>
                <a:gd name="connsiteY24" fmla="*/ 1463040 h 6187157"/>
                <a:gd name="connsiteX25" fmla="*/ 4663440 w 5257800"/>
                <a:gd name="connsiteY25" fmla="*/ 1524000 h 6187157"/>
                <a:gd name="connsiteX26" fmla="*/ 4914900 w 5257800"/>
                <a:gd name="connsiteY26" fmla="*/ 1821180 h 6187157"/>
                <a:gd name="connsiteX27" fmla="*/ 5105400 w 5257800"/>
                <a:gd name="connsiteY27" fmla="*/ 2217420 h 6187157"/>
                <a:gd name="connsiteX28" fmla="*/ 5227320 w 5257800"/>
                <a:gd name="connsiteY28" fmla="*/ 2636520 h 6187157"/>
                <a:gd name="connsiteX29" fmla="*/ 5257800 w 5257800"/>
                <a:gd name="connsiteY29" fmla="*/ 3086100 h 6187157"/>
                <a:gd name="connsiteX30" fmla="*/ 5204460 w 5257800"/>
                <a:gd name="connsiteY30" fmla="*/ 3611880 h 6187157"/>
                <a:gd name="connsiteX31" fmla="*/ 5002306 w 5257800"/>
                <a:gd name="connsiteY31" fmla="*/ 4363507 h 6187157"/>
                <a:gd name="connsiteX32" fmla="*/ 5132522 w 5257800"/>
                <a:gd name="connsiteY32" fmla="*/ 4429994 h 6187157"/>
                <a:gd name="connsiteX33" fmla="*/ 5063073 w 5257800"/>
                <a:gd name="connsiteY33" fmla="*/ 4847915 h 6187157"/>
                <a:gd name="connsiteX34" fmla="*/ 4905544 w 5257800"/>
                <a:gd name="connsiteY34" fmla="*/ 4785630 h 6187157"/>
                <a:gd name="connsiteX35" fmla="*/ 3743556 w 5257800"/>
                <a:gd name="connsiteY35" fmla="*/ 6187157 h 6187157"/>
                <a:gd name="connsiteX36" fmla="*/ 3595980 w 5257800"/>
                <a:gd name="connsiteY36" fmla="*/ 5588772 h 6187157"/>
                <a:gd name="connsiteX37" fmla="*/ 4382946 w 5257800"/>
                <a:gd name="connsiteY37" fmla="*/ 4574791 h 6187157"/>
                <a:gd name="connsiteX38" fmla="*/ 4693920 w 5257800"/>
                <a:gd name="connsiteY38" fmla="*/ 3261360 h 6187157"/>
                <a:gd name="connsiteX39" fmla="*/ 4701540 w 5257800"/>
                <a:gd name="connsiteY39" fmla="*/ 2834640 h 6187157"/>
                <a:gd name="connsiteX40" fmla="*/ 4579620 w 5257800"/>
                <a:gd name="connsiteY40" fmla="*/ 2415540 h 6187157"/>
                <a:gd name="connsiteX41" fmla="*/ 4373880 w 5257800"/>
                <a:gd name="connsiteY41" fmla="*/ 2057400 h 6187157"/>
                <a:gd name="connsiteX42" fmla="*/ 3429000 w 5257800"/>
                <a:gd name="connsiteY42" fmla="*/ 1013460 h 6187157"/>
                <a:gd name="connsiteX43" fmla="*/ 3192780 w 5257800"/>
                <a:gd name="connsiteY43" fmla="*/ 853440 h 6187157"/>
                <a:gd name="connsiteX44" fmla="*/ 2910840 w 5257800"/>
                <a:gd name="connsiteY44" fmla="*/ 739140 h 6187157"/>
                <a:gd name="connsiteX45" fmla="*/ 2514600 w 5257800"/>
                <a:gd name="connsiteY45" fmla="*/ 693420 h 6187157"/>
                <a:gd name="connsiteX46" fmla="*/ 2232660 w 5257800"/>
                <a:gd name="connsiteY46" fmla="*/ 739140 h 6187157"/>
                <a:gd name="connsiteX47" fmla="*/ 1234440 w 5257800"/>
                <a:gd name="connsiteY47" fmla="*/ 1059180 h 6187157"/>
                <a:gd name="connsiteX48" fmla="*/ 960120 w 5257800"/>
                <a:gd name="connsiteY48" fmla="*/ 1165860 h 6187157"/>
                <a:gd name="connsiteX49" fmla="*/ 815340 w 5257800"/>
                <a:gd name="connsiteY49" fmla="*/ 1257300 h 6187157"/>
                <a:gd name="connsiteX50" fmla="*/ 0 w 5257800"/>
                <a:gd name="connsiteY50" fmla="*/ 1234440 h 6187157"/>
                <a:gd name="connsiteX0" fmla="*/ 0 w 5257800"/>
                <a:gd name="connsiteY0" fmla="*/ 1234440 h 6187157"/>
                <a:gd name="connsiteX1" fmla="*/ 213360 w 5257800"/>
                <a:gd name="connsiteY1" fmla="*/ 990600 h 6187157"/>
                <a:gd name="connsiteX2" fmla="*/ 457200 w 5257800"/>
                <a:gd name="connsiteY2" fmla="*/ 792480 h 6187157"/>
                <a:gd name="connsiteX3" fmla="*/ 685800 w 5257800"/>
                <a:gd name="connsiteY3" fmla="*/ 624840 h 6187157"/>
                <a:gd name="connsiteX4" fmla="*/ 929640 w 5257800"/>
                <a:gd name="connsiteY4" fmla="*/ 533400 h 6187157"/>
                <a:gd name="connsiteX5" fmla="*/ 891540 w 5257800"/>
                <a:gd name="connsiteY5" fmla="*/ 426720 h 6187157"/>
                <a:gd name="connsiteX6" fmla="*/ 1074420 w 5257800"/>
                <a:gd name="connsiteY6" fmla="*/ 358140 h 6187157"/>
                <a:gd name="connsiteX7" fmla="*/ 1120140 w 5257800"/>
                <a:gd name="connsiteY7" fmla="*/ 464820 h 6187157"/>
                <a:gd name="connsiteX8" fmla="*/ 1242060 w 5257800"/>
                <a:gd name="connsiteY8" fmla="*/ 434340 h 6187157"/>
                <a:gd name="connsiteX9" fmla="*/ 1272540 w 5257800"/>
                <a:gd name="connsiteY9" fmla="*/ 365760 h 6187157"/>
                <a:gd name="connsiteX10" fmla="*/ 1531620 w 5257800"/>
                <a:gd name="connsiteY10" fmla="*/ 297180 h 6187157"/>
                <a:gd name="connsiteX11" fmla="*/ 1584960 w 5257800"/>
                <a:gd name="connsiteY11" fmla="*/ 327660 h 6187157"/>
                <a:gd name="connsiteX12" fmla="*/ 1714500 w 5257800"/>
                <a:gd name="connsiteY12" fmla="*/ 274320 h 6187157"/>
                <a:gd name="connsiteX13" fmla="*/ 1684020 w 5257800"/>
                <a:gd name="connsiteY13" fmla="*/ 114300 h 6187157"/>
                <a:gd name="connsiteX14" fmla="*/ 2087880 w 5257800"/>
                <a:gd name="connsiteY14" fmla="*/ 0 h 6187157"/>
                <a:gd name="connsiteX15" fmla="*/ 2133600 w 5257800"/>
                <a:gd name="connsiteY15" fmla="*/ 160020 h 6187157"/>
                <a:gd name="connsiteX16" fmla="*/ 2385060 w 5257800"/>
                <a:gd name="connsiteY16" fmla="*/ 106680 h 6187157"/>
                <a:gd name="connsiteX17" fmla="*/ 2644140 w 5257800"/>
                <a:gd name="connsiteY17" fmla="*/ 99060 h 6187157"/>
                <a:gd name="connsiteX18" fmla="*/ 2971800 w 5257800"/>
                <a:gd name="connsiteY18" fmla="*/ 152400 h 6187157"/>
                <a:gd name="connsiteX19" fmla="*/ 3299460 w 5257800"/>
                <a:gd name="connsiteY19" fmla="*/ 251460 h 6187157"/>
                <a:gd name="connsiteX20" fmla="*/ 3665220 w 5257800"/>
                <a:gd name="connsiteY20" fmla="*/ 464820 h 6187157"/>
                <a:gd name="connsiteX21" fmla="*/ 3954780 w 5257800"/>
                <a:gd name="connsiteY21" fmla="*/ 723900 h 6187157"/>
                <a:gd name="connsiteX22" fmla="*/ 4465320 w 5257800"/>
                <a:gd name="connsiteY22" fmla="*/ 1280160 h 6187157"/>
                <a:gd name="connsiteX23" fmla="*/ 4495800 w 5257800"/>
                <a:gd name="connsiteY23" fmla="*/ 1287780 h 6187157"/>
                <a:gd name="connsiteX24" fmla="*/ 4678680 w 5257800"/>
                <a:gd name="connsiteY24" fmla="*/ 1463040 h 6187157"/>
                <a:gd name="connsiteX25" fmla="*/ 4663440 w 5257800"/>
                <a:gd name="connsiteY25" fmla="*/ 1524000 h 6187157"/>
                <a:gd name="connsiteX26" fmla="*/ 4914900 w 5257800"/>
                <a:gd name="connsiteY26" fmla="*/ 1821180 h 6187157"/>
                <a:gd name="connsiteX27" fmla="*/ 5105400 w 5257800"/>
                <a:gd name="connsiteY27" fmla="*/ 2217420 h 6187157"/>
                <a:gd name="connsiteX28" fmla="*/ 5227320 w 5257800"/>
                <a:gd name="connsiteY28" fmla="*/ 2636520 h 6187157"/>
                <a:gd name="connsiteX29" fmla="*/ 5257800 w 5257800"/>
                <a:gd name="connsiteY29" fmla="*/ 3086100 h 6187157"/>
                <a:gd name="connsiteX30" fmla="*/ 5204460 w 5257800"/>
                <a:gd name="connsiteY30" fmla="*/ 3611880 h 6187157"/>
                <a:gd name="connsiteX31" fmla="*/ 5002306 w 5257800"/>
                <a:gd name="connsiteY31" fmla="*/ 4363507 h 6187157"/>
                <a:gd name="connsiteX32" fmla="*/ 5132522 w 5257800"/>
                <a:gd name="connsiteY32" fmla="*/ 4429994 h 6187157"/>
                <a:gd name="connsiteX33" fmla="*/ 5063073 w 5257800"/>
                <a:gd name="connsiteY33" fmla="*/ 4847915 h 6187157"/>
                <a:gd name="connsiteX34" fmla="*/ 4905544 w 5257800"/>
                <a:gd name="connsiteY34" fmla="*/ 4785630 h 6187157"/>
                <a:gd name="connsiteX35" fmla="*/ 3743556 w 5257800"/>
                <a:gd name="connsiteY35" fmla="*/ 6187157 h 6187157"/>
                <a:gd name="connsiteX36" fmla="*/ 3595980 w 5257800"/>
                <a:gd name="connsiteY36" fmla="*/ 5588772 h 6187157"/>
                <a:gd name="connsiteX37" fmla="*/ 4382946 w 5257800"/>
                <a:gd name="connsiteY37" fmla="*/ 4574791 h 6187157"/>
                <a:gd name="connsiteX38" fmla="*/ 4693920 w 5257800"/>
                <a:gd name="connsiteY38" fmla="*/ 3261360 h 6187157"/>
                <a:gd name="connsiteX39" fmla="*/ 4701540 w 5257800"/>
                <a:gd name="connsiteY39" fmla="*/ 2834640 h 6187157"/>
                <a:gd name="connsiteX40" fmla="*/ 4579620 w 5257800"/>
                <a:gd name="connsiteY40" fmla="*/ 2415540 h 6187157"/>
                <a:gd name="connsiteX41" fmla="*/ 4373880 w 5257800"/>
                <a:gd name="connsiteY41" fmla="*/ 2057400 h 6187157"/>
                <a:gd name="connsiteX42" fmla="*/ 3429000 w 5257800"/>
                <a:gd name="connsiteY42" fmla="*/ 1013460 h 6187157"/>
                <a:gd name="connsiteX43" fmla="*/ 3192780 w 5257800"/>
                <a:gd name="connsiteY43" fmla="*/ 853440 h 6187157"/>
                <a:gd name="connsiteX44" fmla="*/ 2910840 w 5257800"/>
                <a:gd name="connsiteY44" fmla="*/ 739140 h 6187157"/>
                <a:gd name="connsiteX45" fmla="*/ 2514600 w 5257800"/>
                <a:gd name="connsiteY45" fmla="*/ 693420 h 6187157"/>
                <a:gd name="connsiteX46" fmla="*/ 2232660 w 5257800"/>
                <a:gd name="connsiteY46" fmla="*/ 739140 h 6187157"/>
                <a:gd name="connsiteX47" fmla="*/ 1234440 w 5257800"/>
                <a:gd name="connsiteY47" fmla="*/ 1059180 h 6187157"/>
                <a:gd name="connsiteX48" fmla="*/ 960120 w 5257800"/>
                <a:gd name="connsiteY48" fmla="*/ 1165860 h 6187157"/>
                <a:gd name="connsiteX49" fmla="*/ 815340 w 5257800"/>
                <a:gd name="connsiteY49" fmla="*/ 1257300 h 6187157"/>
                <a:gd name="connsiteX50" fmla="*/ 0 w 5257800"/>
                <a:gd name="connsiteY50" fmla="*/ 1234440 h 6187157"/>
                <a:gd name="connsiteX0" fmla="*/ 0 w 5257800"/>
                <a:gd name="connsiteY0" fmla="*/ 1234440 h 6187157"/>
                <a:gd name="connsiteX1" fmla="*/ 213360 w 5257800"/>
                <a:gd name="connsiteY1" fmla="*/ 990600 h 6187157"/>
                <a:gd name="connsiteX2" fmla="*/ 457200 w 5257800"/>
                <a:gd name="connsiteY2" fmla="*/ 792480 h 6187157"/>
                <a:gd name="connsiteX3" fmla="*/ 685800 w 5257800"/>
                <a:gd name="connsiteY3" fmla="*/ 624840 h 6187157"/>
                <a:gd name="connsiteX4" fmla="*/ 929640 w 5257800"/>
                <a:gd name="connsiteY4" fmla="*/ 533400 h 6187157"/>
                <a:gd name="connsiteX5" fmla="*/ 891540 w 5257800"/>
                <a:gd name="connsiteY5" fmla="*/ 426720 h 6187157"/>
                <a:gd name="connsiteX6" fmla="*/ 1074420 w 5257800"/>
                <a:gd name="connsiteY6" fmla="*/ 358140 h 6187157"/>
                <a:gd name="connsiteX7" fmla="*/ 1120140 w 5257800"/>
                <a:gd name="connsiteY7" fmla="*/ 464820 h 6187157"/>
                <a:gd name="connsiteX8" fmla="*/ 1242060 w 5257800"/>
                <a:gd name="connsiteY8" fmla="*/ 434340 h 6187157"/>
                <a:gd name="connsiteX9" fmla="*/ 1272540 w 5257800"/>
                <a:gd name="connsiteY9" fmla="*/ 365760 h 6187157"/>
                <a:gd name="connsiteX10" fmla="*/ 1531620 w 5257800"/>
                <a:gd name="connsiteY10" fmla="*/ 297180 h 6187157"/>
                <a:gd name="connsiteX11" fmla="*/ 1584960 w 5257800"/>
                <a:gd name="connsiteY11" fmla="*/ 327660 h 6187157"/>
                <a:gd name="connsiteX12" fmla="*/ 1714500 w 5257800"/>
                <a:gd name="connsiteY12" fmla="*/ 274320 h 6187157"/>
                <a:gd name="connsiteX13" fmla="*/ 1684020 w 5257800"/>
                <a:gd name="connsiteY13" fmla="*/ 114300 h 6187157"/>
                <a:gd name="connsiteX14" fmla="*/ 2087880 w 5257800"/>
                <a:gd name="connsiteY14" fmla="*/ 0 h 6187157"/>
                <a:gd name="connsiteX15" fmla="*/ 2133600 w 5257800"/>
                <a:gd name="connsiteY15" fmla="*/ 160020 h 6187157"/>
                <a:gd name="connsiteX16" fmla="*/ 2385060 w 5257800"/>
                <a:gd name="connsiteY16" fmla="*/ 106680 h 6187157"/>
                <a:gd name="connsiteX17" fmla="*/ 2644140 w 5257800"/>
                <a:gd name="connsiteY17" fmla="*/ 99060 h 6187157"/>
                <a:gd name="connsiteX18" fmla="*/ 2971800 w 5257800"/>
                <a:gd name="connsiteY18" fmla="*/ 152400 h 6187157"/>
                <a:gd name="connsiteX19" fmla="*/ 3299460 w 5257800"/>
                <a:gd name="connsiteY19" fmla="*/ 251460 h 6187157"/>
                <a:gd name="connsiteX20" fmla="*/ 3665220 w 5257800"/>
                <a:gd name="connsiteY20" fmla="*/ 464820 h 6187157"/>
                <a:gd name="connsiteX21" fmla="*/ 3954780 w 5257800"/>
                <a:gd name="connsiteY21" fmla="*/ 723900 h 6187157"/>
                <a:gd name="connsiteX22" fmla="*/ 4465320 w 5257800"/>
                <a:gd name="connsiteY22" fmla="*/ 1280160 h 6187157"/>
                <a:gd name="connsiteX23" fmla="*/ 4495800 w 5257800"/>
                <a:gd name="connsiteY23" fmla="*/ 1287780 h 6187157"/>
                <a:gd name="connsiteX24" fmla="*/ 4678680 w 5257800"/>
                <a:gd name="connsiteY24" fmla="*/ 1463040 h 6187157"/>
                <a:gd name="connsiteX25" fmla="*/ 4663440 w 5257800"/>
                <a:gd name="connsiteY25" fmla="*/ 1524000 h 6187157"/>
                <a:gd name="connsiteX26" fmla="*/ 4914900 w 5257800"/>
                <a:gd name="connsiteY26" fmla="*/ 1821180 h 6187157"/>
                <a:gd name="connsiteX27" fmla="*/ 5105400 w 5257800"/>
                <a:gd name="connsiteY27" fmla="*/ 2217420 h 6187157"/>
                <a:gd name="connsiteX28" fmla="*/ 5227320 w 5257800"/>
                <a:gd name="connsiteY28" fmla="*/ 2636520 h 6187157"/>
                <a:gd name="connsiteX29" fmla="*/ 5257800 w 5257800"/>
                <a:gd name="connsiteY29" fmla="*/ 3086100 h 6187157"/>
                <a:gd name="connsiteX30" fmla="*/ 5204460 w 5257800"/>
                <a:gd name="connsiteY30" fmla="*/ 3611880 h 6187157"/>
                <a:gd name="connsiteX31" fmla="*/ 5002306 w 5257800"/>
                <a:gd name="connsiteY31" fmla="*/ 4363507 h 6187157"/>
                <a:gd name="connsiteX32" fmla="*/ 5132522 w 5257800"/>
                <a:gd name="connsiteY32" fmla="*/ 4429994 h 6187157"/>
                <a:gd name="connsiteX33" fmla="*/ 5063073 w 5257800"/>
                <a:gd name="connsiteY33" fmla="*/ 4847915 h 6187157"/>
                <a:gd name="connsiteX34" fmla="*/ 4905544 w 5257800"/>
                <a:gd name="connsiteY34" fmla="*/ 4785630 h 6187157"/>
                <a:gd name="connsiteX35" fmla="*/ 3743556 w 5257800"/>
                <a:gd name="connsiteY35" fmla="*/ 6187157 h 6187157"/>
                <a:gd name="connsiteX36" fmla="*/ 3595980 w 5257800"/>
                <a:gd name="connsiteY36" fmla="*/ 5588772 h 6187157"/>
                <a:gd name="connsiteX37" fmla="*/ 4382946 w 5257800"/>
                <a:gd name="connsiteY37" fmla="*/ 4574791 h 6187157"/>
                <a:gd name="connsiteX38" fmla="*/ 4693920 w 5257800"/>
                <a:gd name="connsiteY38" fmla="*/ 3261360 h 6187157"/>
                <a:gd name="connsiteX39" fmla="*/ 4701540 w 5257800"/>
                <a:gd name="connsiteY39" fmla="*/ 2834640 h 6187157"/>
                <a:gd name="connsiteX40" fmla="*/ 4579620 w 5257800"/>
                <a:gd name="connsiteY40" fmla="*/ 2415540 h 6187157"/>
                <a:gd name="connsiteX41" fmla="*/ 4373880 w 5257800"/>
                <a:gd name="connsiteY41" fmla="*/ 2057400 h 6187157"/>
                <a:gd name="connsiteX42" fmla="*/ 3429000 w 5257800"/>
                <a:gd name="connsiteY42" fmla="*/ 1013460 h 6187157"/>
                <a:gd name="connsiteX43" fmla="*/ 3192780 w 5257800"/>
                <a:gd name="connsiteY43" fmla="*/ 853440 h 6187157"/>
                <a:gd name="connsiteX44" fmla="*/ 2910840 w 5257800"/>
                <a:gd name="connsiteY44" fmla="*/ 739140 h 6187157"/>
                <a:gd name="connsiteX45" fmla="*/ 2514600 w 5257800"/>
                <a:gd name="connsiteY45" fmla="*/ 693420 h 6187157"/>
                <a:gd name="connsiteX46" fmla="*/ 2232660 w 5257800"/>
                <a:gd name="connsiteY46" fmla="*/ 739140 h 6187157"/>
                <a:gd name="connsiteX47" fmla="*/ 1234440 w 5257800"/>
                <a:gd name="connsiteY47" fmla="*/ 1059180 h 6187157"/>
                <a:gd name="connsiteX48" fmla="*/ 960120 w 5257800"/>
                <a:gd name="connsiteY48" fmla="*/ 1165860 h 6187157"/>
                <a:gd name="connsiteX49" fmla="*/ 815340 w 5257800"/>
                <a:gd name="connsiteY49" fmla="*/ 1257300 h 6187157"/>
                <a:gd name="connsiteX50" fmla="*/ 0 w 5257800"/>
                <a:gd name="connsiteY50" fmla="*/ 1234440 h 6187157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701540 w 5257800"/>
                <a:gd name="connsiteY39" fmla="*/ 2834640 h 6177659"/>
                <a:gd name="connsiteX40" fmla="*/ 4579620 w 5257800"/>
                <a:gd name="connsiteY40" fmla="*/ 2415540 h 6177659"/>
                <a:gd name="connsiteX41" fmla="*/ 4373880 w 5257800"/>
                <a:gd name="connsiteY41" fmla="*/ 2057400 h 6177659"/>
                <a:gd name="connsiteX42" fmla="*/ 3429000 w 5257800"/>
                <a:gd name="connsiteY42" fmla="*/ 1013460 h 6177659"/>
                <a:gd name="connsiteX43" fmla="*/ 3192780 w 5257800"/>
                <a:gd name="connsiteY43" fmla="*/ 853440 h 6177659"/>
                <a:gd name="connsiteX44" fmla="*/ 2910840 w 5257800"/>
                <a:gd name="connsiteY44" fmla="*/ 739140 h 6177659"/>
                <a:gd name="connsiteX45" fmla="*/ 2514600 w 5257800"/>
                <a:gd name="connsiteY45" fmla="*/ 693420 h 6177659"/>
                <a:gd name="connsiteX46" fmla="*/ 2232660 w 5257800"/>
                <a:gd name="connsiteY46" fmla="*/ 739140 h 6177659"/>
                <a:gd name="connsiteX47" fmla="*/ 1234440 w 5257800"/>
                <a:gd name="connsiteY47" fmla="*/ 1059180 h 6177659"/>
                <a:gd name="connsiteX48" fmla="*/ 960120 w 5257800"/>
                <a:gd name="connsiteY48" fmla="*/ 1165860 h 6177659"/>
                <a:gd name="connsiteX49" fmla="*/ 815340 w 5257800"/>
                <a:gd name="connsiteY49" fmla="*/ 1257300 h 6177659"/>
                <a:gd name="connsiteX50" fmla="*/ 0 w 5257800"/>
                <a:gd name="connsiteY50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701540 w 5257800"/>
                <a:gd name="connsiteY39" fmla="*/ 2834640 h 6177659"/>
                <a:gd name="connsiteX40" fmla="*/ 4579620 w 5257800"/>
                <a:gd name="connsiteY40" fmla="*/ 2415540 h 6177659"/>
                <a:gd name="connsiteX41" fmla="*/ 4373880 w 5257800"/>
                <a:gd name="connsiteY41" fmla="*/ 2057400 h 6177659"/>
                <a:gd name="connsiteX42" fmla="*/ 3429000 w 5257800"/>
                <a:gd name="connsiteY42" fmla="*/ 1013460 h 6177659"/>
                <a:gd name="connsiteX43" fmla="*/ 3192780 w 5257800"/>
                <a:gd name="connsiteY43" fmla="*/ 853440 h 6177659"/>
                <a:gd name="connsiteX44" fmla="*/ 2910840 w 5257800"/>
                <a:gd name="connsiteY44" fmla="*/ 739140 h 6177659"/>
                <a:gd name="connsiteX45" fmla="*/ 2514600 w 5257800"/>
                <a:gd name="connsiteY45" fmla="*/ 693420 h 6177659"/>
                <a:gd name="connsiteX46" fmla="*/ 2232660 w 5257800"/>
                <a:gd name="connsiteY46" fmla="*/ 739140 h 6177659"/>
                <a:gd name="connsiteX47" fmla="*/ 1234440 w 5257800"/>
                <a:gd name="connsiteY47" fmla="*/ 1059180 h 6177659"/>
                <a:gd name="connsiteX48" fmla="*/ 960120 w 5257800"/>
                <a:gd name="connsiteY48" fmla="*/ 1165860 h 6177659"/>
                <a:gd name="connsiteX49" fmla="*/ 815340 w 5257800"/>
                <a:gd name="connsiteY49" fmla="*/ 1257300 h 6177659"/>
                <a:gd name="connsiteX50" fmla="*/ 0 w 5257800"/>
                <a:gd name="connsiteY50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701540 w 5257800"/>
                <a:gd name="connsiteY39" fmla="*/ 2834640 h 6177659"/>
                <a:gd name="connsiteX40" fmla="*/ 4579620 w 5257800"/>
                <a:gd name="connsiteY40" fmla="*/ 2415540 h 6177659"/>
                <a:gd name="connsiteX41" fmla="*/ 4373880 w 5257800"/>
                <a:gd name="connsiteY41" fmla="*/ 2057400 h 6177659"/>
                <a:gd name="connsiteX42" fmla="*/ 3429000 w 5257800"/>
                <a:gd name="connsiteY42" fmla="*/ 1013460 h 6177659"/>
                <a:gd name="connsiteX43" fmla="*/ 3192780 w 5257800"/>
                <a:gd name="connsiteY43" fmla="*/ 853440 h 6177659"/>
                <a:gd name="connsiteX44" fmla="*/ 2910840 w 5257800"/>
                <a:gd name="connsiteY44" fmla="*/ 739140 h 6177659"/>
                <a:gd name="connsiteX45" fmla="*/ 2514600 w 5257800"/>
                <a:gd name="connsiteY45" fmla="*/ 693420 h 6177659"/>
                <a:gd name="connsiteX46" fmla="*/ 2232660 w 5257800"/>
                <a:gd name="connsiteY46" fmla="*/ 739140 h 6177659"/>
                <a:gd name="connsiteX47" fmla="*/ 1234440 w 5257800"/>
                <a:gd name="connsiteY47" fmla="*/ 1059180 h 6177659"/>
                <a:gd name="connsiteX48" fmla="*/ 960120 w 5257800"/>
                <a:gd name="connsiteY48" fmla="*/ 1165860 h 6177659"/>
                <a:gd name="connsiteX49" fmla="*/ 815340 w 5257800"/>
                <a:gd name="connsiteY49" fmla="*/ 1257300 h 6177659"/>
                <a:gd name="connsiteX50" fmla="*/ 0 w 5257800"/>
                <a:gd name="connsiteY50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579620 w 5257800"/>
                <a:gd name="connsiteY39" fmla="*/ 2415540 h 6177659"/>
                <a:gd name="connsiteX40" fmla="*/ 4373880 w 5257800"/>
                <a:gd name="connsiteY40" fmla="*/ 2057400 h 6177659"/>
                <a:gd name="connsiteX41" fmla="*/ 3429000 w 5257800"/>
                <a:gd name="connsiteY41" fmla="*/ 1013460 h 6177659"/>
                <a:gd name="connsiteX42" fmla="*/ 3192780 w 5257800"/>
                <a:gd name="connsiteY42" fmla="*/ 853440 h 6177659"/>
                <a:gd name="connsiteX43" fmla="*/ 2910840 w 5257800"/>
                <a:gd name="connsiteY43" fmla="*/ 739140 h 6177659"/>
                <a:gd name="connsiteX44" fmla="*/ 2514600 w 5257800"/>
                <a:gd name="connsiteY44" fmla="*/ 693420 h 6177659"/>
                <a:gd name="connsiteX45" fmla="*/ 2232660 w 5257800"/>
                <a:gd name="connsiteY45" fmla="*/ 739140 h 6177659"/>
                <a:gd name="connsiteX46" fmla="*/ 1234440 w 5257800"/>
                <a:gd name="connsiteY46" fmla="*/ 1059180 h 6177659"/>
                <a:gd name="connsiteX47" fmla="*/ 960120 w 5257800"/>
                <a:gd name="connsiteY47" fmla="*/ 1165860 h 6177659"/>
                <a:gd name="connsiteX48" fmla="*/ 815340 w 5257800"/>
                <a:gd name="connsiteY48" fmla="*/ 1257300 h 6177659"/>
                <a:gd name="connsiteX49" fmla="*/ 0 w 5257800"/>
                <a:gd name="connsiteY49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373880 w 5257800"/>
                <a:gd name="connsiteY39" fmla="*/ 2057400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408604 w 5257800"/>
                <a:gd name="connsiteY39" fmla="*/ 2104892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408604 w 5257800"/>
                <a:gd name="connsiteY39" fmla="*/ 2104892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408604 w 5257800"/>
                <a:gd name="connsiteY39" fmla="*/ 2104892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408604 w 5257800"/>
                <a:gd name="connsiteY39" fmla="*/ 2104892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344179 w 5257800"/>
                <a:gd name="connsiteY39" fmla="*/ 2027325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344179 w 5257800"/>
                <a:gd name="connsiteY39" fmla="*/ 2027325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344179 w 5257800"/>
                <a:gd name="connsiteY39" fmla="*/ 2027325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814397 w 5257800"/>
                <a:gd name="connsiteY26" fmla="*/ 1704828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344179 w 5257800"/>
                <a:gd name="connsiteY39" fmla="*/ 2027325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814397 w 5257800"/>
                <a:gd name="connsiteY26" fmla="*/ 1704828 h 6177659"/>
                <a:gd name="connsiteX27" fmla="*/ 5227320 w 5257800"/>
                <a:gd name="connsiteY27" fmla="*/ 2636520 h 6177659"/>
                <a:gd name="connsiteX28" fmla="*/ 5257800 w 5257800"/>
                <a:gd name="connsiteY28" fmla="*/ 3086100 h 6177659"/>
                <a:gd name="connsiteX29" fmla="*/ 5204460 w 5257800"/>
                <a:gd name="connsiteY29" fmla="*/ 3611880 h 6177659"/>
                <a:gd name="connsiteX30" fmla="*/ 5002306 w 5257800"/>
                <a:gd name="connsiteY30" fmla="*/ 4363507 h 6177659"/>
                <a:gd name="connsiteX31" fmla="*/ 5132522 w 5257800"/>
                <a:gd name="connsiteY31" fmla="*/ 4429994 h 6177659"/>
                <a:gd name="connsiteX32" fmla="*/ 5063073 w 5257800"/>
                <a:gd name="connsiteY32" fmla="*/ 4847915 h 6177659"/>
                <a:gd name="connsiteX33" fmla="*/ 4905544 w 5257800"/>
                <a:gd name="connsiteY33" fmla="*/ 4785630 h 6177659"/>
                <a:gd name="connsiteX34" fmla="*/ 3778281 w 5257800"/>
                <a:gd name="connsiteY34" fmla="*/ 6177659 h 6177659"/>
                <a:gd name="connsiteX35" fmla="*/ 3595980 w 5257800"/>
                <a:gd name="connsiteY35" fmla="*/ 5588772 h 6177659"/>
                <a:gd name="connsiteX36" fmla="*/ 4382946 w 5257800"/>
                <a:gd name="connsiteY36" fmla="*/ 4574791 h 6177659"/>
                <a:gd name="connsiteX37" fmla="*/ 4662995 w 5257800"/>
                <a:gd name="connsiteY37" fmla="*/ 3330617 h 6177659"/>
                <a:gd name="connsiteX38" fmla="*/ 4344179 w 5257800"/>
                <a:gd name="connsiteY38" fmla="*/ 2027325 h 6177659"/>
                <a:gd name="connsiteX39" fmla="*/ 3429000 w 5257800"/>
                <a:gd name="connsiteY39" fmla="*/ 1013460 h 6177659"/>
                <a:gd name="connsiteX40" fmla="*/ 3192780 w 5257800"/>
                <a:gd name="connsiteY40" fmla="*/ 853440 h 6177659"/>
                <a:gd name="connsiteX41" fmla="*/ 2910840 w 5257800"/>
                <a:gd name="connsiteY41" fmla="*/ 739140 h 6177659"/>
                <a:gd name="connsiteX42" fmla="*/ 2514600 w 5257800"/>
                <a:gd name="connsiteY42" fmla="*/ 693420 h 6177659"/>
                <a:gd name="connsiteX43" fmla="*/ 2232660 w 5257800"/>
                <a:gd name="connsiteY43" fmla="*/ 739140 h 6177659"/>
                <a:gd name="connsiteX44" fmla="*/ 1234440 w 5257800"/>
                <a:gd name="connsiteY44" fmla="*/ 1059180 h 6177659"/>
                <a:gd name="connsiteX45" fmla="*/ 960120 w 5257800"/>
                <a:gd name="connsiteY45" fmla="*/ 1165860 h 6177659"/>
                <a:gd name="connsiteX46" fmla="*/ 815340 w 5257800"/>
                <a:gd name="connsiteY46" fmla="*/ 1257300 h 6177659"/>
                <a:gd name="connsiteX47" fmla="*/ 0 w 5257800"/>
                <a:gd name="connsiteY47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814397 w 5257800"/>
                <a:gd name="connsiteY26" fmla="*/ 1704828 h 6177659"/>
                <a:gd name="connsiteX27" fmla="*/ 5257800 w 5257800"/>
                <a:gd name="connsiteY27" fmla="*/ 3086100 h 6177659"/>
                <a:gd name="connsiteX28" fmla="*/ 5204460 w 5257800"/>
                <a:gd name="connsiteY28" fmla="*/ 3611880 h 6177659"/>
                <a:gd name="connsiteX29" fmla="*/ 5002306 w 5257800"/>
                <a:gd name="connsiteY29" fmla="*/ 4363507 h 6177659"/>
                <a:gd name="connsiteX30" fmla="*/ 5132522 w 5257800"/>
                <a:gd name="connsiteY30" fmla="*/ 4429994 h 6177659"/>
                <a:gd name="connsiteX31" fmla="*/ 5063073 w 5257800"/>
                <a:gd name="connsiteY31" fmla="*/ 4847915 h 6177659"/>
                <a:gd name="connsiteX32" fmla="*/ 4905544 w 5257800"/>
                <a:gd name="connsiteY32" fmla="*/ 4785630 h 6177659"/>
                <a:gd name="connsiteX33" fmla="*/ 3778281 w 5257800"/>
                <a:gd name="connsiteY33" fmla="*/ 6177659 h 6177659"/>
                <a:gd name="connsiteX34" fmla="*/ 3595980 w 5257800"/>
                <a:gd name="connsiteY34" fmla="*/ 5588772 h 6177659"/>
                <a:gd name="connsiteX35" fmla="*/ 4382946 w 5257800"/>
                <a:gd name="connsiteY35" fmla="*/ 4574791 h 6177659"/>
                <a:gd name="connsiteX36" fmla="*/ 4662995 w 5257800"/>
                <a:gd name="connsiteY36" fmla="*/ 3330617 h 6177659"/>
                <a:gd name="connsiteX37" fmla="*/ 4344179 w 5257800"/>
                <a:gd name="connsiteY37" fmla="*/ 2027325 h 6177659"/>
                <a:gd name="connsiteX38" fmla="*/ 3429000 w 5257800"/>
                <a:gd name="connsiteY38" fmla="*/ 1013460 h 6177659"/>
                <a:gd name="connsiteX39" fmla="*/ 3192780 w 5257800"/>
                <a:gd name="connsiteY39" fmla="*/ 853440 h 6177659"/>
                <a:gd name="connsiteX40" fmla="*/ 2910840 w 5257800"/>
                <a:gd name="connsiteY40" fmla="*/ 739140 h 6177659"/>
                <a:gd name="connsiteX41" fmla="*/ 2514600 w 5257800"/>
                <a:gd name="connsiteY41" fmla="*/ 693420 h 6177659"/>
                <a:gd name="connsiteX42" fmla="*/ 2232660 w 5257800"/>
                <a:gd name="connsiteY42" fmla="*/ 739140 h 6177659"/>
                <a:gd name="connsiteX43" fmla="*/ 1234440 w 5257800"/>
                <a:gd name="connsiteY43" fmla="*/ 1059180 h 6177659"/>
                <a:gd name="connsiteX44" fmla="*/ 960120 w 5257800"/>
                <a:gd name="connsiteY44" fmla="*/ 1165860 h 6177659"/>
                <a:gd name="connsiteX45" fmla="*/ 815340 w 5257800"/>
                <a:gd name="connsiteY45" fmla="*/ 1257300 h 6177659"/>
                <a:gd name="connsiteX46" fmla="*/ 0 w 5257800"/>
                <a:gd name="connsiteY46" fmla="*/ 1234440 h 6177659"/>
                <a:gd name="connsiteX0" fmla="*/ 0 w 5204460"/>
                <a:gd name="connsiteY0" fmla="*/ 1234440 h 6177659"/>
                <a:gd name="connsiteX1" fmla="*/ 213360 w 5204460"/>
                <a:gd name="connsiteY1" fmla="*/ 990600 h 6177659"/>
                <a:gd name="connsiteX2" fmla="*/ 457200 w 5204460"/>
                <a:gd name="connsiteY2" fmla="*/ 792480 h 6177659"/>
                <a:gd name="connsiteX3" fmla="*/ 685800 w 5204460"/>
                <a:gd name="connsiteY3" fmla="*/ 624840 h 6177659"/>
                <a:gd name="connsiteX4" fmla="*/ 929640 w 5204460"/>
                <a:gd name="connsiteY4" fmla="*/ 533400 h 6177659"/>
                <a:gd name="connsiteX5" fmla="*/ 891540 w 5204460"/>
                <a:gd name="connsiteY5" fmla="*/ 426720 h 6177659"/>
                <a:gd name="connsiteX6" fmla="*/ 1074420 w 5204460"/>
                <a:gd name="connsiteY6" fmla="*/ 358140 h 6177659"/>
                <a:gd name="connsiteX7" fmla="*/ 1120140 w 5204460"/>
                <a:gd name="connsiteY7" fmla="*/ 464820 h 6177659"/>
                <a:gd name="connsiteX8" fmla="*/ 1242060 w 5204460"/>
                <a:gd name="connsiteY8" fmla="*/ 434340 h 6177659"/>
                <a:gd name="connsiteX9" fmla="*/ 1272540 w 5204460"/>
                <a:gd name="connsiteY9" fmla="*/ 365760 h 6177659"/>
                <a:gd name="connsiteX10" fmla="*/ 1531620 w 5204460"/>
                <a:gd name="connsiteY10" fmla="*/ 297180 h 6177659"/>
                <a:gd name="connsiteX11" fmla="*/ 1584960 w 5204460"/>
                <a:gd name="connsiteY11" fmla="*/ 327660 h 6177659"/>
                <a:gd name="connsiteX12" fmla="*/ 1714500 w 5204460"/>
                <a:gd name="connsiteY12" fmla="*/ 274320 h 6177659"/>
                <a:gd name="connsiteX13" fmla="*/ 1684020 w 5204460"/>
                <a:gd name="connsiteY13" fmla="*/ 114300 h 6177659"/>
                <a:gd name="connsiteX14" fmla="*/ 2087880 w 5204460"/>
                <a:gd name="connsiteY14" fmla="*/ 0 h 6177659"/>
                <a:gd name="connsiteX15" fmla="*/ 2133600 w 5204460"/>
                <a:gd name="connsiteY15" fmla="*/ 160020 h 6177659"/>
                <a:gd name="connsiteX16" fmla="*/ 2385060 w 5204460"/>
                <a:gd name="connsiteY16" fmla="*/ 106680 h 6177659"/>
                <a:gd name="connsiteX17" fmla="*/ 2644140 w 5204460"/>
                <a:gd name="connsiteY17" fmla="*/ 99060 h 6177659"/>
                <a:gd name="connsiteX18" fmla="*/ 2971800 w 5204460"/>
                <a:gd name="connsiteY18" fmla="*/ 152400 h 6177659"/>
                <a:gd name="connsiteX19" fmla="*/ 3299460 w 5204460"/>
                <a:gd name="connsiteY19" fmla="*/ 251460 h 6177659"/>
                <a:gd name="connsiteX20" fmla="*/ 3665220 w 5204460"/>
                <a:gd name="connsiteY20" fmla="*/ 464820 h 6177659"/>
                <a:gd name="connsiteX21" fmla="*/ 3954780 w 5204460"/>
                <a:gd name="connsiteY21" fmla="*/ 723900 h 6177659"/>
                <a:gd name="connsiteX22" fmla="*/ 4465320 w 5204460"/>
                <a:gd name="connsiteY22" fmla="*/ 1280160 h 6177659"/>
                <a:gd name="connsiteX23" fmla="*/ 4495800 w 5204460"/>
                <a:gd name="connsiteY23" fmla="*/ 1287780 h 6177659"/>
                <a:gd name="connsiteX24" fmla="*/ 4678680 w 5204460"/>
                <a:gd name="connsiteY24" fmla="*/ 1463040 h 6177659"/>
                <a:gd name="connsiteX25" fmla="*/ 4663440 w 5204460"/>
                <a:gd name="connsiteY25" fmla="*/ 1524000 h 6177659"/>
                <a:gd name="connsiteX26" fmla="*/ 4814397 w 5204460"/>
                <a:gd name="connsiteY26" fmla="*/ 1704828 h 6177659"/>
                <a:gd name="connsiteX27" fmla="*/ 5204460 w 5204460"/>
                <a:gd name="connsiteY27" fmla="*/ 3611880 h 6177659"/>
                <a:gd name="connsiteX28" fmla="*/ 5002306 w 5204460"/>
                <a:gd name="connsiteY28" fmla="*/ 4363507 h 6177659"/>
                <a:gd name="connsiteX29" fmla="*/ 5132522 w 5204460"/>
                <a:gd name="connsiteY29" fmla="*/ 4429994 h 6177659"/>
                <a:gd name="connsiteX30" fmla="*/ 5063073 w 5204460"/>
                <a:gd name="connsiteY30" fmla="*/ 4847915 h 6177659"/>
                <a:gd name="connsiteX31" fmla="*/ 4905544 w 5204460"/>
                <a:gd name="connsiteY31" fmla="*/ 4785630 h 6177659"/>
                <a:gd name="connsiteX32" fmla="*/ 3778281 w 5204460"/>
                <a:gd name="connsiteY32" fmla="*/ 6177659 h 6177659"/>
                <a:gd name="connsiteX33" fmla="*/ 3595980 w 5204460"/>
                <a:gd name="connsiteY33" fmla="*/ 5588772 h 6177659"/>
                <a:gd name="connsiteX34" fmla="*/ 4382946 w 5204460"/>
                <a:gd name="connsiteY34" fmla="*/ 4574791 h 6177659"/>
                <a:gd name="connsiteX35" fmla="*/ 4662995 w 5204460"/>
                <a:gd name="connsiteY35" fmla="*/ 3330617 h 6177659"/>
                <a:gd name="connsiteX36" fmla="*/ 4344179 w 5204460"/>
                <a:gd name="connsiteY36" fmla="*/ 2027325 h 6177659"/>
                <a:gd name="connsiteX37" fmla="*/ 3429000 w 5204460"/>
                <a:gd name="connsiteY37" fmla="*/ 1013460 h 6177659"/>
                <a:gd name="connsiteX38" fmla="*/ 3192780 w 5204460"/>
                <a:gd name="connsiteY38" fmla="*/ 853440 h 6177659"/>
                <a:gd name="connsiteX39" fmla="*/ 2910840 w 5204460"/>
                <a:gd name="connsiteY39" fmla="*/ 739140 h 6177659"/>
                <a:gd name="connsiteX40" fmla="*/ 2514600 w 5204460"/>
                <a:gd name="connsiteY40" fmla="*/ 693420 h 6177659"/>
                <a:gd name="connsiteX41" fmla="*/ 2232660 w 5204460"/>
                <a:gd name="connsiteY41" fmla="*/ 739140 h 6177659"/>
                <a:gd name="connsiteX42" fmla="*/ 1234440 w 5204460"/>
                <a:gd name="connsiteY42" fmla="*/ 1059180 h 6177659"/>
                <a:gd name="connsiteX43" fmla="*/ 960120 w 5204460"/>
                <a:gd name="connsiteY43" fmla="*/ 1165860 h 6177659"/>
                <a:gd name="connsiteX44" fmla="*/ 815340 w 5204460"/>
                <a:gd name="connsiteY44" fmla="*/ 1257300 h 6177659"/>
                <a:gd name="connsiteX45" fmla="*/ 0 w 5204460"/>
                <a:gd name="connsiteY45" fmla="*/ 1234440 h 6177659"/>
                <a:gd name="connsiteX0" fmla="*/ 0 w 5132522"/>
                <a:gd name="connsiteY0" fmla="*/ 1234440 h 6177659"/>
                <a:gd name="connsiteX1" fmla="*/ 213360 w 5132522"/>
                <a:gd name="connsiteY1" fmla="*/ 990600 h 6177659"/>
                <a:gd name="connsiteX2" fmla="*/ 457200 w 5132522"/>
                <a:gd name="connsiteY2" fmla="*/ 792480 h 6177659"/>
                <a:gd name="connsiteX3" fmla="*/ 685800 w 5132522"/>
                <a:gd name="connsiteY3" fmla="*/ 624840 h 6177659"/>
                <a:gd name="connsiteX4" fmla="*/ 929640 w 5132522"/>
                <a:gd name="connsiteY4" fmla="*/ 533400 h 6177659"/>
                <a:gd name="connsiteX5" fmla="*/ 891540 w 5132522"/>
                <a:gd name="connsiteY5" fmla="*/ 426720 h 6177659"/>
                <a:gd name="connsiteX6" fmla="*/ 1074420 w 5132522"/>
                <a:gd name="connsiteY6" fmla="*/ 358140 h 6177659"/>
                <a:gd name="connsiteX7" fmla="*/ 1120140 w 5132522"/>
                <a:gd name="connsiteY7" fmla="*/ 464820 h 6177659"/>
                <a:gd name="connsiteX8" fmla="*/ 1242060 w 5132522"/>
                <a:gd name="connsiteY8" fmla="*/ 434340 h 6177659"/>
                <a:gd name="connsiteX9" fmla="*/ 1272540 w 5132522"/>
                <a:gd name="connsiteY9" fmla="*/ 365760 h 6177659"/>
                <a:gd name="connsiteX10" fmla="*/ 1531620 w 5132522"/>
                <a:gd name="connsiteY10" fmla="*/ 297180 h 6177659"/>
                <a:gd name="connsiteX11" fmla="*/ 1584960 w 5132522"/>
                <a:gd name="connsiteY11" fmla="*/ 327660 h 6177659"/>
                <a:gd name="connsiteX12" fmla="*/ 1714500 w 5132522"/>
                <a:gd name="connsiteY12" fmla="*/ 274320 h 6177659"/>
                <a:gd name="connsiteX13" fmla="*/ 1684020 w 5132522"/>
                <a:gd name="connsiteY13" fmla="*/ 114300 h 6177659"/>
                <a:gd name="connsiteX14" fmla="*/ 2087880 w 5132522"/>
                <a:gd name="connsiteY14" fmla="*/ 0 h 6177659"/>
                <a:gd name="connsiteX15" fmla="*/ 2133600 w 5132522"/>
                <a:gd name="connsiteY15" fmla="*/ 160020 h 6177659"/>
                <a:gd name="connsiteX16" fmla="*/ 2385060 w 5132522"/>
                <a:gd name="connsiteY16" fmla="*/ 106680 h 6177659"/>
                <a:gd name="connsiteX17" fmla="*/ 2644140 w 5132522"/>
                <a:gd name="connsiteY17" fmla="*/ 99060 h 6177659"/>
                <a:gd name="connsiteX18" fmla="*/ 2971800 w 5132522"/>
                <a:gd name="connsiteY18" fmla="*/ 152400 h 6177659"/>
                <a:gd name="connsiteX19" fmla="*/ 3299460 w 5132522"/>
                <a:gd name="connsiteY19" fmla="*/ 251460 h 6177659"/>
                <a:gd name="connsiteX20" fmla="*/ 3665220 w 5132522"/>
                <a:gd name="connsiteY20" fmla="*/ 464820 h 6177659"/>
                <a:gd name="connsiteX21" fmla="*/ 3954780 w 5132522"/>
                <a:gd name="connsiteY21" fmla="*/ 723900 h 6177659"/>
                <a:gd name="connsiteX22" fmla="*/ 4465320 w 5132522"/>
                <a:gd name="connsiteY22" fmla="*/ 1280160 h 6177659"/>
                <a:gd name="connsiteX23" fmla="*/ 4495800 w 5132522"/>
                <a:gd name="connsiteY23" fmla="*/ 1287780 h 6177659"/>
                <a:gd name="connsiteX24" fmla="*/ 4678680 w 5132522"/>
                <a:gd name="connsiteY24" fmla="*/ 1463040 h 6177659"/>
                <a:gd name="connsiteX25" fmla="*/ 4663440 w 5132522"/>
                <a:gd name="connsiteY25" fmla="*/ 1524000 h 6177659"/>
                <a:gd name="connsiteX26" fmla="*/ 4814397 w 5132522"/>
                <a:gd name="connsiteY26" fmla="*/ 1704828 h 6177659"/>
                <a:gd name="connsiteX27" fmla="*/ 5002306 w 5132522"/>
                <a:gd name="connsiteY27" fmla="*/ 4363507 h 6177659"/>
                <a:gd name="connsiteX28" fmla="*/ 5132522 w 5132522"/>
                <a:gd name="connsiteY28" fmla="*/ 4429994 h 6177659"/>
                <a:gd name="connsiteX29" fmla="*/ 5063073 w 5132522"/>
                <a:gd name="connsiteY29" fmla="*/ 4847915 h 6177659"/>
                <a:gd name="connsiteX30" fmla="*/ 4905544 w 5132522"/>
                <a:gd name="connsiteY30" fmla="*/ 4785630 h 6177659"/>
                <a:gd name="connsiteX31" fmla="*/ 3778281 w 5132522"/>
                <a:gd name="connsiteY31" fmla="*/ 6177659 h 6177659"/>
                <a:gd name="connsiteX32" fmla="*/ 3595980 w 5132522"/>
                <a:gd name="connsiteY32" fmla="*/ 5588772 h 6177659"/>
                <a:gd name="connsiteX33" fmla="*/ 4382946 w 5132522"/>
                <a:gd name="connsiteY33" fmla="*/ 4574791 h 6177659"/>
                <a:gd name="connsiteX34" fmla="*/ 4662995 w 5132522"/>
                <a:gd name="connsiteY34" fmla="*/ 3330617 h 6177659"/>
                <a:gd name="connsiteX35" fmla="*/ 4344179 w 5132522"/>
                <a:gd name="connsiteY35" fmla="*/ 2027325 h 6177659"/>
                <a:gd name="connsiteX36" fmla="*/ 3429000 w 5132522"/>
                <a:gd name="connsiteY36" fmla="*/ 1013460 h 6177659"/>
                <a:gd name="connsiteX37" fmla="*/ 3192780 w 5132522"/>
                <a:gd name="connsiteY37" fmla="*/ 853440 h 6177659"/>
                <a:gd name="connsiteX38" fmla="*/ 2910840 w 5132522"/>
                <a:gd name="connsiteY38" fmla="*/ 739140 h 6177659"/>
                <a:gd name="connsiteX39" fmla="*/ 2514600 w 5132522"/>
                <a:gd name="connsiteY39" fmla="*/ 693420 h 6177659"/>
                <a:gd name="connsiteX40" fmla="*/ 2232660 w 5132522"/>
                <a:gd name="connsiteY40" fmla="*/ 739140 h 6177659"/>
                <a:gd name="connsiteX41" fmla="*/ 1234440 w 5132522"/>
                <a:gd name="connsiteY41" fmla="*/ 1059180 h 6177659"/>
                <a:gd name="connsiteX42" fmla="*/ 960120 w 5132522"/>
                <a:gd name="connsiteY42" fmla="*/ 1165860 h 6177659"/>
                <a:gd name="connsiteX43" fmla="*/ 815340 w 5132522"/>
                <a:gd name="connsiteY43" fmla="*/ 1257300 h 6177659"/>
                <a:gd name="connsiteX44" fmla="*/ 0 w 5132522"/>
                <a:gd name="connsiteY44" fmla="*/ 1234440 h 6177659"/>
                <a:gd name="connsiteX0" fmla="*/ 0 w 5132522"/>
                <a:gd name="connsiteY0" fmla="*/ 1234440 h 6177659"/>
                <a:gd name="connsiteX1" fmla="*/ 213360 w 5132522"/>
                <a:gd name="connsiteY1" fmla="*/ 990600 h 6177659"/>
                <a:gd name="connsiteX2" fmla="*/ 457200 w 5132522"/>
                <a:gd name="connsiteY2" fmla="*/ 792480 h 6177659"/>
                <a:gd name="connsiteX3" fmla="*/ 685800 w 5132522"/>
                <a:gd name="connsiteY3" fmla="*/ 624840 h 6177659"/>
                <a:gd name="connsiteX4" fmla="*/ 929640 w 5132522"/>
                <a:gd name="connsiteY4" fmla="*/ 533400 h 6177659"/>
                <a:gd name="connsiteX5" fmla="*/ 891540 w 5132522"/>
                <a:gd name="connsiteY5" fmla="*/ 426720 h 6177659"/>
                <a:gd name="connsiteX6" fmla="*/ 1074420 w 5132522"/>
                <a:gd name="connsiteY6" fmla="*/ 358140 h 6177659"/>
                <a:gd name="connsiteX7" fmla="*/ 1120140 w 5132522"/>
                <a:gd name="connsiteY7" fmla="*/ 464820 h 6177659"/>
                <a:gd name="connsiteX8" fmla="*/ 1242060 w 5132522"/>
                <a:gd name="connsiteY8" fmla="*/ 434340 h 6177659"/>
                <a:gd name="connsiteX9" fmla="*/ 1272540 w 5132522"/>
                <a:gd name="connsiteY9" fmla="*/ 365760 h 6177659"/>
                <a:gd name="connsiteX10" fmla="*/ 1531620 w 5132522"/>
                <a:gd name="connsiteY10" fmla="*/ 297180 h 6177659"/>
                <a:gd name="connsiteX11" fmla="*/ 1584960 w 5132522"/>
                <a:gd name="connsiteY11" fmla="*/ 327660 h 6177659"/>
                <a:gd name="connsiteX12" fmla="*/ 1714500 w 5132522"/>
                <a:gd name="connsiteY12" fmla="*/ 274320 h 6177659"/>
                <a:gd name="connsiteX13" fmla="*/ 1684020 w 5132522"/>
                <a:gd name="connsiteY13" fmla="*/ 114300 h 6177659"/>
                <a:gd name="connsiteX14" fmla="*/ 2087880 w 5132522"/>
                <a:gd name="connsiteY14" fmla="*/ 0 h 6177659"/>
                <a:gd name="connsiteX15" fmla="*/ 2133600 w 5132522"/>
                <a:gd name="connsiteY15" fmla="*/ 160020 h 6177659"/>
                <a:gd name="connsiteX16" fmla="*/ 2385060 w 5132522"/>
                <a:gd name="connsiteY16" fmla="*/ 106680 h 6177659"/>
                <a:gd name="connsiteX17" fmla="*/ 2644140 w 5132522"/>
                <a:gd name="connsiteY17" fmla="*/ 99060 h 6177659"/>
                <a:gd name="connsiteX18" fmla="*/ 2971800 w 5132522"/>
                <a:gd name="connsiteY18" fmla="*/ 152400 h 6177659"/>
                <a:gd name="connsiteX19" fmla="*/ 3299460 w 5132522"/>
                <a:gd name="connsiteY19" fmla="*/ 251460 h 6177659"/>
                <a:gd name="connsiteX20" fmla="*/ 3665220 w 5132522"/>
                <a:gd name="connsiteY20" fmla="*/ 464820 h 6177659"/>
                <a:gd name="connsiteX21" fmla="*/ 3954780 w 5132522"/>
                <a:gd name="connsiteY21" fmla="*/ 723900 h 6177659"/>
                <a:gd name="connsiteX22" fmla="*/ 4465320 w 5132522"/>
                <a:gd name="connsiteY22" fmla="*/ 1280160 h 6177659"/>
                <a:gd name="connsiteX23" fmla="*/ 4495800 w 5132522"/>
                <a:gd name="connsiteY23" fmla="*/ 1287780 h 6177659"/>
                <a:gd name="connsiteX24" fmla="*/ 4678680 w 5132522"/>
                <a:gd name="connsiteY24" fmla="*/ 1463040 h 6177659"/>
                <a:gd name="connsiteX25" fmla="*/ 4663440 w 5132522"/>
                <a:gd name="connsiteY25" fmla="*/ 1524000 h 6177659"/>
                <a:gd name="connsiteX26" fmla="*/ 4814397 w 5132522"/>
                <a:gd name="connsiteY26" fmla="*/ 1704828 h 6177659"/>
                <a:gd name="connsiteX27" fmla="*/ 4965031 w 5132522"/>
                <a:gd name="connsiteY27" fmla="*/ 3813160 h 6177659"/>
                <a:gd name="connsiteX28" fmla="*/ 5002306 w 5132522"/>
                <a:gd name="connsiteY28" fmla="*/ 4363507 h 6177659"/>
                <a:gd name="connsiteX29" fmla="*/ 5132522 w 5132522"/>
                <a:gd name="connsiteY29" fmla="*/ 4429994 h 6177659"/>
                <a:gd name="connsiteX30" fmla="*/ 5063073 w 5132522"/>
                <a:gd name="connsiteY30" fmla="*/ 4847915 h 6177659"/>
                <a:gd name="connsiteX31" fmla="*/ 4905544 w 5132522"/>
                <a:gd name="connsiteY31" fmla="*/ 4785630 h 6177659"/>
                <a:gd name="connsiteX32" fmla="*/ 3778281 w 5132522"/>
                <a:gd name="connsiteY32" fmla="*/ 6177659 h 6177659"/>
                <a:gd name="connsiteX33" fmla="*/ 3595980 w 5132522"/>
                <a:gd name="connsiteY33" fmla="*/ 5588772 h 6177659"/>
                <a:gd name="connsiteX34" fmla="*/ 4382946 w 5132522"/>
                <a:gd name="connsiteY34" fmla="*/ 4574791 h 6177659"/>
                <a:gd name="connsiteX35" fmla="*/ 4662995 w 5132522"/>
                <a:gd name="connsiteY35" fmla="*/ 3330617 h 6177659"/>
                <a:gd name="connsiteX36" fmla="*/ 4344179 w 5132522"/>
                <a:gd name="connsiteY36" fmla="*/ 2027325 h 6177659"/>
                <a:gd name="connsiteX37" fmla="*/ 3429000 w 5132522"/>
                <a:gd name="connsiteY37" fmla="*/ 1013460 h 6177659"/>
                <a:gd name="connsiteX38" fmla="*/ 3192780 w 5132522"/>
                <a:gd name="connsiteY38" fmla="*/ 853440 h 6177659"/>
                <a:gd name="connsiteX39" fmla="*/ 2910840 w 5132522"/>
                <a:gd name="connsiteY39" fmla="*/ 739140 h 6177659"/>
                <a:gd name="connsiteX40" fmla="*/ 2514600 w 5132522"/>
                <a:gd name="connsiteY40" fmla="*/ 693420 h 6177659"/>
                <a:gd name="connsiteX41" fmla="*/ 2232660 w 5132522"/>
                <a:gd name="connsiteY41" fmla="*/ 739140 h 6177659"/>
                <a:gd name="connsiteX42" fmla="*/ 1234440 w 5132522"/>
                <a:gd name="connsiteY42" fmla="*/ 1059180 h 6177659"/>
                <a:gd name="connsiteX43" fmla="*/ 960120 w 5132522"/>
                <a:gd name="connsiteY43" fmla="*/ 1165860 h 6177659"/>
                <a:gd name="connsiteX44" fmla="*/ 815340 w 5132522"/>
                <a:gd name="connsiteY44" fmla="*/ 1257300 h 6177659"/>
                <a:gd name="connsiteX45" fmla="*/ 0 w 5132522"/>
                <a:gd name="connsiteY45" fmla="*/ 1234440 h 6177659"/>
                <a:gd name="connsiteX0" fmla="*/ 0 w 5194385"/>
                <a:gd name="connsiteY0" fmla="*/ 1234440 h 6177659"/>
                <a:gd name="connsiteX1" fmla="*/ 213360 w 5194385"/>
                <a:gd name="connsiteY1" fmla="*/ 990600 h 6177659"/>
                <a:gd name="connsiteX2" fmla="*/ 457200 w 5194385"/>
                <a:gd name="connsiteY2" fmla="*/ 792480 h 6177659"/>
                <a:gd name="connsiteX3" fmla="*/ 685800 w 5194385"/>
                <a:gd name="connsiteY3" fmla="*/ 624840 h 6177659"/>
                <a:gd name="connsiteX4" fmla="*/ 929640 w 5194385"/>
                <a:gd name="connsiteY4" fmla="*/ 533400 h 6177659"/>
                <a:gd name="connsiteX5" fmla="*/ 891540 w 5194385"/>
                <a:gd name="connsiteY5" fmla="*/ 426720 h 6177659"/>
                <a:gd name="connsiteX6" fmla="*/ 1074420 w 5194385"/>
                <a:gd name="connsiteY6" fmla="*/ 358140 h 6177659"/>
                <a:gd name="connsiteX7" fmla="*/ 1120140 w 5194385"/>
                <a:gd name="connsiteY7" fmla="*/ 464820 h 6177659"/>
                <a:gd name="connsiteX8" fmla="*/ 1242060 w 5194385"/>
                <a:gd name="connsiteY8" fmla="*/ 434340 h 6177659"/>
                <a:gd name="connsiteX9" fmla="*/ 1272540 w 5194385"/>
                <a:gd name="connsiteY9" fmla="*/ 365760 h 6177659"/>
                <a:gd name="connsiteX10" fmla="*/ 1531620 w 5194385"/>
                <a:gd name="connsiteY10" fmla="*/ 297180 h 6177659"/>
                <a:gd name="connsiteX11" fmla="*/ 1584960 w 5194385"/>
                <a:gd name="connsiteY11" fmla="*/ 327660 h 6177659"/>
                <a:gd name="connsiteX12" fmla="*/ 1714500 w 5194385"/>
                <a:gd name="connsiteY12" fmla="*/ 274320 h 6177659"/>
                <a:gd name="connsiteX13" fmla="*/ 1684020 w 5194385"/>
                <a:gd name="connsiteY13" fmla="*/ 114300 h 6177659"/>
                <a:gd name="connsiteX14" fmla="*/ 2087880 w 5194385"/>
                <a:gd name="connsiteY14" fmla="*/ 0 h 6177659"/>
                <a:gd name="connsiteX15" fmla="*/ 2133600 w 5194385"/>
                <a:gd name="connsiteY15" fmla="*/ 160020 h 6177659"/>
                <a:gd name="connsiteX16" fmla="*/ 2385060 w 5194385"/>
                <a:gd name="connsiteY16" fmla="*/ 106680 h 6177659"/>
                <a:gd name="connsiteX17" fmla="*/ 2644140 w 5194385"/>
                <a:gd name="connsiteY17" fmla="*/ 99060 h 6177659"/>
                <a:gd name="connsiteX18" fmla="*/ 2971800 w 5194385"/>
                <a:gd name="connsiteY18" fmla="*/ 152400 h 6177659"/>
                <a:gd name="connsiteX19" fmla="*/ 3299460 w 5194385"/>
                <a:gd name="connsiteY19" fmla="*/ 251460 h 6177659"/>
                <a:gd name="connsiteX20" fmla="*/ 3665220 w 5194385"/>
                <a:gd name="connsiteY20" fmla="*/ 464820 h 6177659"/>
                <a:gd name="connsiteX21" fmla="*/ 3954780 w 5194385"/>
                <a:gd name="connsiteY21" fmla="*/ 723900 h 6177659"/>
                <a:gd name="connsiteX22" fmla="*/ 4465320 w 5194385"/>
                <a:gd name="connsiteY22" fmla="*/ 1280160 h 6177659"/>
                <a:gd name="connsiteX23" fmla="*/ 4495800 w 5194385"/>
                <a:gd name="connsiteY23" fmla="*/ 1287780 h 6177659"/>
                <a:gd name="connsiteX24" fmla="*/ 4678680 w 5194385"/>
                <a:gd name="connsiteY24" fmla="*/ 1463040 h 6177659"/>
                <a:gd name="connsiteX25" fmla="*/ 4663440 w 5194385"/>
                <a:gd name="connsiteY25" fmla="*/ 1524000 h 6177659"/>
                <a:gd name="connsiteX26" fmla="*/ 4814397 w 5194385"/>
                <a:gd name="connsiteY26" fmla="*/ 1704828 h 6177659"/>
                <a:gd name="connsiteX27" fmla="*/ 5194385 w 5194385"/>
                <a:gd name="connsiteY27" fmla="*/ 3497350 h 6177659"/>
                <a:gd name="connsiteX28" fmla="*/ 5002306 w 5194385"/>
                <a:gd name="connsiteY28" fmla="*/ 4363507 h 6177659"/>
                <a:gd name="connsiteX29" fmla="*/ 5132522 w 5194385"/>
                <a:gd name="connsiteY29" fmla="*/ 4429994 h 6177659"/>
                <a:gd name="connsiteX30" fmla="*/ 5063073 w 5194385"/>
                <a:gd name="connsiteY30" fmla="*/ 4847915 h 6177659"/>
                <a:gd name="connsiteX31" fmla="*/ 4905544 w 5194385"/>
                <a:gd name="connsiteY31" fmla="*/ 4785630 h 6177659"/>
                <a:gd name="connsiteX32" fmla="*/ 3778281 w 5194385"/>
                <a:gd name="connsiteY32" fmla="*/ 6177659 h 6177659"/>
                <a:gd name="connsiteX33" fmla="*/ 3595980 w 5194385"/>
                <a:gd name="connsiteY33" fmla="*/ 5588772 h 6177659"/>
                <a:gd name="connsiteX34" fmla="*/ 4382946 w 5194385"/>
                <a:gd name="connsiteY34" fmla="*/ 4574791 h 6177659"/>
                <a:gd name="connsiteX35" fmla="*/ 4662995 w 5194385"/>
                <a:gd name="connsiteY35" fmla="*/ 3330617 h 6177659"/>
                <a:gd name="connsiteX36" fmla="*/ 4344179 w 5194385"/>
                <a:gd name="connsiteY36" fmla="*/ 2027325 h 6177659"/>
                <a:gd name="connsiteX37" fmla="*/ 3429000 w 5194385"/>
                <a:gd name="connsiteY37" fmla="*/ 1013460 h 6177659"/>
                <a:gd name="connsiteX38" fmla="*/ 3192780 w 5194385"/>
                <a:gd name="connsiteY38" fmla="*/ 853440 h 6177659"/>
                <a:gd name="connsiteX39" fmla="*/ 2910840 w 5194385"/>
                <a:gd name="connsiteY39" fmla="*/ 739140 h 6177659"/>
                <a:gd name="connsiteX40" fmla="*/ 2514600 w 5194385"/>
                <a:gd name="connsiteY40" fmla="*/ 693420 h 6177659"/>
                <a:gd name="connsiteX41" fmla="*/ 2232660 w 5194385"/>
                <a:gd name="connsiteY41" fmla="*/ 739140 h 6177659"/>
                <a:gd name="connsiteX42" fmla="*/ 1234440 w 5194385"/>
                <a:gd name="connsiteY42" fmla="*/ 1059180 h 6177659"/>
                <a:gd name="connsiteX43" fmla="*/ 960120 w 5194385"/>
                <a:gd name="connsiteY43" fmla="*/ 1165860 h 6177659"/>
                <a:gd name="connsiteX44" fmla="*/ 815340 w 5194385"/>
                <a:gd name="connsiteY44" fmla="*/ 1257300 h 6177659"/>
                <a:gd name="connsiteX45" fmla="*/ 0 w 5194385"/>
                <a:gd name="connsiteY45" fmla="*/ 1234440 h 6177659"/>
                <a:gd name="connsiteX0" fmla="*/ 0 w 5222873"/>
                <a:gd name="connsiteY0" fmla="*/ 1234440 h 6177659"/>
                <a:gd name="connsiteX1" fmla="*/ 213360 w 5222873"/>
                <a:gd name="connsiteY1" fmla="*/ 990600 h 6177659"/>
                <a:gd name="connsiteX2" fmla="*/ 457200 w 5222873"/>
                <a:gd name="connsiteY2" fmla="*/ 792480 h 6177659"/>
                <a:gd name="connsiteX3" fmla="*/ 685800 w 5222873"/>
                <a:gd name="connsiteY3" fmla="*/ 624840 h 6177659"/>
                <a:gd name="connsiteX4" fmla="*/ 929640 w 5222873"/>
                <a:gd name="connsiteY4" fmla="*/ 533400 h 6177659"/>
                <a:gd name="connsiteX5" fmla="*/ 891540 w 5222873"/>
                <a:gd name="connsiteY5" fmla="*/ 426720 h 6177659"/>
                <a:gd name="connsiteX6" fmla="*/ 1074420 w 5222873"/>
                <a:gd name="connsiteY6" fmla="*/ 358140 h 6177659"/>
                <a:gd name="connsiteX7" fmla="*/ 1120140 w 5222873"/>
                <a:gd name="connsiteY7" fmla="*/ 464820 h 6177659"/>
                <a:gd name="connsiteX8" fmla="*/ 1242060 w 5222873"/>
                <a:gd name="connsiteY8" fmla="*/ 434340 h 6177659"/>
                <a:gd name="connsiteX9" fmla="*/ 1272540 w 5222873"/>
                <a:gd name="connsiteY9" fmla="*/ 365760 h 6177659"/>
                <a:gd name="connsiteX10" fmla="*/ 1531620 w 5222873"/>
                <a:gd name="connsiteY10" fmla="*/ 297180 h 6177659"/>
                <a:gd name="connsiteX11" fmla="*/ 1584960 w 5222873"/>
                <a:gd name="connsiteY11" fmla="*/ 327660 h 6177659"/>
                <a:gd name="connsiteX12" fmla="*/ 1714500 w 5222873"/>
                <a:gd name="connsiteY12" fmla="*/ 274320 h 6177659"/>
                <a:gd name="connsiteX13" fmla="*/ 1684020 w 5222873"/>
                <a:gd name="connsiteY13" fmla="*/ 114300 h 6177659"/>
                <a:gd name="connsiteX14" fmla="*/ 2087880 w 5222873"/>
                <a:gd name="connsiteY14" fmla="*/ 0 h 6177659"/>
                <a:gd name="connsiteX15" fmla="*/ 2133600 w 5222873"/>
                <a:gd name="connsiteY15" fmla="*/ 160020 h 6177659"/>
                <a:gd name="connsiteX16" fmla="*/ 2385060 w 5222873"/>
                <a:gd name="connsiteY16" fmla="*/ 106680 h 6177659"/>
                <a:gd name="connsiteX17" fmla="*/ 2644140 w 5222873"/>
                <a:gd name="connsiteY17" fmla="*/ 99060 h 6177659"/>
                <a:gd name="connsiteX18" fmla="*/ 2971800 w 5222873"/>
                <a:gd name="connsiteY18" fmla="*/ 152400 h 6177659"/>
                <a:gd name="connsiteX19" fmla="*/ 3299460 w 5222873"/>
                <a:gd name="connsiteY19" fmla="*/ 251460 h 6177659"/>
                <a:gd name="connsiteX20" fmla="*/ 3665220 w 5222873"/>
                <a:gd name="connsiteY20" fmla="*/ 464820 h 6177659"/>
                <a:gd name="connsiteX21" fmla="*/ 3954780 w 5222873"/>
                <a:gd name="connsiteY21" fmla="*/ 723900 h 6177659"/>
                <a:gd name="connsiteX22" fmla="*/ 4465320 w 5222873"/>
                <a:gd name="connsiteY22" fmla="*/ 1280160 h 6177659"/>
                <a:gd name="connsiteX23" fmla="*/ 4495800 w 5222873"/>
                <a:gd name="connsiteY23" fmla="*/ 1287780 h 6177659"/>
                <a:gd name="connsiteX24" fmla="*/ 4678680 w 5222873"/>
                <a:gd name="connsiteY24" fmla="*/ 1463040 h 6177659"/>
                <a:gd name="connsiteX25" fmla="*/ 4663440 w 5222873"/>
                <a:gd name="connsiteY25" fmla="*/ 1524000 h 6177659"/>
                <a:gd name="connsiteX26" fmla="*/ 4814397 w 5222873"/>
                <a:gd name="connsiteY26" fmla="*/ 1704828 h 6177659"/>
                <a:gd name="connsiteX27" fmla="*/ 5194385 w 5222873"/>
                <a:gd name="connsiteY27" fmla="*/ 3497350 h 6177659"/>
                <a:gd name="connsiteX28" fmla="*/ 5002306 w 5222873"/>
                <a:gd name="connsiteY28" fmla="*/ 4363507 h 6177659"/>
                <a:gd name="connsiteX29" fmla="*/ 5132522 w 5222873"/>
                <a:gd name="connsiteY29" fmla="*/ 4429994 h 6177659"/>
                <a:gd name="connsiteX30" fmla="*/ 5063073 w 5222873"/>
                <a:gd name="connsiteY30" fmla="*/ 4847915 h 6177659"/>
                <a:gd name="connsiteX31" fmla="*/ 4905544 w 5222873"/>
                <a:gd name="connsiteY31" fmla="*/ 4785630 h 6177659"/>
                <a:gd name="connsiteX32" fmla="*/ 3778281 w 5222873"/>
                <a:gd name="connsiteY32" fmla="*/ 6177659 h 6177659"/>
                <a:gd name="connsiteX33" fmla="*/ 3595980 w 5222873"/>
                <a:gd name="connsiteY33" fmla="*/ 5588772 h 6177659"/>
                <a:gd name="connsiteX34" fmla="*/ 4382946 w 5222873"/>
                <a:gd name="connsiteY34" fmla="*/ 4574791 h 6177659"/>
                <a:gd name="connsiteX35" fmla="*/ 4662995 w 5222873"/>
                <a:gd name="connsiteY35" fmla="*/ 3330617 h 6177659"/>
                <a:gd name="connsiteX36" fmla="*/ 4344179 w 5222873"/>
                <a:gd name="connsiteY36" fmla="*/ 2027325 h 6177659"/>
                <a:gd name="connsiteX37" fmla="*/ 3429000 w 5222873"/>
                <a:gd name="connsiteY37" fmla="*/ 1013460 h 6177659"/>
                <a:gd name="connsiteX38" fmla="*/ 3192780 w 5222873"/>
                <a:gd name="connsiteY38" fmla="*/ 853440 h 6177659"/>
                <a:gd name="connsiteX39" fmla="*/ 2910840 w 5222873"/>
                <a:gd name="connsiteY39" fmla="*/ 739140 h 6177659"/>
                <a:gd name="connsiteX40" fmla="*/ 2514600 w 5222873"/>
                <a:gd name="connsiteY40" fmla="*/ 693420 h 6177659"/>
                <a:gd name="connsiteX41" fmla="*/ 2232660 w 5222873"/>
                <a:gd name="connsiteY41" fmla="*/ 739140 h 6177659"/>
                <a:gd name="connsiteX42" fmla="*/ 1234440 w 5222873"/>
                <a:gd name="connsiteY42" fmla="*/ 1059180 h 6177659"/>
                <a:gd name="connsiteX43" fmla="*/ 960120 w 5222873"/>
                <a:gd name="connsiteY43" fmla="*/ 1165860 h 6177659"/>
                <a:gd name="connsiteX44" fmla="*/ 815340 w 5222873"/>
                <a:gd name="connsiteY44" fmla="*/ 1257300 h 6177659"/>
                <a:gd name="connsiteX45" fmla="*/ 0 w 5222873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65320 w 5236526"/>
                <a:gd name="connsiteY22" fmla="*/ 1280160 h 6177659"/>
                <a:gd name="connsiteX23" fmla="*/ 4495800 w 5236526"/>
                <a:gd name="connsiteY23" fmla="*/ 1287780 h 6177659"/>
                <a:gd name="connsiteX24" fmla="*/ 4678680 w 5236526"/>
                <a:gd name="connsiteY24" fmla="*/ 1463040 h 6177659"/>
                <a:gd name="connsiteX25" fmla="*/ 4663440 w 5236526"/>
                <a:gd name="connsiteY25" fmla="*/ 1524000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65320 w 5236526"/>
                <a:gd name="connsiteY22" fmla="*/ 1280160 h 6177659"/>
                <a:gd name="connsiteX23" fmla="*/ 4495800 w 5236526"/>
                <a:gd name="connsiteY23" fmla="*/ 1287780 h 6177659"/>
                <a:gd name="connsiteX24" fmla="*/ 4678680 w 5236526"/>
                <a:gd name="connsiteY24" fmla="*/ 1463040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65320 w 5236526"/>
                <a:gd name="connsiteY22" fmla="*/ 1280160 h 6177659"/>
                <a:gd name="connsiteX23" fmla="*/ 4495800 w 5236526"/>
                <a:gd name="connsiteY23" fmla="*/ 1287780 h 6177659"/>
                <a:gd name="connsiteX24" fmla="*/ 4652910 w 5236526"/>
                <a:gd name="connsiteY24" fmla="*/ 1457499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26665 w 5236526"/>
                <a:gd name="connsiteY22" fmla="*/ 1269080 h 6177659"/>
                <a:gd name="connsiteX23" fmla="*/ 4495800 w 5236526"/>
                <a:gd name="connsiteY23" fmla="*/ 1287780 h 6177659"/>
                <a:gd name="connsiteX24" fmla="*/ 4652910 w 5236526"/>
                <a:gd name="connsiteY24" fmla="*/ 1457499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26665 w 5236526"/>
                <a:gd name="connsiteY22" fmla="*/ 1269080 h 6177659"/>
                <a:gd name="connsiteX23" fmla="*/ 4488069 w 5236526"/>
                <a:gd name="connsiteY23" fmla="*/ 1276698 h 6177659"/>
                <a:gd name="connsiteX24" fmla="*/ 4652910 w 5236526"/>
                <a:gd name="connsiteY24" fmla="*/ 1457499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34982 h 6177659"/>
                <a:gd name="connsiteX22" fmla="*/ 4426665 w 5236526"/>
                <a:gd name="connsiteY22" fmla="*/ 1269080 h 6177659"/>
                <a:gd name="connsiteX23" fmla="*/ 4488069 w 5236526"/>
                <a:gd name="connsiteY23" fmla="*/ 1276698 h 6177659"/>
                <a:gd name="connsiteX24" fmla="*/ 4652910 w 5236526"/>
                <a:gd name="connsiteY24" fmla="*/ 1457499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4426665 w 5236526"/>
                <a:gd name="connsiteY21" fmla="*/ 1269080 h 6177659"/>
                <a:gd name="connsiteX22" fmla="*/ 4488069 w 5236526"/>
                <a:gd name="connsiteY22" fmla="*/ 1276698 h 6177659"/>
                <a:gd name="connsiteX23" fmla="*/ 4652910 w 5236526"/>
                <a:gd name="connsiteY23" fmla="*/ 1457499 h 6177659"/>
                <a:gd name="connsiteX24" fmla="*/ 4653133 w 5236526"/>
                <a:gd name="connsiteY24" fmla="*/ 1512918 h 6177659"/>
                <a:gd name="connsiteX25" fmla="*/ 4814397 w 5236526"/>
                <a:gd name="connsiteY25" fmla="*/ 1704828 h 6177659"/>
                <a:gd name="connsiteX26" fmla="*/ 5194385 w 5236526"/>
                <a:gd name="connsiteY26" fmla="*/ 3497350 h 6177659"/>
                <a:gd name="connsiteX27" fmla="*/ 5002306 w 5236526"/>
                <a:gd name="connsiteY27" fmla="*/ 4363507 h 6177659"/>
                <a:gd name="connsiteX28" fmla="*/ 5132522 w 5236526"/>
                <a:gd name="connsiteY28" fmla="*/ 4429994 h 6177659"/>
                <a:gd name="connsiteX29" fmla="*/ 5063073 w 5236526"/>
                <a:gd name="connsiteY29" fmla="*/ 4847915 h 6177659"/>
                <a:gd name="connsiteX30" fmla="*/ 4905544 w 5236526"/>
                <a:gd name="connsiteY30" fmla="*/ 4785630 h 6177659"/>
                <a:gd name="connsiteX31" fmla="*/ 3778281 w 5236526"/>
                <a:gd name="connsiteY31" fmla="*/ 6177659 h 6177659"/>
                <a:gd name="connsiteX32" fmla="*/ 3595980 w 5236526"/>
                <a:gd name="connsiteY32" fmla="*/ 5588772 h 6177659"/>
                <a:gd name="connsiteX33" fmla="*/ 4382946 w 5236526"/>
                <a:gd name="connsiteY33" fmla="*/ 4574791 h 6177659"/>
                <a:gd name="connsiteX34" fmla="*/ 4662995 w 5236526"/>
                <a:gd name="connsiteY34" fmla="*/ 3330617 h 6177659"/>
                <a:gd name="connsiteX35" fmla="*/ 4344179 w 5236526"/>
                <a:gd name="connsiteY35" fmla="*/ 2027325 h 6177659"/>
                <a:gd name="connsiteX36" fmla="*/ 3429000 w 5236526"/>
                <a:gd name="connsiteY36" fmla="*/ 1013460 h 6177659"/>
                <a:gd name="connsiteX37" fmla="*/ 3192780 w 5236526"/>
                <a:gd name="connsiteY37" fmla="*/ 853440 h 6177659"/>
                <a:gd name="connsiteX38" fmla="*/ 2910840 w 5236526"/>
                <a:gd name="connsiteY38" fmla="*/ 739140 h 6177659"/>
                <a:gd name="connsiteX39" fmla="*/ 2514600 w 5236526"/>
                <a:gd name="connsiteY39" fmla="*/ 693420 h 6177659"/>
                <a:gd name="connsiteX40" fmla="*/ 2232660 w 5236526"/>
                <a:gd name="connsiteY40" fmla="*/ 739140 h 6177659"/>
                <a:gd name="connsiteX41" fmla="*/ 1234440 w 5236526"/>
                <a:gd name="connsiteY41" fmla="*/ 1059180 h 6177659"/>
                <a:gd name="connsiteX42" fmla="*/ 960120 w 5236526"/>
                <a:gd name="connsiteY42" fmla="*/ 1165860 h 6177659"/>
                <a:gd name="connsiteX43" fmla="*/ 815340 w 5236526"/>
                <a:gd name="connsiteY43" fmla="*/ 1257300 h 6177659"/>
                <a:gd name="connsiteX44" fmla="*/ 0 w 5236526"/>
                <a:gd name="connsiteY44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830149 w 5236526"/>
                <a:gd name="connsiteY20" fmla="*/ 619955 h 6177659"/>
                <a:gd name="connsiteX21" fmla="*/ 4426665 w 5236526"/>
                <a:gd name="connsiteY21" fmla="*/ 1269080 h 6177659"/>
                <a:gd name="connsiteX22" fmla="*/ 4488069 w 5236526"/>
                <a:gd name="connsiteY22" fmla="*/ 1276698 h 6177659"/>
                <a:gd name="connsiteX23" fmla="*/ 4652910 w 5236526"/>
                <a:gd name="connsiteY23" fmla="*/ 1457499 h 6177659"/>
                <a:gd name="connsiteX24" fmla="*/ 4653133 w 5236526"/>
                <a:gd name="connsiteY24" fmla="*/ 1512918 h 6177659"/>
                <a:gd name="connsiteX25" fmla="*/ 4814397 w 5236526"/>
                <a:gd name="connsiteY25" fmla="*/ 1704828 h 6177659"/>
                <a:gd name="connsiteX26" fmla="*/ 5194385 w 5236526"/>
                <a:gd name="connsiteY26" fmla="*/ 3497350 h 6177659"/>
                <a:gd name="connsiteX27" fmla="*/ 5002306 w 5236526"/>
                <a:gd name="connsiteY27" fmla="*/ 4363507 h 6177659"/>
                <a:gd name="connsiteX28" fmla="*/ 5132522 w 5236526"/>
                <a:gd name="connsiteY28" fmla="*/ 4429994 h 6177659"/>
                <a:gd name="connsiteX29" fmla="*/ 5063073 w 5236526"/>
                <a:gd name="connsiteY29" fmla="*/ 4847915 h 6177659"/>
                <a:gd name="connsiteX30" fmla="*/ 4905544 w 5236526"/>
                <a:gd name="connsiteY30" fmla="*/ 4785630 h 6177659"/>
                <a:gd name="connsiteX31" fmla="*/ 3778281 w 5236526"/>
                <a:gd name="connsiteY31" fmla="*/ 6177659 h 6177659"/>
                <a:gd name="connsiteX32" fmla="*/ 3595980 w 5236526"/>
                <a:gd name="connsiteY32" fmla="*/ 5588772 h 6177659"/>
                <a:gd name="connsiteX33" fmla="*/ 4382946 w 5236526"/>
                <a:gd name="connsiteY33" fmla="*/ 4574791 h 6177659"/>
                <a:gd name="connsiteX34" fmla="*/ 4662995 w 5236526"/>
                <a:gd name="connsiteY34" fmla="*/ 3330617 h 6177659"/>
                <a:gd name="connsiteX35" fmla="*/ 4344179 w 5236526"/>
                <a:gd name="connsiteY35" fmla="*/ 2027325 h 6177659"/>
                <a:gd name="connsiteX36" fmla="*/ 3429000 w 5236526"/>
                <a:gd name="connsiteY36" fmla="*/ 1013460 h 6177659"/>
                <a:gd name="connsiteX37" fmla="*/ 3192780 w 5236526"/>
                <a:gd name="connsiteY37" fmla="*/ 853440 h 6177659"/>
                <a:gd name="connsiteX38" fmla="*/ 2910840 w 5236526"/>
                <a:gd name="connsiteY38" fmla="*/ 739140 h 6177659"/>
                <a:gd name="connsiteX39" fmla="*/ 2514600 w 5236526"/>
                <a:gd name="connsiteY39" fmla="*/ 693420 h 6177659"/>
                <a:gd name="connsiteX40" fmla="*/ 2232660 w 5236526"/>
                <a:gd name="connsiteY40" fmla="*/ 739140 h 6177659"/>
                <a:gd name="connsiteX41" fmla="*/ 1234440 w 5236526"/>
                <a:gd name="connsiteY41" fmla="*/ 1059180 h 6177659"/>
                <a:gd name="connsiteX42" fmla="*/ 960120 w 5236526"/>
                <a:gd name="connsiteY42" fmla="*/ 1165860 h 6177659"/>
                <a:gd name="connsiteX43" fmla="*/ 815340 w 5236526"/>
                <a:gd name="connsiteY43" fmla="*/ 1257300 h 6177659"/>
                <a:gd name="connsiteX44" fmla="*/ 0 w 5236526"/>
                <a:gd name="connsiteY44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876535 w 5236526"/>
                <a:gd name="connsiteY20" fmla="*/ 658738 h 6177659"/>
                <a:gd name="connsiteX21" fmla="*/ 4426665 w 5236526"/>
                <a:gd name="connsiteY21" fmla="*/ 1269080 h 6177659"/>
                <a:gd name="connsiteX22" fmla="*/ 4488069 w 5236526"/>
                <a:gd name="connsiteY22" fmla="*/ 1276698 h 6177659"/>
                <a:gd name="connsiteX23" fmla="*/ 4652910 w 5236526"/>
                <a:gd name="connsiteY23" fmla="*/ 1457499 h 6177659"/>
                <a:gd name="connsiteX24" fmla="*/ 4653133 w 5236526"/>
                <a:gd name="connsiteY24" fmla="*/ 1512918 h 6177659"/>
                <a:gd name="connsiteX25" fmla="*/ 4814397 w 5236526"/>
                <a:gd name="connsiteY25" fmla="*/ 1704828 h 6177659"/>
                <a:gd name="connsiteX26" fmla="*/ 5194385 w 5236526"/>
                <a:gd name="connsiteY26" fmla="*/ 3497350 h 6177659"/>
                <a:gd name="connsiteX27" fmla="*/ 5002306 w 5236526"/>
                <a:gd name="connsiteY27" fmla="*/ 4363507 h 6177659"/>
                <a:gd name="connsiteX28" fmla="*/ 5132522 w 5236526"/>
                <a:gd name="connsiteY28" fmla="*/ 4429994 h 6177659"/>
                <a:gd name="connsiteX29" fmla="*/ 5063073 w 5236526"/>
                <a:gd name="connsiteY29" fmla="*/ 4847915 h 6177659"/>
                <a:gd name="connsiteX30" fmla="*/ 4905544 w 5236526"/>
                <a:gd name="connsiteY30" fmla="*/ 4785630 h 6177659"/>
                <a:gd name="connsiteX31" fmla="*/ 3778281 w 5236526"/>
                <a:gd name="connsiteY31" fmla="*/ 6177659 h 6177659"/>
                <a:gd name="connsiteX32" fmla="*/ 3595980 w 5236526"/>
                <a:gd name="connsiteY32" fmla="*/ 5588772 h 6177659"/>
                <a:gd name="connsiteX33" fmla="*/ 4382946 w 5236526"/>
                <a:gd name="connsiteY33" fmla="*/ 4574791 h 6177659"/>
                <a:gd name="connsiteX34" fmla="*/ 4662995 w 5236526"/>
                <a:gd name="connsiteY34" fmla="*/ 3330617 h 6177659"/>
                <a:gd name="connsiteX35" fmla="*/ 4344179 w 5236526"/>
                <a:gd name="connsiteY35" fmla="*/ 2027325 h 6177659"/>
                <a:gd name="connsiteX36" fmla="*/ 3429000 w 5236526"/>
                <a:gd name="connsiteY36" fmla="*/ 1013460 h 6177659"/>
                <a:gd name="connsiteX37" fmla="*/ 3192780 w 5236526"/>
                <a:gd name="connsiteY37" fmla="*/ 853440 h 6177659"/>
                <a:gd name="connsiteX38" fmla="*/ 2910840 w 5236526"/>
                <a:gd name="connsiteY38" fmla="*/ 739140 h 6177659"/>
                <a:gd name="connsiteX39" fmla="*/ 2514600 w 5236526"/>
                <a:gd name="connsiteY39" fmla="*/ 693420 h 6177659"/>
                <a:gd name="connsiteX40" fmla="*/ 2232660 w 5236526"/>
                <a:gd name="connsiteY40" fmla="*/ 739140 h 6177659"/>
                <a:gd name="connsiteX41" fmla="*/ 1234440 w 5236526"/>
                <a:gd name="connsiteY41" fmla="*/ 1059180 h 6177659"/>
                <a:gd name="connsiteX42" fmla="*/ 960120 w 5236526"/>
                <a:gd name="connsiteY42" fmla="*/ 1165860 h 6177659"/>
                <a:gd name="connsiteX43" fmla="*/ 815340 w 5236526"/>
                <a:gd name="connsiteY43" fmla="*/ 1257300 h 6177659"/>
                <a:gd name="connsiteX44" fmla="*/ 0 w 5236526"/>
                <a:gd name="connsiteY44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876535 w 5236526"/>
                <a:gd name="connsiteY19" fmla="*/ 658738 h 6177659"/>
                <a:gd name="connsiteX20" fmla="*/ 4426665 w 5236526"/>
                <a:gd name="connsiteY20" fmla="*/ 1269080 h 6177659"/>
                <a:gd name="connsiteX21" fmla="*/ 4488069 w 5236526"/>
                <a:gd name="connsiteY21" fmla="*/ 1276698 h 6177659"/>
                <a:gd name="connsiteX22" fmla="*/ 4652910 w 5236526"/>
                <a:gd name="connsiteY22" fmla="*/ 1457499 h 6177659"/>
                <a:gd name="connsiteX23" fmla="*/ 4653133 w 5236526"/>
                <a:gd name="connsiteY23" fmla="*/ 1512918 h 6177659"/>
                <a:gd name="connsiteX24" fmla="*/ 4814397 w 5236526"/>
                <a:gd name="connsiteY24" fmla="*/ 1704828 h 6177659"/>
                <a:gd name="connsiteX25" fmla="*/ 5194385 w 5236526"/>
                <a:gd name="connsiteY25" fmla="*/ 3497350 h 6177659"/>
                <a:gd name="connsiteX26" fmla="*/ 5002306 w 5236526"/>
                <a:gd name="connsiteY26" fmla="*/ 4363507 h 6177659"/>
                <a:gd name="connsiteX27" fmla="*/ 5132522 w 5236526"/>
                <a:gd name="connsiteY27" fmla="*/ 4429994 h 6177659"/>
                <a:gd name="connsiteX28" fmla="*/ 5063073 w 5236526"/>
                <a:gd name="connsiteY28" fmla="*/ 4847915 h 6177659"/>
                <a:gd name="connsiteX29" fmla="*/ 4905544 w 5236526"/>
                <a:gd name="connsiteY29" fmla="*/ 4785630 h 6177659"/>
                <a:gd name="connsiteX30" fmla="*/ 3778281 w 5236526"/>
                <a:gd name="connsiteY30" fmla="*/ 6177659 h 6177659"/>
                <a:gd name="connsiteX31" fmla="*/ 3595980 w 5236526"/>
                <a:gd name="connsiteY31" fmla="*/ 5588772 h 6177659"/>
                <a:gd name="connsiteX32" fmla="*/ 4382946 w 5236526"/>
                <a:gd name="connsiteY32" fmla="*/ 4574791 h 6177659"/>
                <a:gd name="connsiteX33" fmla="*/ 4662995 w 5236526"/>
                <a:gd name="connsiteY33" fmla="*/ 3330617 h 6177659"/>
                <a:gd name="connsiteX34" fmla="*/ 4344179 w 5236526"/>
                <a:gd name="connsiteY34" fmla="*/ 2027325 h 6177659"/>
                <a:gd name="connsiteX35" fmla="*/ 3429000 w 5236526"/>
                <a:gd name="connsiteY35" fmla="*/ 1013460 h 6177659"/>
                <a:gd name="connsiteX36" fmla="*/ 3192780 w 5236526"/>
                <a:gd name="connsiteY36" fmla="*/ 853440 h 6177659"/>
                <a:gd name="connsiteX37" fmla="*/ 2910840 w 5236526"/>
                <a:gd name="connsiteY37" fmla="*/ 739140 h 6177659"/>
                <a:gd name="connsiteX38" fmla="*/ 2514600 w 5236526"/>
                <a:gd name="connsiteY38" fmla="*/ 693420 h 6177659"/>
                <a:gd name="connsiteX39" fmla="*/ 2232660 w 5236526"/>
                <a:gd name="connsiteY39" fmla="*/ 739140 h 6177659"/>
                <a:gd name="connsiteX40" fmla="*/ 1234440 w 5236526"/>
                <a:gd name="connsiteY40" fmla="*/ 1059180 h 6177659"/>
                <a:gd name="connsiteX41" fmla="*/ 960120 w 5236526"/>
                <a:gd name="connsiteY41" fmla="*/ 1165860 h 6177659"/>
                <a:gd name="connsiteX42" fmla="*/ 815340 w 5236526"/>
                <a:gd name="connsiteY42" fmla="*/ 1257300 h 6177659"/>
                <a:gd name="connsiteX43" fmla="*/ 0 w 5236526"/>
                <a:gd name="connsiteY43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3876535 w 5236526"/>
                <a:gd name="connsiteY18" fmla="*/ 658738 h 6177659"/>
                <a:gd name="connsiteX19" fmla="*/ 4426665 w 5236526"/>
                <a:gd name="connsiteY19" fmla="*/ 1269080 h 6177659"/>
                <a:gd name="connsiteX20" fmla="*/ 4488069 w 5236526"/>
                <a:gd name="connsiteY20" fmla="*/ 1276698 h 6177659"/>
                <a:gd name="connsiteX21" fmla="*/ 4652910 w 5236526"/>
                <a:gd name="connsiteY21" fmla="*/ 1457499 h 6177659"/>
                <a:gd name="connsiteX22" fmla="*/ 4653133 w 5236526"/>
                <a:gd name="connsiteY22" fmla="*/ 1512918 h 6177659"/>
                <a:gd name="connsiteX23" fmla="*/ 4814397 w 5236526"/>
                <a:gd name="connsiteY23" fmla="*/ 1704828 h 6177659"/>
                <a:gd name="connsiteX24" fmla="*/ 5194385 w 5236526"/>
                <a:gd name="connsiteY24" fmla="*/ 3497350 h 6177659"/>
                <a:gd name="connsiteX25" fmla="*/ 5002306 w 5236526"/>
                <a:gd name="connsiteY25" fmla="*/ 4363507 h 6177659"/>
                <a:gd name="connsiteX26" fmla="*/ 5132522 w 5236526"/>
                <a:gd name="connsiteY26" fmla="*/ 4429994 h 6177659"/>
                <a:gd name="connsiteX27" fmla="*/ 5063073 w 5236526"/>
                <a:gd name="connsiteY27" fmla="*/ 4847915 h 6177659"/>
                <a:gd name="connsiteX28" fmla="*/ 4905544 w 5236526"/>
                <a:gd name="connsiteY28" fmla="*/ 4785630 h 6177659"/>
                <a:gd name="connsiteX29" fmla="*/ 3778281 w 5236526"/>
                <a:gd name="connsiteY29" fmla="*/ 6177659 h 6177659"/>
                <a:gd name="connsiteX30" fmla="*/ 3595980 w 5236526"/>
                <a:gd name="connsiteY30" fmla="*/ 5588772 h 6177659"/>
                <a:gd name="connsiteX31" fmla="*/ 4382946 w 5236526"/>
                <a:gd name="connsiteY31" fmla="*/ 4574791 h 6177659"/>
                <a:gd name="connsiteX32" fmla="*/ 4662995 w 5236526"/>
                <a:gd name="connsiteY32" fmla="*/ 3330617 h 6177659"/>
                <a:gd name="connsiteX33" fmla="*/ 4344179 w 5236526"/>
                <a:gd name="connsiteY33" fmla="*/ 2027325 h 6177659"/>
                <a:gd name="connsiteX34" fmla="*/ 3429000 w 5236526"/>
                <a:gd name="connsiteY34" fmla="*/ 1013460 h 6177659"/>
                <a:gd name="connsiteX35" fmla="*/ 3192780 w 5236526"/>
                <a:gd name="connsiteY35" fmla="*/ 853440 h 6177659"/>
                <a:gd name="connsiteX36" fmla="*/ 2910840 w 5236526"/>
                <a:gd name="connsiteY36" fmla="*/ 739140 h 6177659"/>
                <a:gd name="connsiteX37" fmla="*/ 2514600 w 5236526"/>
                <a:gd name="connsiteY37" fmla="*/ 693420 h 6177659"/>
                <a:gd name="connsiteX38" fmla="*/ 2232660 w 5236526"/>
                <a:gd name="connsiteY38" fmla="*/ 739140 h 6177659"/>
                <a:gd name="connsiteX39" fmla="*/ 1234440 w 5236526"/>
                <a:gd name="connsiteY39" fmla="*/ 1059180 h 6177659"/>
                <a:gd name="connsiteX40" fmla="*/ 960120 w 5236526"/>
                <a:gd name="connsiteY40" fmla="*/ 1165860 h 6177659"/>
                <a:gd name="connsiteX41" fmla="*/ 815340 w 5236526"/>
                <a:gd name="connsiteY41" fmla="*/ 1257300 h 6177659"/>
                <a:gd name="connsiteX42" fmla="*/ 0 w 5236526"/>
                <a:gd name="connsiteY42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3876535 w 5236526"/>
                <a:gd name="connsiteY17" fmla="*/ 658738 h 6177659"/>
                <a:gd name="connsiteX18" fmla="*/ 4426665 w 5236526"/>
                <a:gd name="connsiteY18" fmla="*/ 1269080 h 6177659"/>
                <a:gd name="connsiteX19" fmla="*/ 4488069 w 5236526"/>
                <a:gd name="connsiteY19" fmla="*/ 1276698 h 6177659"/>
                <a:gd name="connsiteX20" fmla="*/ 4652910 w 5236526"/>
                <a:gd name="connsiteY20" fmla="*/ 1457499 h 6177659"/>
                <a:gd name="connsiteX21" fmla="*/ 4653133 w 5236526"/>
                <a:gd name="connsiteY21" fmla="*/ 1512918 h 6177659"/>
                <a:gd name="connsiteX22" fmla="*/ 4814397 w 5236526"/>
                <a:gd name="connsiteY22" fmla="*/ 1704828 h 6177659"/>
                <a:gd name="connsiteX23" fmla="*/ 5194385 w 5236526"/>
                <a:gd name="connsiteY23" fmla="*/ 3497350 h 6177659"/>
                <a:gd name="connsiteX24" fmla="*/ 5002306 w 5236526"/>
                <a:gd name="connsiteY24" fmla="*/ 4363507 h 6177659"/>
                <a:gd name="connsiteX25" fmla="*/ 5132522 w 5236526"/>
                <a:gd name="connsiteY25" fmla="*/ 4429994 h 6177659"/>
                <a:gd name="connsiteX26" fmla="*/ 5063073 w 5236526"/>
                <a:gd name="connsiteY26" fmla="*/ 4847915 h 6177659"/>
                <a:gd name="connsiteX27" fmla="*/ 4905544 w 5236526"/>
                <a:gd name="connsiteY27" fmla="*/ 4785630 h 6177659"/>
                <a:gd name="connsiteX28" fmla="*/ 3778281 w 5236526"/>
                <a:gd name="connsiteY28" fmla="*/ 6177659 h 6177659"/>
                <a:gd name="connsiteX29" fmla="*/ 3595980 w 5236526"/>
                <a:gd name="connsiteY29" fmla="*/ 5588772 h 6177659"/>
                <a:gd name="connsiteX30" fmla="*/ 4382946 w 5236526"/>
                <a:gd name="connsiteY30" fmla="*/ 4574791 h 6177659"/>
                <a:gd name="connsiteX31" fmla="*/ 4662995 w 5236526"/>
                <a:gd name="connsiteY31" fmla="*/ 3330617 h 6177659"/>
                <a:gd name="connsiteX32" fmla="*/ 4344179 w 5236526"/>
                <a:gd name="connsiteY32" fmla="*/ 2027325 h 6177659"/>
                <a:gd name="connsiteX33" fmla="*/ 3429000 w 5236526"/>
                <a:gd name="connsiteY33" fmla="*/ 1013460 h 6177659"/>
                <a:gd name="connsiteX34" fmla="*/ 3192780 w 5236526"/>
                <a:gd name="connsiteY34" fmla="*/ 853440 h 6177659"/>
                <a:gd name="connsiteX35" fmla="*/ 2910840 w 5236526"/>
                <a:gd name="connsiteY35" fmla="*/ 739140 h 6177659"/>
                <a:gd name="connsiteX36" fmla="*/ 2514600 w 5236526"/>
                <a:gd name="connsiteY36" fmla="*/ 693420 h 6177659"/>
                <a:gd name="connsiteX37" fmla="*/ 2232660 w 5236526"/>
                <a:gd name="connsiteY37" fmla="*/ 739140 h 6177659"/>
                <a:gd name="connsiteX38" fmla="*/ 1234440 w 5236526"/>
                <a:gd name="connsiteY38" fmla="*/ 1059180 h 6177659"/>
                <a:gd name="connsiteX39" fmla="*/ 960120 w 5236526"/>
                <a:gd name="connsiteY39" fmla="*/ 1165860 h 6177659"/>
                <a:gd name="connsiteX40" fmla="*/ 815340 w 5236526"/>
                <a:gd name="connsiteY40" fmla="*/ 1257300 h 6177659"/>
                <a:gd name="connsiteX41" fmla="*/ 0 w 5236526"/>
                <a:gd name="connsiteY41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62501 w 5236526"/>
                <a:gd name="connsiteY32" fmla="*/ 1085487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62501 w 5236526"/>
                <a:gd name="connsiteY32" fmla="*/ 1085487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910840 w 5236526"/>
                <a:gd name="connsiteY33" fmla="*/ 739140 h 6177659"/>
                <a:gd name="connsiteX34" fmla="*/ 2514600 w 5236526"/>
                <a:gd name="connsiteY34" fmla="*/ 693420 h 6177659"/>
                <a:gd name="connsiteX35" fmla="*/ 2232660 w 5236526"/>
                <a:gd name="connsiteY35" fmla="*/ 739140 h 6177659"/>
                <a:gd name="connsiteX36" fmla="*/ 1234440 w 5236526"/>
                <a:gd name="connsiteY36" fmla="*/ 1059180 h 6177659"/>
                <a:gd name="connsiteX37" fmla="*/ 960120 w 5236526"/>
                <a:gd name="connsiteY37" fmla="*/ 1165860 h 6177659"/>
                <a:gd name="connsiteX38" fmla="*/ 815340 w 5236526"/>
                <a:gd name="connsiteY38" fmla="*/ 1257300 h 6177659"/>
                <a:gd name="connsiteX39" fmla="*/ 0 w 5236526"/>
                <a:gd name="connsiteY39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514600 w 5236526"/>
                <a:gd name="connsiteY33" fmla="*/ 693420 h 6177659"/>
                <a:gd name="connsiteX34" fmla="*/ 2232660 w 5236526"/>
                <a:gd name="connsiteY34" fmla="*/ 739140 h 6177659"/>
                <a:gd name="connsiteX35" fmla="*/ 1234440 w 5236526"/>
                <a:gd name="connsiteY35" fmla="*/ 1059180 h 6177659"/>
                <a:gd name="connsiteX36" fmla="*/ 960120 w 5236526"/>
                <a:gd name="connsiteY36" fmla="*/ 1165860 h 6177659"/>
                <a:gd name="connsiteX37" fmla="*/ 815340 w 5236526"/>
                <a:gd name="connsiteY37" fmla="*/ 1257300 h 6177659"/>
                <a:gd name="connsiteX38" fmla="*/ 0 w 5236526"/>
                <a:gd name="connsiteY38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232660 w 5236526"/>
                <a:gd name="connsiteY33" fmla="*/ 739140 h 6177659"/>
                <a:gd name="connsiteX34" fmla="*/ 1234440 w 5236526"/>
                <a:gd name="connsiteY34" fmla="*/ 1059180 h 6177659"/>
                <a:gd name="connsiteX35" fmla="*/ 960120 w 5236526"/>
                <a:gd name="connsiteY35" fmla="*/ 1165860 h 6177659"/>
                <a:gd name="connsiteX36" fmla="*/ 815340 w 5236526"/>
                <a:gd name="connsiteY36" fmla="*/ 1257300 h 6177659"/>
                <a:gd name="connsiteX37" fmla="*/ 0 w 5236526"/>
                <a:gd name="connsiteY37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232660 w 5236526"/>
                <a:gd name="connsiteY33" fmla="*/ 739140 h 6177659"/>
                <a:gd name="connsiteX34" fmla="*/ 1234440 w 5236526"/>
                <a:gd name="connsiteY34" fmla="*/ 1059180 h 6177659"/>
                <a:gd name="connsiteX35" fmla="*/ 960120 w 5236526"/>
                <a:gd name="connsiteY35" fmla="*/ 1165860 h 6177659"/>
                <a:gd name="connsiteX36" fmla="*/ 815340 w 5236526"/>
                <a:gd name="connsiteY36" fmla="*/ 1257300 h 6177659"/>
                <a:gd name="connsiteX37" fmla="*/ 0 w 5236526"/>
                <a:gd name="connsiteY37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232660 w 5236526"/>
                <a:gd name="connsiteY33" fmla="*/ 739140 h 6177659"/>
                <a:gd name="connsiteX34" fmla="*/ 1234440 w 5236526"/>
                <a:gd name="connsiteY34" fmla="*/ 1059180 h 6177659"/>
                <a:gd name="connsiteX35" fmla="*/ 960120 w 5236526"/>
                <a:gd name="connsiteY35" fmla="*/ 1165860 h 6177659"/>
                <a:gd name="connsiteX36" fmla="*/ 815340 w 5236526"/>
                <a:gd name="connsiteY36" fmla="*/ 1257300 h 6177659"/>
                <a:gd name="connsiteX37" fmla="*/ 0 w 5236526"/>
                <a:gd name="connsiteY37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232660 w 5236526"/>
                <a:gd name="connsiteY33" fmla="*/ 739140 h 6177659"/>
                <a:gd name="connsiteX34" fmla="*/ 1234440 w 5236526"/>
                <a:gd name="connsiteY34" fmla="*/ 1059180 h 6177659"/>
                <a:gd name="connsiteX35" fmla="*/ 960120 w 5236526"/>
                <a:gd name="connsiteY35" fmla="*/ 1165860 h 6177659"/>
                <a:gd name="connsiteX36" fmla="*/ 815340 w 5236526"/>
                <a:gd name="connsiteY36" fmla="*/ 1257300 h 6177659"/>
                <a:gd name="connsiteX37" fmla="*/ 0 w 5236526"/>
                <a:gd name="connsiteY37" fmla="*/ 1234440 h 6177659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531620 w 5236526"/>
                <a:gd name="connsiteY10" fmla="*/ 319342 h 6199821"/>
                <a:gd name="connsiteX11" fmla="*/ 1584960 w 5236526"/>
                <a:gd name="connsiteY11" fmla="*/ 349822 h 6199821"/>
                <a:gd name="connsiteX12" fmla="*/ 1714500 w 5236526"/>
                <a:gd name="connsiteY12" fmla="*/ 296482 h 6199821"/>
                <a:gd name="connsiteX13" fmla="*/ 1684020 w 5236526"/>
                <a:gd name="connsiteY13" fmla="*/ 136462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531620 w 5236526"/>
                <a:gd name="connsiteY10" fmla="*/ 319342 h 6199821"/>
                <a:gd name="connsiteX11" fmla="*/ 1584960 w 5236526"/>
                <a:gd name="connsiteY11" fmla="*/ 349822 h 6199821"/>
                <a:gd name="connsiteX12" fmla="*/ 1714500 w 5236526"/>
                <a:gd name="connsiteY12" fmla="*/ 296482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531620 w 5236526"/>
                <a:gd name="connsiteY10" fmla="*/ 319342 h 6199821"/>
                <a:gd name="connsiteX11" fmla="*/ 1584960 w 5236526"/>
                <a:gd name="connsiteY11" fmla="*/ 34982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531620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18868 w 5236526"/>
                <a:gd name="connsiteY8" fmla="*/ 442651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091793 w 5236526"/>
                <a:gd name="connsiteY7" fmla="*/ 481442 h 6199821"/>
                <a:gd name="connsiteX8" fmla="*/ 1218868 w 5236526"/>
                <a:gd name="connsiteY8" fmla="*/ 442651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78655 w 5236526"/>
                <a:gd name="connsiteY5" fmla="*/ 432260 h 6199821"/>
                <a:gd name="connsiteX6" fmla="*/ 1074420 w 5236526"/>
                <a:gd name="connsiteY6" fmla="*/ 380302 h 6199821"/>
                <a:gd name="connsiteX7" fmla="*/ 1091793 w 5236526"/>
                <a:gd name="connsiteY7" fmla="*/ 481442 h 6199821"/>
                <a:gd name="connsiteX8" fmla="*/ 1218868 w 5236526"/>
                <a:gd name="connsiteY8" fmla="*/ 442651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898716 w 5236526"/>
                <a:gd name="connsiteY4" fmla="*/ 547251 h 6199821"/>
                <a:gd name="connsiteX5" fmla="*/ 878655 w 5236526"/>
                <a:gd name="connsiteY5" fmla="*/ 432260 h 6199821"/>
                <a:gd name="connsiteX6" fmla="*/ 1074420 w 5236526"/>
                <a:gd name="connsiteY6" fmla="*/ 380302 h 6199821"/>
                <a:gd name="connsiteX7" fmla="*/ 1091793 w 5236526"/>
                <a:gd name="connsiteY7" fmla="*/ 481442 h 6199821"/>
                <a:gd name="connsiteX8" fmla="*/ 1218868 w 5236526"/>
                <a:gd name="connsiteY8" fmla="*/ 442651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75815 w 5312341"/>
                <a:gd name="connsiteY0" fmla="*/ 1256602 h 6199821"/>
                <a:gd name="connsiteX1" fmla="*/ 289175 w 5312341"/>
                <a:gd name="connsiteY1" fmla="*/ 1012762 h 6199821"/>
                <a:gd name="connsiteX2" fmla="*/ 533015 w 5312341"/>
                <a:gd name="connsiteY2" fmla="*/ 814642 h 6199821"/>
                <a:gd name="connsiteX3" fmla="*/ 761615 w 5312341"/>
                <a:gd name="connsiteY3" fmla="*/ 647002 h 6199821"/>
                <a:gd name="connsiteX4" fmla="*/ 974531 w 5312341"/>
                <a:gd name="connsiteY4" fmla="*/ 547251 h 6199821"/>
                <a:gd name="connsiteX5" fmla="*/ 954470 w 5312341"/>
                <a:gd name="connsiteY5" fmla="*/ 432260 h 6199821"/>
                <a:gd name="connsiteX6" fmla="*/ 1150235 w 5312341"/>
                <a:gd name="connsiteY6" fmla="*/ 380302 h 6199821"/>
                <a:gd name="connsiteX7" fmla="*/ 1167608 w 5312341"/>
                <a:gd name="connsiteY7" fmla="*/ 481442 h 6199821"/>
                <a:gd name="connsiteX8" fmla="*/ 1294683 w 5312341"/>
                <a:gd name="connsiteY8" fmla="*/ 442651 h 6199821"/>
                <a:gd name="connsiteX9" fmla="*/ 1325162 w 5312341"/>
                <a:gd name="connsiteY9" fmla="*/ 393463 h 6199821"/>
                <a:gd name="connsiteX10" fmla="*/ 1561049 w 5312341"/>
                <a:gd name="connsiteY10" fmla="*/ 319342 h 6199821"/>
                <a:gd name="connsiteX11" fmla="*/ 1601504 w 5312341"/>
                <a:gd name="connsiteY11" fmla="*/ 352592 h 6199821"/>
                <a:gd name="connsiteX12" fmla="*/ 1798046 w 5312341"/>
                <a:gd name="connsiteY12" fmla="*/ 288171 h 6199821"/>
                <a:gd name="connsiteX13" fmla="*/ 1757258 w 5312341"/>
                <a:gd name="connsiteY13" fmla="*/ 119840 h 6199821"/>
                <a:gd name="connsiteX14" fmla="*/ 2140501 w 5312341"/>
                <a:gd name="connsiteY14" fmla="*/ 0 h 6199821"/>
                <a:gd name="connsiteX15" fmla="*/ 2188799 w 5312341"/>
                <a:gd name="connsiteY15" fmla="*/ 165560 h 6199821"/>
                <a:gd name="connsiteX16" fmla="*/ 3952350 w 5312341"/>
                <a:gd name="connsiteY16" fmla="*/ 680900 h 6199821"/>
                <a:gd name="connsiteX17" fmla="*/ 4502480 w 5312341"/>
                <a:gd name="connsiteY17" fmla="*/ 1291242 h 6199821"/>
                <a:gd name="connsiteX18" fmla="*/ 4563884 w 5312341"/>
                <a:gd name="connsiteY18" fmla="*/ 1298860 h 6199821"/>
                <a:gd name="connsiteX19" fmla="*/ 4728725 w 5312341"/>
                <a:gd name="connsiteY19" fmla="*/ 1479661 h 6199821"/>
                <a:gd name="connsiteX20" fmla="*/ 4728948 w 5312341"/>
                <a:gd name="connsiteY20" fmla="*/ 1535080 h 6199821"/>
                <a:gd name="connsiteX21" fmla="*/ 4890212 w 5312341"/>
                <a:gd name="connsiteY21" fmla="*/ 1726990 h 6199821"/>
                <a:gd name="connsiteX22" fmla="*/ 5270200 w 5312341"/>
                <a:gd name="connsiteY22" fmla="*/ 3519512 h 6199821"/>
                <a:gd name="connsiteX23" fmla="*/ 5078121 w 5312341"/>
                <a:gd name="connsiteY23" fmla="*/ 4385669 h 6199821"/>
                <a:gd name="connsiteX24" fmla="*/ 5208337 w 5312341"/>
                <a:gd name="connsiteY24" fmla="*/ 4452156 h 6199821"/>
                <a:gd name="connsiteX25" fmla="*/ 5138888 w 5312341"/>
                <a:gd name="connsiteY25" fmla="*/ 4870077 h 6199821"/>
                <a:gd name="connsiteX26" fmla="*/ 4981359 w 5312341"/>
                <a:gd name="connsiteY26" fmla="*/ 4807792 h 6199821"/>
                <a:gd name="connsiteX27" fmla="*/ 3854096 w 5312341"/>
                <a:gd name="connsiteY27" fmla="*/ 6199821 h 6199821"/>
                <a:gd name="connsiteX28" fmla="*/ 3671795 w 5312341"/>
                <a:gd name="connsiteY28" fmla="*/ 5610934 h 6199821"/>
                <a:gd name="connsiteX29" fmla="*/ 4458761 w 5312341"/>
                <a:gd name="connsiteY29" fmla="*/ 4596953 h 6199821"/>
                <a:gd name="connsiteX30" fmla="*/ 4738810 w 5312341"/>
                <a:gd name="connsiteY30" fmla="*/ 3352779 h 6199821"/>
                <a:gd name="connsiteX31" fmla="*/ 4419994 w 5312341"/>
                <a:gd name="connsiteY31" fmla="*/ 2049487 h 6199821"/>
                <a:gd name="connsiteX32" fmla="*/ 3602741 w 5312341"/>
                <a:gd name="connsiteY32" fmla="*/ 1163055 h 6199821"/>
                <a:gd name="connsiteX33" fmla="*/ 2308475 w 5312341"/>
                <a:gd name="connsiteY33" fmla="*/ 761302 h 6199821"/>
                <a:gd name="connsiteX34" fmla="*/ 1310255 w 5312341"/>
                <a:gd name="connsiteY34" fmla="*/ 1081342 h 6199821"/>
                <a:gd name="connsiteX35" fmla="*/ 1035935 w 5312341"/>
                <a:gd name="connsiteY35" fmla="*/ 1188022 h 6199821"/>
                <a:gd name="connsiteX36" fmla="*/ 0 w 5312341"/>
                <a:gd name="connsiteY36" fmla="*/ 3464807 h 6199821"/>
                <a:gd name="connsiteX37" fmla="*/ 75815 w 5312341"/>
                <a:gd name="connsiteY37" fmla="*/ 1256602 h 6199821"/>
                <a:gd name="connsiteX0" fmla="*/ 0 w 5842672"/>
                <a:gd name="connsiteY0" fmla="*/ 3281515 h 6199821"/>
                <a:gd name="connsiteX1" fmla="*/ 819506 w 5842672"/>
                <a:gd name="connsiteY1" fmla="*/ 1012762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1566266 w 5842672"/>
                <a:gd name="connsiteY35" fmla="*/ 1188022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819506 w 5842672"/>
                <a:gd name="connsiteY1" fmla="*/ 1012762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819506 w 5842672"/>
                <a:gd name="connsiteY1" fmla="*/ 1012762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819506 w 5842672"/>
                <a:gd name="connsiteY1" fmla="*/ 1012762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84589 w 5842672"/>
                <a:gd name="connsiteY2" fmla="*/ 2050403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84589 w 5842672"/>
                <a:gd name="connsiteY2" fmla="*/ 2050403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84589 w 5842672"/>
                <a:gd name="connsiteY2" fmla="*/ 2050403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84589 w 5842672"/>
                <a:gd name="connsiteY2" fmla="*/ 2050403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24787 w 5842672"/>
                <a:gd name="connsiteY2" fmla="*/ 2266904 h 6199821"/>
                <a:gd name="connsiteX3" fmla="*/ 284589 w 5842672"/>
                <a:gd name="connsiteY3" fmla="*/ 2050403 h 6199821"/>
                <a:gd name="connsiteX4" fmla="*/ 1291946 w 5842672"/>
                <a:gd name="connsiteY4" fmla="*/ 647002 h 6199821"/>
                <a:gd name="connsiteX5" fmla="*/ 1504862 w 5842672"/>
                <a:gd name="connsiteY5" fmla="*/ 547251 h 6199821"/>
                <a:gd name="connsiteX6" fmla="*/ 1484801 w 5842672"/>
                <a:gd name="connsiteY6" fmla="*/ 432260 h 6199821"/>
                <a:gd name="connsiteX7" fmla="*/ 1680566 w 5842672"/>
                <a:gd name="connsiteY7" fmla="*/ 380302 h 6199821"/>
                <a:gd name="connsiteX8" fmla="*/ 1697939 w 5842672"/>
                <a:gd name="connsiteY8" fmla="*/ 481442 h 6199821"/>
                <a:gd name="connsiteX9" fmla="*/ 1825014 w 5842672"/>
                <a:gd name="connsiteY9" fmla="*/ 442651 h 6199821"/>
                <a:gd name="connsiteX10" fmla="*/ 1855493 w 5842672"/>
                <a:gd name="connsiteY10" fmla="*/ 393463 h 6199821"/>
                <a:gd name="connsiteX11" fmla="*/ 2091380 w 5842672"/>
                <a:gd name="connsiteY11" fmla="*/ 319342 h 6199821"/>
                <a:gd name="connsiteX12" fmla="*/ 2131835 w 5842672"/>
                <a:gd name="connsiteY12" fmla="*/ 352592 h 6199821"/>
                <a:gd name="connsiteX13" fmla="*/ 2328377 w 5842672"/>
                <a:gd name="connsiteY13" fmla="*/ 288171 h 6199821"/>
                <a:gd name="connsiteX14" fmla="*/ 2287589 w 5842672"/>
                <a:gd name="connsiteY14" fmla="*/ 119840 h 6199821"/>
                <a:gd name="connsiteX15" fmla="*/ 2670832 w 5842672"/>
                <a:gd name="connsiteY15" fmla="*/ 0 h 6199821"/>
                <a:gd name="connsiteX16" fmla="*/ 2719130 w 5842672"/>
                <a:gd name="connsiteY16" fmla="*/ 165560 h 6199821"/>
                <a:gd name="connsiteX17" fmla="*/ 4482681 w 5842672"/>
                <a:gd name="connsiteY17" fmla="*/ 680900 h 6199821"/>
                <a:gd name="connsiteX18" fmla="*/ 5032811 w 5842672"/>
                <a:gd name="connsiteY18" fmla="*/ 1291242 h 6199821"/>
                <a:gd name="connsiteX19" fmla="*/ 5094215 w 5842672"/>
                <a:gd name="connsiteY19" fmla="*/ 1298860 h 6199821"/>
                <a:gd name="connsiteX20" fmla="*/ 5259056 w 5842672"/>
                <a:gd name="connsiteY20" fmla="*/ 1479661 h 6199821"/>
                <a:gd name="connsiteX21" fmla="*/ 5259279 w 5842672"/>
                <a:gd name="connsiteY21" fmla="*/ 1535080 h 6199821"/>
                <a:gd name="connsiteX22" fmla="*/ 5420543 w 5842672"/>
                <a:gd name="connsiteY22" fmla="*/ 1726990 h 6199821"/>
                <a:gd name="connsiteX23" fmla="*/ 5800531 w 5842672"/>
                <a:gd name="connsiteY23" fmla="*/ 3519512 h 6199821"/>
                <a:gd name="connsiteX24" fmla="*/ 5608452 w 5842672"/>
                <a:gd name="connsiteY24" fmla="*/ 4385669 h 6199821"/>
                <a:gd name="connsiteX25" fmla="*/ 5738668 w 5842672"/>
                <a:gd name="connsiteY25" fmla="*/ 4452156 h 6199821"/>
                <a:gd name="connsiteX26" fmla="*/ 5669219 w 5842672"/>
                <a:gd name="connsiteY26" fmla="*/ 4870077 h 6199821"/>
                <a:gd name="connsiteX27" fmla="*/ 5511690 w 5842672"/>
                <a:gd name="connsiteY27" fmla="*/ 4807792 h 6199821"/>
                <a:gd name="connsiteX28" fmla="*/ 4384427 w 5842672"/>
                <a:gd name="connsiteY28" fmla="*/ 6199821 h 6199821"/>
                <a:gd name="connsiteX29" fmla="*/ 4202126 w 5842672"/>
                <a:gd name="connsiteY29" fmla="*/ 5610934 h 6199821"/>
                <a:gd name="connsiteX30" fmla="*/ 4989092 w 5842672"/>
                <a:gd name="connsiteY30" fmla="*/ 4596953 h 6199821"/>
                <a:gd name="connsiteX31" fmla="*/ 5269141 w 5842672"/>
                <a:gd name="connsiteY31" fmla="*/ 3352779 h 6199821"/>
                <a:gd name="connsiteX32" fmla="*/ 4950325 w 5842672"/>
                <a:gd name="connsiteY32" fmla="*/ 2049487 h 6199821"/>
                <a:gd name="connsiteX33" fmla="*/ 4133072 w 5842672"/>
                <a:gd name="connsiteY33" fmla="*/ 1163055 h 6199821"/>
                <a:gd name="connsiteX34" fmla="*/ 2838806 w 5842672"/>
                <a:gd name="connsiteY34" fmla="*/ 761302 h 6199821"/>
                <a:gd name="connsiteX35" fmla="*/ 1840586 w 5842672"/>
                <a:gd name="connsiteY35" fmla="*/ 1081342 h 6199821"/>
                <a:gd name="connsiteX36" fmla="*/ 831666 w 5842672"/>
                <a:gd name="connsiteY36" fmla="*/ 2111591 h 6199821"/>
                <a:gd name="connsiteX37" fmla="*/ 530331 w 5842672"/>
                <a:gd name="connsiteY37" fmla="*/ 3464807 h 6199821"/>
                <a:gd name="connsiteX38" fmla="*/ 0 w 5842672"/>
                <a:gd name="connsiteY38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24787 w 5842672"/>
                <a:gd name="connsiteY2" fmla="*/ 2266904 h 6199821"/>
                <a:gd name="connsiteX3" fmla="*/ 268944 w 5842672"/>
                <a:gd name="connsiteY3" fmla="*/ 2136824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0 w 5842672"/>
                <a:gd name="connsiteY39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68944 w 5842672"/>
                <a:gd name="connsiteY3" fmla="*/ 2136824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0 w 5842672"/>
                <a:gd name="connsiteY39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0 w 5842672"/>
                <a:gd name="connsiteY39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228802 w 5842672"/>
                <a:gd name="connsiteY39" fmla="*/ 3359577 h 6199821"/>
                <a:gd name="connsiteX40" fmla="*/ 0 w 5842672"/>
                <a:gd name="connsiteY40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481697 w 5842672"/>
                <a:gd name="connsiteY39" fmla="*/ 5189370 h 6199821"/>
                <a:gd name="connsiteX40" fmla="*/ 0 w 5842672"/>
                <a:gd name="connsiteY40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501767 w 5842672"/>
                <a:gd name="connsiteY39" fmla="*/ 4612682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826918 w 5842672"/>
                <a:gd name="connsiteY40" fmla="*/ 5015930 h 6199821"/>
                <a:gd name="connsiteX41" fmla="*/ 481697 w 5842672"/>
                <a:gd name="connsiteY41" fmla="*/ 5189370 h 6199821"/>
                <a:gd name="connsiteX42" fmla="*/ 0 w 5842672"/>
                <a:gd name="connsiteY42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158712 w 5842672"/>
                <a:gd name="connsiteY40" fmla="*/ 5644651 h 6199821"/>
                <a:gd name="connsiteX41" fmla="*/ 481697 w 5842672"/>
                <a:gd name="connsiteY41" fmla="*/ 5189370 h 6199821"/>
                <a:gd name="connsiteX42" fmla="*/ 0 w 5842672"/>
                <a:gd name="connsiteY42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158712 w 5842672"/>
                <a:gd name="connsiteY40" fmla="*/ 5644651 h 6199821"/>
                <a:gd name="connsiteX41" fmla="*/ 943331 w 5842672"/>
                <a:gd name="connsiteY41" fmla="*/ 5241402 h 6199821"/>
                <a:gd name="connsiteX42" fmla="*/ 481697 w 5842672"/>
                <a:gd name="connsiteY42" fmla="*/ 5189370 h 6199821"/>
                <a:gd name="connsiteX43" fmla="*/ 0 w 5842672"/>
                <a:gd name="connsiteY43" fmla="*/ 3281515 h 6199821"/>
                <a:gd name="connsiteX0" fmla="*/ 0 w 5842672"/>
                <a:gd name="connsiteY0" fmla="*/ 3281515 h 6212667"/>
                <a:gd name="connsiteX1" fmla="*/ 209347 w 5842672"/>
                <a:gd name="connsiteY1" fmla="*/ 2374266 h 6212667"/>
                <a:gd name="connsiteX2" fmla="*/ 176616 w 5842672"/>
                <a:gd name="connsiteY2" fmla="*/ 2331944 h 6212667"/>
                <a:gd name="connsiteX3" fmla="*/ 248873 w 5842672"/>
                <a:gd name="connsiteY3" fmla="*/ 2067448 h 6212667"/>
                <a:gd name="connsiteX4" fmla="*/ 284589 w 5842672"/>
                <a:gd name="connsiteY4" fmla="*/ 2050403 h 6212667"/>
                <a:gd name="connsiteX5" fmla="*/ 1291946 w 5842672"/>
                <a:gd name="connsiteY5" fmla="*/ 647002 h 6212667"/>
                <a:gd name="connsiteX6" fmla="*/ 1504862 w 5842672"/>
                <a:gd name="connsiteY6" fmla="*/ 547251 h 6212667"/>
                <a:gd name="connsiteX7" fmla="*/ 1484801 w 5842672"/>
                <a:gd name="connsiteY7" fmla="*/ 432260 h 6212667"/>
                <a:gd name="connsiteX8" fmla="*/ 1680566 w 5842672"/>
                <a:gd name="connsiteY8" fmla="*/ 380302 h 6212667"/>
                <a:gd name="connsiteX9" fmla="*/ 1697939 w 5842672"/>
                <a:gd name="connsiteY9" fmla="*/ 481442 h 6212667"/>
                <a:gd name="connsiteX10" fmla="*/ 1825014 w 5842672"/>
                <a:gd name="connsiteY10" fmla="*/ 442651 h 6212667"/>
                <a:gd name="connsiteX11" fmla="*/ 1855493 w 5842672"/>
                <a:gd name="connsiteY11" fmla="*/ 393463 h 6212667"/>
                <a:gd name="connsiteX12" fmla="*/ 2091380 w 5842672"/>
                <a:gd name="connsiteY12" fmla="*/ 319342 h 6212667"/>
                <a:gd name="connsiteX13" fmla="*/ 2131835 w 5842672"/>
                <a:gd name="connsiteY13" fmla="*/ 352592 h 6212667"/>
                <a:gd name="connsiteX14" fmla="*/ 2328377 w 5842672"/>
                <a:gd name="connsiteY14" fmla="*/ 288171 h 6212667"/>
                <a:gd name="connsiteX15" fmla="*/ 2287589 w 5842672"/>
                <a:gd name="connsiteY15" fmla="*/ 119840 h 6212667"/>
                <a:gd name="connsiteX16" fmla="*/ 2670832 w 5842672"/>
                <a:gd name="connsiteY16" fmla="*/ 0 h 6212667"/>
                <a:gd name="connsiteX17" fmla="*/ 2719130 w 5842672"/>
                <a:gd name="connsiteY17" fmla="*/ 165560 h 6212667"/>
                <a:gd name="connsiteX18" fmla="*/ 4482681 w 5842672"/>
                <a:gd name="connsiteY18" fmla="*/ 680900 h 6212667"/>
                <a:gd name="connsiteX19" fmla="*/ 5032811 w 5842672"/>
                <a:gd name="connsiteY19" fmla="*/ 1291242 h 6212667"/>
                <a:gd name="connsiteX20" fmla="*/ 5094215 w 5842672"/>
                <a:gd name="connsiteY20" fmla="*/ 1298860 h 6212667"/>
                <a:gd name="connsiteX21" fmla="*/ 5259056 w 5842672"/>
                <a:gd name="connsiteY21" fmla="*/ 1479661 h 6212667"/>
                <a:gd name="connsiteX22" fmla="*/ 5259279 w 5842672"/>
                <a:gd name="connsiteY22" fmla="*/ 1535080 h 6212667"/>
                <a:gd name="connsiteX23" fmla="*/ 5420543 w 5842672"/>
                <a:gd name="connsiteY23" fmla="*/ 1726990 h 6212667"/>
                <a:gd name="connsiteX24" fmla="*/ 5800531 w 5842672"/>
                <a:gd name="connsiteY24" fmla="*/ 3519512 h 6212667"/>
                <a:gd name="connsiteX25" fmla="*/ 5608452 w 5842672"/>
                <a:gd name="connsiteY25" fmla="*/ 4385669 h 6212667"/>
                <a:gd name="connsiteX26" fmla="*/ 5738668 w 5842672"/>
                <a:gd name="connsiteY26" fmla="*/ 4452156 h 6212667"/>
                <a:gd name="connsiteX27" fmla="*/ 5669219 w 5842672"/>
                <a:gd name="connsiteY27" fmla="*/ 4870077 h 6212667"/>
                <a:gd name="connsiteX28" fmla="*/ 5511690 w 5842672"/>
                <a:gd name="connsiteY28" fmla="*/ 4807792 h 6212667"/>
                <a:gd name="connsiteX29" fmla="*/ 4384427 w 5842672"/>
                <a:gd name="connsiteY29" fmla="*/ 6199821 h 6212667"/>
                <a:gd name="connsiteX30" fmla="*/ 4202126 w 5842672"/>
                <a:gd name="connsiteY30" fmla="*/ 5610934 h 6212667"/>
                <a:gd name="connsiteX31" fmla="*/ 4989092 w 5842672"/>
                <a:gd name="connsiteY31" fmla="*/ 4596953 h 6212667"/>
                <a:gd name="connsiteX32" fmla="*/ 5269141 w 5842672"/>
                <a:gd name="connsiteY32" fmla="*/ 3352779 h 6212667"/>
                <a:gd name="connsiteX33" fmla="*/ 4950325 w 5842672"/>
                <a:gd name="connsiteY33" fmla="*/ 2049487 h 6212667"/>
                <a:gd name="connsiteX34" fmla="*/ 4133072 w 5842672"/>
                <a:gd name="connsiteY34" fmla="*/ 1163055 h 6212667"/>
                <a:gd name="connsiteX35" fmla="*/ 2838806 w 5842672"/>
                <a:gd name="connsiteY35" fmla="*/ 761302 h 6212667"/>
                <a:gd name="connsiteX36" fmla="*/ 1840586 w 5842672"/>
                <a:gd name="connsiteY36" fmla="*/ 1081342 h 6212667"/>
                <a:gd name="connsiteX37" fmla="*/ 831666 w 5842672"/>
                <a:gd name="connsiteY37" fmla="*/ 2111591 h 6212667"/>
                <a:gd name="connsiteX38" fmla="*/ 530331 w 5842672"/>
                <a:gd name="connsiteY38" fmla="*/ 3464807 h 6212667"/>
                <a:gd name="connsiteX39" fmla="*/ 1035657 w 5842672"/>
                <a:gd name="connsiteY39" fmla="*/ 4933546 h 6212667"/>
                <a:gd name="connsiteX40" fmla="*/ 4158712 w 5842672"/>
                <a:gd name="connsiteY40" fmla="*/ 5644651 h 6212667"/>
                <a:gd name="connsiteX41" fmla="*/ 4355408 w 5842672"/>
                <a:gd name="connsiteY41" fmla="*/ 6212667 h 6212667"/>
                <a:gd name="connsiteX42" fmla="*/ 481697 w 5842672"/>
                <a:gd name="connsiteY42" fmla="*/ 5189370 h 6212667"/>
                <a:gd name="connsiteX43" fmla="*/ 0 w 5842672"/>
                <a:gd name="connsiteY43" fmla="*/ 3281515 h 6212667"/>
                <a:gd name="connsiteX0" fmla="*/ 0 w 5842672"/>
                <a:gd name="connsiteY0" fmla="*/ 3281515 h 6212667"/>
                <a:gd name="connsiteX1" fmla="*/ 209347 w 5842672"/>
                <a:gd name="connsiteY1" fmla="*/ 2374266 h 6212667"/>
                <a:gd name="connsiteX2" fmla="*/ 176616 w 5842672"/>
                <a:gd name="connsiteY2" fmla="*/ 2331944 h 6212667"/>
                <a:gd name="connsiteX3" fmla="*/ 248873 w 5842672"/>
                <a:gd name="connsiteY3" fmla="*/ 2067448 h 6212667"/>
                <a:gd name="connsiteX4" fmla="*/ 284589 w 5842672"/>
                <a:gd name="connsiteY4" fmla="*/ 2050403 h 6212667"/>
                <a:gd name="connsiteX5" fmla="*/ 1291946 w 5842672"/>
                <a:gd name="connsiteY5" fmla="*/ 647002 h 6212667"/>
                <a:gd name="connsiteX6" fmla="*/ 1504862 w 5842672"/>
                <a:gd name="connsiteY6" fmla="*/ 547251 h 6212667"/>
                <a:gd name="connsiteX7" fmla="*/ 1484801 w 5842672"/>
                <a:gd name="connsiteY7" fmla="*/ 432260 h 6212667"/>
                <a:gd name="connsiteX8" fmla="*/ 1680566 w 5842672"/>
                <a:gd name="connsiteY8" fmla="*/ 380302 h 6212667"/>
                <a:gd name="connsiteX9" fmla="*/ 1697939 w 5842672"/>
                <a:gd name="connsiteY9" fmla="*/ 481442 h 6212667"/>
                <a:gd name="connsiteX10" fmla="*/ 1825014 w 5842672"/>
                <a:gd name="connsiteY10" fmla="*/ 442651 h 6212667"/>
                <a:gd name="connsiteX11" fmla="*/ 1855493 w 5842672"/>
                <a:gd name="connsiteY11" fmla="*/ 393463 h 6212667"/>
                <a:gd name="connsiteX12" fmla="*/ 2091380 w 5842672"/>
                <a:gd name="connsiteY12" fmla="*/ 319342 h 6212667"/>
                <a:gd name="connsiteX13" fmla="*/ 2131835 w 5842672"/>
                <a:gd name="connsiteY13" fmla="*/ 352592 h 6212667"/>
                <a:gd name="connsiteX14" fmla="*/ 2328377 w 5842672"/>
                <a:gd name="connsiteY14" fmla="*/ 288171 h 6212667"/>
                <a:gd name="connsiteX15" fmla="*/ 2287589 w 5842672"/>
                <a:gd name="connsiteY15" fmla="*/ 119840 h 6212667"/>
                <a:gd name="connsiteX16" fmla="*/ 2670832 w 5842672"/>
                <a:gd name="connsiteY16" fmla="*/ 0 h 6212667"/>
                <a:gd name="connsiteX17" fmla="*/ 2719130 w 5842672"/>
                <a:gd name="connsiteY17" fmla="*/ 165560 h 6212667"/>
                <a:gd name="connsiteX18" fmla="*/ 4482681 w 5842672"/>
                <a:gd name="connsiteY18" fmla="*/ 680900 h 6212667"/>
                <a:gd name="connsiteX19" fmla="*/ 5032811 w 5842672"/>
                <a:gd name="connsiteY19" fmla="*/ 1291242 h 6212667"/>
                <a:gd name="connsiteX20" fmla="*/ 5094215 w 5842672"/>
                <a:gd name="connsiteY20" fmla="*/ 1298860 h 6212667"/>
                <a:gd name="connsiteX21" fmla="*/ 5259056 w 5842672"/>
                <a:gd name="connsiteY21" fmla="*/ 1479661 h 6212667"/>
                <a:gd name="connsiteX22" fmla="*/ 5259279 w 5842672"/>
                <a:gd name="connsiteY22" fmla="*/ 1535080 h 6212667"/>
                <a:gd name="connsiteX23" fmla="*/ 5420543 w 5842672"/>
                <a:gd name="connsiteY23" fmla="*/ 1726990 h 6212667"/>
                <a:gd name="connsiteX24" fmla="*/ 5800531 w 5842672"/>
                <a:gd name="connsiteY24" fmla="*/ 3519512 h 6212667"/>
                <a:gd name="connsiteX25" fmla="*/ 5608452 w 5842672"/>
                <a:gd name="connsiteY25" fmla="*/ 4385669 h 6212667"/>
                <a:gd name="connsiteX26" fmla="*/ 5738668 w 5842672"/>
                <a:gd name="connsiteY26" fmla="*/ 4452156 h 6212667"/>
                <a:gd name="connsiteX27" fmla="*/ 5669219 w 5842672"/>
                <a:gd name="connsiteY27" fmla="*/ 4870077 h 6212667"/>
                <a:gd name="connsiteX28" fmla="*/ 5511690 w 5842672"/>
                <a:gd name="connsiteY28" fmla="*/ 4807792 h 6212667"/>
                <a:gd name="connsiteX29" fmla="*/ 4384427 w 5842672"/>
                <a:gd name="connsiteY29" fmla="*/ 6199821 h 6212667"/>
                <a:gd name="connsiteX30" fmla="*/ 4202126 w 5842672"/>
                <a:gd name="connsiteY30" fmla="*/ 5610934 h 6212667"/>
                <a:gd name="connsiteX31" fmla="*/ 4989092 w 5842672"/>
                <a:gd name="connsiteY31" fmla="*/ 4596953 h 6212667"/>
                <a:gd name="connsiteX32" fmla="*/ 5269141 w 5842672"/>
                <a:gd name="connsiteY32" fmla="*/ 3352779 h 6212667"/>
                <a:gd name="connsiteX33" fmla="*/ 4950325 w 5842672"/>
                <a:gd name="connsiteY33" fmla="*/ 2049487 h 6212667"/>
                <a:gd name="connsiteX34" fmla="*/ 4133072 w 5842672"/>
                <a:gd name="connsiteY34" fmla="*/ 1163055 h 6212667"/>
                <a:gd name="connsiteX35" fmla="*/ 2838806 w 5842672"/>
                <a:gd name="connsiteY35" fmla="*/ 761302 h 6212667"/>
                <a:gd name="connsiteX36" fmla="*/ 1840586 w 5842672"/>
                <a:gd name="connsiteY36" fmla="*/ 1081342 h 6212667"/>
                <a:gd name="connsiteX37" fmla="*/ 831666 w 5842672"/>
                <a:gd name="connsiteY37" fmla="*/ 2111591 h 6212667"/>
                <a:gd name="connsiteX38" fmla="*/ 530331 w 5842672"/>
                <a:gd name="connsiteY38" fmla="*/ 3464807 h 6212667"/>
                <a:gd name="connsiteX39" fmla="*/ 1035657 w 5842672"/>
                <a:gd name="connsiteY39" fmla="*/ 4933546 h 6212667"/>
                <a:gd name="connsiteX40" fmla="*/ 2340275 w 5842672"/>
                <a:gd name="connsiteY40" fmla="*/ 5224058 h 6212667"/>
                <a:gd name="connsiteX41" fmla="*/ 4158712 w 5842672"/>
                <a:gd name="connsiteY41" fmla="*/ 5644651 h 6212667"/>
                <a:gd name="connsiteX42" fmla="*/ 4355408 w 5842672"/>
                <a:gd name="connsiteY42" fmla="*/ 6212667 h 6212667"/>
                <a:gd name="connsiteX43" fmla="*/ 481697 w 5842672"/>
                <a:gd name="connsiteY43" fmla="*/ 5189370 h 6212667"/>
                <a:gd name="connsiteX44" fmla="*/ 0 w 5842672"/>
                <a:gd name="connsiteY44" fmla="*/ 3281515 h 6212667"/>
                <a:gd name="connsiteX0" fmla="*/ 0 w 5842672"/>
                <a:gd name="connsiteY0" fmla="*/ 3281515 h 6212667"/>
                <a:gd name="connsiteX1" fmla="*/ 209347 w 5842672"/>
                <a:gd name="connsiteY1" fmla="*/ 2374266 h 6212667"/>
                <a:gd name="connsiteX2" fmla="*/ 176616 w 5842672"/>
                <a:gd name="connsiteY2" fmla="*/ 2331944 h 6212667"/>
                <a:gd name="connsiteX3" fmla="*/ 248873 w 5842672"/>
                <a:gd name="connsiteY3" fmla="*/ 2067448 h 6212667"/>
                <a:gd name="connsiteX4" fmla="*/ 284589 w 5842672"/>
                <a:gd name="connsiteY4" fmla="*/ 2050403 h 6212667"/>
                <a:gd name="connsiteX5" fmla="*/ 1291946 w 5842672"/>
                <a:gd name="connsiteY5" fmla="*/ 647002 h 6212667"/>
                <a:gd name="connsiteX6" fmla="*/ 1504862 w 5842672"/>
                <a:gd name="connsiteY6" fmla="*/ 547251 h 6212667"/>
                <a:gd name="connsiteX7" fmla="*/ 1484801 w 5842672"/>
                <a:gd name="connsiteY7" fmla="*/ 432260 h 6212667"/>
                <a:gd name="connsiteX8" fmla="*/ 1680566 w 5842672"/>
                <a:gd name="connsiteY8" fmla="*/ 380302 h 6212667"/>
                <a:gd name="connsiteX9" fmla="*/ 1697939 w 5842672"/>
                <a:gd name="connsiteY9" fmla="*/ 481442 h 6212667"/>
                <a:gd name="connsiteX10" fmla="*/ 1825014 w 5842672"/>
                <a:gd name="connsiteY10" fmla="*/ 442651 h 6212667"/>
                <a:gd name="connsiteX11" fmla="*/ 1855493 w 5842672"/>
                <a:gd name="connsiteY11" fmla="*/ 393463 h 6212667"/>
                <a:gd name="connsiteX12" fmla="*/ 2091380 w 5842672"/>
                <a:gd name="connsiteY12" fmla="*/ 319342 h 6212667"/>
                <a:gd name="connsiteX13" fmla="*/ 2131835 w 5842672"/>
                <a:gd name="connsiteY13" fmla="*/ 352592 h 6212667"/>
                <a:gd name="connsiteX14" fmla="*/ 2328377 w 5842672"/>
                <a:gd name="connsiteY14" fmla="*/ 288171 h 6212667"/>
                <a:gd name="connsiteX15" fmla="*/ 2287589 w 5842672"/>
                <a:gd name="connsiteY15" fmla="*/ 119840 h 6212667"/>
                <a:gd name="connsiteX16" fmla="*/ 2670832 w 5842672"/>
                <a:gd name="connsiteY16" fmla="*/ 0 h 6212667"/>
                <a:gd name="connsiteX17" fmla="*/ 2719130 w 5842672"/>
                <a:gd name="connsiteY17" fmla="*/ 165560 h 6212667"/>
                <a:gd name="connsiteX18" fmla="*/ 4482681 w 5842672"/>
                <a:gd name="connsiteY18" fmla="*/ 680900 h 6212667"/>
                <a:gd name="connsiteX19" fmla="*/ 5032811 w 5842672"/>
                <a:gd name="connsiteY19" fmla="*/ 1291242 h 6212667"/>
                <a:gd name="connsiteX20" fmla="*/ 5094215 w 5842672"/>
                <a:gd name="connsiteY20" fmla="*/ 1298860 h 6212667"/>
                <a:gd name="connsiteX21" fmla="*/ 5259056 w 5842672"/>
                <a:gd name="connsiteY21" fmla="*/ 1479661 h 6212667"/>
                <a:gd name="connsiteX22" fmla="*/ 5259279 w 5842672"/>
                <a:gd name="connsiteY22" fmla="*/ 1535080 h 6212667"/>
                <a:gd name="connsiteX23" fmla="*/ 5420543 w 5842672"/>
                <a:gd name="connsiteY23" fmla="*/ 1726990 h 6212667"/>
                <a:gd name="connsiteX24" fmla="*/ 5800531 w 5842672"/>
                <a:gd name="connsiteY24" fmla="*/ 3519512 h 6212667"/>
                <a:gd name="connsiteX25" fmla="*/ 5608452 w 5842672"/>
                <a:gd name="connsiteY25" fmla="*/ 4385669 h 6212667"/>
                <a:gd name="connsiteX26" fmla="*/ 5738668 w 5842672"/>
                <a:gd name="connsiteY26" fmla="*/ 4452156 h 6212667"/>
                <a:gd name="connsiteX27" fmla="*/ 5669219 w 5842672"/>
                <a:gd name="connsiteY27" fmla="*/ 4870077 h 6212667"/>
                <a:gd name="connsiteX28" fmla="*/ 5511690 w 5842672"/>
                <a:gd name="connsiteY28" fmla="*/ 4807792 h 6212667"/>
                <a:gd name="connsiteX29" fmla="*/ 4384427 w 5842672"/>
                <a:gd name="connsiteY29" fmla="*/ 6199821 h 6212667"/>
                <a:gd name="connsiteX30" fmla="*/ 4202126 w 5842672"/>
                <a:gd name="connsiteY30" fmla="*/ 5610934 h 6212667"/>
                <a:gd name="connsiteX31" fmla="*/ 4989092 w 5842672"/>
                <a:gd name="connsiteY31" fmla="*/ 4596953 h 6212667"/>
                <a:gd name="connsiteX32" fmla="*/ 5269141 w 5842672"/>
                <a:gd name="connsiteY32" fmla="*/ 3352779 h 6212667"/>
                <a:gd name="connsiteX33" fmla="*/ 4950325 w 5842672"/>
                <a:gd name="connsiteY33" fmla="*/ 2049487 h 6212667"/>
                <a:gd name="connsiteX34" fmla="*/ 4133072 w 5842672"/>
                <a:gd name="connsiteY34" fmla="*/ 1163055 h 6212667"/>
                <a:gd name="connsiteX35" fmla="*/ 2838806 w 5842672"/>
                <a:gd name="connsiteY35" fmla="*/ 761302 h 6212667"/>
                <a:gd name="connsiteX36" fmla="*/ 1840586 w 5842672"/>
                <a:gd name="connsiteY36" fmla="*/ 1081342 h 6212667"/>
                <a:gd name="connsiteX37" fmla="*/ 831666 w 5842672"/>
                <a:gd name="connsiteY37" fmla="*/ 2111591 h 6212667"/>
                <a:gd name="connsiteX38" fmla="*/ 530331 w 5842672"/>
                <a:gd name="connsiteY38" fmla="*/ 3464807 h 6212667"/>
                <a:gd name="connsiteX39" fmla="*/ 1035657 w 5842672"/>
                <a:gd name="connsiteY39" fmla="*/ 4933546 h 6212667"/>
                <a:gd name="connsiteX40" fmla="*/ 2340275 w 5842672"/>
                <a:gd name="connsiteY40" fmla="*/ 5224058 h 6212667"/>
                <a:gd name="connsiteX41" fmla="*/ 4158712 w 5842672"/>
                <a:gd name="connsiteY41" fmla="*/ 5644651 h 6212667"/>
                <a:gd name="connsiteX42" fmla="*/ 4355408 w 5842672"/>
                <a:gd name="connsiteY42" fmla="*/ 6212667 h 6212667"/>
                <a:gd name="connsiteX43" fmla="*/ 2135550 w 5842672"/>
                <a:gd name="connsiteY43" fmla="*/ 5618634 h 6212667"/>
                <a:gd name="connsiteX44" fmla="*/ 481697 w 5842672"/>
                <a:gd name="connsiteY44" fmla="*/ 5189370 h 6212667"/>
                <a:gd name="connsiteX45" fmla="*/ 0 w 5842672"/>
                <a:gd name="connsiteY45" fmla="*/ 3281515 h 6212667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2340275 w 5842672"/>
                <a:gd name="connsiteY40" fmla="*/ 5224058 h 6724315"/>
                <a:gd name="connsiteX41" fmla="*/ 4158712 w 5842672"/>
                <a:gd name="connsiteY41" fmla="*/ 5644651 h 6724315"/>
                <a:gd name="connsiteX42" fmla="*/ 4355408 w 5842672"/>
                <a:gd name="connsiteY42" fmla="*/ 6212667 h 6724315"/>
                <a:gd name="connsiteX43" fmla="*/ 1898712 w 5842672"/>
                <a:gd name="connsiteY43" fmla="*/ 6724315 h 6724315"/>
                <a:gd name="connsiteX44" fmla="*/ 481697 w 5842672"/>
                <a:gd name="connsiteY44" fmla="*/ 5189370 h 6724315"/>
                <a:gd name="connsiteX45" fmla="*/ 0 w 5842672"/>
                <a:gd name="connsiteY45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4158712 w 5842672"/>
                <a:gd name="connsiteY41" fmla="*/ 5644651 h 6724315"/>
                <a:gd name="connsiteX42" fmla="*/ 4355408 w 5842672"/>
                <a:gd name="connsiteY42" fmla="*/ 6212667 h 6724315"/>
                <a:gd name="connsiteX43" fmla="*/ 1898712 w 5842672"/>
                <a:gd name="connsiteY43" fmla="*/ 6724315 h 6724315"/>
                <a:gd name="connsiteX44" fmla="*/ 481697 w 5842672"/>
                <a:gd name="connsiteY44" fmla="*/ 5189370 h 6724315"/>
                <a:gd name="connsiteX45" fmla="*/ 0 w 5842672"/>
                <a:gd name="connsiteY45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2886207 w 5842672"/>
                <a:gd name="connsiteY41" fmla="*/ 5696683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42159 w 5842672"/>
                <a:gd name="connsiteY40" fmla="*/ 5692347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42159 w 5842672"/>
                <a:gd name="connsiteY40" fmla="*/ 5692347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42159 w 5842672"/>
                <a:gd name="connsiteY40" fmla="*/ 5692347 h 6724315"/>
                <a:gd name="connsiteX41" fmla="*/ 3042761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42159 w 5842672"/>
                <a:gd name="connsiteY40" fmla="*/ 5692347 h 6724315"/>
                <a:gd name="connsiteX41" fmla="*/ 3042761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26252 w 5868924"/>
                <a:gd name="connsiteY0" fmla="*/ 3281515 h 6724315"/>
                <a:gd name="connsiteX1" fmla="*/ 235599 w 5868924"/>
                <a:gd name="connsiteY1" fmla="*/ 2374266 h 6724315"/>
                <a:gd name="connsiteX2" fmla="*/ 202868 w 5868924"/>
                <a:gd name="connsiteY2" fmla="*/ 2331944 h 6724315"/>
                <a:gd name="connsiteX3" fmla="*/ 275125 w 5868924"/>
                <a:gd name="connsiteY3" fmla="*/ 2067448 h 6724315"/>
                <a:gd name="connsiteX4" fmla="*/ 310841 w 5868924"/>
                <a:gd name="connsiteY4" fmla="*/ 2050403 h 6724315"/>
                <a:gd name="connsiteX5" fmla="*/ 1318198 w 5868924"/>
                <a:gd name="connsiteY5" fmla="*/ 647002 h 6724315"/>
                <a:gd name="connsiteX6" fmla="*/ 1531114 w 5868924"/>
                <a:gd name="connsiteY6" fmla="*/ 547251 h 6724315"/>
                <a:gd name="connsiteX7" fmla="*/ 1511053 w 5868924"/>
                <a:gd name="connsiteY7" fmla="*/ 432260 h 6724315"/>
                <a:gd name="connsiteX8" fmla="*/ 1706818 w 5868924"/>
                <a:gd name="connsiteY8" fmla="*/ 380302 h 6724315"/>
                <a:gd name="connsiteX9" fmla="*/ 1724191 w 5868924"/>
                <a:gd name="connsiteY9" fmla="*/ 481442 h 6724315"/>
                <a:gd name="connsiteX10" fmla="*/ 1851266 w 5868924"/>
                <a:gd name="connsiteY10" fmla="*/ 442651 h 6724315"/>
                <a:gd name="connsiteX11" fmla="*/ 1881745 w 5868924"/>
                <a:gd name="connsiteY11" fmla="*/ 393463 h 6724315"/>
                <a:gd name="connsiteX12" fmla="*/ 2117632 w 5868924"/>
                <a:gd name="connsiteY12" fmla="*/ 319342 h 6724315"/>
                <a:gd name="connsiteX13" fmla="*/ 2158087 w 5868924"/>
                <a:gd name="connsiteY13" fmla="*/ 352592 h 6724315"/>
                <a:gd name="connsiteX14" fmla="*/ 2354629 w 5868924"/>
                <a:gd name="connsiteY14" fmla="*/ 288171 h 6724315"/>
                <a:gd name="connsiteX15" fmla="*/ 2313841 w 5868924"/>
                <a:gd name="connsiteY15" fmla="*/ 119840 h 6724315"/>
                <a:gd name="connsiteX16" fmla="*/ 2697084 w 5868924"/>
                <a:gd name="connsiteY16" fmla="*/ 0 h 6724315"/>
                <a:gd name="connsiteX17" fmla="*/ 2745382 w 5868924"/>
                <a:gd name="connsiteY17" fmla="*/ 165560 h 6724315"/>
                <a:gd name="connsiteX18" fmla="*/ 4508933 w 5868924"/>
                <a:gd name="connsiteY18" fmla="*/ 680900 h 6724315"/>
                <a:gd name="connsiteX19" fmla="*/ 5059063 w 5868924"/>
                <a:gd name="connsiteY19" fmla="*/ 1291242 h 6724315"/>
                <a:gd name="connsiteX20" fmla="*/ 5120467 w 5868924"/>
                <a:gd name="connsiteY20" fmla="*/ 1298860 h 6724315"/>
                <a:gd name="connsiteX21" fmla="*/ 5285308 w 5868924"/>
                <a:gd name="connsiteY21" fmla="*/ 1479661 h 6724315"/>
                <a:gd name="connsiteX22" fmla="*/ 5285531 w 5868924"/>
                <a:gd name="connsiteY22" fmla="*/ 1535080 h 6724315"/>
                <a:gd name="connsiteX23" fmla="*/ 5446795 w 5868924"/>
                <a:gd name="connsiteY23" fmla="*/ 1726990 h 6724315"/>
                <a:gd name="connsiteX24" fmla="*/ 5826783 w 5868924"/>
                <a:gd name="connsiteY24" fmla="*/ 3519512 h 6724315"/>
                <a:gd name="connsiteX25" fmla="*/ 5634704 w 5868924"/>
                <a:gd name="connsiteY25" fmla="*/ 4385669 h 6724315"/>
                <a:gd name="connsiteX26" fmla="*/ 5764920 w 5868924"/>
                <a:gd name="connsiteY26" fmla="*/ 4452156 h 6724315"/>
                <a:gd name="connsiteX27" fmla="*/ 5695471 w 5868924"/>
                <a:gd name="connsiteY27" fmla="*/ 4870077 h 6724315"/>
                <a:gd name="connsiteX28" fmla="*/ 5537942 w 5868924"/>
                <a:gd name="connsiteY28" fmla="*/ 4807792 h 6724315"/>
                <a:gd name="connsiteX29" fmla="*/ 4410679 w 5868924"/>
                <a:gd name="connsiteY29" fmla="*/ 6199821 h 6724315"/>
                <a:gd name="connsiteX30" fmla="*/ 4228378 w 5868924"/>
                <a:gd name="connsiteY30" fmla="*/ 5610934 h 6724315"/>
                <a:gd name="connsiteX31" fmla="*/ 5015344 w 5868924"/>
                <a:gd name="connsiteY31" fmla="*/ 4596953 h 6724315"/>
                <a:gd name="connsiteX32" fmla="*/ 5295393 w 5868924"/>
                <a:gd name="connsiteY32" fmla="*/ 3352779 h 6724315"/>
                <a:gd name="connsiteX33" fmla="*/ 4976577 w 5868924"/>
                <a:gd name="connsiteY33" fmla="*/ 2049487 h 6724315"/>
                <a:gd name="connsiteX34" fmla="*/ 4159324 w 5868924"/>
                <a:gd name="connsiteY34" fmla="*/ 1163055 h 6724315"/>
                <a:gd name="connsiteX35" fmla="*/ 2865058 w 5868924"/>
                <a:gd name="connsiteY35" fmla="*/ 761302 h 6724315"/>
                <a:gd name="connsiteX36" fmla="*/ 1866838 w 5868924"/>
                <a:gd name="connsiteY36" fmla="*/ 1081342 h 6724315"/>
                <a:gd name="connsiteX37" fmla="*/ 857918 w 5868924"/>
                <a:gd name="connsiteY37" fmla="*/ 2111591 h 6724315"/>
                <a:gd name="connsiteX38" fmla="*/ 556583 w 5868924"/>
                <a:gd name="connsiteY38" fmla="*/ 3464807 h 6724315"/>
                <a:gd name="connsiteX39" fmla="*/ 1061909 w 5868924"/>
                <a:gd name="connsiteY39" fmla="*/ 4933546 h 6724315"/>
                <a:gd name="connsiteX40" fmla="*/ 1768411 w 5868924"/>
                <a:gd name="connsiteY40" fmla="*/ 5692347 h 6724315"/>
                <a:gd name="connsiteX41" fmla="*/ 3069013 w 5868924"/>
                <a:gd name="connsiteY41" fmla="*/ 6017548 h 6724315"/>
                <a:gd name="connsiteX42" fmla="*/ 4184964 w 5868924"/>
                <a:gd name="connsiteY42" fmla="*/ 5644651 h 6724315"/>
                <a:gd name="connsiteX43" fmla="*/ 4381660 w 5868924"/>
                <a:gd name="connsiteY43" fmla="*/ 6212667 h 6724315"/>
                <a:gd name="connsiteX44" fmla="*/ 1924964 w 5868924"/>
                <a:gd name="connsiteY44" fmla="*/ 6724315 h 6724315"/>
                <a:gd name="connsiteX45" fmla="*/ 507949 w 5868924"/>
                <a:gd name="connsiteY45" fmla="*/ 5189370 h 6724315"/>
                <a:gd name="connsiteX46" fmla="*/ 26252 w 5868924"/>
                <a:gd name="connsiteY46" fmla="*/ 3281515 h 6724315"/>
                <a:gd name="connsiteX0" fmla="*/ 31901 w 5874573"/>
                <a:gd name="connsiteY0" fmla="*/ 3281515 h 6724315"/>
                <a:gd name="connsiteX1" fmla="*/ 241248 w 5874573"/>
                <a:gd name="connsiteY1" fmla="*/ 2374266 h 6724315"/>
                <a:gd name="connsiteX2" fmla="*/ 208517 w 5874573"/>
                <a:gd name="connsiteY2" fmla="*/ 2331944 h 6724315"/>
                <a:gd name="connsiteX3" fmla="*/ 280774 w 5874573"/>
                <a:gd name="connsiteY3" fmla="*/ 2067448 h 6724315"/>
                <a:gd name="connsiteX4" fmla="*/ 316490 w 5874573"/>
                <a:gd name="connsiteY4" fmla="*/ 2050403 h 6724315"/>
                <a:gd name="connsiteX5" fmla="*/ 1323847 w 5874573"/>
                <a:gd name="connsiteY5" fmla="*/ 647002 h 6724315"/>
                <a:gd name="connsiteX6" fmla="*/ 1536763 w 5874573"/>
                <a:gd name="connsiteY6" fmla="*/ 547251 h 6724315"/>
                <a:gd name="connsiteX7" fmla="*/ 1516702 w 5874573"/>
                <a:gd name="connsiteY7" fmla="*/ 432260 h 6724315"/>
                <a:gd name="connsiteX8" fmla="*/ 1712467 w 5874573"/>
                <a:gd name="connsiteY8" fmla="*/ 380302 h 6724315"/>
                <a:gd name="connsiteX9" fmla="*/ 1729840 w 5874573"/>
                <a:gd name="connsiteY9" fmla="*/ 481442 h 6724315"/>
                <a:gd name="connsiteX10" fmla="*/ 1856915 w 5874573"/>
                <a:gd name="connsiteY10" fmla="*/ 442651 h 6724315"/>
                <a:gd name="connsiteX11" fmla="*/ 1887394 w 5874573"/>
                <a:gd name="connsiteY11" fmla="*/ 393463 h 6724315"/>
                <a:gd name="connsiteX12" fmla="*/ 2123281 w 5874573"/>
                <a:gd name="connsiteY12" fmla="*/ 319342 h 6724315"/>
                <a:gd name="connsiteX13" fmla="*/ 2163736 w 5874573"/>
                <a:gd name="connsiteY13" fmla="*/ 352592 h 6724315"/>
                <a:gd name="connsiteX14" fmla="*/ 2360278 w 5874573"/>
                <a:gd name="connsiteY14" fmla="*/ 288171 h 6724315"/>
                <a:gd name="connsiteX15" fmla="*/ 2319490 w 5874573"/>
                <a:gd name="connsiteY15" fmla="*/ 119840 h 6724315"/>
                <a:gd name="connsiteX16" fmla="*/ 2702733 w 5874573"/>
                <a:gd name="connsiteY16" fmla="*/ 0 h 6724315"/>
                <a:gd name="connsiteX17" fmla="*/ 2751031 w 5874573"/>
                <a:gd name="connsiteY17" fmla="*/ 165560 h 6724315"/>
                <a:gd name="connsiteX18" fmla="*/ 4514582 w 5874573"/>
                <a:gd name="connsiteY18" fmla="*/ 680900 h 6724315"/>
                <a:gd name="connsiteX19" fmla="*/ 5064712 w 5874573"/>
                <a:gd name="connsiteY19" fmla="*/ 1291242 h 6724315"/>
                <a:gd name="connsiteX20" fmla="*/ 5126116 w 5874573"/>
                <a:gd name="connsiteY20" fmla="*/ 1298860 h 6724315"/>
                <a:gd name="connsiteX21" fmla="*/ 5290957 w 5874573"/>
                <a:gd name="connsiteY21" fmla="*/ 1479661 h 6724315"/>
                <a:gd name="connsiteX22" fmla="*/ 5291180 w 5874573"/>
                <a:gd name="connsiteY22" fmla="*/ 1535080 h 6724315"/>
                <a:gd name="connsiteX23" fmla="*/ 5452444 w 5874573"/>
                <a:gd name="connsiteY23" fmla="*/ 1726990 h 6724315"/>
                <a:gd name="connsiteX24" fmla="*/ 5832432 w 5874573"/>
                <a:gd name="connsiteY24" fmla="*/ 3519512 h 6724315"/>
                <a:gd name="connsiteX25" fmla="*/ 5640353 w 5874573"/>
                <a:gd name="connsiteY25" fmla="*/ 4385669 h 6724315"/>
                <a:gd name="connsiteX26" fmla="*/ 5770569 w 5874573"/>
                <a:gd name="connsiteY26" fmla="*/ 4452156 h 6724315"/>
                <a:gd name="connsiteX27" fmla="*/ 5701120 w 5874573"/>
                <a:gd name="connsiteY27" fmla="*/ 4870077 h 6724315"/>
                <a:gd name="connsiteX28" fmla="*/ 5543591 w 5874573"/>
                <a:gd name="connsiteY28" fmla="*/ 4807792 h 6724315"/>
                <a:gd name="connsiteX29" fmla="*/ 4416328 w 5874573"/>
                <a:gd name="connsiteY29" fmla="*/ 6199821 h 6724315"/>
                <a:gd name="connsiteX30" fmla="*/ 4234027 w 5874573"/>
                <a:gd name="connsiteY30" fmla="*/ 5610934 h 6724315"/>
                <a:gd name="connsiteX31" fmla="*/ 5020993 w 5874573"/>
                <a:gd name="connsiteY31" fmla="*/ 4596953 h 6724315"/>
                <a:gd name="connsiteX32" fmla="*/ 5301042 w 5874573"/>
                <a:gd name="connsiteY32" fmla="*/ 3352779 h 6724315"/>
                <a:gd name="connsiteX33" fmla="*/ 4982226 w 5874573"/>
                <a:gd name="connsiteY33" fmla="*/ 2049487 h 6724315"/>
                <a:gd name="connsiteX34" fmla="*/ 4164973 w 5874573"/>
                <a:gd name="connsiteY34" fmla="*/ 1163055 h 6724315"/>
                <a:gd name="connsiteX35" fmla="*/ 2870707 w 5874573"/>
                <a:gd name="connsiteY35" fmla="*/ 761302 h 6724315"/>
                <a:gd name="connsiteX36" fmla="*/ 1872487 w 5874573"/>
                <a:gd name="connsiteY36" fmla="*/ 1081342 h 6724315"/>
                <a:gd name="connsiteX37" fmla="*/ 863567 w 5874573"/>
                <a:gd name="connsiteY37" fmla="*/ 2111591 h 6724315"/>
                <a:gd name="connsiteX38" fmla="*/ 562232 w 5874573"/>
                <a:gd name="connsiteY38" fmla="*/ 3464807 h 6724315"/>
                <a:gd name="connsiteX39" fmla="*/ 1067558 w 5874573"/>
                <a:gd name="connsiteY39" fmla="*/ 4933546 h 6724315"/>
                <a:gd name="connsiteX40" fmla="*/ 1774060 w 5874573"/>
                <a:gd name="connsiteY40" fmla="*/ 5692347 h 6724315"/>
                <a:gd name="connsiteX41" fmla="*/ 3074662 w 5874573"/>
                <a:gd name="connsiteY41" fmla="*/ 6017548 h 6724315"/>
                <a:gd name="connsiteX42" fmla="*/ 4190613 w 5874573"/>
                <a:gd name="connsiteY42" fmla="*/ 5644651 h 6724315"/>
                <a:gd name="connsiteX43" fmla="*/ 4387309 w 5874573"/>
                <a:gd name="connsiteY43" fmla="*/ 6212667 h 6724315"/>
                <a:gd name="connsiteX44" fmla="*/ 1930613 w 5874573"/>
                <a:gd name="connsiteY44" fmla="*/ 6724315 h 6724315"/>
                <a:gd name="connsiteX45" fmla="*/ 513598 w 5874573"/>
                <a:gd name="connsiteY45" fmla="*/ 5189370 h 6724315"/>
                <a:gd name="connsiteX46" fmla="*/ 31901 w 5874573"/>
                <a:gd name="connsiteY46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523257 w 5884232"/>
                <a:gd name="connsiteY45" fmla="*/ 5189370 h 6724315"/>
                <a:gd name="connsiteX46" fmla="*/ 41560 w 5884232"/>
                <a:gd name="connsiteY46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559386 w 5884232"/>
                <a:gd name="connsiteY45" fmla="*/ 5224057 h 6724315"/>
                <a:gd name="connsiteX46" fmla="*/ 523257 w 5884232"/>
                <a:gd name="connsiteY46" fmla="*/ 5189370 h 6724315"/>
                <a:gd name="connsiteX47" fmla="*/ 41560 w 5884232"/>
                <a:gd name="connsiteY47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430931 w 5884232"/>
                <a:gd name="connsiteY45" fmla="*/ 5323785 h 6724315"/>
                <a:gd name="connsiteX46" fmla="*/ 523257 w 5884232"/>
                <a:gd name="connsiteY46" fmla="*/ 5189370 h 6724315"/>
                <a:gd name="connsiteX47" fmla="*/ 41560 w 5884232"/>
                <a:gd name="connsiteY47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824904 w 5884232"/>
                <a:gd name="connsiteY45" fmla="*/ 5685517 h 6724315"/>
                <a:gd name="connsiteX46" fmla="*/ 430931 w 5884232"/>
                <a:gd name="connsiteY46" fmla="*/ 5323785 h 6724315"/>
                <a:gd name="connsiteX47" fmla="*/ 523257 w 5884232"/>
                <a:gd name="connsiteY47" fmla="*/ 5189370 h 6724315"/>
                <a:gd name="connsiteX48" fmla="*/ 41560 w 5884232"/>
                <a:gd name="connsiteY4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732703 w 5884232"/>
                <a:gd name="connsiteY45" fmla="*/ 5638146 h 6724315"/>
                <a:gd name="connsiteX46" fmla="*/ 430931 w 5884232"/>
                <a:gd name="connsiteY46" fmla="*/ 5323785 h 6724315"/>
                <a:gd name="connsiteX47" fmla="*/ 523257 w 5884232"/>
                <a:gd name="connsiteY47" fmla="*/ 5189370 h 6724315"/>
                <a:gd name="connsiteX48" fmla="*/ 41560 w 5884232"/>
                <a:gd name="connsiteY4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884834 w 5884232"/>
                <a:gd name="connsiteY45" fmla="*/ 5775272 h 6724315"/>
                <a:gd name="connsiteX46" fmla="*/ 732703 w 5884232"/>
                <a:gd name="connsiteY46" fmla="*/ 5638146 h 6724315"/>
                <a:gd name="connsiteX47" fmla="*/ 430931 w 5884232"/>
                <a:gd name="connsiteY47" fmla="*/ 5323785 h 6724315"/>
                <a:gd name="connsiteX48" fmla="*/ 523257 w 5884232"/>
                <a:gd name="connsiteY48" fmla="*/ 5189370 h 6724315"/>
                <a:gd name="connsiteX49" fmla="*/ 41560 w 5884232"/>
                <a:gd name="connsiteY4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817988 w 5884232"/>
                <a:gd name="connsiteY45" fmla="*/ 5548391 h 6724315"/>
                <a:gd name="connsiteX46" fmla="*/ 732703 w 5884232"/>
                <a:gd name="connsiteY46" fmla="*/ 5638146 h 6724315"/>
                <a:gd name="connsiteX47" fmla="*/ 430931 w 5884232"/>
                <a:gd name="connsiteY47" fmla="*/ 5323785 h 6724315"/>
                <a:gd name="connsiteX48" fmla="*/ 523257 w 5884232"/>
                <a:gd name="connsiteY48" fmla="*/ 5189370 h 6724315"/>
                <a:gd name="connsiteX49" fmla="*/ 41560 w 5884232"/>
                <a:gd name="connsiteY4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283604 w 5884232"/>
                <a:gd name="connsiteY40" fmla="*/ 5151972 h 6724315"/>
                <a:gd name="connsiteX41" fmla="*/ 1783719 w 5884232"/>
                <a:gd name="connsiteY41" fmla="*/ 5692347 h 6724315"/>
                <a:gd name="connsiteX42" fmla="*/ 3084321 w 5884232"/>
                <a:gd name="connsiteY42" fmla="*/ 6017548 h 6724315"/>
                <a:gd name="connsiteX43" fmla="*/ 4200272 w 5884232"/>
                <a:gd name="connsiteY43" fmla="*/ 5644651 h 6724315"/>
                <a:gd name="connsiteX44" fmla="*/ 4396968 w 5884232"/>
                <a:gd name="connsiteY44" fmla="*/ 6212667 h 6724315"/>
                <a:gd name="connsiteX45" fmla="*/ 1940272 w 5884232"/>
                <a:gd name="connsiteY45" fmla="*/ 6724315 h 6724315"/>
                <a:gd name="connsiteX46" fmla="*/ 817988 w 5884232"/>
                <a:gd name="connsiteY46" fmla="*/ 5548391 h 6724315"/>
                <a:gd name="connsiteX47" fmla="*/ 732703 w 5884232"/>
                <a:gd name="connsiteY47" fmla="*/ 5638146 h 6724315"/>
                <a:gd name="connsiteX48" fmla="*/ 430931 w 5884232"/>
                <a:gd name="connsiteY48" fmla="*/ 5323785 h 6724315"/>
                <a:gd name="connsiteX49" fmla="*/ 523257 w 5884232"/>
                <a:gd name="connsiteY49" fmla="*/ 5189370 h 6724315"/>
                <a:gd name="connsiteX50" fmla="*/ 41560 w 5884232"/>
                <a:gd name="connsiteY50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783719 w 5884232"/>
                <a:gd name="connsiteY41" fmla="*/ 5692347 h 6724315"/>
                <a:gd name="connsiteX42" fmla="*/ 3084321 w 5884232"/>
                <a:gd name="connsiteY42" fmla="*/ 6017548 h 6724315"/>
                <a:gd name="connsiteX43" fmla="*/ 4200272 w 5884232"/>
                <a:gd name="connsiteY43" fmla="*/ 5644651 h 6724315"/>
                <a:gd name="connsiteX44" fmla="*/ 4396968 w 5884232"/>
                <a:gd name="connsiteY44" fmla="*/ 6212667 h 6724315"/>
                <a:gd name="connsiteX45" fmla="*/ 1940272 w 5884232"/>
                <a:gd name="connsiteY45" fmla="*/ 6724315 h 6724315"/>
                <a:gd name="connsiteX46" fmla="*/ 817988 w 5884232"/>
                <a:gd name="connsiteY46" fmla="*/ 5548391 h 6724315"/>
                <a:gd name="connsiteX47" fmla="*/ 732703 w 5884232"/>
                <a:gd name="connsiteY47" fmla="*/ 5638146 h 6724315"/>
                <a:gd name="connsiteX48" fmla="*/ 430931 w 5884232"/>
                <a:gd name="connsiteY48" fmla="*/ 5323785 h 6724315"/>
                <a:gd name="connsiteX49" fmla="*/ 523257 w 5884232"/>
                <a:gd name="connsiteY49" fmla="*/ 5189370 h 6724315"/>
                <a:gd name="connsiteX50" fmla="*/ 41560 w 5884232"/>
                <a:gd name="connsiteY50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86983 w 5884232"/>
                <a:gd name="connsiteY41" fmla="*/ 5580802 h 6724315"/>
                <a:gd name="connsiteX42" fmla="*/ 1783719 w 5884232"/>
                <a:gd name="connsiteY42" fmla="*/ 5692347 h 6724315"/>
                <a:gd name="connsiteX43" fmla="*/ 3084321 w 5884232"/>
                <a:gd name="connsiteY43" fmla="*/ 6017548 h 6724315"/>
                <a:gd name="connsiteX44" fmla="*/ 4200272 w 5884232"/>
                <a:gd name="connsiteY44" fmla="*/ 5644651 h 6724315"/>
                <a:gd name="connsiteX45" fmla="*/ 4396968 w 5884232"/>
                <a:gd name="connsiteY45" fmla="*/ 6212667 h 6724315"/>
                <a:gd name="connsiteX46" fmla="*/ 1940272 w 5884232"/>
                <a:gd name="connsiteY46" fmla="*/ 6724315 h 6724315"/>
                <a:gd name="connsiteX47" fmla="*/ 817988 w 5884232"/>
                <a:gd name="connsiteY47" fmla="*/ 5548391 h 6724315"/>
                <a:gd name="connsiteX48" fmla="*/ 732703 w 5884232"/>
                <a:gd name="connsiteY48" fmla="*/ 5638146 h 6724315"/>
                <a:gd name="connsiteX49" fmla="*/ 430931 w 5884232"/>
                <a:gd name="connsiteY49" fmla="*/ 5323785 h 6724315"/>
                <a:gd name="connsiteX50" fmla="*/ 523257 w 5884232"/>
                <a:gd name="connsiteY50" fmla="*/ 5189370 h 6724315"/>
                <a:gd name="connsiteX51" fmla="*/ 41560 w 5884232"/>
                <a:gd name="connsiteY5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83719 w 5884232"/>
                <a:gd name="connsiteY42" fmla="*/ 5692347 h 6724315"/>
                <a:gd name="connsiteX43" fmla="*/ 3084321 w 5884232"/>
                <a:gd name="connsiteY43" fmla="*/ 6017548 h 6724315"/>
                <a:gd name="connsiteX44" fmla="*/ 4200272 w 5884232"/>
                <a:gd name="connsiteY44" fmla="*/ 5644651 h 6724315"/>
                <a:gd name="connsiteX45" fmla="*/ 4396968 w 5884232"/>
                <a:gd name="connsiteY45" fmla="*/ 6212667 h 6724315"/>
                <a:gd name="connsiteX46" fmla="*/ 1940272 w 5884232"/>
                <a:gd name="connsiteY46" fmla="*/ 6724315 h 6724315"/>
                <a:gd name="connsiteX47" fmla="*/ 817988 w 5884232"/>
                <a:gd name="connsiteY47" fmla="*/ 5548391 h 6724315"/>
                <a:gd name="connsiteX48" fmla="*/ 732703 w 5884232"/>
                <a:gd name="connsiteY48" fmla="*/ 5638146 h 6724315"/>
                <a:gd name="connsiteX49" fmla="*/ 430931 w 5884232"/>
                <a:gd name="connsiteY49" fmla="*/ 5323785 h 6724315"/>
                <a:gd name="connsiteX50" fmla="*/ 523257 w 5884232"/>
                <a:gd name="connsiteY50" fmla="*/ 5189370 h 6724315"/>
                <a:gd name="connsiteX51" fmla="*/ 41560 w 5884232"/>
                <a:gd name="connsiteY5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35389 w 5884232"/>
                <a:gd name="connsiteY42" fmla="*/ 5605735 h 6724315"/>
                <a:gd name="connsiteX43" fmla="*/ 1783719 w 5884232"/>
                <a:gd name="connsiteY43" fmla="*/ 5692347 h 6724315"/>
                <a:gd name="connsiteX44" fmla="*/ 3084321 w 5884232"/>
                <a:gd name="connsiteY44" fmla="*/ 6017548 h 6724315"/>
                <a:gd name="connsiteX45" fmla="*/ 4200272 w 5884232"/>
                <a:gd name="connsiteY45" fmla="*/ 5644651 h 6724315"/>
                <a:gd name="connsiteX46" fmla="*/ 4396968 w 5884232"/>
                <a:gd name="connsiteY46" fmla="*/ 6212667 h 6724315"/>
                <a:gd name="connsiteX47" fmla="*/ 1940272 w 5884232"/>
                <a:gd name="connsiteY47" fmla="*/ 6724315 h 6724315"/>
                <a:gd name="connsiteX48" fmla="*/ 817988 w 5884232"/>
                <a:gd name="connsiteY48" fmla="*/ 5548391 h 6724315"/>
                <a:gd name="connsiteX49" fmla="*/ 732703 w 5884232"/>
                <a:gd name="connsiteY49" fmla="*/ 5638146 h 6724315"/>
                <a:gd name="connsiteX50" fmla="*/ 430931 w 5884232"/>
                <a:gd name="connsiteY50" fmla="*/ 5323785 h 6724315"/>
                <a:gd name="connsiteX51" fmla="*/ 523257 w 5884232"/>
                <a:gd name="connsiteY51" fmla="*/ 5189370 h 6724315"/>
                <a:gd name="connsiteX52" fmla="*/ 41560 w 5884232"/>
                <a:gd name="connsiteY52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783719 w 5884232"/>
                <a:gd name="connsiteY43" fmla="*/ 5692347 h 6724315"/>
                <a:gd name="connsiteX44" fmla="*/ 3084321 w 5884232"/>
                <a:gd name="connsiteY44" fmla="*/ 6017548 h 6724315"/>
                <a:gd name="connsiteX45" fmla="*/ 4200272 w 5884232"/>
                <a:gd name="connsiteY45" fmla="*/ 5644651 h 6724315"/>
                <a:gd name="connsiteX46" fmla="*/ 4396968 w 5884232"/>
                <a:gd name="connsiteY46" fmla="*/ 6212667 h 6724315"/>
                <a:gd name="connsiteX47" fmla="*/ 1940272 w 5884232"/>
                <a:gd name="connsiteY47" fmla="*/ 6724315 h 6724315"/>
                <a:gd name="connsiteX48" fmla="*/ 817988 w 5884232"/>
                <a:gd name="connsiteY48" fmla="*/ 5548391 h 6724315"/>
                <a:gd name="connsiteX49" fmla="*/ 732703 w 5884232"/>
                <a:gd name="connsiteY49" fmla="*/ 5638146 h 6724315"/>
                <a:gd name="connsiteX50" fmla="*/ 430931 w 5884232"/>
                <a:gd name="connsiteY50" fmla="*/ 5323785 h 6724315"/>
                <a:gd name="connsiteX51" fmla="*/ 523257 w 5884232"/>
                <a:gd name="connsiteY51" fmla="*/ 5189370 h 6724315"/>
                <a:gd name="connsiteX52" fmla="*/ 41560 w 5884232"/>
                <a:gd name="connsiteY52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744609 w 5884232"/>
                <a:gd name="connsiteY43" fmla="*/ 5618200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817988 w 5884232"/>
                <a:gd name="connsiteY49" fmla="*/ 5548391 h 6724315"/>
                <a:gd name="connsiteX50" fmla="*/ 732703 w 5884232"/>
                <a:gd name="connsiteY50" fmla="*/ 5638146 h 6724315"/>
                <a:gd name="connsiteX51" fmla="*/ 430931 w 5884232"/>
                <a:gd name="connsiteY51" fmla="*/ 5323785 h 6724315"/>
                <a:gd name="connsiteX52" fmla="*/ 523257 w 5884232"/>
                <a:gd name="connsiteY52" fmla="*/ 5189370 h 6724315"/>
                <a:gd name="connsiteX53" fmla="*/ 41560 w 5884232"/>
                <a:gd name="connsiteY53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817988 w 5884232"/>
                <a:gd name="connsiteY49" fmla="*/ 5548391 h 6724315"/>
                <a:gd name="connsiteX50" fmla="*/ 732703 w 5884232"/>
                <a:gd name="connsiteY50" fmla="*/ 5638146 h 6724315"/>
                <a:gd name="connsiteX51" fmla="*/ 430931 w 5884232"/>
                <a:gd name="connsiteY51" fmla="*/ 5323785 h 6724315"/>
                <a:gd name="connsiteX52" fmla="*/ 523257 w 5884232"/>
                <a:gd name="connsiteY52" fmla="*/ 5189370 h 6724315"/>
                <a:gd name="connsiteX53" fmla="*/ 41560 w 5884232"/>
                <a:gd name="connsiteY53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013916 w 5884232"/>
                <a:gd name="connsiteY49" fmla="*/ 5755327 h 6724315"/>
                <a:gd name="connsiteX50" fmla="*/ 817988 w 5884232"/>
                <a:gd name="connsiteY50" fmla="*/ 5548391 h 6724315"/>
                <a:gd name="connsiteX51" fmla="*/ 732703 w 5884232"/>
                <a:gd name="connsiteY51" fmla="*/ 5638146 h 6724315"/>
                <a:gd name="connsiteX52" fmla="*/ 430931 w 5884232"/>
                <a:gd name="connsiteY52" fmla="*/ 5323785 h 6724315"/>
                <a:gd name="connsiteX53" fmla="*/ 523257 w 5884232"/>
                <a:gd name="connsiteY53" fmla="*/ 5189370 h 6724315"/>
                <a:gd name="connsiteX54" fmla="*/ 41560 w 5884232"/>
                <a:gd name="connsiteY54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013916 w 5884232"/>
                <a:gd name="connsiteY50" fmla="*/ 5755327 h 6724315"/>
                <a:gd name="connsiteX51" fmla="*/ 817988 w 5884232"/>
                <a:gd name="connsiteY51" fmla="*/ 5548391 h 6724315"/>
                <a:gd name="connsiteX52" fmla="*/ 732703 w 5884232"/>
                <a:gd name="connsiteY52" fmla="*/ 5638146 h 6724315"/>
                <a:gd name="connsiteX53" fmla="*/ 430931 w 5884232"/>
                <a:gd name="connsiteY53" fmla="*/ 5323785 h 6724315"/>
                <a:gd name="connsiteX54" fmla="*/ 523257 w 5884232"/>
                <a:gd name="connsiteY54" fmla="*/ 5189370 h 6724315"/>
                <a:gd name="connsiteX55" fmla="*/ 41560 w 5884232"/>
                <a:gd name="connsiteY55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30588 w 5884232"/>
                <a:gd name="connsiteY50" fmla="*/ 5977221 h 6724315"/>
                <a:gd name="connsiteX51" fmla="*/ 1013916 w 5884232"/>
                <a:gd name="connsiteY51" fmla="*/ 5755327 h 6724315"/>
                <a:gd name="connsiteX52" fmla="*/ 817988 w 5884232"/>
                <a:gd name="connsiteY52" fmla="*/ 5548391 h 6724315"/>
                <a:gd name="connsiteX53" fmla="*/ 732703 w 5884232"/>
                <a:gd name="connsiteY53" fmla="*/ 5638146 h 6724315"/>
                <a:gd name="connsiteX54" fmla="*/ 430931 w 5884232"/>
                <a:gd name="connsiteY54" fmla="*/ 5323785 h 6724315"/>
                <a:gd name="connsiteX55" fmla="*/ 523257 w 5884232"/>
                <a:gd name="connsiteY55" fmla="*/ 5189370 h 6724315"/>
                <a:gd name="connsiteX56" fmla="*/ 41560 w 5884232"/>
                <a:gd name="connsiteY56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32893 w 5884232"/>
                <a:gd name="connsiteY50" fmla="*/ 6032071 h 6724315"/>
                <a:gd name="connsiteX51" fmla="*/ 1013916 w 5884232"/>
                <a:gd name="connsiteY51" fmla="*/ 5755327 h 6724315"/>
                <a:gd name="connsiteX52" fmla="*/ 817988 w 5884232"/>
                <a:gd name="connsiteY52" fmla="*/ 5548391 h 6724315"/>
                <a:gd name="connsiteX53" fmla="*/ 732703 w 5884232"/>
                <a:gd name="connsiteY53" fmla="*/ 5638146 h 6724315"/>
                <a:gd name="connsiteX54" fmla="*/ 430931 w 5884232"/>
                <a:gd name="connsiteY54" fmla="*/ 5323785 h 6724315"/>
                <a:gd name="connsiteX55" fmla="*/ 523257 w 5884232"/>
                <a:gd name="connsiteY55" fmla="*/ 5189370 h 6724315"/>
                <a:gd name="connsiteX56" fmla="*/ 41560 w 5884232"/>
                <a:gd name="connsiteY56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32893 w 5884232"/>
                <a:gd name="connsiteY50" fmla="*/ 6032071 h 6724315"/>
                <a:gd name="connsiteX51" fmla="*/ 1039271 w 5884232"/>
                <a:gd name="connsiteY51" fmla="*/ 5790231 h 6724315"/>
                <a:gd name="connsiteX52" fmla="*/ 1013916 w 5884232"/>
                <a:gd name="connsiteY52" fmla="*/ 5755327 h 6724315"/>
                <a:gd name="connsiteX53" fmla="*/ 817988 w 5884232"/>
                <a:gd name="connsiteY53" fmla="*/ 5548391 h 6724315"/>
                <a:gd name="connsiteX54" fmla="*/ 732703 w 5884232"/>
                <a:gd name="connsiteY54" fmla="*/ 5638146 h 6724315"/>
                <a:gd name="connsiteX55" fmla="*/ 430931 w 5884232"/>
                <a:gd name="connsiteY55" fmla="*/ 5323785 h 6724315"/>
                <a:gd name="connsiteX56" fmla="*/ 523257 w 5884232"/>
                <a:gd name="connsiteY56" fmla="*/ 5189370 h 6724315"/>
                <a:gd name="connsiteX57" fmla="*/ 41560 w 5884232"/>
                <a:gd name="connsiteY57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32893 w 5884232"/>
                <a:gd name="connsiteY50" fmla="*/ 6032071 h 6724315"/>
                <a:gd name="connsiteX51" fmla="*/ 1000086 w 5884232"/>
                <a:gd name="connsiteY51" fmla="*/ 5782751 h 6724315"/>
                <a:gd name="connsiteX52" fmla="*/ 1013916 w 5884232"/>
                <a:gd name="connsiteY52" fmla="*/ 5755327 h 6724315"/>
                <a:gd name="connsiteX53" fmla="*/ 817988 w 5884232"/>
                <a:gd name="connsiteY53" fmla="*/ 5548391 h 6724315"/>
                <a:gd name="connsiteX54" fmla="*/ 732703 w 5884232"/>
                <a:gd name="connsiteY54" fmla="*/ 5638146 h 6724315"/>
                <a:gd name="connsiteX55" fmla="*/ 430931 w 5884232"/>
                <a:gd name="connsiteY55" fmla="*/ 5323785 h 6724315"/>
                <a:gd name="connsiteX56" fmla="*/ 523257 w 5884232"/>
                <a:gd name="connsiteY56" fmla="*/ 5189370 h 6724315"/>
                <a:gd name="connsiteX57" fmla="*/ 41560 w 5884232"/>
                <a:gd name="connsiteY57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22789 w 5884232"/>
                <a:gd name="connsiteY50" fmla="*/ 6089415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66585 w 5884232"/>
                <a:gd name="connsiteY50" fmla="*/ 6176678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66585 w 5884232"/>
                <a:gd name="connsiteY50" fmla="*/ 6176678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189098 w 5884232"/>
                <a:gd name="connsiteY50" fmla="*/ 6081936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189098 w 5884232"/>
                <a:gd name="connsiteY50" fmla="*/ 6081936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81298 w 5884232"/>
                <a:gd name="connsiteY50" fmla="*/ 6114348 h 6724315"/>
                <a:gd name="connsiteX51" fmla="*/ 1189098 w 5884232"/>
                <a:gd name="connsiteY51" fmla="*/ 6081936 h 6724315"/>
                <a:gd name="connsiteX52" fmla="*/ 1232893 w 5884232"/>
                <a:gd name="connsiteY52" fmla="*/ 6032071 h 6724315"/>
                <a:gd name="connsiteX53" fmla="*/ 1000086 w 5884232"/>
                <a:gd name="connsiteY53" fmla="*/ 5782751 h 6724315"/>
                <a:gd name="connsiteX54" fmla="*/ 1013916 w 5884232"/>
                <a:gd name="connsiteY54" fmla="*/ 5755327 h 6724315"/>
                <a:gd name="connsiteX55" fmla="*/ 817988 w 5884232"/>
                <a:gd name="connsiteY55" fmla="*/ 5548391 h 6724315"/>
                <a:gd name="connsiteX56" fmla="*/ 732703 w 5884232"/>
                <a:gd name="connsiteY56" fmla="*/ 5638146 h 6724315"/>
                <a:gd name="connsiteX57" fmla="*/ 430931 w 5884232"/>
                <a:gd name="connsiteY57" fmla="*/ 5323785 h 6724315"/>
                <a:gd name="connsiteX58" fmla="*/ 523257 w 5884232"/>
                <a:gd name="connsiteY58" fmla="*/ 5189370 h 6724315"/>
                <a:gd name="connsiteX59" fmla="*/ 41560 w 5884232"/>
                <a:gd name="connsiteY5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99739 w 5884232"/>
                <a:gd name="connsiteY50" fmla="*/ 6201610 h 6724315"/>
                <a:gd name="connsiteX51" fmla="*/ 1189098 w 5884232"/>
                <a:gd name="connsiteY51" fmla="*/ 6081936 h 6724315"/>
                <a:gd name="connsiteX52" fmla="*/ 1232893 w 5884232"/>
                <a:gd name="connsiteY52" fmla="*/ 6032071 h 6724315"/>
                <a:gd name="connsiteX53" fmla="*/ 1000086 w 5884232"/>
                <a:gd name="connsiteY53" fmla="*/ 5782751 h 6724315"/>
                <a:gd name="connsiteX54" fmla="*/ 1013916 w 5884232"/>
                <a:gd name="connsiteY54" fmla="*/ 5755327 h 6724315"/>
                <a:gd name="connsiteX55" fmla="*/ 817988 w 5884232"/>
                <a:gd name="connsiteY55" fmla="*/ 5548391 h 6724315"/>
                <a:gd name="connsiteX56" fmla="*/ 732703 w 5884232"/>
                <a:gd name="connsiteY56" fmla="*/ 5638146 h 6724315"/>
                <a:gd name="connsiteX57" fmla="*/ 430931 w 5884232"/>
                <a:gd name="connsiteY57" fmla="*/ 5323785 h 6724315"/>
                <a:gd name="connsiteX58" fmla="*/ 523257 w 5884232"/>
                <a:gd name="connsiteY58" fmla="*/ 5189370 h 6724315"/>
                <a:gd name="connsiteX59" fmla="*/ 41560 w 5884232"/>
                <a:gd name="connsiteY5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99739 w 5884232"/>
                <a:gd name="connsiteY50" fmla="*/ 6201610 h 6724315"/>
                <a:gd name="connsiteX51" fmla="*/ 1189098 w 5884232"/>
                <a:gd name="connsiteY51" fmla="*/ 6081936 h 6724315"/>
                <a:gd name="connsiteX52" fmla="*/ 1232893 w 5884232"/>
                <a:gd name="connsiteY52" fmla="*/ 6032071 h 6724315"/>
                <a:gd name="connsiteX53" fmla="*/ 1000086 w 5884232"/>
                <a:gd name="connsiteY53" fmla="*/ 5782751 h 6724315"/>
                <a:gd name="connsiteX54" fmla="*/ 1013916 w 5884232"/>
                <a:gd name="connsiteY54" fmla="*/ 5755327 h 6724315"/>
                <a:gd name="connsiteX55" fmla="*/ 817988 w 5884232"/>
                <a:gd name="connsiteY55" fmla="*/ 5548391 h 6724315"/>
                <a:gd name="connsiteX56" fmla="*/ 732703 w 5884232"/>
                <a:gd name="connsiteY56" fmla="*/ 5638146 h 6724315"/>
                <a:gd name="connsiteX57" fmla="*/ 430931 w 5884232"/>
                <a:gd name="connsiteY57" fmla="*/ 5323785 h 6724315"/>
                <a:gd name="connsiteX58" fmla="*/ 523257 w 5884232"/>
                <a:gd name="connsiteY58" fmla="*/ 5189370 h 6724315"/>
                <a:gd name="connsiteX59" fmla="*/ 41560 w 5884232"/>
                <a:gd name="connsiteY5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48145 w 5884232"/>
                <a:gd name="connsiteY50" fmla="*/ 6174185 h 6724315"/>
                <a:gd name="connsiteX51" fmla="*/ 1299739 w 5884232"/>
                <a:gd name="connsiteY51" fmla="*/ 6201610 h 6724315"/>
                <a:gd name="connsiteX52" fmla="*/ 1189098 w 5884232"/>
                <a:gd name="connsiteY52" fmla="*/ 6081936 h 6724315"/>
                <a:gd name="connsiteX53" fmla="*/ 1232893 w 5884232"/>
                <a:gd name="connsiteY53" fmla="*/ 6032071 h 6724315"/>
                <a:gd name="connsiteX54" fmla="*/ 1000086 w 5884232"/>
                <a:gd name="connsiteY54" fmla="*/ 5782751 h 6724315"/>
                <a:gd name="connsiteX55" fmla="*/ 1013916 w 5884232"/>
                <a:gd name="connsiteY55" fmla="*/ 5755327 h 6724315"/>
                <a:gd name="connsiteX56" fmla="*/ 817988 w 5884232"/>
                <a:gd name="connsiteY56" fmla="*/ 5548391 h 6724315"/>
                <a:gd name="connsiteX57" fmla="*/ 732703 w 5884232"/>
                <a:gd name="connsiteY57" fmla="*/ 5638146 h 6724315"/>
                <a:gd name="connsiteX58" fmla="*/ 430931 w 5884232"/>
                <a:gd name="connsiteY58" fmla="*/ 5323785 h 6724315"/>
                <a:gd name="connsiteX59" fmla="*/ 523257 w 5884232"/>
                <a:gd name="connsiteY59" fmla="*/ 5189370 h 6724315"/>
                <a:gd name="connsiteX60" fmla="*/ 41560 w 5884232"/>
                <a:gd name="connsiteY60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45840 w 5884232"/>
                <a:gd name="connsiteY50" fmla="*/ 6151747 h 6724315"/>
                <a:gd name="connsiteX51" fmla="*/ 1299739 w 5884232"/>
                <a:gd name="connsiteY51" fmla="*/ 6201610 h 6724315"/>
                <a:gd name="connsiteX52" fmla="*/ 1189098 w 5884232"/>
                <a:gd name="connsiteY52" fmla="*/ 6081936 h 6724315"/>
                <a:gd name="connsiteX53" fmla="*/ 1232893 w 5884232"/>
                <a:gd name="connsiteY53" fmla="*/ 6032071 h 6724315"/>
                <a:gd name="connsiteX54" fmla="*/ 1000086 w 5884232"/>
                <a:gd name="connsiteY54" fmla="*/ 5782751 h 6724315"/>
                <a:gd name="connsiteX55" fmla="*/ 1013916 w 5884232"/>
                <a:gd name="connsiteY55" fmla="*/ 5755327 h 6724315"/>
                <a:gd name="connsiteX56" fmla="*/ 817988 w 5884232"/>
                <a:gd name="connsiteY56" fmla="*/ 5548391 h 6724315"/>
                <a:gd name="connsiteX57" fmla="*/ 732703 w 5884232"/>
                <a:gd name="connsiteY57" fmla="*/ 5638146 h 6724315"/>
                <a:gd name="connsiteX58" fmla="*/ 430931 w 5884232"/>
                <a:gd name="connsiteY58" fmla="*/ 5323785 h 6724315"/>
                <a:gd name="connsiteX59" fmla="*/ 523257 w 5884232"/>
                <a:gd name="connsiteY59" fmla="*/ 5189370 h 6724315"/>
                <a:gd name="connsiteX60" fmla="*/ 41560 w 5884232"/>
                <a:gd name="connsiteY60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80415 w 5884232"/>
                <a:gd name="connsiteY50" fmla="*/ 6151746 h 6724315"/>
                <a:gd name="connsiteX51" fmla="*/ 1345840 w 5884232"/>
                <a:gd name="connsiteY51" fmla="*/ 6151747 h 6724315"/>
                <a:gd name="connsiteX52" fmla="*/ 1299739 w 5884232"/>
                <a:gd name="connsiteY52" fmla="*/ 6201610 h 6724315"/>
                <a:gd name="connsiteX53" fmla="*/ 1189098 w 5884232"/>
                <a:gd name="connsiteY53" fmla="*/ 6081936 h 6724315"/>
                <a:gd name="connsiteX54" fmla="*/ 1232893 w 5884232"/>
                <a:gd name="connsiteY54" fmla="*/ 6032071 h 6724315"/>
                <a:gd name="connsiteX55" fmla="*/ 1000086 w 5884232"/>
                <a:gd name="connsiteY55" fmla="*/ 5782751 h 6724315"/>
                <a:gd name="connsiteX56" fmla="*/ 1013916 w 5884232"/>
                <a:gd name="connsiteY56" fmla="*/ 5755327 h 6724315"/>
                <a:gd name="connsiteX57" fmla="*/ 817988 w 5884232"/>
                <a:gd name="connsiteY57" fmla="*/ 5548391 h 6724315"/>
                <a:gd name="connsiteX58" fmla="*/ 732703 w 5884232"/>
                <a:gd name="connsiteY58" fmla="*/ 5638146 h 6724315"/>
                <a:gd name="connsiteX59" fmla="*/ 430931 w 5884232"/>
                <a:gd name="connsiteY59" fmla="*/ 5323785 h 6724315"/>
                <a:gd name="connsiteX60" fmla="*/ 523257 w 5884232"/>
                <a:gd name="connsiteY60" fmla="*/ 5189370 h 6724315"/>
                <a:gd name="connsiteX61" fmla="*/ 41560 w 5884232"/>
                <a:gd name="connsiteY6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71195 w 5884232"/>
                <a:gd name="connsiteY50" fmla="*/ 6184157 h 6724315"/>
                <a:gd name="connsiteX51" fmla="*/ 1345840 w 5884232"/>
                <a:gd name="connsiteY51" fmla="*/ 6151747 h 6724315"/>
                <a:gd name="connsiteX52" fmla="*/ 1299739 w 5884232"/>
                <a:gd name="connsiteY52" fmla="*/ 6201610 h 6724315"/>
                <a:gd name="connsiteX53" fmla="*/ 1189098 w 5884232"/>
                <a:gd name="connsiteY53" fmla="*/ 6081936 h 6724315"/>
                <a:gd name="connsiteX54" fmla="*/ 1232893 w 5884232"/>
                <a:gd name="connsiteY54" fmla="*/ 6032071 h 6724315"/>
                <a:gd name="connsiteX55" fmla="*/ 1000086 w 5884232"/>
                <a:gd name="connsiteY55" fmla="*/ 5782751 h 6724315"/>
                <a:gd name="connsiteX56" fmla="*/ 1013916 w 5884232"/>
                <a:gd name="connsiteY56" fmla="*/ 5755327 h 6724315"/>
                <a:gd name="connsiteX57" fmla="*/ 817988 w 5884232"/>
                <a:gd name="connsiteY57" fmla="*/ 5548391 h 6724315"/>
                <a:gd name="connsiteX58" fmla="*/ 732703 w 5884232"/>
                <a:gd name="connsiteY58" fmla="*/ 5638146 h 6724315"/>
                <a:gd name="connsiteX59" fmla="*/ 430931 w 5884232"/>
                <a:gd name="connsiteY59" fmla="*/ 5323785 h 6724315"/>
                <a:gd name="connsiteX60" fmla="*/ 523257 w 5884232"/>
                <a:gd name="connsiteY60" fmla="*/ 5189370 h 6724315"/>
                <a:gd name="connsiteX61" fmla="*/ 41560 w 5884232"/>
                <a:gd name="connsiteY6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71195 w 5884232"/>
                <a:gd name="connsiteY50" fmla="*/ 6184157 h 6724315"/>
                <a:gd name="connsiteX51" fmla="*/ 1345840 w 5884232"/>
                <a:gd name="connsiteY51" fmla="*/ 6151747 h 6724315"/>
                <a:gd name="connsiteX52" fmla="*/ 1304349 w 5884232"/>
                <a:gd name="connsiteY52" fmla="*/ 6209090 h 6724315"/>
                <a:gd name="connsiteX53" fmla="*/ 1189098 w 5884232"/>
                <a:gd name="connsiteY53" fmla="*/ 6081936 h 6724315"/>
                <a:gd name="connsiteX54" fmla="*/ 1232893 w 5884232"/>
                <a:gd name="connsiteY54" fmla="*/ 6032071 h 6724315"/>
                <a:gd name="connsiteX55" fmla="*/ 1000086 w 5884232"/>
                <a:gd name="connsiteY55" fmla="*/ 5782751 h 6724315"/>
                <a:gd name="connsiteX56" fmla="*/ 1013916 w 5884232"/>
                <a:gd name="connsiteY56" fmla="*/ 5755327 h 6724315"/>
                <a:gd name="connsiteX57" fmla="*/ 817988 w 5884232"/>
                <a:gd name="connsiteY57" fmla="*/ 5548391 h 6724315"/>
                <a:gd name="connsiteX58" fmla="*/ 732703 w 5884232"/>
                <a:gd name="connsiteY58" fmla="*/ 5638146 h 6724315"/>
                <a:gd name="connsiteX59" fmla="*/ 430931 w 5884232"/>
                <a:gd name="connsiteY59" fmla="*/ 5323785 h 6724315"/>
                <a:gd name="connsiteX60" fmla="*/ 523257 w 5884232"/>
                <a:gd name="connsiteY60" fmla="*/ 5189370 h 6724315"/>
                <a:gd name="connsiteX61" fmla="*/ 41560 w 5884232"/>
                <a:gd name="connsiteY6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85024 w 5884232"/>
                <a:gd name="connsiteY49" fmla="*/ 6164212 h 6724315"/>
                <a:gd name="connsiteX50" fmla="*/ 1371195 w 5884232"/>
                <a:gd name="connsiteY50" fmla="*/ 6184157 h 6724315"/>
                <a:gd name="connsiteX51" fmla="*/ 1345840 w 5884232"/>
                <a:gd name="connsiteY51" fmla="*/ 6151747 h 6724315"/>
                <a:gd name="connsiteX52" fmla="*/ 1304349 w 5884232"/>
                <a:gd name="connsiteY52" fmla="*/ 6209090 h 6724315"/>
                <a:gd name="connsiteX53" fmla="*/ 1189098 w 5884232"/>
                <a:gd name="connsiteY53" fmla="*/ 6081936 h 6724315"/>
                <a:gd name="connsiteX54" fmla="*/ 1232893 w 5884232"/>
                <a:gd name="connsiteY54" fmla="*/ 6032071 h 6724315"/>
                <a:gd name="connsiteX55" fmla="*/ 1000086 w 5884232"/>
                <a:gd name="connsiteY55" fmla="*/ 5782751 h 6724315"/>
                <a:gd name="connsiteX56" fmla="*/ 1013916 w 5884232"/>
                <a:gd name="connsiteY56" fmla="*/ 5755327 h 6724315"/>
                <a:gd name="connsiteX57" fmla="*/ 817988 w 5884232"/>
                <a:gd name="connsiteY57" fmla="*/ 5548391 h 6724315"/>
                <a:gd name="connsiteX58" fmla="*/ 732703 w 5884232"/>
                <a:gd name="connsiteY58" fmla="*/ 5638146 h 6724315"/>
                <a:gd name="connsiteX59" fmla="*/ 430931 w 5884232"/>
                <a:gd name="connsiteY59" fmla="*/ 5323785 h 6724315"/>
                <a:gd name="connsiteX60" fmla="*/ 523257 w 5884232"/>
                <a:gd name="connsiteY60" fmla="*/ 5189370 h 6724315"/>
                <a:gd name="connsiteX61" fmla="*/ 41560 w 5884232"/>
                <a:gd name="connsiteY6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509496 w 5884232"/>
                <a:gd name="connsiteY49" fmla="*/ 6283886 h 6724315"/>
                <a:gd name="connsiteX50" fmla="*/ 1385024 w 5884232"/>
                <a:gd name="connsiteY50" fmla="*/ 6164212 h 6724315"/>
                <a:gd name="connsiteX51" fmla="*/ 1371195 w 5884232"/>
                <a:gd name="connsiteY51" fmla="*/ 6184157 h 6724315"/>
                <a:gd name="connsiteX52" fmla="*/ 1345840 w 5884232"/>
                <a:gd name="connsiteY52" fmla="*/ 6151747 h 6724315"/>
                <a:gd name="connsiteX53" fmla="*/ 1304349 w 5884232"/>
                <a:gd name="connsiteY53" fmla="*/ 6209090 h 6724315"/>
                <a:gd name="connsiteX54" fmla="*/ 1189098 w 5884232"/>
                <a:gd name="connsiteY54" fmla="*/ 6081936 h 6724315"/>
                <a:gd name="connsiteX55" fmla="*/ 1232893 w 5884232"/>
                <a:gd name="connsiteY55" fmla="*/ 6032071 h 6724315"/>
                <a:gd name="connsiteX56" fmla="*/ 1000086 w 5884232"/>
                <a:gd name="connsiteY56" fmla="*/ 5782751 h 6724315"/>
                <a:gd name="connsiteX57" fmla="*/ 1013916 w 5884232"/>
                <a:gd name="connsiteY57" fmla="*/ 5755327 h 6724315"/>
                <a:gd name="connsiteX58" fmla="*/ 817988 w 5884232"/>
                <a:gd name="connsiteY58" fmla="*/ 5548391 h 6724315"/>
                <a:gd name="connsiteX59" fmla="*/ 732703 w 5884232"/>
                <a:gd name="connsiteY59" fmla="*/ 5638146 h 6724315"/>
                <a:gd name="connsiteX60" fmla="*/ 430931 w 5884232"/>
                <a:gd name="connsiteY60" fmla="*/ 5323785 h 6724315"/>
                <a:gd name="connsiteX61" fmla="*/ 523257 w 5884232"/>
                <a:gd name="connsiteY61" fmla="*/ 5189370 h 6724315"/>
                <a:gd name="connsiteX62" fmla="*/ 41560 w 5884232"/>
                <a:gd name="connsiteY62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541767 w 5884232"/>
                <a:gd name="connsiteY49" fmla="*/ 6338736 h 6724315"/>
                <a:gd name="connsiteX50" fmla="*/ 1385024 w 5884232"/>
                <a:gd name="connsiteY50" fmla="*/ 6164212 h 6724315"/>
                <a:gd name="connsiteX51" fmla="*/ 1371195 w 5884232"/>
                <a:gd name="connsiteY51" fmla="*/ 6184157 h 6724315"/>
                <a:gd name="connsiteX52" fmla="*/ 1345840 w 5884232"/>
                <a:gd name="connsiteY52" fmla="*/ 6151747 h 6724315"/>
                <a:gd name="connsiteX53" fmla="*/ 1304349 w 5884232"/>
                <a:gd name="connsiteY53" fmla="*/ 6209090 h 6724315"/>
                <a:gd name="connsiteX54" fmla="*/ 1189098 w 5884232"/>
                <a:gd name="connsiteY54" fmla="*/ 6081936 h 6724315"/>
                <a:gd name="connsiteX55" fmla="*/ 1232893 w 5884232"/>
                <a:gd name="connsiteY55" fmla="*/ 6032071 h 6724315"/>
                <a:gd name="connsiteX56" fmla="*/ 1000086 w 5884232"/>
                <a:gd name="connsiteY56" fmla="*/ 5782751 h 6724315"/>
                <a:gd name="connsiteX57" fmla="*/ 1013916 w 5884232"/>
                <a:gd name="connsiteY57" fmla="*/ 5755327 h 6724315"/>
                <a:gd name="connsiteX58" fmla="*/ 817988 w 5884232"/>
                <a:gd name="connsiteY58" fmla="*/ 5548391 h 6724315"/>
                <a:gd name="connsiteX59" fmla="*/ 732703 w 5884232"/>
                <a:gd name="connsiteY59" fmla="*/ 5638146 h 6724315"/>
                <a:gd name="connsiteX60" fmla="*/ 430931 w 5884232"/>
                <a:gd name="connsiteY60" fmla="*/ 5323785 h 6724315"/>
                <a:gd name="connsiteX61" fmla="*/ 523257 w 5884232"/>
                <a:gd name="connsiteY61" fmla="*/ 5189370 h 6724315"/>
                <a:gd name="connsiteX62" fmla="*/ 41560 w 5884232"/>
                <a:gd name="connsiteY62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620137 w 5884232"/>
                <a:gd name="connsiteY49" fmla="*/ 6413532 h 6724315"/>
                <a:gd name="connsiteX50" fmla="*/ 1541767 w 5884232"/>
                <a:gd name="connsiteY50" fmla="*/ 6338736 h 6724315"/>
                <a:gd name="connsiteX51" fmla="*/ 1385024 w 5884232"/>
                <a:gd name="connsiteY51" fmla="*/ 6164212 h 6724315"/>
                <a:gd name="connsiteX52" fmla="*/ 1371195 w 5884232"/>
                <a:gd name="connsiteY52" fmla="*/ 6184157 h 6724315"/>
                <a:gd name="connsiteX53" fmla="*/ 1345840 w 5884232"/>
                <a:gd name="connsiteY53" fmla="*/ 6151747 h 6724315"/>
                <a:gd name="connsiteX54" fmla="*/ 1304349 w 5884232"/>
                <a:gd name="connsiteY54" fmla="*/ 6209090 h 6724315"/>
                <a:gd name="connsiteX55" fmla="*/ 1189098 w 5884232"/>
                <a:gd name="connsiteY55" fmla="*/ 6081936 h 6724315"/>
                <a:gd name="connsiteX56" fmla="*/ 1232893 w 5884232"/>
                <a:gd name="connsiteY56" fmla="*/ 6032071 h 6724315"/>
                <a:gd name="connsiteX57" fmla="*/ 1000086 w 5884232"/>
                <a:gd name="connsiteY57" fmla="*/ 5782751 h 6724315"/>
                <a:gd name="connsiteX58" fmla="*/ 1013916 w 5884232"/>
                <a:gd name="connsiteY58" fmla="*/ 5755327 h 6724315"/>
                <a:gd name="connsiteX59" fmla="*/ 817988 w 5884232"/>
                <a:gd name="connsiteY59" fmla="*/ 5548391 h 6724315"/>
                <a:gd name="connsiteX60" fmla="*/ 732703 w 5884232"/>
                <a:gd name="connsiteY60" fmla="*/ 5638146 h 6724315"/>
                <a:gd name="connsiteX61" fmla="*/ 430931 w 5884232"/>
                <a:gd name="connsiteY61" fmla="*/ 5323785 h 6724315"/>
                <a:gd name="connsiteX62" fmla="*/ 523257 w 5884232"/>
                <a:gd name="connsiteY62" fmla="*/ 5189370 h 6724315"/>
                <a:gd name="connsiteX63" fmla="*/ 41560 w 5884232"/>
                <a:gd name="connsiteY63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578647 w 5884232"/>
                <a:gd name="connsiteY49" fmla="*/ 6346215 h 6724315"/>
                <a:gd name="connsiteX50" fmla="*/ 1541767 w 5884232"/>
                <a:gd name="connsiteY50" fmla="*/ 6338736 h 6724315"/>
                <a:gd name="connsiteX51" fmla="*/ 1385024 w 5884232"/>
                <a:gd name="connsiteY51" fmla="*/ 6164212 h 6724315"/>
                <a:gd name="connsiteX52" fmla="*/ 1371195 w 5884232"/>
                <a:gd name="connsiteY52" fmla="*/ 6184157 h 6724315"/>
                <a:gd name="connsiteX53" fmla="*/ 1345840 w 5884232"/>
                <a:gd name="connsiteY53" fmla="*/ 6151747 h 6724315"/>
                <a:gd name="connsiteX54" fmla="*/ 1304349 w 5884232"/>
                <a:gd name="connsiteY54" fmla="*/ 6209090 h 6724315"/>
                <a:gd name="connsiteX55" fmla="*/ 1189098 w 5884232"/>
                <a:gd name="connsiteY55" fmla="*/ 6081936 h 6724315"/>
                <a:gd name="connsiteX56" fmla="*/ 1232893 w 5884232"/>
                <a:gd name="connsiteY56" fmla="*/ 6032071 h 6724315"/>
                <a:gd name="connsiteX57" fmla="*/ 1000086 w 5884232"/>
                <a:gd name="connsiteY57" fmla="*/ 5782751 h 6724315"/>
                <a:gd name="connsiteX58" fmla="*/ 1013916 w 5884232"/>
                <a:gd name="connsiteY58" fmla="*/ 5755327 h 6724315"/>
                <a:gd name="connsiteX59" fmla="*/ 817988 w 5884232"/>
                <a:gd name="connsiteY59" fmla="*/ 5548391 h 6724315"/>
                <a:gd name="connsiteX60" fmla="*/ 732703 w 5884232"/>
                <a:gd name="connsiteY60" fmla="*/ 5638146 h 6724315"/>
                <a:gd name="connsiteX61" fmla="*/ 430931 w 5884232"/>
                <a:gd name="connsiteY61" fmla="*/ 5323785 h 6724315"/>
                <a:gd name="connsiteX62" fmla="*/ 523257 w 5884232"/>
                <a:gd name="connsiteY62" fmla="*/ 5189370 h 6724315"/>
                <a:gd name="connsiteX63" fmla="*/ 41560 w 5884232"/>
                <a:gd name="connsiteY63" fmla="*/ 3281515 h 6724315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1928747 w 5884232"/>
                <a:gd name="connsiteY48" fmla="*/ 6734288 h 6734288"/>
                <a:gd name="connsiteX49" fmla="*/ 1578647 w 5884232"/>
                <a:gd name="connsiteY49" fmla="*/ 6346215 h 6734288"/>
                <a:gd name="connsiteX50" fmla="*/ 1541767 w 5884232"/>
                <a:gd name="connsiteY50" fmla="*/ 6338736 h 6734288"/>
                <a:gd name="connsiteX51" fmla="*/ 1385024 w 5884232"/>
                <a:gd name="connsiteY51" fmla="*/ 6164212 h 6734288"/>
                <a:gd name="connsiteX52" fmla="*/ 1371195 w 5884232"/>
                <a:gd name="connsiteY52" fmla="*/ 6184157 h 6734288"/>
                <a:gd name="connsiteX53" fmla="*/ 1345840 w 5884232"/>
                <a:gd name="connsiteY53" fmla="*/ 6151747 h 6734288"/>
                <a:gd name="connsiteX54" fmla="*/ 1304349 w 5884232"/>
                <a:gd name="connsiteY54" fmla="*/ 6209090 h 6734288"/>
                <a:gd name="connsiteX55" fmla="*/ 1189098 w 5884232"/>
                <a:gd name="connsiteY55" fmla="*/ 6081936 h 6734288"/>
                <a:gd name="connsiteX56" fmla="*/ 1232893 w 5884232"/>
                <a:gd name="connsiteY56" fmla="*/ 6032071 h 6734288"/>
                <a:gd name="connsiteX57" fmla="*/ 1000086 w 5884232"/>
                <a:gd name="connsiteY57" fmla="*/ 5782751 h 6734288"/>
                <a:gd name="connsiteX58" fmla="*/ 1013916 w 5884232"/>
                <a:gd name="connsiteY58" fmla="*/ 5755327 h 6734288"/>
                <a:gd name="connsiteX59" fmla="*/ 817988 w 5884232"/>
                <a:gd name="connsiteY59" fmla="*/ 5548391 h 6734288"/>
                <a:gd name="connsiteX60" fmla="*/ 732703 w 5884232"/>
                <a:gd name="connsiteY60" fmla="*/ 5638146 h 6734288"/>
                <a:gd name="connsiteX61" fmla="*/ 430931 w 5884232"/>
                <a:gd name="connsiteY61" fmla="*/ 5323785 h 6734288"/>
                <a:gd name="connsiteX62" fmla="*/ 523257 w 5884232"/>
                <a:gd name="connsiteY62" fmla="*/ 5189370 h 6734288"/>
                <a:gd name="connsiteX63" fmla="*/ 41560 w 5884232"/>
                <a:gd name="connsiteY63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800310 w 5884232"/>
                <a:gd name="connsiteY48" fmla="*/ 6545671 h 6734288"/>
                <a:gd name="connsiteX49" fmla="*/ 1928747 w 5884232"/>
                <a:gd name="connsiteY49" fmla="*/ 6734288 h 6734288"/>
                <a:gd name="connsiteX50" fmla="*/ 1578647 w 5884232"/>
                <a:gd name="connsiteY50" fmla="*/ 6346215 h 6734288"/>
                <a:gd name="connsiteX51" fmla="*/ 1541767 w 5884232"/>
                <a:gd name="connsiteY51" fmla="*/ 6338736 h 6734288"/>
                <a:gd name="connsiteX52" fmla="*/ 1385024 w 5884232"/>
                <a:gd name="connsiteY52" fmla="*/ 6164212 h 6734288"/>
                <a:gd name="connsiteX53" fmla="*/ 1371195 w 5884232"/>
                <a:gd name="connsiteY53" fmla="*/ 6184157 h 6734288"/>
                <a:gd name="connsiteX54" fmla="*/ 1345840 w 5884232"/>
                <a:gd name="connsiteY54" fmla="*/ 6151747 h 6734288"/>
                <a:gd name="connsiteX55" fmla="*/ 1304349 w 5884232"/>
                <a:gd name="connsiteY55" fmla="*/ 6209090 h 6734288"/>
                <a:gd name="connsiteX56" fmla="*/ 1189098 w 5884232"/>
                <a:gd name="connsiteY56" fmla="*/ 6081936 h 6734288"/>
                <a:gd name="connsiteX57" fmla="*/ 1232893 w 5884232"/>
                <a:gd name="connsiteY57" fmla="*/ 6032071 h 6734288"/>
                <a:gd name="connsiteX58" fmla="*/ 1000086 w 5884232"/>
                <a:gd name="connsiteY58" fmla="*/ 5782751 h 6734288"/>
                <a:gd name="connsiteX59" fmla="*/ 1013916 w 5884232"/>
                <a:gd name="connsiteY59" fmla="*/ 5755327 h 6734288"/>
                <a:gd name="connsiteX60" fmla="*/ 817988 w 5884232"/>
                <a:gd name="connsiteY60" fmla="*/ 5548391 h 6734288"/>
                <a:gd name="connsiteX61" fmla="*/ 732703 w 5884232"/>
                <a:gd name="connsiteY61" fmla="*/ 5638146 h 6734288"/>
                <a:gd name="connsiteX62" fmla="*/ 430931 w 5884232"/>
                <a:gd name="connsiteY62" fmla="*/ 5323785 h 6734288"/>
                <a:gd name="connsiteX63" fmla="*/ 523257 w 5884232"/>
                <a:gd name="connsiteY63" fmla="*/ 5189370 h 6734288"/>
                <a:gd name="connsiteX64" fmla="*/ 41560 w 5884232"/>
                <a:gd name="connsiteY64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615908 w 5884232"/>
                <a:gd name="connsiteY48" fmla="*/ 6593043 h 6734288"/>
                <a:gd name="connsiteX49" fmla="*/ 1928747 w 5884232"/>
                <a:gd name="connsiteY49" fmla="*/ 6734288 h 6734288"/>
                <a:gd name="connsiteX50" fmla="*/ 1578647 w 5884232"/>
                <a:gd name="connsiteY50" fmla="*/ 6346215 h 6734288"/>
                <a:gd name="connsiteX51" fmla="*/ 1541767 w 5884232"/>
                <a:gd name="connsiteY51" fmla="*/ 6338736 h 6734288"/>
                <a:gd name="connsiteX52" fmla="*/ 1385024 w 5884232"/>
                <a:gd name="connsiteY52" fmla="*/ 6164212 h 6734288"/>
                <a:gd name="connsiteX53" fmla="*/ 1371195 w 5884232"/>
                <a:gd name="connsiteY53" fmla="*/ 6184157 h 6734288"/>
                <a:gd name="connsiteX54" fmla="*/ 1345840 w 5884232"/>
                <a:gd name="connsiteY54" fmla="*/ 6151747 h 6734288"/>
                <a:gd name="connsiteX55" fmla="*/ 1304349 w 5884232"/>
                <a:gd name="connsiteY55" fmla="*/ 6209090 h 6734288"/>
                <a:gd name="connsiteX56" fmla="*/ 1189098 w 5884232"/>
                <a:gd name="connsiteY56" fmla="*/ 6081936 h 6734288"/>
                <a:gd name="connsiteX57" fmla="*/ 1232893 w 5884232"/>
                <a:gd name="connsiteY57" fmla="*/ 6032071 h 6734288"/>
                <a:gd name="connsiteX58" fmla="*/ 1000086 w 5884232"/>
                <a:gd name="connsiteY58" fmla="*/ 5782751 h 6734288"/>
                <a:gd name="connsiteX59" fmla="*/ 1013916 w 5884232"/>
                <a:gd name="connsiteY59" fmla="*/ 5755327 h 6734288"/>
                <a:gd name="connsiteX60" fmla="*/ 817988 w 5884232"/>
                <a:gd name="connsiteY60" fmla="*/ 5548391 h 6734288"/>
                <a:gd name="connsiteX61" fmla="*/ 732703 w 5884232"/>
                <a:gd name="connsiteY61" fmla="*/ 5638146 h 6734288"/>
                <a:gd name="connsiteX62" fmla="*/ 430931 w 5884232"/>
                <a:gd name="connsiteY62" fmla="*/ 5323785 h 6734288"/>
                <a:gd name="connsiteX63" fmla="*/ 523257 w 5884232"/>
                <a:gd name="connsiteY63" fmla="*/ 5189370 h 6734288"/>
                <a:gd name="connsiteX64" fmla="*/ 41560 w 5884232"/>
                <a:gd name="connsiteY64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611297 w 5884232"/>
                <a:gd name="connsiteY48" fmla="*/ 6590550 h 6734288"/>
                <a:gd name="connsiteX49" fmla="*/ 1928747 w 5884232"/>
                <a:gd name="connsiteY49" fmla="*/ 6734288 h 6734288"/>
                <a:gd name="connsiteX50" fmla="*/ 1578647 w 5884232"/>
                <a:gd name="connsiteY50" fmla="*/ 6346215 h 6734288"/>
                <a:gd name="connsiteX51" fmla="*/ 1541767 w 5884232"/>
                <a:gd name="connsiteY51" fmla="*/ 6338736 h 6734288"/>
                <a:gd name="connsiteX52" fmla="*/ 1385024 w 5884232"/>
                <a:gd name="connsiteY52" fmla="*/ 6164212 h 6734288"/>
                <a:gd name="connsiteX53" fmla="*/ 1371195 w 5884232"/>
                <a:gd name="connsiteY53" fmla="*/ 6184157 h 6734288"/>
                <a:gd name="connsiteX54" fmla="*/ 1345840 w 5884232"/>
                <a:gd name="connsiteY54" fmla="*/ 6151747 h 6734288"/>
                <a:gd name="connsiteX55" fmla="*/ 1304349 w 5884232"/>
                <a:gd name="connsiteY55" fmla="*/ 6209090 h 6734288"/>
                <a:gd name="connsiteX56" fmla="*/ 1189098 w 5884232"/>
                <a:gd name="connsiteY56" fmla="*/ 6081936 h 6734288"/>
                <a:gd name="connsiteX57" fmla="*/ 1232893 w 5884232"/>
                <a:gd name="connsiteY57" fmla="*/ 6032071 h 6734288"/>
                <a:gd name="connsiteX58" fmla="*/ 1000086 w 5884232"/>
                <a:gd name="connsiteY58" fmla="*/ 5782751 h 6734288"/>
                <a:gd name="connsiteX59" fmla="*/ 1013916 w 5884232"/>
                <a:gd name="connsiteY59" fmla="*/ 5755327 h 6734288"/>
                <a:gd name="connsiteX60" fmla="*/ 817988 w 5884232"/>
                <a:gd name="connsiteY60" fmla="*/ 5548391 h 6734288"/>
                <a:gd name="connsiteX61" fmla="*/ 732703 w 5884232"/>
                <a:gd name="connsiteY61" fmla="*/ 5638146 h 6734288"/>
                <a:gd name="connsiteX62" fmla="*/ 430931 w 5884232"/>
                <a:gd name="connsiteY62" fmla="*/ 5323785 h 6734288"/>
                <a:gd name="connsiteX63" fmla="*/ 523257 w 5884232"/>
                <a:gd name="connsiteY63" fmla="*/ 5189370 h 6734288"/>
                <a:gd name="connsiteX64" fmla="*/ 41560 w 5884232"/>
                <a:gd name="connsiteY64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779565 w 5884232"/>
                <a:gd name="connsiteY48" fmla="*/ 6555643 h 6734288"/>
                <a:gd name="connsiteX49" fmla="*/ 2611297 w 5884232"/>
                <a:gd name="connsiteY49" fmla="*/ 6590550 h 6734288"/>
                <a:gd name="connsiteX50" fmla="*/ 1928747 w 5884232"/>
                <a:gd name="connsiteY50" fmla="*/ 6734288 h 6734288"/>
                <a:gd name="connsiteX51" fmla="*/ 1578647 w 5884232"/>
                <a:gd name="connsiteY51" fmla="*/ 6346215 h 6734288"/>
                <a:gd name="connsiteX52" fmla="*/ 1541767 w 5884232"/>
                <a:gd name="connsiteY52" fmla="*/ 6338736 h 6734288"/>
                <a:gd name="connsiteX53" fmla="*/ 1385024 w 5884232"/>
                <a:gd name="connsiteY53" fmla="*/ 6164212 h 6734288"/>
                <a:gd name="connsiteX54" fmla="*/ 1371195 w 5884232"/>
                <a:gd name="connsiteY54" fmla="*/ 6184157 h 6734288"/>
                <a:gd name="connsiteX55" fmla="*/ 1345840 w 5884232"/>
                <a:gd name="connsiteY55" fmla="*/ 6151747 h 6734288"/>
                <a:gd name="connsiteX56" fmla="*/ 1304349 w 5884232"/>
                <a:gd name="connsiteY56" fmla="*/ 6209090 h 6734288"/>
                <a:gd name="connsiteX57" fmla="*/ 1189098 w 5884232"/>
                <a:gd name="connsiteY57" fmla="*/ 6081936 h 6734288"/>
                <a:gd name="connsiteX58" fmla="*/ 1232893 w 5884232"/>
                <a:gd name="connsiteY58" fmla="*/ 6032071 h 6734288"/>
                <a:gd name="connsiteX59" fmla="*/ 1000086 w 5884232"/>
                <a:gd name="connsiteY59" fmla="*/ 5782751 h 6734288"/>
                <a:gd name="connsiteX60" fmla="*/ 1013916 w 5884232"/>
                <a:gd name="connsiteY60" fmla="*/ 5755327 h 6734288"/>
                <a:gd name="connsiteX61" fmla="*/ 817988 w 5884232"/>
                <a:gd name="connsiteY61" fmla="*/ 5548391 h 6734288"/>
                <a:gd name="connsiteX62" fmla="*/ 732703 w 5884232"/>
                <a:gd name="connsiteY62" fmla="*/ 5638146 h 6734288"/>
                <a:gd name="connsiteX63" fmla="*/ 430931 w 5884232"/>
                <a:gd name="connsiteY63" fmla="*/ 5323785 h 6734288"/>
                <a:gd name="connsiteX64" fmla="*/ 523257 w 5884232"/>
                <a:gd name="connsiteY64" fmla="*/ 5189370 h 6734288"/>
                <a:gd name="connsiteX65" fmla="*/ 41560 w 5884232"/>
                <a:gd name="connsiteY65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689669 w 5884232"/>
                <a:gd name="connsiteY48" fmla="*/ 6682796 h 6734288"/>
                <a:gd name="connsiteX49" fmla="*/ 2611297 w 5884232"/>
                <a:gd name="connsiteY49" fmla="*/ 6590550 h 6734288"/>
                <a:gd name="connsiteX50" fmla="*/ 1928747 w 5884232"/>
                <a:gd name="connsiteY50" fmla="*/ 6734288 h 6734288"/>
                <a:gd name="connsiteX51" fmla="*/ 1578647 w 5884232"/>
                <a:gd name="connsiteY51" fmla="*/ 6346215 h 6734288"/>
                <a:gd name="connsiteX52" fmla="*/ 1541767 w 5884232"/>
                <a:gd name="connsiteY52" fmla="*/ 6338736 h 6734288"/>
                <a:gd name="connsiteX53" fmla="*/ 1385024 w 5884232"/>
                <a:gd name="connsiteY53" fmla="*/ 6164212 h 6734288"/>
                <a:gd name="connsiteX54" fmla="*/ 1371195 w 5884232"/>
                <a:gd name="connsiteY54" fmla="*/ 6184157 h 6734288"/>
                <a:gd name="connsiteX55" fmla="*/ 1345840 w 5884232"/>
                <a:gd name="connsiteY55" fmla="*/ 6151747 h 6734288"/>
                <a:gd name="connsiteX56" fmla="*/ 1304349 w 5884232"/>
                <a:gd name="connsiteY56" fmla="*/ 6209090 h 6734288"/>
                <a:gd name="connsiteX57" fmla="*/ 1189098 w 5884232"/>
                <a:gd name="connsiteY57" fmla="*/ 6081936 h 6734288"/>
                <a:gd name="connsiteX58" fmla="*/ 1232893 w 5884232"/>
                <a:gd name="connsiteY58" fmla="*/ 6032071 h 6734288"/>
                <a:gd name="connsiteX59" fmla="*/ 1000086 w 5884232"/>
                <a:gd name="connsiteY59" fmla="*/ 5782751 h 6734288"/>
                <a:gd name="connsiteX60" fmla="*/ 1013916 w 5884232"/>
                <a:gd name="connsiteY60" fmla="*/ 5755327 h 6734288"/>
                <a:gd name="connsiteX61" fmla="*/ 817988 w 5884232"/>
                <a:gd name="connsiteY61" fmla="*/ 5548391 h 6734288"/>
                <a:gd name="connsiteX62" fmla="*/ 732703 w 5884232"/>
                <a:gd name="connsiteY62" fmla="*/ 5638146 h 6734288"/>
                <a:gd name="connsiteX63" fmla="*/ 430931 w 5884232"/>
                <a:gd name="connsiteY63" fmla="*/ 5323785 h 6734288"/>
                <a:gd name="connsiteX64" fmla="*/ 523257 w 5884232"/>
                <a:gd name="connsiteY64" fmla="*/ 5189370 h 6734288"/>
                <a:gd name="connsiteX65" fmla="*/ 41560 w 5884232"/>
                <a:gd name="connsiteY65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344296 w 5884232"/>
                <a:gd name="connsiteY48" fmla="*/ 6500793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76913 w 5884232"/>
                <a:gd name="connsiteY48" fmla="*/ 6657865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949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206546 w 5884232"/>
                <a:gd name="connsiteY40" fmla="*/ 5094818 h 6734288"/>
                <a:gd name="connsiteX41" fmla="*/ 1548682 w 5884232"/>
                <a:gd name="connsiteY41" fmla="*/ 5436198 h 6734288"/>
                <a:gd name="connsiteX42" fmla="*/ 1610916 w 5884232"/>
                <a:gd name="connsiteY42" fmla="*/ 5418743 h 6734288"/>
                <a:gd name="connsiteX43" fmla="*/ 1714643 w 5884232"/>
                <a:gd name="connsiteY43" fmla="*/ 5533432 h 6734288"/>
                <a:gd name="connsiteX44" fmla="*/ 1693898 w 5884232"/>
                <a:gd name="connsiteY44" fmla="*/ 5598255 h 6734288"/>
                <a:gd name="connsiteX45" fmla="*/ 1783719 w 5884232"/>
                <a:gd name="connsiteY45" fmla="*/ 5692347 h 6734288"/>
                <a:gd name="connsiteX46" fmla="*/ 3084321 w 5884232"/>
                <a:gd name="connsiteY46" fmla="*/ 6017548 h 6734288"/>
                <a:gd name="connsiteX47" fmla="*/ 4209492 w 5884232"/>
                <a:gd name="connsiteY47" fmla="*/ 5644651 h 6734288"/>
                <a:gd name="connsiteX48" fmla="*/ 4406189 w 5884232"/>
                <a:gd name="connsiteY48" fmla="*/ 6217653 h 6734288"/>
                <a:gd name="connsiteX49" fmla="*/ 3067693 w 5884232"/>
                <a:gd name="connsiteY49" fmla="*/ 6660358 h 6734288"/>
                <a:gd name="connsiteX50" fmla="*/ 2689669 w 5884232"/>
                <a:gd name="connsiteY50" fmla="*/ 6682796 h 6734288"/>
                <a:gd name="connsiteX51" fmla="*/ 2611297 w 5884232"/>
                <a:gd name="connsiteY51" fmla="*/ 6590550 h 6734288"/>
                <a:gd name="connsiteX52" fmla="*/ 1928747 w 5884232"/>
                <a:gd name="connsiteY52" fmla="*/ 6734288 h 6734288"/>
                <a:gd name="connsiteX53" fmla="*/ 1578647 w 5884232"/>
                <a:gd name="connsiteY53" fmla="*/ 6346215 h 6734288"/>
                <a:gd name="connsiteX54" fmla="*/ 1541767 w 5884232"/>
                <a:gd name="connsiteY54" fmla="*/ 6338736 h 6734288"/>
                <a:gd name="connsiteX55" fmla="*/ 1385024 w 5884232"/>
                <a:gd name="connsiteY55" fmla="*/ 6164212 h 6734288"/>
                <a:gd name="connsiteX56" fmla="*/ 1371195 w 5884232"/>
                <a:gd name="connsiteY56" fmla="*/ 6184157 h 6734288"/>
                <a:gd name="connsiteX57" fmla="*/ 1345840 w 5884232"/>
                <a:gd name="connsiteY57" fmla="*/ 6151747 h 6734288"/>
                <a:gd name="connsiteX58" fmla="*/ 1304349 w 5884232"/>
                <a:gd name="connsiteY58" fmla="*/ 6209090 h 6734288"/>
                <a:gd name="connsiteX59" fmla="*/ 1189098 w 5884232"/>
                <a:gd name="connsiteY59" fmla="*/ 6081936 h 6734288"/>
                <a:gd name="connsiteX60" fmla="*/ 1232893 w 5884232"/>
                <a:gd name="connsiteY60" fmla="*/ 6032071 h 6734288"/>
                <a:gd name="connsiteX61" fmla="*/ 1000086 w 5884232"/>
                <a:gd name="connsiteY61" fmla="*/ 5782751 h 6734288"/>
                <a:gd name="connsiteX62" fmla="*/ 1013916 w 5884232"/>
                <a:gd name="connsiteY62" fmla="*/ 5755327 h 6734288"/>
                <a:gd name="connsiteX63" fmla="*/ 817988 w 5884232"/>
                <a:gd name="connsiteY63" fmla="*/ 5548391 h 6734288"/>
                <a:gd name="connsiteX64" fmla="*/ 732703 w 5884232"/>
                <a:gd name="connsiteY64" fmla="*/ 5638146 h 6734288"/>
                <a:gd name="connsiteX65" fmla="*/ 430931 w 5884232"/>
                <a:gd name="connsiteY65" fmla="*/ 5323785 h 6734288"/>
                <a:gd name="connsiteX66" fmla="*/ 523257 w 5884232"/>
                <a:gd name="connsiteY66" fmla="*/ 5189370 h 6734288"/>
                <a:gd name="connsiteX67" fmla="*/ 41560 w 5884232"/>
                <a:gd name="connsiteY67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206546 w 5884232"/>
                <a:gd name="connsiteY40" fmla="*/ 5094818 h 6734288"/>
                <a:gd name="connsiteX41" fmla="*/ 1548682 w 5884232"/>
                <a:gd name="connsiteY41" fmla="*/ 5436198 h 6734288"/>
                <a:gd name="connsiteX42" fmla="*/ 1610916 w 5884232"/>
                <a:gd name="connsiteY42" fmla="*/ 5418743 h 6734288"/>
                <a:gd name="connsiteX43" fmla="*/ 1714643 w 5884232"/>
                <a:gd name="connsiteY43" fmla="*/ 5533432 h 6734288"/>
                <a:gd name="connsiteX44" fmla="*/ 1693898 w 5884232"/>
                <a:gd name="connsiteY44" fmla="*/ 5598255 h 6734288"/>
                <a:gd name="connsiteX45" fmla="*/ 1783719 w 5884232"/>
                <a:gd name="connsiteY45" fmla="*/ 5692347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206546 w 5884232"/>
                <a:gd name="connsiteY40" fmla="*/ 5094818 h 6734288"/>
                <a:gd name="connsiteX41" fmla="*/ 1548682 w 5884232"/>
                <a:gd name="connsiteY41" fmla="*/ 5436198 h 6734288"/>
                <a:gd name="connsiteX42" fmla="*/ 1610916 w 5884232"/>
                <a:gd name="connsiteY42" fmla="*/ 5418743 h 6734288"/>
                <a:gd name="connsiteX43" fmla="*/ 1714643 w 5884232"/>
                <a:gd name="connsiteY43" fmla="*/ 5533432 h 6734288"/>
                <a:gd name="connsiteX44" fmla="*/ 1693898 w 5884232"/>
                <a:gd name="connsiteY44" fmla="*/ 5598255 h 6734288"/>
                <a:gd name="connsiteX45" fmla="*/ 1783719 w 5884232"/>
                <a:gd name="connsiteY45" fmla="*/ 5692347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2689669 w 5884232"/>
                <a:gd name="connsiteY48" fmla="*/ 6682796 h 6734288"/>
                <a:gd name="connsiteX49" fmla="*/ 2611297 w 5884232"/>
                <a:gd name="connsiteY49" fmla="*/ 6590550 h 6734288"/>
                <a:gd name="connsiteX50" fmla="*/ 1928747 w 5884232"/>
                <a:gd name="connsiteY50" fmla="*/ 6734288 h 6734288"/>
                <a:gd name="connsiteX51" fmla="*/ 1578647 w 5884232"/>
                <a:gd name="connsiteY51" fmla="*/ 6346215 h 6734288"/>
                <a:gd name="connsiteX52" fmla="*/ 1541767 w 5884232"/>
                <a:gd name="connsiteY52" fmla="*/ 6338736 h 6734288"/>
                <a:gd name="connsiteX53" fmla="*/ 1385024 w 5884232"/>
                <a:gd name="connsiteY53" fmla="*/ 6164212 h 6734288"/>
                <a:gd name="connsiteX54" fmla="*/ 1371195 w 5884232"/>
                <a:gd name="connsiteY54" fmla="*/ 6184157 h 6734288"/>
                <a:gd name="connsiteX55" fmla="*/ 1345840 w 5884232"/>
                <a:gd name="connsiteY55" fmla="*/ 6151747 h 6734288"/>
                <a:gd name="connsiteX56" fmla="*/ 1304349 w 5884232"/>
                <a:gd name="connsiteY56" fmla="*/ 6209090 h 6734288"/>
                <a:gd name="connsiteX57" fmla="*/ 1189098 w 5884232"/>
                <a:gd name="connsiteY57" fmla="*/ 6081936 h 6734288"/>
                <a:gd name="connsiteX58" fmla="*/ 1232893 w 5884232"/>
                <a:gd name="connsiteY58" fmla="*/ 6032071 h 6734288"/>
                <a:gd name="connsiteX59" fmla="*/ 1000086 w 5884232"/>
                <a:gd name="connsiteY59" fmla="*/ 5782751 h 6734288"/>
                <a:gd name="connsiteX60" fmla="*/ 1013916 w 5884232"/>
                <a:gd name="connsiteY60" fmla="*/ 5755327 h 6734288"/>
                <a:gd name="connsiteX61" fmla="*/ 817988 w 5884232"/>
                <a:gd name="connsiteY61" fmla="*/ 5548391 h 6734288"/>
                <a:gd name="connsiteX62" fmla="*/ 732703 w 5884232"/>
                <a:gd name="connsiteY62" fmla="*/ 5638146 h 6734288"/>
                <a:gd name="connsiteX63" fmla="*/ 430931 w 5884232"/>
                <a:gd name="connsiteY63" fmla="*/ 5323785 h 6734288"/>
                <a:gd name="connsiteX64" fmla="*/ 523257 w 5884232"/>
                <a:gd name="connsiteY64" fmla="*/ 5189370 h 6734288"/>
                <a:gd name="connsiteX65" fmla="*/ 41560 w 5884232"/>
                <a:gd name="connsiteY65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206546 w 5884232"/>
                <a:gd name="connsiteY40" fmla="*/ 5094818 h 6734288"/>
                <a:gd name="connsiteX41" fmla="*/ 1548682 w 5884232"/>
                <a:gd name="connsiteY41" fmla="*/ 5436198 h 6734288"/>
                <a:gd name="connsiteX42" fmla="*/ 1610916 w 5884232"/>
                <a:gd name="connsiteY42" fmla="*/ 5418743 h 6734288"/>
                <a:gd name="connsiteX43" fmla="*/ 1714643 w 5884232"/>
                <a:gd name="connsiteY43" fmla="*/ 5533432 h 6734288"/>
                <a:gd name="connsiteX44" fmla="*/ 1693898 w 5884232"/>
                <a:gd name="connsiteY44" fmla="*/ 5598255 h 6734288"/>
                <a:gd name="connsiteX45" fmla="*/ 1783719 w 5884232"/>
                <a:gd name="connsiteY45" fmla="*/ 5692347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2611297 w 5884232"/>
                <a:gd name="connsiteY48" fmla="*/ 6590550 h 6734288"/>
                <a:gd name="connsiteX49" fmla="*/ 1928747 w 5884232"/>
                <a:gd name="connsiteY49" fmla="*/ 6734288 h 6734288"/>
                <a:gd name="connsiteX50" fmla="*/ 1578647 w 5884232"/>
                <a:gd name="connsiteY50" fmla="*/ 6346215 h 6734288"/>
                <a:gd name="connsiteX51" fmla="*/ 1541767 w 5884232"/>
                <a:gd name="connsiteY51" fmla="*/ 6338736 h 6734288"/>
                <a:gd name="connsiteX52" fmla="*/ 1385024 w 5884232"/>
                <a:gd name="connsiteY52" fmla="*/ 6164212 h 6734288"/>
                <a:gd name="connsiteX53" fmla="*/ 1371195 w 5884232"/>
                <a:gd name="connsiteY53" fmla="*/ 6184157 h 6734288"/>
                <a:gd name="connsiteX54" fmla="*/ 1345840 w 5884232"/>
                <a:gd name="connsiteY54" fmla="*/ 6151747 h 6734288"/>
                <a:gd name="connsiteX55" fmla="*/ 1304349 w 5884232"/>
                <a:gd name="connsiteY55" fmla="*/ 6209090 h 6734288"/>
                <a:gd name="connsiteX56" fmla="*/ 1189098 w 5884232"/>
                <a:gd name="connsiteY56" fmla="*/ 6081936 h 6734288"/>
                <a:gd name="connsiteX57" fmla="*/ 1232893 w 5884232"/>
                <a:gd name="connsiteY57" fmla="*/ 6032071 h 6734288"/>
                <a:gd name="connsiteX58" fmla="*/ 1000086 w 5884232"/>
                <a:gd name="connsiteY58" fmla="*/ 5782751 h 6734288"/>
                <a:gd name="connsiteX59" fmla="*/ 1013916 w 5884232"/>
                <a:gd name="connsiteY59" fmla="*/ 5755327 h 6734288"/>
                <a:gd name="connsiteX60" fmla="*/ 817988 w 5884232"/>
                <a:gd name="connsiteY60" fmla="*/ 5548391 h 6734288"/>
                <a:gd name="connsiteX61" fmla="*/ 732703 w 5884232"/>
                <a:gd name="connsiteY61" fmla="*/ 5638146 h 6734288"/>
                <a:gd name="connsiteX62" fmla="*/ 430931 w 5884232"/>
                <a:gd name="connsiteY62" fmla="*/ 5323785 h 6734288"/>
                <a:gd name="connsiteX63" fmla="*/ 523257 w 5884232"/>
                <a:gd name="connsiteY63" fmla="*/ 5189370 h 6734288"/>
                <a:gd name="connsiteX64" fmla="*/ 41560 w 5884232"/>
                <a:gd name="connsiteY64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206546 w 5884232"/>
                <a:gd name="connsiteY40" fmla="*/ 5094818 h 6734288"/>
                <a:gd name="connsiteX41" fmla="*/ 1548682 w 5884232"/>
                <a:gd name="connsiteY41" fmla="*/ 5436198 h 6734288"/>
                <a:gd name="connsiteX42" fmla="*/ 1610916 w 5884232"/>
                <a:gd name="connsiteY42" fmla="*/ 5418743 h 6734288"/>
                <a:gd name="connsiteX43" fmla="*/ 1714643 w 5884232"/>
                <a:gd name="connsiteY43" fmla="*/ 5533432 h 6734288"/>
                <a:gd name="connsiteX44" fmla="*/ 1693898 w 5884232"/>
                <a:gd name="connsiteY44" fmla="*/ 5598255 h 6734288"/>
                <a:gd name="connsiteX45" fmla="*/ 1783719 w 5884232"/>
                <a:gd name="connsiteY45" fmla="*/ 5692347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1928747 w 5884232"/>
                <a:gd name="connsiteY48" fmla="*/ 6734288 h 6734288"/>
                <a:gd name="connsiteX49" fmla="*/ 1578647 w 5884232"/>
                <a:gd name="connsiteY49" fmla="*/ 6346215 h 6734288"/>
                <a:gd name="connsiteX50" fmla="*/ 1541767 w 5884232"/>
                <a:gd name="connsiteY50" fmla="*/ 6338736 h 6734288"/>
                <a:gd name="connsiteX51" fmla="*/ 1385024 w 5884232"/>
                <a:gd name="connsiteY51" fmla="*/ 6164212 h 6734288"/>
                <a:gd name="connsiteX52" fmla="*/ 1371195 w 5884232"/>
                <a:gd name="connsiteY52" fmla="*/ 6184157 h 6734288"/>
                <a:gd name="connsiteX53" fmla="*/ 1345840 w 5884232"/>
                <a:gd name="connsiteY53" fmla="*/ 6151747 h 6734288"/>
                <a:gd name="connsiteX54" fmla="*/ 1304349 w 5884232"/>
                <a:gd name="connsiteY54" fmla="*/ 6209090 h 6734288"/>
                <a:gd name="connsiteX55" fmla="*/ 1189098 w 5884232"/>
                <a:gd name="connsiteY55" fmla="*/ 6081936 h 6734288"/>
                <a:gd name="connsiteX56" fmla="*/ 1232893 w 5884232"/>
                <a:gd name="connsiteY56" fmla="*/ 6032071 h 6734288"/>
                <a:gd name="connsiteX57" fmla="*/ 1000086 w 5884232"/>
                <a:gd name="connsiteY57" fmla="*/ 5782751 h 6734288"/>
                <a:gd name="connsiteX58" fmla="*/ 1013916 w 5884232"/>
                <a:gd name="connsiteY58" fmla="*/ 5755327 h 6734288"/>
                <a:gd name="connsiteX59" fmla="*/ 817988 w 5884232"/>
                <a:gd name="connsiteY59" fmla="*/ 5548391 h 6734288"/>
                <a:gd name="connsiteX60" fmla="*/ 732703 w 5884232"/>
                <a:gd name="connsiteY60" fmla="*/ 5638146 h 6734288"/>
                <a:gd name="connsiteX61" fmla="*/ 430931 w 5884232"/>
                <a:gd name="connsiteY61" fmla="*/ 5323785 h 6734288"/>
                <a:gd name="connsiteX62" fmla="*/ 523257 w 5884232"/>
                <a:gd name="connsiteY62" fmla="*/ 5189370 h 6734288"/>
                <a:gd name="connsiteX63" fmla="*/ 41560 w 5884232"/>
                <a:gd name="connsiteY63" fmla="*/ 3281515 h 6734288"/>
                <a:gd name="connsiteX0" fmla="*/ 41560 w 5884232"/>
                <a:gd name="connsiteY0" fmla="*/ 3281515 h 6346215"/>
                <a:gd name="connsiteX1" fmla="*/ 250907 w 5884232"/>
                <a:gd name="connsiteY1" fmla="*/ 2374266 h 6346215"/>
                <a:gd name="connsiteX2" fmla="*/ 218176 w 5884232"/>
                <a:gd name="connsiteY2" fmla="*/ 2331944 h 6346215"/>
                <a:gd name="connsiteX3" fmla="*/ 290433 w 5884232"/>
                <a:gd name="connsiteY3" fmla="*/ 2067448 h 6346215"/>
                <a:gd name="connsiteX4" fmla="*/ 326149 w 5884232"/>
                <a:gd name="connsiteY4" fmla="*/ 2050403 h 6346215"/>
                <a:gd name="connsiteX5" fmla="*/ 1333506 w 5884232"/>
                <a:gd name="connsiteY5" fmla="*/ 647002 h 6346215"/>
                <a:gd name="connsiteX6" fmla="*/ 1546422 w 5884232"/>
                <a:gd name="connsiteY6" fmla="*/ 547251 h 6346215"/>
                <a:gd name="connsiteX7" fmla="*/ 1526361 w 5884232"/>
                <a:gd name="connsiteY7" fmla="*/ 432260 h 6346215"/>
                <a:gd name="connsiteX8" fmla="*/ 1722126 w 5884232"/>
                <a:gd name="connsiteY8" fmla="*/ 380302 h 6346215"/>
                <a:gd name="connsiteX9" fmla="*/ 1739499 w 5884232"/>
                <a:gd name="connsiteY9" fmla="*/ 481442 h 6346215"/>
                <a:gd name="connsiteX10" fmla="*/ 1866574 w 5884232"/>
                <a:gd name="connsiteY10" fmla="*/ 442651 h 6346215"/>
                <a:gd name="connsiteX11" fmla="*/ 1897053 w 5884232"/>
                <a:gd name="connsiteY11" fmla="*/ 393463 h 6346215"/>
                <a:gd name="connsiteX12" fmla="*/ 2132940 w 5884232"/>
                <a:gd name="connsiteY12" fmla="*/ 319342 h 6346215"/>
                <a:gd name="connsiteX13" fmla="*/ 2173395 w 5884232"/>
                <a:gd name="connsiteY13" fmla="*/ 352592 h 6346215"/>
                <a:gd name="connsiteX14" fmla="*/ 2369937 w 5884232"/>
                <a:gd name="connsiteY14" fmla="*/ 288171 h 6346215"/>
                <a:gd name="connsiteX15" fmla="*/ 2329149 w 5884232"/>
                <a:gd name="connsiteY15" fmla="*/ 119840 h 6346215"/>
                <a:gd name="connsiteX16" fmla="*/ 2712392 w 5884232"/>
                <a:gd name="connsiteY16" fmla="*/ 0 h 6346215"/>
                <a:gd name="connsiteX17" fmla="*/ 2760690 w 5884232"/>
                <a:gd name="connsiteY17" fmla="*/ 165560 h 6346215"/>
                <a:gd name="connsiteX18" fmla="*/ 4524241 w 5884232"/>
                <a:gd name="connsiteY18" fmla="*/ 680900 h 6346215"/>
                <a:gd name="connsiteX19" fmla="*/ 5074371 w 5884232"/>
                <a:gd name="connsiteY19" fmla="*/ 1291242 h 6346215"/>
                <a:gd name="connsiteX20" fmla="*/ 5135775 w 5884232"/>
                <a:gd name="connsiteY20" fmla="*/ 1298860 h 6346215"/>
                <a:gd name="connsiteX21" fmla="*/ 5300616 w 5884232"/>
                <a:gd name="connsiteY21" fmla="*/ 1479661 h 6346215"/>
                <a:gd name="connsiteX22" fmla="*/ 5300839 w 5884232"/>
                <a:gd name="connsiteY22" fmla="*/ 1535080 h 6346215"/>
                <a:gd name="connsiteX23" fmla="*/ 5462103 w 5884232"/>
                <a:gd name="connsiteY23" fmla="*/ 1726990 h 6346215"/>
                <a:gd name="connsiteX24" fmla="*/ 5842091 w 5884232"/>
                <a:gd name="connsiteY24" fmla="*/ 3519512 h 6346215"/>
                <a:gd name="connsiteX25" fmla="*/ 5650012 w 5884232"/>
                <a:gd name="connsiteY25" fmla="*/ 4385669 h 6346215"/>
                <a:gd name="connsiteX26" fmla="*/ 5780228 w 5884232"/>
                <a:gd name="connsiteY26" fmla="*/ 4452156 h 6346215"/>
                <a:gd name="connsiteX27" fmla="*/ 5710779 w 5884232"/>
                <a:gd name="connsiteY27" fmla="*/ 4870077 h 6346215"/>
                <a:gd name="connsiteX28" fmla="*/ 5553250 w 5884232"/>
                <a:gd name="connsiteY28" fmla="*/ 4807792 h 6346215"/>
                <a:gd name="connsiteX29" fmla="*/ 4409852 w 5884232"/>
                <a:gd name="connsiteY29" fmla="*/ 6212288 h 6346215"/>
                <a:gd name="connsiteX30" fmla="*/ 4213721 w 5884232"/>
                <a:gd name="connsiteY30" fmla="*/ 5643346 h 6346215"/>
                <a:gd name="connsiteX31" fmla="*/ 5030652 w 5884232"/>
                <a:gd name="connsiteY31" fmla="*/ 4596953 h 6346215"/>
                <a:gd name="connsiteX32" fmla="*/ 5310701 w 5884232"/>
                <a:gd name="connsiteY32" fmla="*/ 3352779 h 6346215"/>
                <a:gd name="connsiteX33" fmla="*/ 4991885 w 5884232"/>
                <a:gd name="connsiteY33" fmla="*/ 2049487 h 6346215"/>
                <a:gd name="connsiteX34" fmla="*/ 4174632 w 5884232"/>
                <a:gd name="connsiteY34" fmla="*/ 1163055 h 6346215"/>
                <a:gd name="connsiteX35" fmla="*/ 2880366 w 5884232"/>
                <a:gd name="connsiteY35" fmla="*/ 761302 h 6346215"/>
                <a:gd name="connsiteX36" fmla="*/ 1882146 w 5884232"/>
                <a:gd name="connsiteY36" fmla="*/ 1081342 h 6346215"/>
                <a:gd name="connsiteX37" fmla="*/ 873226 w 5884232"/>
                <a:gd name="connsiteY37" fmla="*/ 2111591 h 6346215"/>
                <a:gd name="connsiteX38" fmla="*/ 571891 w 5884232"/>
                <a:gd name="connsiteY38" fmla="*/ 3464807 h 6346215"/>
                <a:gd name="connsiteX39" fmla="*/ 1077217 w 5884232"/>
                <a:gd name="connsiteY39" fmla="*/ 4933546 h 6346215"/>
                <a:gd name="connsiteX40" fmla="*/ 1206546 w 5884232"/>
                <a:gd name="connsiteY40" fmla="*/ 5094818 h 6346215"/>
                <a:gd name="connsiteX41" fmla="*/ 1548682 w 5884232"/>
                <a:gd name="connsiteY41" fmla="*/ 5436198 h 6346215"/>
                <a:gd name="connsiteX42" fmla="*/ 1610916 w 5884232"/>
                <a:gd name="connsiteY42" fmla="*/ 5418743 h 6346215"/>
                <a:gd name="connsiteX43" fmla="*/ 1714643 w 5884232"/>
                <a:gd name="connsiteY43" fmla="*/ 5533432 h 6346215"/>
                <a:gd name="connsiteX44" fmla="*/ 1693898 w 5884232"/>
                <a:gd name="connsiteY44" fmla="*/ 5598255 h 6346215"/>
                <a:gd name="connsiteX45" fmla="*/ 1783719 w 5884232"/>
                <a:gd name="connsiteY45" fmla="*/ 5692347 h 6346215"/>
                <a:gd name="connsiteX46" fmla="*/ 4209492 w 5884232"/>
                <a:gd name="connsiteY46" fmla="*/ 5644651 h 6346215"/>
                <a:gd name="connsiteX47" fmla="*/ 4406189 w 5884232"/>
                <a:gd name="connsiteY47" fmla="*/ 6217653 h 6346215"/>
                <a:gd name="connsiteX48" fmla="*/ 1578647 w 5884232"/>
                <a:gd name="connsiteY48" fmla="*/ 6346215 h 6346215"/>
                <a:gd name="connsiteX49" fmla="*/ 1541767 w 5884232"/>
                <a:gd name="connsiteY49" fmla="*/ 6338736 h 6346215"/>
                <a:gd name="connsiteX50" fmla="*/ 1385024 w 5884232"/>
                <a:gd name="connsiteY50" fmla="*/ 6164212 h 6346215"/>
                <a:gd name="connsiteX51" fmla="*/ 1371195 w 5884232"/>
                <a:gd name="connsiteY51" fmla="*/ 6184157 h 6346215"/>
                <a:gd name="connsiteX52" fmla="*/ 1345840 w 5884232"/>
                <a:gd name="connsiteY52" fmla="*/ 6151747 h 6346215"/>
                <a:gd name="connsiteX53" fmla="*/ 1304349 w 5884232"/>
                <a:gd name="connsiteY53" fmla="*/ 6209090 h 6346215"/>
                <a:gd name="connsiteX54" fmla="*/ 1189098 w 5884232"/>
                <a:gd name="connsiteY54" fmla="*/ 6081936 h 6346215"/>
                <a:gd name="connsiteX55" fmla="*/ 1232893 w 5884232"/>
                <a:gd name="connsiteY55" fmla="*/ 6032071 h 6346215"/>
                <a:gd name="connsiteX56" fmla="*/ 1000086 w 5884232"/>
                <a:gd name="connsiteY56" fmla="*/ 5782751 h 6346215"/>
                <a:gd name="connsiteX57" fmla="*/ 1013916 w 5884232"/>
                <a:gd name="connsiteY57" fmla="*/ 5755327 h 6346215"/>
                <a:gd name="connsiteX58" fmla="*/ 817988 w 5884232"/>
                <a:gd name="connsiteY58" fmla="*/ 5548391 h 6346215"/>
                <a:gd name="connsiteX59" fmla="*/ 732703 w 5884232"/>
                <a:gd name="connsiteY59" fmla="*/ 5638146 h 6346215"/>
                <a:gd name="connsiteX60" fmla="*/ 430931 w 5884232"/>
                <a:gd name="connsiteY60" fmla="*/ 5323785 h 6346215"/>
                <a:gd name="connsiteX61" fmla="*/ 523257 w 5884232"/>
                <a:gd name="connsiteY61" fmla="*/ 5189370 h 6346215"/>
                <a:gd name="connsiteX62" fmla="*/ 41560 w 5884232"/>
                <a:gd name="connsiteY62" fmla="*/ 3281515 h 6346215"/>
                <a:gd name="connsiteX0" fmla="*/ 41560 w 5884232"/>
                <a:gd name="connsiteY0" fmla="*/ 3281515 h 6346215"/>
                <a:gd name="connsiteX1" fmla="*/ 250907 w 5884232"/>
                <a:gd name="connsiteY1" fmla="*/ 2374266 h 6346215"/>
                <a:gd name="connsiteX2" fmla="*/ 218176 w 5884232"/>
                <a:gd name="connsiteY2" fmla="*/ 2331944 h 6346215"/>
                <a:gd name="connsiteX3" fmla="*/ 290433 w 5884232"/>
                <a:gd name="connsiteY3" fmla="*/ 2067448 h 6346215"/>
                <a:gd name="connsiteX4" fmla="*/ 326149 w 5884232"/>
                <a:gd name="connsiteY4" fmla="*/ 2050403 h 6346215"/>
                <a:gd name="connsiteX5" fmla="*/ 1333506 w 5884232"/>
                <a:gd name="connsiteY5" fmla="*/ 647002 h 6346215"/>
                <a:gd name="connsiteX6" fmla="*/ 1546422 w 5884232"/>
                <a:gd name="connsiteY6" fmla="*/ 547251 h 6346215"/>
                <a:gd name="connsiteX7" fmla="*/ 1526361 w 5884232"/>
                <a:gd name="connsiteY7" fmla="*/ 432260 h 6346215"/>
                <a:gd name="connsiteX8" fmla="*/ 1722126 w 5884232"/>
                <a:gd name="connsiteY8" fmla="*/ 380302 h 6346215"/>
                <a:gd name="connsiteX9" fmla="*/ 1739499 w 5884232"/>
                <a:gd name="connsiteY9" fmla="*/ 481442 h 6346215"/>
                <a:gd name="connsiteX10" fmla="*/ 1866574 w 5884232"/>
                <a:gd name="connsiteY10" fmla="*/ 442651 h 6346215"/>
                <a:gd name="connsiteX11" fmla="*/ 1897053 w 5884232"/>
                <a:gd name="connsiteY11" fmla="*/ 393463 h 6346215"/>
                <a:gd name="connsiteX12" fmla="*/ 2132940 w 5884232"/>
                <a:gd name="connsiteY12" fmla="*/ 319342 h 6346215"/>
                <a:gd name="connsiteX13" fmla="*/ 2173395 w 5884232"/>
                <a:gd name="connsiteY13" fmla="*/ 352592 h 6346215"/>
                <a:gd name="connsiteX14" fmla="*/ 2369937 w 5884232"/>
                <a:gd name="connsiteY14" fmla="*/ 288171 h 6346215"/>
                <a:gd name="connsiteX15" fmla="*/ 2329149 w 5884232"/>
                <a:gd name="connsiteY15" fmla="*/ 119840 h 6346215"/>
                <a:gd name="connsiteX16" fmla="*/ 2712392 w 5884232"/>
                <a:gd name="connsiteY16" fmla="*/ 0 h 6346215"/>
                <a:gd name="connsiteX17" fmla="*/ 2760690 w 5884232"/>
                <a:gd name="connsiteY17" fmla="*/ 165560 h 6346215"/>
                <a:gd name="connsiteX18" fmla="*/ 4524241 w 5884232"/>
                <a:gd name="connsiteY18" fmla="*/ 680900 h 6346215"/>
                <a:gd name="connsiteX19" fmla="*/ 5074371 w 5884232"/>
                <a:gd name="connsiteY19" fmla="*/ 1291242 h 6346215"/>
                <a:gd name="connsiteX20" fmla="*/ 5135775 w 5884232"/>
                <a:gd name="connsiteY20" fmla="*/ 1298860 h 6346215"/>
                <a:gd name="connsiteX21" fmla="*/ 5300616 w 5884232"/>
                <a:gd name="connsiteY21" fmla="*/ 1479661 h 6346215"/>
                <a:gd name="connsiteX22" fmla="*/ 5300839 w 5884232"/>
                <a:gd name="connsiteY22" fmla="*/ 1535080 h 6346215"/>
                <a:gd name="connsiteX23" fmla="*/ 5462103 w 5884232"/>
                <a:gd name="connsiteY23" fmla="*/ 1726990 h 6346215"/>
                <a:gd name="connsiteX24" fmla="*/ 5842091 w 5884232"/>
                <a:gd name="connsiteY24" fmla="*/ 3519512 h 6346215"/>
                <a:gd name="connsiteX25" fmla="*/ 5650012 w 5884232"/>
                <a:gd name="connsiteY25" fmla="*/ 4385669 h 6346215"/>
                <a:gd name="connsiteX26" fmla="*/ 5780228 w 5884232"/>
                <a:gd name="connsiteY26" fmla="*/ 4452156 h 6346215"/>
                <a:gd name="connsiteX27" fmla="*/ 5710779 w 5884232"/>
                <a:gd name="connsiteY27" fmla="*/ 4870077 h 6346215"/>
                <a:gd name="connsiteX28" fmla="*/ 5553250 w 5884232"/>
                <a:gd name="connsiteY28" fmla="*/ 4807792 h 6346215"/>
                <a:gd name="connsiteX29" fmla="*/ 4409852 w 5884232"/>
                <a:gd name="connsiteY29" fmla="*/ 6212288 h 6346215"/>
                <a:gd name="connsiteX30" fmla="*/ 4213721 w 5884232"/>
                <a:gd name="connsiteY30" fmla="*/ 5643346 h 6346215"/>
                <a:gd name="connsiteX31" fmla="*/ 5030652 w 5884232"/>
                <a:gd name="connsiteY31" fmla="*/ 4596953 h 6346215"/>
                <a:gd name="connsiteX32" fmla="*/ 5310701 w 5884232"/>
                <a:gd name="connsiteY32" fmla="*/ 3352779 h 6346215"/>
                <a:gd name="connsiteX33" fmla="*/ 4991885 w 5884232"/>
                <a:gd name="connsiteY33" fmla="*/ 2049487 h 6346215"/>
                <a:gd name="connsiteX34" fmla="*/ 4174632 w 5884232"/>
                <a:gd name="connsiteY34" fmla="*/ 1163055 h 6346215"/>
                <a:gd name="connsiteX35" fmla="*/ 2880366 w 5884232"/>
                <a:gd name="connsiteY35" fmla="*/ 761302 h 6346215"/>
                <a:gd name="connsiteX36" fmla="*/ 1882146 w 5884232"/>
                <a:gd name="connsiteY36" fmla="*/ 1081342 h 6346215"/>
                <a:gd name="connsiteX37" fmla="*/ 873226 w 5884232"/>
                <a:gd name="connsiteY37" fmla="*/ 2111591 h 6346215"/>
                <a:gd name="connsiteX38" fmla="*/ 571891 w 5884232"/>
                <a:gd name="connsiteY38" fmla="*/ 3464807 h 6346215"/>
                <a:gd name="connsiteX39" fmla="*/ 1077217 w 5884232"/>
                <a:gd name="connsiteY39" fmla="*/ 4933546 h 6346215"/>
                <a:gd name="connsiteX40" fmla="*/ 1206546 w 5884232"/>
                <a:gd name="connsiteY40" fmla="*/ 5094818 h 6346215"/>
                <a:gd name="connsiteX41" fmla="*/ 1548682 w 5884232"/>
                <a:gd name="connsiteY41" fmla="*/ 5436198 h 6346215"/>
                <a:gd name="connsiteX42" fmla="*/ 1610916 w 5884232"/>
                <a:gd name="connsiteY42" fmla="*/ 5418743 h 6346215"/>
                <a:gd name="connsiteX43" fmla="*/ 1714643 w 5884232"/>
                <a:gd name="connsiteY43" fmla="*/ 5533432 h 6346215"/>
                <a:gd name="connsiteX44" fmla="*/ 1693898 w 5884232"/>
                <a:gd name="connsiteY44" fmla="*/ 5598255 h 6346215"/>
                <a:gd name="connsiteX45" fmla="*/ 1783719 w 5884232"/>
                <a:gd name="connsiteY45" fmla="*/ 5692347 h 6346215"/>
                <a:gd name="connsiteX46" fmla="*/ 4209492 w 5884232"/>
                <a:gd name="connsiteY46" fmla="*/ 5644651 h 6346215"/>
                <a:gd name="connsiteX47" fmla="*/ 4406189 w 5884232"/>
                <a:gd name="connsiteY47" fmla="*/ 6217653 h 6346215"/>
                <a:gd name="connsiteX48" fmla="*/ 1578647 w 5884232"/>
                <a:gd name="connsiteY48" fmla="*/ 6346215 h 6346215"/>
                <a:gd name="connsiteX49" fmla="*/ 1385024 w 5884232"/>
                <a:gd name="connsiteY49" fmla="*/ 6164212 h 6346215"/>
                <a:gd name="connsiteX50" fmla="*/ 1371195 w 5884232"/>
                <a:gd name="connsiteY50" fmla="*/ 6184157 h 6346215"/>
                <a:gd name="connsiteX51" fmla="*/ 1345840 w 5884232"/>
                <a:gd name="connsiteY51" fmla="*/ 6151747 h 6346215"/>
                <a:gd name="connsiteX52" fmla="*/ 1304349 w 5884232"/>
                <a:gd name="connsiteY52" fmla="*/ 6209090 h 6346215"/>
                <a:gd name="connsiteX53" fmla="*/ 1189098 w 5884232"/>
                <a:gd name="connsiteY53" fmla="*/ 6081936 h 6346215"/>
                <a:gd name="connsiteX54" fmla="*/ 1232893 w 5884232"/>
                <a:gd name="connsiteY54" fmla="*/ 6032071 h 6346215"/>
                <a:gd name="connsiteX55" fmla="*/ 1000086 w 5884232"/>
                <a:gd name="connsiteY55" fmla="*/ 5782751 h 6346215"/>
                <a:gd name="connsiteX56" fmla="*/ 1013916 w 5884232"/>
                <a:gd name="connsiteY56" fmla="*/ 5755327 h 6346215"/>
                <a:gd name="connsiteX57" fmla="*/ 817988 w 5884232"/>
                <a:gd name="connsiteY57" fmla="*/ 5548391 h 6346215"/>
                <a:gd name="connsiteX58" fmla="*/ 732703 w 5884232"/>
                <a:gd name="connsiteY58" fmla="*/ 5638146 h 6346215"/>
                <a:gd name="connsiteX59" fmla="*/ 430931 w 5884232"/>
                <a:gd name="connsiteY59" fmla="*/ 5323785 h 6346215"/>
                <a:gd name="connsiteX60" fmla="*/ 523257 w 5884232"/>
                <a:gd name="connsiteY60" fmla="*/ 5189370 h 6346215"/>
                <a:gd name="connsiteX61" fmla="*/ 41560 w 5884232"/>
                <a:gd name="connsiteY61" fmla="*/ 3281515 h 6346215"/>
                <a:gd name="connsiteX0" fmla="*/ 41560 w 5884232"/>
                <a:gd name="connsiteY0" fmla="*/ 3281515 h 6346215"/>
                <a:gd name="connsiteX1" fmla="*/ 250907 w 5884232"/>
                <a:gd name="connsiteY1" fmla="*/ 2374266 h 6346215"/>
                <a:gd name="connsiteX2" fmla="*/ 218176 w 5884232"/>
                <a:gd name="connsiteY2" fmla="*/ 2331944 h 6346215"/>
                <a:gd name="connsiteX3" fmla="*/ 290433 w 5884232"/>
                <a:gd name="connsiteY3" fmla="*/ 2067448 h 6346215"/>
                <a:gd name="connsiteX4" fmla="*/ 326149 w 5884232"/>
                <a:gd name="connsiteY4" fmla="*/ 2050403 h 6346215"/>
                <a:gd name="connsiteX5" fmla="*/ 1333506 w 5884232"/>
                <a:gd name="connsiteY5" fmla="*/ 647002 h 6346215"/>
                <a:gd name="connsiteX6" fmla="*/ 1546422 w 5884232"/>
                <a:gd name="connsiteY6" fmla="*/ 547251 h 6346215"/>
                <a:gd name="connsiteX7" fmla="*/ 1526361 w 5884232"/>
                <a:gd name="connsiteY7" fmla="*/ 432260 h 6346215"/>
                <a:gd name="connsiteX8" fmla="*/ 1722126 w 5884232"/>
                <a:gd name="connsiteY8" fmla="*/ 380302 h 6346215"/>
                <a:gd name="connsiteX9" fmla="*/ 1739499 w 5884232"/>
                <a:gd name="connsiteY9" fmla="*/ 481442 h 6346215"/>
                <a:gd name="connsiteX10" fmla="*/ 1866574 w 5884232"/>
                <a:gd name="connsiteY10" fmla="*/ 442651 h 6346215"/>
                <a:gd name="connsiteX11" fmla="*/ 1897053 w 5884232"/>
                <a:gd name="connsiteY11" fmla="*/ 393463 h 6346215"/>
                <a:gd name="connsiteX12" fmla="*/ 2132940 w 5884232"/>
                <a:gd name="connsiteY12" fmla="*/ 319342 h 6346215"/>
                <a:gd name="connsiteX13" fmla="*/ 2173395 w 5884232"/>
                <a:gd name="connsiteY13" fmla="*/ 352592 h 6346215"/>
                <a:gd name="connsiteX14" fmla="*/ 2369937 w 5884232"/>
                <a:gd name="connsiteY14" fmla="*/ 288171 h 6346215"/>
                <a:gd name="connsiteX15" fmla="*/ 2329149 w 5884232"/>
                <a:gd name="connsiteY15" fmla="*/ 119840 h 6346215"/>
                <a:gd name="connsiteX16" fmla="*/ 2712392 w 5884232"/>
                <a:gd name="connsiteY16" fmla="*/ 0 h 6346215"/>
                <a:gd name="connsiteX17" fmla="*/ 2760690 w 5884232"/>
                <a:gd name="connsiteY17" fmla="*/ 165560 h 6346215"/>
                <a:gd name="connsiteX18" fmla="*/ 4524241 w 5884232"/>
                <a:gd name="connsiteY18" fmla="*/ 680900 h 6346215"/>
                <a:gd name="connsiteX19" fmla="*/ 5074371 w 5884232"/>
                <a:gd name="connsiteY19" fmla="*/ 1291242 h 6346215"/>
                <a:gd name="connsiteX20" fmla="*/ 5135775 w 5884232"/>
                <a:gd name="connsiteY20" fmla="*/ 1298860 h 6346215"/>
                <a:gd name="connsiteX21" fmla="*/ 5300616 w 5884232"/>
                <a:gd name="connsiteY21" fmla="*/ 1479661 h 6346215"/>
                <a:gd name="connsiteX22" fmla="*/ 5300839 w 5884232"/>
                <a:gd name="connsiteY22" fmla="*/ 1535080 h 6346215"/>
                <a:gd name="connsiteX23" fmla="*/ 5462103 w 5884232"/>
                <a:gd name="connsiteY23" fmla="*/ 1726990 h 6346215"/>
                <a:gd name="connsiteX24" fmla="*/ 5842091 w 5884232"/>
                <a:gd name="connsiteY24" fmla="*/ 3519512 h 6346215"/>
                <a:gd name="connsiteX25" fmla="*/ 5650012 w 5884232"/>
                <a:gd name="connsiteY25" fmla="*/ 4385669 h 6346215"/>
                <a:gd name="connsiteX26" fmla="*/ 5780228 w 5884232"/>
                <a:gd name="connsiteY26" fmla="*/ 4452156 h 6346215"/>
                <a:gd name="connsiteX27" fmla="*/ 5710779 w 5884232"/>
                <a:gd name="connsiteY27" fmla="*/ 4870077 h 6346215"/>
                <a:gd name="connsiteX28" fmla="*/ 5553250 w 5884232"/>
                <a:gd name="connsiteY28" fmla="*/ 4807792 h 6346215"/>
                <a:gd name="connsiteX29" fmla="*/ 4409852 w 5884232"/>
                <a:gd name="connsiteY29" fmla="*/ 6212288 h 6346215"/>
                <a:gd name="connsiteX30" fmla="*/ 4213721 w 5884232"/>
                <a:gd name="connsiteY30" fmla="*/ 5643346 h 6346215"/>
                <a:gd name="connsiteX31" fmla="*/ 5030652 w 5884232"/>
                <a:gd name="connsiteY31" fmla="*/ 4596953 h 6346215"/>
                <a:gd name="connsiteX32" fmla="*/ 5310701 w 5884232"/>
                <a:gd name="connsiteY32" fmla="*/ 3352779 h 6346215"/>
                <a:gd name="connsiteX33" fmla="*/ 4991885 w 5884232"/>
                <a:gd name="connsiteY33" fmla="*/ 2049487 h 6346215"/>
                <a:gd name="connsiteX34" fmla="*/ 4174632 w 5884232"/>
                <a:gd name="connsiteY34" fmla="*/ 1163055 h 6346215"/>
                <a:gd name="connsiteX35" fmla="*/ 2880366 w 5884232"/>
                <a:gd name="connsiteY35" fmla="*/ 761302 h 6346215"/>
                <a:gd name="connsiteX36" fmla="*/ 1882146 w 5884232"/>
                <a:gd name="connsiteY36" fmla="*/ 1081342 h 6346215"/>
                <a:gd name="connsiteX37" fmla="*/ 873226 w 5884232"/>
                <a:gd name="connsiteY37" fmla="*/ 2111591 h 6346215"/>
                <a:gd name="connsiteX38" fmla="*/ 571891 w 5884232"/>
                <a:gd name="connsiteY38" fmla="*/ 3464807 h 6346215"/>
                <a:gd name="connsiteX39" fmla="*/ 1077217 w 5884232"/>
                <a:gd name="connsiteY39" fmla="*/ 4933546 h 6346215"/>
                <a:gd name="connsiteX40" fmla="*/ 1206546 w 5884232"/>
                <a:gd name="connsiteY40" fmla="*/ 5094818 h 6346215"/>
                <a:gd name="connsiteX41" fmla="*/ 1548682 w 5884232"/>
                <a:gd name="connsiteY41" fmla="*/ 5436198 h 6346215"/>
                <a:gd name="connsiteX42" fmla="*/ 1610916 w 5884232"/>
                <a:gd name="connsiteY42" fmla="*/ 5418743 h 6346215"/>
                <a:gd name="connsiteX43" fmla="*/ 1714643 w 5884232"/>
                <a:gd name="connsiteY43" fmla="*/ 5533432 h 6346215"/>
                <a:gd name="connsiteX44" fmla="*/ 1693898 w 5884232"/>
                <a:gd name="connsiteY44" fmla="*/ 5598255 h 6346215"/>
                <a:gd name="connsiteX45" fmla="*/ 1783719 w 5884232"/>
                <a:gd name="connsiteY45" fmla="*/ 5692347 h 6346215"/>
                <a:gd name="connsiteX46" fmla="*/ 4209492 w 5884232"/>
                <a:gd name="connsiteY46" fmla="*/ 5644651 h 6346215"/>
                <a:gd name="connsiteX47" fmla="*/ 4406189 w 5884232"/>
                <a:gd name="connsiteY47" fmla="*/ 6217653 h 6346215"/>
                <a:gd name="connsiteX48" fmla="*/ 1578647 w 5884232"/>
                <a:gd name="connsiteY48" fmla="*/ 6346215 h 6346215"/>
                <a:gd name="connsiteX49" fmla="*/ 1533584 w 5884232"/>
                <a:gd name="connsiteY49" fmla="*/ 6322242 h 6346215"/>
                <a:gd name="connsiteX50" fmla="*/ 1385024 w 5884232"/>
                <a:gd name="connsiteY50" fmla="*/ 6164212 h 6346215"/>
                <a:gd name="connsiteX51" fmla="*/ 1371195 w 5884232"/>
                <a:gd name="connsiteY51" fmla="*/ 6184157 h 6346215"/>
                <a:gd name="connsiteX52" fmla="*/ 1345840 w 5884232"/>
                <a:gd name="connsiteY52" fmla="*/ 6151747 h 6346215"/>
                <a:gd name="connsiteX53" fmla="*/ 1304349 w 5884232"/>
                <a:gd name="connsiteY53" fmla="*/ 6209090 h 6346215"/>
                <a:gd name="connsiteX54" fmla="*/ 1189098 w 5884232"/>
                <a:gd name="connsiteY54" fmla="*/ 6081936 h 6346215"/>
                <a:gd name="connsiteX55" fmla="*/ 1232893 w 5884232"/>
                <a:gd name="connsiteY55" fmla="*/ 6032071 h 6346215"/>
                <a:gd name="connsiteX56" fmla="*/ 1000086 w 5884232"/>
                <a:gd name="connsiteY56" fmla="*/ 5782751 h 6346215"/>
                <a:gd name="connsiteX57" fmla="*/ 1013916 w 5884232"/>
                <a:gd name="connsiteY57" fmla="*/ 5755327 h 6346215"/>
                <a:gd name="connsiteX58" fmla="*/ 817988 w 5884232"/>
                <a:gd name="connsiteY58" fmla="*/ 5548391 h 6346215"/>
                <a:gd name="connsiteX59" fmla="*/ 732703 w 5884232"/>
                <a:gd name="connsiteY59" fmla="*/ 5638146 h 6346215"/>
                <a:gd name="connsiteX60" fmla="*/ 430931 w 5884232"/>
                <a:gd name="connsiteY60" fmla="*/ 5323785 h 6346215"/>
                <a:gd name="connsiteX61" fmla="*/ 523257 w 5884232"/>
                <a:gd name="connsiteY61" fmla="*/ 5189370 h 6346215"/>
                <a:gd name="connsiteX62" fmla="*/ 41560 w 5884232"/>
                <a:gd name="connsiteY62" fmla="*/ 3281515 h 6346215"/>
                <a:gd name="connsiteX0" fmla="*/ 41560 w 5884232"/>
                <a:gd name="connsiteY0" fmla="*/ 3281515 h 6322242"/>
                <a:gd name="connsiteX1" fmla="*/ 250907 w 5884232"/>
                <a:gd name="connsiteY1" fmla="*/ 2374266 h 6322242"/>
                <a:gd name="connsiteX2" fmla="*/ 218176 w 5884232"/>
                <a:gd name="connsiteY2" fmla="*/ 2331944 h 6322242"/>
                <a:gd name="connsiteX3" fmla="*/ 290433 w 5884232"/>
                <a:gd name="connsiteY3" fmla="*/ 2067448 h 6322242"/>
                <a:gd name="connsiteX4" fmla="*/ 326149 w 5884232"/>
                <a:gd name="connsiteY4" fmla="*/ 2050403 h 6322242"/>
                <a:gd name="connsiteX5" fmla="*/ 1333506 w 5884232"/>
                <a:gd name="connsiteY5" fmla="*/ 647002 h 6322242"/>
                <a:gd name="connsiteX6" fmla="*/ 1546422 w 5884232"/>
                <a:gd name="connsiteY6" fmla="*/ 547251 h 6322242"/>
                <a:gd name="connsiteX7" fmla="*/ 1526361 w 5884232"/>
                <a:gd name="connsiteY7" fmla="*/ 432260 h 6322242"/>
                <a:gd name="connsiteX8" fmla="*/ 1722126 w 5884232"/>
                <a:gd name="connsiteY8" fmla="*/ 380302 h 6322242"/>
                <a:gd name="connsiteX9" fmla="*/ 1739499 w 5884232"/>
                <a:gd name="connsiteY9" fmla="*/ 481442 h 6322242"/>
                <a:gd name="connsiteX10" fmla="*/ 1866574 w 5884232"/>
                <a:gd name="connsiteY10" fmla="*/ 442651 h 6322242"/>
                <a:gd name="connsiteX11" fmla="*/ 1897053 w 5884232"/>
                <a:gd name="connsiteY11" fmla="*/ 393463 h 6322242"/>
                <a:gd name="connsiteX12" fmla="*/ 2132940 w 5884232"/>
                <a:gd name="connsiteY12" fmla="*/ 319342 h 6322242"/>
                <a:gd name="connsiteX13" fmla="*/ 2173395 w 5884232"/>
                <a:gd name="connsiteY13" fmla="*/ 352592 h 6322242"/>
                <a:gd name="connsiteX14" fmla="*/ 2369937 w 5884232"/>
                <a:gd name="connsiteY14" fmla="*/ 288171 h 6322242"/>
                <a:gd name="connsiteX15" fmla="*/ 2329149 w 5884232"/>
                <a:gd name="connsiteY15" fmla="*/ 119840 h 6322242"/>
                <a:gd name="connsiteX16" fmla="*/ 2712392 w 5884232"/>
                <a:gd name="connsiteY16" fmla="*/ 0 h 6322242"/>
                <a:gd name="connsiteX17" fmla="*/ 2760690 w 5884232"/>
                <a:gd name="connsiteY17" fmla="*/ 165560 h 6322242"/>
                <a:gd name="connsiteX18" fmla="*/ 4524241 w 5884232"/>
                <a:gd name="connsiteY18" fmla="*/ 680900 h 6322242"/>
                <a:gd name="connsiteX19" fmla="*/ 5074371 w 5884232"/>
                <a:gd name="connsiteY19" fmla="*/ 1291242 h 6322242"/>
                <a:gd name="connsiteX20" fmla="*/ 5135775 w 5884232"/>
                <a:gd name="connsiteY20" fmla="*/ 1298860 h 6322242"/>
                <a:gd name="connsiteX21" fmla="*/ 5300616 w 5884232"/>
                <a:gd name="connsiteY21" fmla="*/ 1479661 h 6322242"/>
                <a:gd name="connsiteX22" fmla="*/ 5300839 w 5884232"/>
                <a:gd name="connsiteY22" fmla="*/ 1535080 h 6322242"/>
                <a:gd name="connsiteX23" fmla="*/ 5462103 w 5884232"/>
                <a:gd name="connsiteY23" fmla="*/ 1726990 h 6322242"/>
                <a:gd name="connsiteX24" fmla="*/ 5842091 w 5884232"/>
                <a:gd name="connsiteY24" fmla="*/ 3519512 h 6322242"/>
                <a:gd name="connsiteX25" fmla="*/ 5650012 w 5884232"/>
                <a:gd name="connsiteY25" fmla="*/ 4385669 h 6322242"/>
                <a:gd name="connsiteX26" fmla="*/ 5780228 w 5884232"/>
                <a:gd name="connsiteY26" fmla="*/ 4452156 h 6322242"/>
                <a:gd name="connsiteX27" fmla="*/ 5710779 w 5884232"/>
                <a:gd name="connsiteY27" fmla="*/ 4870077 h 6322242"/>
                <a:gd name="connsiteX28" fmla="*/ 5553250 w 5884232"/>
                <a:gd name="connsiteY28" fmla="*/ 4807792 h 6322242"/>
                <a:gd name="connsiteX29" fmla="*/ 4409852 w 5884232"/>
                <a:gd name="connsiteY29" fmla="*/ 6212288 h 6322242"/>
                <a:gd name="connsiteX30" fmla="*/ 4213721 w 5884232"/>
                <a:gd name="connsiteY30" fmla="*/ 5643346 h 6322242"/>
                <a:gd name="connsiteX31" fmla="*/ 5030652 w 5884232"/>
                <a:gd name="connsiteY31" fmla="*/ 4596953 h 6322242"/>
                <a:gd name="connsiteX32" fmla="*/ 5310701 w 5884232"/>
                <a:gd name="connsiteY32" fmla="*/ 3352779 h 6322242"/>
                <a:gd name="connsiteX33" fmla="*/ 4991885 w 5884232"/>
                <a:gd name="connsiteY33" fmla="*/ 2049487 h 6322242"/>
                <a:gd name="connsiteX34" fmla="*/ 4174632 w 5884232"/>
                <a:gd name="connsiteY34" fmla="*/ 1163055 h 6322242"/>
                <a:gd name="connsiteX35" fmla="*/ 2880366 w 5884232"/>
                <a:gd name="connsiteY35" fmla="*/ 761302 h 6322242"/>
                <a:gd name="connsiteX36" fmla="*/ 1882146 w 5884232"/>
                <a:gd name="connsiteY36" fmla="*/ 1081342 h 6322242"/>
                <a:gd name="connsiteX37" fmla="*/ 873226 w 5884232"/>
                <a:gd name="connsiteY37" fmla="*/ 2111591 h 6322242"/>
                <a:gd name="connsiteX38" fmla="*/ 571891 w 5884232"/>
                <a:gd name="connsiteY38" fmla="*/ 3464807 h 6322242"/>
                <a:gd name="connsiteX39" fmla="*/ 1077217 w 5884232"/>
                <a:gd name="connsiteY39" fmla="*/ 4933546 h 6322242"/>
                <a:gd name="connsiteX40" fmla="*/ 1206546 w 5884232"/>
                <a:gd name="connsiteY40" fmla="*/ 5094818 h 6322242"/>
                <a:gd name="connsiteX41" fmla="*/ 1548682 w 5884232"/>
                <a:gd name="connsiteY41" fmla="*/ 5436198 h 6322242"/>
                <a:gd name="connsiteX42" fmla="*/ 1610916 w 5884232"/>
                <a:gd name="connsiteY42" fmla="*/ 5418743 h 6322242"/>
                <a:gd name="connsiteX43" fmla="*/ 1714643 w 5884232"/>
                <a:gd name="connsiteY43" fmla="*/ 5533432 h 6322242"/>
                <a:gd name="connsiteX44" fmla="*/ 1693898 w 5884232"/>
                <a:gd name="connsiteY44" fmla="*/ 5598255 h 6322242"/>
                <a:gd name="connsiteX45" fmla="*/ 1783719 w 5884232"/>
                <a:gd name="connsiteY45" fmla="*/ 5692347 h 6322242"/>
                <a:gd name="connsiteX46" fmla="*/ 4209492 w 5884232"/>
                <a:gd name="connsiteY46" fmla="*/ 5644651 h 6322242"/>
                <a:gd name="connsiteX47" fmla="*/ 4406189 w 5884232"/>
                <a:gd name="connsiteY47" fmla="*/ 6217653 h 6322242"/>
                <a:gd name="connsiteX48" fmla="*/ 1533584 w 5884232"/>
                <a:gd name="connsiteY48" fmla="*/ 6322242 h 6322242"/>
                <a:gd name="connsiteX49" fmla="*/ 1385024 w 5884232"/>
                <a:gd name="connsiteY49" fmla="*/ 6164212 h 6322242"/>
                <a:gd name="connsiteX50" fmla="*/ 1371195 w 5884232"/>
                <a:gd name="connsiteY50" fmla="*/ 6184157 h 6322242"/>
                <a:gd name="connsiteX51" fmla="*/ 1345840 w 5884232"/>
                <a:gd name="connsiteY51" fmla="*/ 6151747 h 6322242"/>
                <a:gd name="connsiteX52" fmla="*/ 1304349 w 5884232"/>
                <a:gd name="connsiteY52" fmla="*/ 6209090 h 6322242"/>
                <a:gd name="connsiteX53" fmla="*/ 1189098 w 5884232"/>
                <a:gd name="connsiteY53" fmla="*/ 6081936 h 6322242"/>
                <a:gd name="connsiteX54" fmla="*/ 1232893 w 5884232"/>
                <a:gd name="connsiteY54" fmla="*/ 6032071 h 6322242"/>
                <a:gd name="connsiteX55" fmla="*/ 1000086 w 5884232"/>
                <a:gd name="connsiteY55" fmla="*/ 5782751 h 6322242"/>
                <a:gd name="connsiteX56" fmla="*/ 1013916 w 5884232"/>
                <a:gd name="connsiteY56" fmla="*/ 5755327 h 6322242"/>
                <a:gd name="connsiteX57" fmla="*/ 817988 w 5884232"/>
                <a:gd name="connsiteY57" fmla="*/ 5548391 h 6322242"/>
                <a:gd name="connsiteX58" fmla="*/ 732703 w 5884232"/>
                <a:gd name="connsiteY58" fmla="*/ 5638146 h 6322242"/>
                <a:gd name="connsiteX59" fmla="*/ 430931 w 5884232"/>
                <a:gd name="connsiteY59" fmla="*/ 5323785 h 6322242"/>
                <a:gd name="connsiteX60" fmla="*/ 523257 w 5884232"/>
                <a:gd name="connsiteY60" fmla="*/ 5189370 h 6322242"/>
                <a:gd name="connsiteX61" fmla="*/ 41560 w 5884232"/>
                <a:gd name="connsiteY61" fmla="*/ 3281515 h 6322242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385024 w 5884232"/>
                <a:gd name="connsiteY48" fmla="*/ 6164212 h 6217653"/>
                <a:gd name="connsiteX49" fmla="*/ 1371195 w 5884232"/>
                <a:gd name="connsiteY49" fmla="*/ 6184157 h 6217653"/>
                <a:gd name="connsiteX50" fmla="*/ 1345840 w 5884232"/>
                <a:gd name="connsiteY50" fmla="*/ 6151747 h 6217653"/>
                <a:gd name="connsiteX51" fmla="*/ 1304349 w 5884232"/>
                <a:gd name="connsiteY51" fmla="*/ 6209090 h 6217653"/>
                <a:gd name="connsiteX52" fmla="*/ 1189098 w 5884232"/>
                <a:gd name="connsiteY52" fmla="*/ 6081936 h 6217653"/>
                <a:gd name="connsiteX53" fmla="*/ 1232893 w 5884232"/>
                <a:gd name="connsiteY53" fmla="*/ 6032071 h 6217653"/>
                <a:gd name="connsiteX54" fmla="*/ 1000086 w 5884232"/>
                <a:gd name="connsiteY54" fmla="*/ 5782751 h 6217653"/>
                <a:gd name="connsiteX55" fmla="*/ 1013916 w 5884232"/>
                <a:gd name="connsiteY55" fmla="*/ 5755327 h 6217653"/>
                <a:gd name="connsiteX56" fmla="*/ 817988 w 5884232"/>
                <a:gd name="connsiteY56" fmla="*/ 5548391 h 6217653"/>
                <a:gd name="connsiteX57" fmla="*/ 732703 w 5884232"/>
                <a:gd name="connsiteY57" fmla="*/ 5638146 h 6217653"/>
                <a:gd name="connsiteX58" fmla="*/ 430931 w 5884232"/>
                <a:gd name="connsiteY58" fmla="*/ 5323785 h 6217653"/>
                <a:gd name="connsiteX59" fmla="*/ 523257 w 5884232"/>
                <a:gd name="connsiteY59" fmla="*/ 5189370 h 6217653"/>
                <a:gd name="connsiteX60" fmla="*/ 41560 w 5884232"/>
                <a:gd name="connsiteY60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385024 w 5884232"/>
                <a:gd name="connsiteY48" fmla="*/ 6164212 h 6217653"/>
                <a:gd name="connsiteX49" fmla="*/ 1345840 w 5884232"/>
                <a:gd name="connsiteY49" fmla="*/ 6151747 h 6217653"/>
                <a:gd name="connsiteX50" fmla="*/ 1304349 w 5884232"/>
                <a:gd name="connsiteY50" fmla="*/ 6209090 h 6217653"/>
                <a:gd name="connsiteX51" fmla="*/ 1189098 w 5884232"/>
                <a:gd name="connsiteY51" fmla="*/ 6081936 h 6217653"/>
                <a:gd name="connsiteX52" fmla="*/ 1232893 w 5884232"/>
                <a:gd name="connsiteY52" fmla="*/ 6032071 h 6217653"/>
                <a:gd name="connsiteX53" fmla="*/ 1000086 w 5884232"/>
                <a:gd name="connsiteY53" fmla="*/ 5782751 h 6217653"/>
                <a:gd name="connsiteX54" fmla="*/ 1013916 w 5884232"/>
                <a:gd name="connsiteY54" fmla="*/ 5755327 h 6217653"/>
                <a:gd name="connsiteX55" fmla="*/ 817988 w 5884232"/>
                <a:gd name="connsiteY55" fmla="*/ 5548391 h 6217653"/>
                <a:gd name="connsiteX56" fmla="*/ 732703 w 5884232"/>
                <a:gd name="connsiteY56" fmla="*/ 5638146 h 6217653"/>
                <a:gd name="connsiteX57" fmla="*/ 430931 w 5884232"/>
                <a:gd name="connsiteY57" fmla="*/ 5323785 h 6217653"/>
                <a:gd name="connsiteX58" fmla="*/ 523257 w 5884232"/>
                <a:gd name="connsiteY58" fmla="*/ 5189370 h 6217653"/>
                <a:gd name="connsiteX59" fmla="*/ 41560 w 5884232"/>
                <a:gd name="connsiteY5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385024 w 5884232"/>
                <a:gd name="connsiteY48" fmla="*/ 6164212 h 6217653"/>
                <a:gd name="connsiteX49" fmla="*/ 1304349 w 5884232"/>
                <a:gd name="connsiteY49" fmla="*/ 6209090 h 6217653"/>
                <a:gd name="connsiteX50" fmla="*/ 1189098 w 5884232"/>
                <a:gd name="connsiteY50" fmla="*/ 6081936 h 6217653"/>
                <a:gd name="connsiteX51" fmla="*/ 1232893 w 5884232"/>
                <a:gd name="connsiteY51" fmla="*/ 6032071 h 6217653"/>
                <a:gd name="connsiteX52" fmla="*/ 1000086 w 5884232"/>
                <a:gd name="connsiteY52" fmla="*/ 5782751 h 6217653"/>
                <a:gd name="connsiteX53" fmla="*/ 1013916 w 5884232"/>
                <a:gd name="connsiteY53" fmla="*/ 5755327 h 6217653"/>
                <a:gd name="connsiteX54" fmla="*/ 817988 w 5884232"/>
                <a:gd name="connsiteY54" fmla="*/ 5548391 h 6217653"/>
                <a:gd name="connsiteX55" fmla="*/ 732703 w 5884232"/>
                <a:gd name="connsiteY55" fmla="*/ 5638146 h 6217653"/>
                <a:gd name="connsiteX56" fmla="*/ 430931 w 5884232"/>
                <a:gd name="connsiteY56" fmla="*/ 5323785 h 6217653"/>
                <a:gd name="connsiteX57" fmla="*/ 523257 w 5884232"/>
                <a:gd name="connsiteY57" fmla="*/ 5189370 h 6217653"/>
                <a:gd name="connsiteX58" fmla="*/ 41560 w 5884232"/>
                <a:gd name="connsiteY58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304349 w 5884232"/>
                <a:gd name="connsiteY48" fmla="*/ 6209090 h 6217653"/>
                <a:gd name="connsiteX49" fmla="*/ 1189098 w 5884232"/>
                <a:gd name="connsiteY49" fmla="*/ 6081936 h 6217653"/>
                <a:gd name="connsiteX50" fmla="*/ 1232893 w 5884232"/>
                <a:gd name="connsiteY50" fmla="*/ 6032071 h 6217653"/>
                <a:gd name="connsiteX51" fmla="*/ 1000086 w 5884232"/>
                <a:gd name="connsiteY51" fmla="*/ 5782751 h 6217653"/>
                <a:gd name="connsiteX52" fmla="*/ 1013916 w 5884232"/>
                <a:gd name="connsiteY52" fmla="*/ 5755327 h 6217653"/>
                <a:gd name="connsiteX53" fmla="*/ 817988 w 5884232"/>
                <a:gd name="connsiteY53" fmla="*/ 5548391 h 6217653"/>
                <a:gd name="connsiteX54" fmla="*/ 732703 w 5884232"/>
                <a:gd name="connsiteY54" fmla="*/ 5638146 h 6217653"/>
                <a:gd name="connsiteX55" fmla="*/ 430931 w 5884232"/>
                <a:gd name="connsiteY55" fmla="*/ 5323785 h 6217653"/>
                <a:gd name="connsiteX56" fmla="*/ 523257 w 5884232"/>
                <a:gd name="connsiteY56" fmla="*/ 5189370 h 6217653"/>
                <a:gd name="connsiteX57" fmla="*/ 41560 w 5884232"/>
                <a:gd name="connsiteY57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189098 w 5884232"/>
                <a:gd name="connsiteY48" fmla="*/ 6081936 h 6217653"/>
                <a:gd name="connsiteX49" fmla="*/ 1232893 w 5884232"/>
                <a:gd name="connsiteY49" fmla="*/ 6032071 h 6217653"/>
                <a:gd name="connsiteX50" fmla="*/ 1000086 w 5884232"/>
                <a:gd name="connsiteY50" fmla="*/ 5782751 h 6217653"/>
                <a:gd name="connsiteX51" fmla="*/ 1013916 w 5884232"/>
                <a:gd name="connsiteY51" fmla="*/ 5755327 h 6217653"/>
                <a:gd name="connsiteX52" fmla="*/ 817988 w 5884232"/>
                <a:gd name="connsiteY52" fmla="*/ 5548391 h 6217653"/>
                <a:gd name="connsiteX53" fmla="*/ 732703 w 5884232"/>
                <a:gd name="connsiteY53" fmla="*/ 5638146 h 6217653"/>
                <a:gd name="connsiteX54" fmla="*/ 430931 w 5884232"/>
                <a:gd name="connsiteY54" fmla="*/ 5323785 h 6217653"/>
                <a:gd name="connsiteX55" fmla="*/ 523257 w 5884232"/>
                <a:gd name="connsiteY55" fmla="*/ 5189370 h 6217653"/>
                <a:gd name="connsiteX56" fmla="*/ 41560 w 5884232"/>
                <a:gd name="connsiteY56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232893 w 5884232"/>
                <a:gd name="connsiteY48" fmla="*/ 6032071 h 6217653"/>
                <a:gd name="connsiteX49" fmla="*/ 1000086 w 5884232"/>
                <a:gd name="connsiteY49" fmla="*/ 5782751 h 6217653"/>
                <a:gd name="connsiteX50" fmla="*/ 1013916 w 5884232"/>
                <a:gd name="connsiteY50" fmla="*/ 5755327 h 6217653"/>
                <a:gd name="connsiteX51" fmla="*/ 817988 w 5884232"/>
                <a:gd name="connsiteY51" fmla="*/ 5548391 h 6217653"/>
                <a:gd name="connsiteX52" fmla="*/ 732703 w 5884232"/>
                <a:gd name="connsiteY52" fmla="*/ 5638146 h 6217653"/>
                <a:gd name="connsiteX53" fmla="*/ 430931 w 5884232"/>
                <a:gd name="connsiteY53" fmla="*/ 5323785 h 6217653"/>
                <a:gd name="connsiteX54" fmla="*/ 523257 w 5884232"/>
                <a:gd name="connsiteY54" fmla="*/ 5189370 h 6217653"/>
                <a:gd name="connsiteX55" fmla="*/ 41560 w 5884232"/>
                <a:gd name="connsiteY55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000086 w 5884232"/>
                <a:gd name="connsiteY48" fmla="*/ 5782751 h 6217653"/>
                <a:gd name="connsiteX49" fmla="*/ 1013916 w 5884232"/>
                <a:gd name="connsiteY49" fmla="*/ 5755327 h 6217653"/>
                <a:gd name="connsiteX50" fmla="*/ 817988 w 5884232"/>
                <a:gd name="connsiteY50" fmla="*/ 5548391 h 6217653"/>
                <a:gd name="connsiteX51" fmla="*/ 732703 w 5884232"/>
                <a:gd name="connsiteY51" fmla="*/ 5638146 h 6217653"/>
                <a:gd name="connsiteX52" fmla="*/ 430931 w 5884232"/>
                <a:gd name="connsiteY52" fmla="*/ 5323785 h 6217653"/>
                <a:gd name="connsiteX53" fmla="*/ 523257 w 5884232"/>
                <a:gd name="connsiteY53" fmla="*/ 5189370 h 6217653"/>
                <a:gd name="connsiteX54" fmla="*/ 41560 w 5884232"/>
                <a:gd name="connsiteY54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000086 w 5884232"/>
                <a:gd name="connsiteY48" fmla="*/ 5782751 h 6217653"/>
                <a:gd name="connsiteX49" fmla="*/ 817988 w 5884232"/>
                <a:gd name="connsiteY49" fmla="*/ 5548391 h 6217653"/>
                <a:gd name="connsiteX50" fmla="*/ 732703 w 5884232"/>
                <a:gd name="connsiteY50" fmla="*/ 5638146 h 6217653"/>
                <a:gd name="connsiteX51" fmla="*/ 430931 w 5884232"/>
                <a:gd name="connsiteY51" fmla="*/ 5323785 h 6217653"/>
                <a:gd name="connsiteX52" fmla="*/ 523257 w 5884232"/>
                <a:gd name="connsiteY52" fmla="*/ 5189370 h 6217653"/>
                <a:gd name="connsiteX53" fmla="*/ 41560 w 5884232"/>
                <a:gd name="connsiteY53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817988 w 5884232"/>
                <a:gd name="connsiteY48" fmla="*/ 5548391 h 6217653"/>
                <a:gd name="connsiteX49" fmla="*/ 732703 w 5884232"/>
                <a:gd name="connsiteY49" fmla="*/ 5638146 h 6217653"/>
                <a:gd name="connsiteX50" fmla="*/ 430931 w 5884232"/>
                <a:gd name="connsiteY50" fmla="*/ 5323785 h 6217653"/>
                <a:gd name="connsiteX51" fmla="*/ 523257 w 5884232"/>
                <a:gd name="connsiteY51" fmla="*/ 5189370 h 6217653"/>
                <a:gd name="connsiteX52" fmla="*/ 41560 w 5884232"/>
                <a:gd name="connsiteY52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4209492 w 5884232"/>
                <a:gd name="connsiteY45" fmla="*/ 5644651 h 6217653"/>
                <a:gd name="connsiteX46" fmla="*/ 4406189 w 5884232"/>
                <a:gd name="connsiteY46" fmla="*/ 6217653 h 6217653"/>
                <a:gd name="connsiteX47" fmla="*/ 817988 w 5884232"/>
                <a:gd name="connsiteY47" fmla="*/ 5548391 h 6217653"/>
                <a:gd name="connsiteX48" fmla="*/ 732703 w 5884232"/>
                <a:gd name="connsiteY48" fmla="*/ 5638146 h 6217653"/>
                <a:gd name="connsiteX49" fmla="*/ 430931 w 5884232"/>
                <a:gd name="connsiteY49" fmla="*/ 5323785 h 6217653"/>
                <a:gd name="connsiteX50" fmla="*/ 523257 w 5884232"/>
                <a:gd name="connsiteY50" fmla="*/ 5189370 h 6217653"/>
                <a:gd name="connsiteX51" fmla="*/ 41560 w 5884232"/>
                <a:gd name="connsiteY51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4209492 w 5884232"/>
                <a:gd name="connsiteY44" fmla="*/ 5644651 h 6217653"/>
                <a:gd name="connsiteX45" fmla="*/ 4406189 w 5884232"/>
                <a:gd name="connsiteY45" fmla="*/ 6217653 h 6217653"/>
                <a:gd name="connsiteX46" fmla="*/ 817988 w 5884232"/>
                <a:gd name="connsiteY46" fmla="*/ 5548391 h 6217653"/>
                <a:gd name="connsiteX47" fmla="*/ 732703 w 5884232"/>
                <a:gd name="connsiteY47" fmla="*/ 5638146 h 6217653"/>
                <a:gd name="connsiteX48" fmla="*/ 430931 w 5884232"/>
                <a:gd name="connsiteY48" fmla="*/ 5323785 h 6217653"/>
                <a:gd name="connsiteX49" fmla="*/ 523257 w 5884232"/>
                <a:gd name="connsiteY49" fmla="*/ 5189370 h 6217653"/>
                <a:gd name="connsiteX50" fmla="*/ 41560 w 5884232"/>
                <a:gd name="connsiteY50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4209492 w 5884232"/>
                <a:gd name="connsiteY43" fmla="*/ 5644651 h 6217653"/>
                <a:gd name="connsiteX44" fmla="*/ 4406189 w 5884232"/>
                <a:gd name="connsiteY44" fmla="*/ 6217653 h 6217653"/>
                <a:gd name="connsiteX45" fmla="*/ 817988 w 5884232"/>
                <a:gd name="connsiteY45" fmla="*/ 5548391 h 6217653"/>
                <a:gd name="connsiteX46" fmla="*/ 732703 w 5884232"/>
                <a:gd name="connsiteY46" fmla="*/ 5638146 h 6217653"/>
                <a:gd name="connsiteX47" fmla="*/ 430931 w 5884232"/>
                <a:gd name="connsiteY47" fmla="*/ 5323785 h 6217653"/>
                <a:gd name="connsiteX48" fmla="*/ 523257 w 5884232"/>
                <a:gd name="connsiteY48" fmla="*/ 5189370 h 6217653"/>
                <a:gd name="connsiteX49" fmla="*/ 41560 w 5884232"/>
                <a:gd name="connsiteY4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4209492 w 5884232"/>
                <a:gd name="connsiteY42" fmla="*/ 5644651 h 6217653"/>
                <a:gd name="connsiteX43" fmla="*/ 4406189 w 5884232"/>
                <a:gd name="connsiteY43" fmla="*/ 6217653 h 6217653"/>
                <a:gd name="connsiteX44" fmla="*/ 817988 w 5884232"/>
                <a:gd name="connsiteY44" fmla="*/ 5548391 h 6217653"/>
                <a:gd name="connsiteX45" fmla="*/ 732703 w 5884232"/>
                <a:gd name="connsiteY45" fmla="*/ 5638146 h 6217653"/>
                <a:gd name="connsiteX46" fmla="*/ 430931 w 5884232"/>
                <a:gd name="connsiteY46" fmla="*/ 5323785 h 6217653"/>
                <a:gd name="connsiteX47" fmla="*/ 523257 w 5884232"/>
                <a:gd name="connsiteY47" fmla="*/ 5189370 h 6217653"/>
                <a:gd name="connsiteX48" fmla="*/ 41560 w 5884232"/>
                <a:gd name="connsiteY48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209492 w 5884232"/>
                <a:gd name="connsiteY41" fmla="*/ 5644651 h 6217653"/>
                <a:gd name="connsiteX42" fmla="*/ 4406189 w 5884232"/>
                <a:gd name="connsiteY42" fmla="*/ 6217653 h 6217653"/>
                <a:gd name="connsiteX43" fmla="*/ 817988 w 5884232"/>
                <a:gd name="connsiteY43" fmla="*/ 5548391 h 6217653"/>
                <a:gd name="connsiteX44" fmla="*/ 732703 w 5884232"/>
                <a:gd name="connsiteY44" fmla="*/ 5638146 h 6217653"/>
                <a:gd name="connsiteX45" fmla="*/ 430931 w 5884232"/>
                <a:gd name="connsiteY45" fmla="*/ 5323785 h 6217653"/>
                <a:gd name="connsiteX46" fmla="*/ 523257 w 5884232"/>
                <a:gd name="connsiteY46" fmla="*/ 5189370 h 6217653"/>
                <a:gd name="connsiteX47" fmla="*/ 41560 w 5884232"/>
                <a:gd name="connsiteY47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209492 w 5884232"/>
                <a:gd name="connsiteY41" fmla="*/ 5644651 h 6217653"/>
                <a:gd name="connsiteX42" fmla="*/ 4406189 w 5884232"/>
                <a:gd name="connsiteY42" fmla="*/ 6217653 h 6217653"/>
                <a:gd name="connsiteX43" fmla="*/ 4356065 w 5884232"/>
                <a:gd name="connsiteY43" fmla="*/ 6207172 h 6217653"/>
                <a:gd name="connsiteX44" fmla="*/ 817988 w 5884232"/>
                <a:gd name="connsiteY44" fmla="*/ 5548391 h 6217653"/>
                <a:gd name="connsiteX45" fmla="*/ 732703 w 5884232"/>
                <a:gd name="connsiteY45" fmla="*/ 5638146 h 6217653"/>
                <a:gd name="connsiteX46" fmla="*/ 430931 w 5884232"/>
                <a:gd name="connsiteY46" fmla="*/ 5323785 h 6217653"/>
                <a:gd name="connsiteX47" fmla="*/ 523257 w 5884232"/>
                <a:gd name="connsiteY47" fmla="*/ 5189370 h 6217653"/>
                <a:gd name="connsiteX48" fmla="*/ 41560 w 5884232"/>
                <a:gd name="connsiteY48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4209492 w 5884232"/>
                <a:gd name="connsiteY42" fmla="*/ 5644651 h 6217653"/>
                <a:gd name="connsiteX43" fmla="*/ 4406189 w 5884232"/>
                <a:gd name="connsiteY43" fmla="*/ 6217653 h 6217653"/>
                <a:gd name="connsiteX44" fmla="*/ 4356065 w 5884232"/>
                <a:gd name="connsiteY44" fmla="*/ 6207172 h 6217653"/>
                <a:gd name="connsiteX45" fmla="*/ 817988 w 5884232"/>
                <a:gd name="connsiteY45" fmla="*/ 5548391 h 6217653"/>
                <a:gd name="connsiteX46" fmla="*/ 732703 w 5884232"/>
                <a:gd name="connsiteY46" fmla="*/ 5638146 h 6217653"/>
                <a:gd name="connsiteX47" fmla="*/ 430931 w 5884232"/>
                <a:gd name="connsiteY47" fmla="*/ 5323785 h 6217653"/>
                <a:gd name="connsiteX48" fmla="*/ 523257 w 5884232"/>
                <a:gd name="connsiteY48" fmla="*/ 5189370 h 6217653"/>
                <a:gd name="connsiteX49" fmla="*/ 41560 w 5884232"/>
                <a:gd name="connsiteY4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3370570 w 5884232"/>
                <a:gd name="connsiteY42" fmla="*/ 5698352 h 6217653"/>
                <a:gd name="connsiteX43" fmla="*/ 4406189 w 5884232"/>
                <a:gd name="connsiteY43" fmla="*/ 6217653 h 6217653"/>
                <a:gd name="connsiteX44" fmla="*/ 4356065 w 5884232"/>
                <a:gd name="connsiteY44" fmla="*/ 6207172 h 6217653"/>
                <a:gd name="connsiteX45" fmla="*/ 817988 w 5884232"/>
                <a:gd name="connsiteY45" fmla="*/ 5548391 h 6217653"/>
                <a:gd name="connsiteX46" fmla="*/ 732703 w 5884232"/>
                <a:gd name="connsiteY46" fmla="*/ 5638146 h 6217653"/>
                <a:gd name="connsiteX47" fmla="*/ 430931 w 5884232"/>
                <a:gd name="connsiteY47" fmla="*/ 5323785 h 6217653"/>
                <a:gd name="connsiteX48" fmla="*/ 523257 w 5884232"/>
                <a:gd name="connsiteY48" fmla="*/ 5189370 h 6217653"/>
                <a:gd name="connsiteX49" fmla="*/ 41560 w 5884232"/>
                <a:gd name="connsiteY4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3370570 w 5884232"/>
                <a:gd name="connsiteY42" fmla="*/ 5698352 h 6217653"/>
                <a:gd name="connsiteX43" fmla="*/ 4406189 w 5884232"/>
                <a:gd name="connsiteY43" fmla="*/ 6217653 h 6217653"/>
                <a:gd name="connsiteX44" fmla="*/ 3154556 w 5884232"/>
                <a:gd name="connsiteY44" fmla="*/ 6122786 h 6217653"/>
                <a:gd name="connsiteX45" fmla="*/ 817988 w 5884232"/>
                <a:gd name="connsiteY45" fmla="*/ 5548391 h 6217653"/>
                <a:gd name="connsiteX46" fmla="*/ 732703 w 5884232"/>
                <a:gd name="connsiteY46" fmla="*/ 5638146 h 6217653"/>
                <a:gd name="connsiteX47" fmla="*/ 430931 w 5884232"/>
                <a:gd name="connsiteY47" fmla="*/ 5323785 h 6217653"/>
                <a:gd name="connsiteX48" fmla="*/ 523257 w 5884232"/>
                <a:gd name="connsiteY48" fmla="*/ 5189370 h 6217653"/>
                <a:gd name="connsiteX49" fmla="*/ 41560 w 5884232"/>
                <a:gd name="connsiteY4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3370570 w 5884232"/>
                <a:gd name="connsiteY42" fmla="*/ 5698352 h 6217653"/>
                <a:gd name="connsiteX43" fmla="*/ 4406189 w 5884232"/>
                <a:gd name="connsiteY43" fmla="*/ 6217653 h 6217653"/>
                <a:gd name="connsiteX44" fmla="*/ 817988 w 5884232"/>
                <a:gd name="connsiteY44" fmla="*/ 5548391 h 6217653"/>
                <a:gd name="connsiteX45" fmla="*/ 732703 w 5884232"/>
                <a:gd name="connsiteY45" fmla="*/ 5638146 h 6217653"/>
                <a:gd name="connsiteX46" fmla="*/ 430931 w 5884232"/>
                <a:gd name="connsiteY46" fmla="*/ 5323785 h 6217653"/>
                <a:gd name="connsiteX47" fmla="*/ 523257 w 5884232"/>
                <a:gd name="connsiteY47" fmla="*/ 5189370 h 6217653"/>
                <a:gd name="connsiteX48" fmla="*/ 41560 w 5884232"/>
                <a:gd name="connsiteY48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3370570 w 5884232"/>
                <a:gd name="connsiteY42" fmla="*/ 5698352 h 6217653"/>
                <a:gd name="connsiteX43" fmla="*/ 4406189 w 5884232"/>
                <a:gd name="connsiteY43" fmla="*/ 6217653 h 6217653"/>
                <a:gd name="connsiteX44" fmla="*/ 3232760 w 5884232"/>
                <a:gd name="connsiteY44" fmla="*/ 6099773 h 6217653"/>
                <a:gd name="connsiteX45" fmla="*/ 817988 w 5884232"/>
                <a:gd name="connsiteY45" fmla="*/ 5548391 h 6217653"/>
                <a:gd name="connsiteX46" fmla="*/ 732703 w 5884232"/>
                <a:gd name="connsiteY46" fmla="*/ 5638146 h 6217653"/>
                <a:gd name="connsiteX47" fmla="*/ 430931 w 5884232"/>
                <a:gd name="connsiteY47" fmla="*/ 5323785 h 6217653"/>
                <a:gd name="connsiteX48" fmla="*/ 523257 w 5884232"/>
                <a:gd name="connsiteY48" fmla="*/ 5189370 h 6217653"/>
                <a:gd name="connsiteX49" fmla="*/ 41560 w 5884232"/>
                <a:gd name="connsiteY4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3370570 w 5884232"/>
                <a:gd name="connsiteY42" fmla="*/ 5698352 h 6217653"/>
                <a:gd name="connsiteX43" fmla="*/ 4406189 w 5884232"/>
                <a:gd name="connsiteY43" fmla="*/ 6217653 h 6217653"/>
                <a:gd name="connsiteX44" fmla="*/ 817988 w 5884232"/>
                <a:gd name="connsiteY44" fmla="*/ 5548391 h 6217653"/>
                <a:gd name="connsiteX45" fmla="*/ 732703 w 5884232"/>
                <a:gd name="connsiteY45" fmla="*/ 5638146 h 6217653"/>
                <a:gd name="connsiteX46" fmla="*/ 430931 w 5884232"/>
                <a:gd name="connsiteY46" fmla="*/ 5323785 h 6217653"/>
                <a:gd name="connsiteX47" fmla="*/ 523257 w 5884232"/>
                <a:gd name="connsiteY47" fmla="*/ 5189370 h 6217653"/>
                <a:gd name="connsiteX48" fmla="*/ 41560 w 5884232"/>
                <a:gd name="connsiteY48" fmla="*/ 3281515 h 6217653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710779 w 5884232"/>
                <a:gd name="connsiteY27" fmla="*/ 4870077 h 6212288"/>
                <a:gd name="connsiteX28" fmla="*/ 5553250 w 5884232"/>
                <a:gd name="connsiteY28" fmla="*/ 4807792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4149888 w 5884232"/>
                <a:gd name="connsiteY41" fmla="*/ 5639490 h 6212288"/>
                <a:gd name="connsiteX42" fmla="*/ 3370570 w 5884232"/>
                <a:gd name="connsiteY42" fmla="*/ 5698352 h 6212288"/>
                <a:gd name="connsiteX43" fmla="*/ 3545936 w 5884232"/>
                <a:gd name="connsiteY43" fmla="*/ 6125596 h 6212288"/>
                <a:gd name="connsiteX44" fmla="*/ 817988 w 5884232"/>
                <a:gd name="connsiteY44" fmla="*/ 5548391 h 6212288"/>
                <a:gd name="connsiteX45" fmla="*/ 732703 w 5884232"/>
                <a:gd name="connsiteY45" fmla="*/ 5638146 h 6212288"/>
                <a:gd name="connsiteX46" fmla="*/ 430931 w 5884232"/>
                <a:gd name="connsiteY46" fmla="*/ 5323785 h 6212288"/>
                <a:gd name="connsiteX47" fmla="*/ 523257 w 5884232"/>
                <a:gd name="connsiteY47" fmla="*/ 5189370 h 6212288"/>
                <a:gd name="connsiteX48" fmla="*/ 41560 w 5884232"/>
                <a:gd name="connsiteY48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710779 w 5884232"/>
                <a:gd name="connsiteY27" fmla="*/ 4870077 h 6212288"/>
                <a:gd name="connsiteX28" fmla="*/ 5553250 w 5884232"/>
                <a:gd name="connsiteY28" fmla="*/ 4807792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4149888 w 5884232"/>
                <a:gd name="connsiteY41" fmla="*/ 5639490 h 6212288"/>
                <a:gd name="connsiteX42" fmla="*/ 3370570 w 5884232"/>
                <a:gd name="connsiteY42" fmla="*/ 5698352 h 6212288"/>
                <a:gd name="connsiteX43" fmla="*/ 817988 w 5884232"/>
                <a:gd name="connsiteY43" fmla="*/ 5548391 h 6212288"/>
                <a:gd name="connsiteX44" fmla="*/ 732703 w 5884232"/>
                <a:gd name="connsiteY44" fmla="*/ 5638146 h 6212288"/>
                <a:gd name="connsiteX45" fmla="*/ 430931 w 5884232"/>
                <a:gd name="connsiteY45" fmla="*/ 5323785 h 6212288"/>
                <a:gd name="connsiteX46" fmla="*/ 523257 w 5884232"/>
                <a:gd name="connsiteY46" fmla="*/ 5189370 h 6212288"/>
                <a:gd name="connsiteX47" fmla="*/ 41560 w 5884232"/>
                <a:gd name="connsiteY47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710779 w 5884232"/>
                <a:gd name="connsiteY27" fmla="*/ 4870077 h 6212288"/>
                <a:gd name="connsiteX28" fmla="*/ 5553250 w 5884232"/>
                <a:gd name="connsiteY28" fmla="*/ 4807792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3370570 w 5884232"/>
                <a:gd name="connsiteY41" fmla="*/ 5698352 h 6212288"/>
                <a:gd name="connsiteX42" fmla="*/ 817988 w 5884232"/>
                <a:gd name="connsiteY42" fmla="*/ 5548391 h 6212288"/>
                <a:gd name="connsiteX43" fmla="*/ 732703 w 5884232"/>
                <a:gd name="connsiteY43" fmla="*/ 5638146 h 6212288"/>
                <a:gd name="connsiteX44" fmla="*/ 430931 w 5884232"/>
                <a:gd name="connsiteY44" fmla="*/ 5323785 h 6212288"/>
                <a:gd name="connsiteX45" fmla="*/ 523257 w 5884232"/>
                <a:gd name="connsiteY45" fmla="*/ 5189370 h 6212288"/>
                <a:gd name="connsiteX46" fmla="*/ 41560 w 5884232"/>
                <a:gd name="connsiteY46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710779 w 5884232"/>
                <a:gd name="connsiteY27" fmla="*/ 4870077 h 6212288"/>
                <a:gd name="connsiteX28" fmla="*/ 5553250 w 5884232"/>
                <a:gd name="connsiteY28" fmla="*/ 4807792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710779 w 5884232"/>
                <a:gd name="connsiteY27" fmla="*/ 4870077 h 6212288"/>
                <a:gd name="connsiteX28" fmla="*/ 5544633 w 5884232"/>
                <a:gd name="connsiteY28" fmla="*/ 4835624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693545 w 5884232"/>
                <a:gd name="connsiteY27" fmla="*/ 4865439 h 6212288"/>
                <a:gd name="connsiteX28" fmla="*/ 5544633 w 5884232"/>
                <a:gd name="connsiteY28" fmla="*/ 4835624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693545 w 5884232"/>
                <a:gd name="connsiteY27" fmla="*/ 4865439 h 6212288"/>
                <a:gd name="connsiteX28" fmla="*/ 5557557 w 5884232"/>
                <a:gd name="connsiteY28" fmla="*/ 4817071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693545 w 5884232"/>
                <a:gd name="connsiteY27" fmla="*/ 4865439 h 6212288"/>
                <a:gd name="connsiteX28" fmla="*/ 5557557 w 5884232"/>
                <a:gd name="connsiteY28" fmla="*/ 4817071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693545 w 5884232"/>
                <a:gd name="connsiteY27" fmla="*/ 4865439 h 6212288"/>
                <a:gd name="connsiteX28" fmla="*/ 5557557 w 5884232"/>
                <a:gd name="connsiteY28" fmla="*/ 4817071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8845 w 5884232"/>
                <a:gd name="connsiteY26" fmla="*/ 4428963 h 6212288"/>
                <a:gd name="connsiteX27" fmla="*/ 5693545 w 5884232"/>
                <a:gd name="connsiteY27" fmla="*/ 4865439 h 6212288"/>
                <a:gd name="connsiteX28" fmla="*/ 5557557 w 5884232"/>
                <a:gd name="connsiteY28" fmla="*/ 4817071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57557 w 5884232"/>
                <a:gd name="connsiteY28" fmla="*/ 4817071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48942 w 5884232"/>
                <a:gd name="connsiteY28" fmla="*/ 4835626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48942 w 5884232"/>
                <a:gd name="connsiteY28" fmla="*/ 4835626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48942 w 5884232"/>
                <a:gd name="connsiteY28" fmla="*/ 4835626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76264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48942 w 5884232"/>
                <a:gd name="connsiteY28" fmla="*/ 4835626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6234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48942 w 5884232"/>
                <a:gd name="connsiteY28" fmla="*/ 4835626 h 6212288"/>
                <a:gd name="connsiteX29" fmla="*/ 4409852 w 5884232"/>
                <a:gd name="connsiteY29" fmla="*/ 6212288 h 6212288"/>
                <a:gd name="connsiteX30" fmla="*/ 4244517 w 5884232"/>
                <a:gd name="connsiteY30" fmla="*/ 5626725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6234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35626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1077217 w 5884232"/>
                <a:gd name="connsiteY39" fmla="*/ 4933546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732703 w 5884232"/>
                <a:gd name="connsiteY42" fmla="*/ 5638146 h 6198437"/>
                <a:gd name="connsiteX43" fmla="*/ 430931 w 5884232"/>
                <a:gd name="connsiteY43" fmla="*/ 5323785 h 6198437"/>
                <a:gd name="connsiteX44" fmla="*/ 523257 w 5884232"/>
                <a:gd name="connsiteY44" fmla="*/ 5189370 h 6198437"/>
                <a:gd name="connsiteX45" fmla="*/ 41560 w 5884232"/>
                <a:gd name="connsiteY45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35626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1077217 w 5884232"/>
                <a:gd name="connsiteY39" fmla="*/ 4933546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732703 w 5884232"/>
                <a:gd name="connsiteY42" fmla="*/ 5638146 h 6198437"/>
                <a:gd name="connsiteX43" fmla="*/ 430931 w 5884232"/>
                <a:gd name="connsiteY43" fmla="*/ 5323785 h 6198437"/>
                <a:gd name="connsiteX44" fmla="*/ 523257 w 5884232"/>
                <a:gd name="connsiteY44" fmla="*/ 5189370 h 6198437"/>
                <a:gd name="connsiteX45" fmla="*/ 41560 w 5884232"/>
                <a:gd name="connsiteY45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1077217 w 5884232"/>
                <a:gd name="connsiteY39" fmla="*/ 4933546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732703 w 5884232"/>
                <a:gd name="connsiteY42" fmla="*/ 5638146 h 6198437"/>
                <a:gd name="connsiteX43" fmla="*/ 430931 w 5884232"/>
                <a:gd name="connsiteY43" fmla="*/ 5323785 h 6198437"/>
                <a:gd name="connsiteX44" fmla="*/ 523257 w 5884232"/>
                <a:gd name="connsiteY44" fmla="*/ 5189370 h 6198437"/>
                <a:gd name="connsiteX45" fmla="*/ 41560 w 5884232"/>
                <a:gd name="connsiteY45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732703 w 5884232"/>
                <a:gd name="connsiteY42" fmla="*/ 5638146 h 6198437"/>
                <a:gd name="connsiteX43" fmla="*/ 430931 w 5884232"/>
                <a:gd name="connsiteY43" fmla="*/ 5323785 h 6198437"/>
                <a:gd name="connsiteX44" fmla="*/ 523257 w 5884232"/>
                <a:gd name="connsiteY44" fmla="*/ 5189370 h 6198437"/>
                <a:gd name="connsiteX45" fmla="*/ 41560 w 5884232"/>
                <a:gd name="connsiteY45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732703 w 5884232"/>
                <a:gd name="connsiteY42" fmla="*/ 5638146 h 6198437"/>
                <a:gd name="connsiteX43" fmla="*/ 430931 w 5884232"/>
                <a:gd name="connsiteY43" fmla="*/ 5323785 h 6198437"/>
                <a:gd name="connsiteX44" fmla="*/ 523257 w 5884232"/>
                <a:gd name="connsiteY44" fmla="*/ 5189370 h 6198437"/>
                <a:gd name="connsiteX45" fmla="*/ 41560 w 5884232"/>
                <a:gd name="connsiteY45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430931 w 5884232"/>
                <a:gd name="connsiteY42" fmla="*/ 5323785 h 6198437"/>
                <a:gd name="connsiteX43" fmla="*/ 523257 w 5884232"/>
                <a:gd name="connsiteY43" fmla="*/ 5189370 h 6198437"/>
                <a:gd name="connsiteX44" fmla="*/ 41560 w 5884232"/>
                <a:gd name="connsiteY44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523257 w 5884232"/>
                <a:gd name="connsiteY42" fmla="*/ 5189370 h 6198437"/>
                <a:gd name="connsiteX43" fmla="*/ 41560 w 5884232"/>
                <a:gd name="connsiteY43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1206546 w 5884232"/>
                <a:gd name="connsiteY40" fmla="*/ 5062348 h 6198437"/>
                <a:gd name="connsiteX41" fmla="*/ 523257 w 5884232"/>
                <a:gd name="connsiteY41" fmla="*/ 5189370 h 6198437"/>
                <a:gd name="connsiteX42" fmla="*/ 41560 w 5884232"/>
                <a:gd name="connsiteY42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523257 w 5884232"/>
                <a:gd name="connsiteY40" fmla="*/ 5189370 h 6198437"/>
                <a:gd name="connsiteX41" fmla="*/ 41560 w 5884232"/>
                <a:gd name="connsiteY41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32548 w 5884232"/>
                <a:gd name="connsiteY39" fmla="*/ 4771487 h 6198437"/>
                <a:gd name="connsiteX40" fmla="*/ 523257 w 5884232"/>
                <a:gd name="connsiteY40" fmla="*/ 5189370 h 6198437"/>
                <a:gd name="connsiteX41" fmla="*/ 41560 w 5884232"/>
                <a:gd name="connsiteY41" fmla="*/ 3281515 h 6198437"/>
                <a:gd name="connsiteX0" fmla="*/ 41560 w 5884232"/>
                <a:gd name="connsiteY0" fmla="*/ 3281515 h 6198437"/>
                <a:gd name="connsiteX1" fmla="*/ 93455 w 5884232"/>
                <a:gd name="connsiteY1" fmla="*/ 3106020 h 6198437"/>
                <a:gd name="connsiteX2" fmla="*/ 250907 w 5884232"/>
                <a:gd name="connsiteY2" fmla="*/ 2374266 h 6198437"/>
                <a:gd name="connsiteX3" fmla="*/ 218176 w 5884232"/>
                <a:gd name="connsiteY3" fmla="*/ 2331944 h 6198437"/>
                <a:gd name="connsiteX4" fmla="*/ 290433 w 5884232"/>
                <a:gd name="connsiteY4" fmla="*/ 2067448 h 6198437"/>
                <a:gd name="connsiteX5" fmla="*/ 326149 w 5884232"/>
                <a:gd name="connsiteY5" fmla="*/ 2050403 h 6198437"/>
                <a:gd name="connsiteX6" fmla="*/ 1333506 w 5884232"/>
                <a:gd name="connsiteY6" fmla="*/ 647002 h 6198437"/>
                <a:gd name="connsiteX7" fmla="*/ 1546422 w 5884232"/>
                <a:gd name="connsiteY7" fmla="*/ 547251 h 6198437"/>
                <a:gd name="connsiteX8" fmla="*/ 1526361 w 5884232"/>
                <a:gd name="connsiteY8" fmla="*/ 432260 h 6198437"/>
                <a:gd name="connsiteX9" fmla="*/ 1722126 w 5884232"/>
                <a:gd name="connsiteY9" fmla="*/ 380302 h 6198437"/>
                <a:gd name="connsiteX10" fmla="*/ 1739499 w 5884232"/>
                <a:gd name="connsiteY10" fmla="*/ 481442 h 6198437"/>
                <a:gd name="connsiteX11" fmla="*/ 1866574 w 5884232"/>
                <a:gd name="connsiteY11" fmla="*/ 442651 h 6198437"/>
                <a:gd name="connsiteX12" fmla="*/ 1897053 w 5884232"/>
                <a:gd name="connsiteY12" fmla="*/ 393463 h 6198437"/>
                <a:gd name="connsiteX13" fmla="*/ 2132940 w 5884232"/>
                <a:gd name="connsiteY13" fmla="*/ 319342 h 6198437"/>
                <a:gd name="connsiteX14" fmla="*/ 2173395 w 5884232"/>
                <a:gd name="connsiteY14" fmla="*/ 352592 h 6198437"/>
                <a:gd name="connsiteX15" fmla="*/ 2369937 w 5884232"/>
                <a:gd name="connsiteY15" fmla="*/ 288171 h 6198437"/>
                <a:gd name="connsiteX16" fmla="*/ 2329149 w 5884232"/>
                <a:gd name="connsiteY16" fmla="*/ 119840 h 6198437"/>
                <a:gd name="connsiteX17" fmla="*/ 2712392 w 5884232"/>
                <a:gd name="connsiteY17" fmla="*/ 0 h 6198437"/>
                <a:gd name="connsiteX18" fmla="*/ 2760690 w 5884232"/>
                <a:gd name="connsiteY18" fmla="*/ 165560 h 6198437"/>
                <a:gd name="connsiteX19" fmla="*/ 4524241 w 5884232"/>
                <a:gd name="connsiteY19" fmla="*/ 680900 h 6198437"/>
                <a:gd name="connsiteX20" fmla="*/ 5074371 w 5884232"/>
                <a:gd name="connsiteY20" fmla="*/ 1291242 h 6198437"/>
                <a:gd name="connsiteX21" fmla="*/ 5135775 w 5884232"/>
                <a:gd name="connsiteY21" fmla="*/ 1298860 h 6198437"/>
                <a:gd name="connsiteX22" fmla="*/ 5300616 w 5884232"/>
                <a:gd name="connsiteY22" fmla="*/ 1479661 h 6198437"/>
                <a:gd name="connsiteX23" fmla="*/ 5300839 w 5884232"/>
                <a:gd name="connsiteY23" fmla="*/ 1535080 h 6198437"/>
                <a:gd name="connsiteX24" fmla="*/ 5462103 w 5884232"/>
                <a:gd name="connsiteY24" fmla="*/ 1726990 h 6198437"/>
                <a:gd name="connsiteX25" fmla="*/ 5842091 w 5884232"/>
                <a:gd name="connsiteY25" fmla="*/ 3519512 h 6198437"/>
                <a:gd name="connsiteX26" fmla="*/ 5650012 w 5884232"/>
                <a:gd name="connsiteY26" fmla="*/ 4385669 h 6198437"/>
                <a:gd name="connsiteX27" fmla="*/ 5797462 w 5884232"/>
                <a:gd name="connsiteY27" fmla="*/ 4428964 h 6198437"/>
                <a:gd name="connsiteX28" fmla="*/ 5693545 w 5884232"/>
                <a:gd name="connsiteY28" fmla="*/ 4865439 h 6198437"/>
                <a:gd name="connsiteX29" fmla="*/ 5548942 w 5884232"/>
                <a:gd name="connsiteY29" fmla="*/ 4824545 h 6198437"/>
                <a:gd name="connsiteX30" fmla="*/ 4435515 w 5884232"/>
                <a:gd name="connsiteY30" fmla="*/ 6198437 h 6198437"/>
                <a:gd name="connsiteX31" fmla="*/ 4244517 w 5884232"/>
                <a:gd name="connsiteY31" fmla="*/ 5626725 h 6198437"/>
                <a:gd name="connsiteX32" fmla="*/ 5030652 w 5884232"/>
                <a:gd name="connsiteY32" fmla="*/ 4596953 h 6198437"/>
                <a:gd name="connsiteX33" fmla="*/ 5310701 w 5884232"/>
                <a:gd name="connsiteY33" fmla="*/ 3352779 h 6198437"/>
                <a:gd name="connsiteX34" fmla="*/ 4991885 w 5884232"/>
                <a:gd name="connsiteY34" fmla="*/ 2049487 h 6198437"/>
                <a:gd name="connsiteX35" fmla="*/ 4174632 w 5884232"/>
                <a:gd name="connsiteY35" fmla="*/ 1163055 h 6198437"/>
                <a:gd name="connsiteX36" fmla="*/ 2880366 w 5884232"/>
                <a:gd name="connsiteY36" fmla="*/ 761302 h 6198437"/>
                <a:gd name="connsiteX37" fmla="*/ 1882146 w 5884232"/>
                <a:gd name="connsiteY37" fmla="*/ 1081342 h 6198437"/>
                <a:gd name="connsiteX38" fmla="*/ 873226 w 5884232"/>
                <a:gd name="connsiteY38" fmla="*/ 2111591 h 6198437"/>
                <a:gd name="connsiteX39" fmla="*/ 571891 w 5884232"/>
                <a:gd name="connsiteY39" fmla="*/ 3464807 h 6198437"/>
                <a:gd name="connsiteX40" fmla="*/ 932548 w 5884232"/>
                <a:gd name="connsiteY40" fmla="*/ 4771487 h 6198437"/>
                <a:gd name="connsiteX41" fmla="*/ 523257 w 5884232"/>
                <a:gd name="connsiteY41" fmla="*/ 5189370 h 6198437"/>
                <a:gd name="connsiteX42" fmla="*/ 41560 w 5884232"/>
                <a:gd name="connsiteY42" fmla="*/ 3281515 h 6198437"/>
                <a:gd name="connsiteX0" fmla="*/ 41560 w 5884232"/>
                <a:gd name="connsiteY0" fmla="*/ 3281515 h 6198437"/>
                <a:gd name="connsiteX1" fmla="*/ 93455 w 5884232"/>
                <a:gd name="connsiteY1" fmla="*/ 3106020 h 6198437"/>
                <a:gd name="connsiteX2" fmla="*/ 250907 w 5884232"/>
                <a:gd name="connsiteY2" fmla="*/ 2374266 h 6198437"/>
                <a:gd name="connsiteX3" fmla="*/ 218176 w 5884232"/>
                <a:gd name="connsiteY3" fmla="*/ 2331944 h 6198437"/>
                <a:gd name="connsiteX4" fmla="*/ 290433 w 5884232"/>
                <a:gd name="connsiteY4" fmla="*/ 2067448 h 6198437"/>
                <a:gd name="connsiteX5" fmla="*/ 326149 w 5884232"/>
                <a:gd name="connsiteY5" fmla="*/ 2050403 h 6198437"/>
                <a:gd name="connsiteX6" fmla="*/ 1333506 w 5884232"/>
                <a:gd name="connsiteY6" fmla="*/ 647002 h 6198437"/>
                <a:gd name="connsiteX7" fmla="*/ 1546422 w 5884232"/>
                <a:gd name="connsiteY7" fmla="*/ 547251 h 6198437"/>
                <a:gd name="connsiteX8" fmla="*/ 1526361 w 5884232"/>
                <a:gd name="connsiteY8" fmla="*/ 432260 h 6198437"/>
                <a:gd name="connsiteX9" fmla="*/ 1722126 w 5884232"/>
                <a:gd name="connsiteY9" fmla="*/ 380302 h 6198437"/>
                <a:gd name="connsiteX10" fmla="*/ 1739499 w 5884232"/>
                <a:gd name="connsiteY10" fmla="*/ 481442 h 6198437"/>
                <a:gd name="connsiteX11" fmla="*/ 1866574 w 5884232"/>
                <a:gd name="connsiteY11" fmla="*/ 442651 h 6198437"/>
                <a:gd name="connsiteX12" fmla="*/ 1897053 w 5884232"/>
                <a:gd name="connsiteY12" fmla="*/ 393463 h 6198437"/>
                <a:gd name="connsiteX13" fmla="*/ 2132940 w 5884232"/>
                <a:gd name="connsiteY13" fmla="*/ 319342 h 6198437"/>
                <a:gd name="connsiteX14" fmla="*/ 2173395 w 5884232"/>
                <a:gd name="connsiteY14" fmla="*/ 352592 h 6198437"/>
                <a:gd name="connsiteX15" fmla="*/ 2369937 w 5884232"/>
                <a:gd name="connsiteY15" fmla="*/ 288171 h 6198437"/>
                <a:gd name="connsiteX16" fmla="*/ 2329149 w 5884232"/>
                <a:gd name="connsiteY16" fmla="*/ 119840 h 6198437"/>
                <a:gd name="connsiteX17" fmla="*/ 2712392 w 5884232"/>
                <a:gd name="connsiteY17" fmla="*/ 0 h 6198437"/>
                <a:gd name="connsiteX18" fmla="*/ 2760690 w 5884232"/>
                <a:gd name="connsiteY18" fmla="*/ 165560 h 6198437"/>
                <a:gd name="connsiteX19" fmla="*/ 4524241 w 5884232"/>
                <a:gd name="connsiteY19" fmla="*/ 680900 h 6198437"/>
                <a:gd name="connsiteX20" fmla="*/ 5074371 w 5884232"/>
                <a:gd name="connsiteY20" fmla="*/ 1291242 h 6198437"/>
                <a:gd name="connsiteX21" fmla="*/ 5135775 w 5884232"/>
                <a:gd name="connsiteY21" fmla="*/ 1298860 h 6198437"/>
                <a:gd name="connsiteX22" fmla="*/ 5300616 w 5884232"/>
                <a:gd name="connsiteY22" fmla="*/ 1479661 h 6198437"/>
                <a:gd name="connsiteX23" fmla="*/ 5300839 w 5884232"/>
                <a:gd name="connsiteY23" fmla="*/ 1535080 h 6198437"/>
                <a:gd name="connsiteX24" fmla="*/ 5462103 w 5884232"/>
                <a:gd name="connsiteY24" fmla="*/ 1726990 h 6198437"/>
                <a:gd name="connsiteX25" fmla="*/ 5842091 w 5884232"/>
                <a:gd name="connsiteY25" fmla="*/ 3519512 h 6198437"/>
                <a:gd name="connsiteX26" fmla="*/ 5650012 w 5884232"/>
                <a:gd name="connsiteY26" fmla="*/ 4385669 h 6198437"/>
                <a:gd name="connsiteX27" fmla="*/ 5797462 w 5884232"/>
                <a:gd name="connsiteY27" fmla="*/ 4428964 h 6198437"/>
                <a:gd name="connsiteX28" fmla="*/ 5693545 w 5884232"/>
                <a:gd name="connsiteY28" fmla="*/ 4865439 h 6198437"/>
                <a:gd name="connsiteX29" fmla="*/ 5548942 w 5884232"/>
                <a:gd name="connsiteY29" fmla="*/ 4824545 h 6198437"/>
                <a:gd name="connsiteX30" fmla="*/ 4435515 w 5884232"/>
                <a:gd name="connsiteY30" fmla="*/ 6198437 h 6198437"/>
                <a:gd name="connsiteX31" fmla="*/ 4244517 w 5884232"/>
                <a:gd name="connsiteY31" fmla="*/ 5626725 h 6198437"/>
                <a:gd name="connsiteX32" fmla="*/ 5030652 w 5884232"/>
                <a:gd name="connsiteY32" fmla="*/ 4596953 h 6198437"/>
                <a:gd name="connsiteX33" fmla="*/ 5310701 w 5884232"/>
                <a:gd name="connsiteY33" fmla="*/ 3352779 h 6198437"/>
                <a:gd name="connsiteX34" fmla="*/ 4991885 w 5884232"/>
                <a:gd name="connsiteY34" fmla="*/ 2049487 h 6198437"/>
                <a:gd name="connsiteX35" fmla="*/ 4174632 w 5884232"/>
                <a:gd name="connsiteY35" fmla="*/ 1163055 h 6198437"/>
                <a:gd name="connsiteX36" fmla="*/ 2880366 w 5884232"/>
                <a:gd name="connsiteY36" fmla="*/ 761302 h 6198437"/>
                <a:gd name="connsiteX37" fmla="*/ 1882146 w 5884232"/>
                <a:gd name="connsiteY37" fmla="*/ 1081342 h 6198437"/>
                <a:gd name="connsiteX38" fmla="*/ 873226 w 5884232"/>
                <a:gd name="connsiteY38" fmla="*/ 2111591 h 6198437"/>
                <a:gd name="connsiteX39" fmla="*/ 634507 w 5884232"/>
                <a:gd name="connsiteY39" fmla="*/ 3178546 h 6198437"/>
                <a:gd name="connsiteX40" fmla="*/ 571891 w 5884232"/>
                <a:gd name="connsiteY40" fmla="*/ 3464807 h 6198437"/>
                <a:gd name="connsiteX41" fmla="*/ 932548 w 5884232"/>
                <a:gd name="connsiteY41" fmla="*/ 4771487 h 6198437"/>
                <a:gd name="connsiteX42" fmla="*/ 523257 w 5884232"/>
                <a:gd name="connsiteY42" fmla="*/ 5189370 h 6198437"/>
                <a:gd name="connsiteX43" fmla="*/ 41560 w 5884232"/>
                <a:gd name="connsiteY43" fmla="*/ 3281515 h 6198437"/>
                <a:gd name="connsiteX0" fmla="*/ 41560 w 5884232"/>
                <a:gd name="connsiteY0" fmla="*/ 3281515 h 6198437"/>
                <a:gd name="connsiteX1" fmla="*/ 93455 w 5884232"/>
                <a:gd name="connsiteY1" fmla="*/ 3106020 h 6198437"/>
                <a:gd name="connsiteX2" fmla="*/ 250907 w 5884232"/>
                <a:gd name="connsiteY2" fmla="*/ 2374266 h 6198437"/>
                <a:gd name="connsiteX3" fmla="*/ 218176 w 5884232"/>
                <a:gd name="connsiteY3" fmla="*/ 2331944 h 6198437"/>
                <a:gd name="connsiteX4" fmla="*/ 290433 w 5884232"/>
                <a:gd name="connsiteY4" fmla="*/ 2067448 h 6198437"/>
                <a:gd name="connsiteX5" fmla="*/ 326149 w 5884232"/>
                <a:gd name="connsiteY5" fmla="*/ 2050403 h 6198437"/>
                <a:gd name="connsiteX6" fmla="*/ 1333506 w 5884232"/>
                <a:gd name="connsiteY6" fmla="*/ 647002 h 6198437"/>
                <a:gd name="connsiteX7" fmla="*/ 1546422 w 5884232"/>
                <a:gd name="connsiteY7" fmla="*/ 547251 h 6198437"/>
                <a:gd name="connsiteX8" fmla="*/ 1526361 w 5884232"/>
                <a:gd name="connsiteY8" fmla="*/ 432260 h 6198437"/>
                <a:gd name="connsiteX9" fmla="*/ 1722126 w 5884232"/>
                <a:gd name="connsiteY9" fmla="*/ 380302 h 6198437"/>
                <a:gd name="connsiteX10" fmla="*/ 1739499 w 5884232"/>
                <a:gd name="connsiteY10" fmla="*/ 481442 h 6198437"/>
                <a:gd name="connsiteX11" fmla="*/ 1866574 w 5884232"/>
                <a:gd name="connsiteY11" fmla="*/ 442651 h 6198437"/>
                <a:gd name="connsiteX12" fmla="*/ 1897053 w 5884232"/>
                <a:gd name="connsiteY12" fmla="*/ 393463 h 6198437"/>
                <a:gd name="connsiteX13" fmla="*/ 2132940 w 5884232"/>
                <a:gd name="connsiteY13" fmla="*/ 319342 h 6198437"/>
                <a:gd name="connsiteX14" fmla="*/ 2173395 w 5884232"/>
                <a:gd name="connsiteY14" fmla="*/ 352592 h 6198437"/>
                <a:gd name="connsiteX15" fmla="*/ 2369937 w 5884232"/>
                <a:gd name="connsiteY15" fmla="*/ 288171 h 6198437"/>
                <a:gd name="connsiteX16" fmla="*/ 2329149 w 5884232"/>
                <a:gd name="connsiteY16" fmla="*/ 119840 h 6198437"/>
                <a:gd name="connsiteX17" fmla="*/ 2712392 w 5884232"/>
                <a:gd name="connsiteY17" fmla="*/ 0 h 6198437"/>
                <a:gd name="connsiteX18" fmla="*/ 2760690 w 5884232"/>
                <a:gd name="connsiteY18" fmla="*/ 165560 h 6198437"/>
                <a:gd name="connsiteX19" fmla="*/ 4524241 w 5884232"/>
                <a:gd name="connsiteY19" fmla="*/ 680900 h 6198437"/>
                <a:gd name="connsiteX20" fmla="*/ 5074371 w 5884232"/>
                <a:gd name="connsiteY20" fmla="*/ 1291242 h 6198437"/>
                <a:gd name="connsiteX21" fmla="*/ 5135775 w 5884232"/>
                <a:gd name="connsiteY21" fmla="*/ 1298860 h 6198437"/>
                <a:gd name="connsiteX22" fmla="*/ 5300616 w 5884232"/>
                <a:gd name="connsiteY22" fmla="*/ 1479661 h 6198437"/>
                <a:gd name="connsiteX23" fmla="*/ 5300839 w 5884232"/>
                <a:gd name="connsiteY23" fmla="*/ 1535080 h 6198437"/>
                <a:gd name="connsiteX24" fmla="*/ 5462103 w 5884232"/>
                <a:gd name="connsiteY24" fmla="*/ 1726990 h 6198437"/>
                <a:gd name="connsiteX25" fmla="*/ 5842091 w 5884232"/>
                <a:gd name="connsiteY25" fmla="*/ 3519512 h 6198437"/>
                <a:gd name="connsiteX26" fmla="*/ 5650012 w 5884232"/>
                <a:gd name="connsiteY26" fmla="*/ 4385669 h 6198437"/>
                <a:gd name="connsiteX27" fmla="*/ 5797462 w 5884232"/>
                <a:gd name="connsiteY27" fmla="*/ 4428964 h 6198437"/>
                <a:gd name="connsiteX28" fmla="*/ 5693545 w 5884232"/>
                <a:gd name="connsiteY28" fmla="*/ 4865439 h 6198437"/>
                <a:gd name="connsiteX29" fmla="*/ 5548942 w 5884232"/>
                <a:gd name="connsiteY29" fmla="*/ 4824545 h 6198437"/>
                <a:gd name="connsiteX30" fmla="*/ 4435515 w 5884232"/>
                <a:gd name="connsiteY30" fmla="*/ 6198437 h 6198437"/>
                <a:gd name="connsiteX31" fmla="*/ 4244517 w 5884232"/>
                <a:gd name="connsiteY31" fmla="*/ 5626725 h 6198437"/>
                <a:gd name="connsiteX32" fmla="*/ 5030652 w 5884232"/>
                <a:gd name="connsiteY32" fmla="*/ 4596953 h 6198437"/>
                <a:gd name="connsiteX33" fmla="*/ 5310701 w 5884232"/>
                <a:gd name="connsiteY33" fmla="*/ 3352779 h 6198437"/>
                <a:gd name="connsiteX34" fmla="*/ 4991885 w 5884232"/>
                <a:gd name="connsiteY34" fmla="*/ 2049487 h 6198437"/>
                <a:gd name="connsiteX35" fmla="*/ 4174632 w 5884232"/>
                <a:gd name="connsiteY35" fmla="*/ 1163055 h 6198437"/>
                <a:gd name="connsiteX36" fmla="*/ 2880366 w 5884232"/>
                <a:gd name="connsiteY36" fmla="*/ 761302 h 6198437"/>
                <a:gd name="connsiteX37" fmla="*/ 1882146 w 5884232"/>
                <a:gd name="connsiteY37" fmla="*/ 1081342 h 6198437"/>
                <a:gd name="connsiteX38" fmla="*/ 873226 w 5884232"/>
                <a:gd name="connsiteY38" fmla="*/ 2111591 h 6198437"/>
                <a:gd name="connsiteX39" fmla="*/ 634507 w 5884232"/>
                <a:gd name="connsiteY39" fmla="*/ 3178546 h 6198437"/>
                <a:gd name="connsiteX40" fmla="*/ 932548 w 5884232"/>
                <a:gd name="connsiteY40" fmla="*/ 4771487 h 6198437"/>
                <a:gd name="connsiteX41" fmla="*/ 523257 w 5884232"/>
                <a:gd name="connsiteY41" fmla="*/ 5189370 h 6198437"/>
                <a:gd name="connsiteX42" fmla="*/ 41560 w 5884232"/>
                <a:gd name="connsiteY42" fmla="*/ 3281515 h 6198437"/>
                <a:gd name="connsiteX0" fmla="*/ 429802 w 5790777"/>
                <a:gd name="connsiteY0" fmla="*/ 5189370 h 6198437"/>
                <a:gd name="connsiteX1" fmla="*/ 0 w 5790777"/>
                <a:gd name="connsiteY1" fmla="*/ 3106020 h 6198437"/>
                <a:gd name="connsiteX2" fmla="*/ 157452 w 5790777"/>
                <a:gd name="connsiteY2" fmla="*/ 2374266 h 6198437"/>
                <a:gd name="connsiteX3" fmla="*/ 124721 w 5790777"/>
                <a:gd name="connsiteY3" fmla="*/ 2331944 h 6198437"/>
                <a:gd name="connsiteX4" fmla="*/ 196978 w 5790777"/>
                <a:gd name="connsiteY4" fmla="*/ 2067448 h 6198437"/>
                <a:gd name="connsiteX5" fmla="*/ 232694 w 5790777"/>
                <a:gd name="connsiteY5" fmla="*/ 2050403 h 6198437"/>
                <a:gd name="connsiteX6" fmla="*/ 1240051 w 5790777"/>
                <a:gd name="connsiteY6" fmla="*/ 647002 h 6198437"/>
                <a:gd name="connsiteX7" fmla="*/ 1452967 w 5790777"/>
                <a:gd name="connsiteY7" fmla="*/ 547251 h 6198437"/>
                <a:gd name="connsiteX8" fmla="*/ 1432906 w 5790777"/>
                <a:gd name="connsiteY8" fmla="*/ 432260 h 6198437"/>
                <a:gd name="connsiteX9" fmla="*/ 1628671 w 5790777"/>
                <a:gd name="connsiteY9" fmla="*/ 380302 h 6198437"/>
                <a:gd name="connsiteX10" fmla="*/ 1646044 w 5790777"/>
                <a:gd name="connsiteY10" fmla="*/ 481442 h 6198437"/>
                <a:gd name="connsiteX11" fmla="*/ 1773119 w 5790777"/>
                <a:gd name="connsiteY11" fmla="*/ 442651 h 6198437"/>
                <a:gd name="connsiteX12" fmla="*/ 1803598 w 5790777"/>
                <a:gd name="connsiteY12" fmla="*/ 393463 h 6198437"/>
                <a:gd name="connsiteX13" fmla="*/ 2039485 w 5790777"/>
                <a:gd name="connsiteY13" fmla="*/ 319342 h 6198437"/>
                <a:gd name="connsiteX14" fmla="*/ 2079940 w 5790777"/>
                <a:gd name="connsiteY14" fmla="*/ 352592 h 6198437"/>
                <a:gd name="connsiteX15" fmla="*/ 2276482 w 5790777"/>
                <a:gd name="connsiteY15" fmla="*/ 288171 h 6198437"/>
                <a:gd name="connsiteX16" fmla="*/ 2235694 w 5790777"/>
                <a:gd name="connsiteY16" fmla="*/ 119840 h 6198437"/>
                <a:gd name="connsiteX17" fmla="*/ 2618937 w 5790777"/>
                <a:gd name="connsiteY17" fmla="*/ 0 h 6198437"/>
                <a:gd name="connsiteX18" fmla="*/ 2667235 w 5790777"/>
                <a:gd name="connsiteY18" fmla="*/ 165560 h 6198437"/>
                <a:gd name="connsiteX19" fmla="*/ 4430786 w 5790777"/>
                <a:gd name="connsiteY19" fmla="*/ 680900 h 6198437"/>
                <a:gd name="connsiteX20" fmla="*/ 4980916 w 5790777"/>
                <a:gd name="connsiteY20" fmla="*/ 1291242 h 6198437"/>
                <a:gd name="connsiteX21" fmla="*/ 5042320 w 5790777"/>
                <a:gd name="connsiteY21" fmla="*/ 1298860 h 6198437"/>
                <a:gd name="connsiteX22" fmla="*/ 5207161 w 5790777"/>
                <a:gd name="connsiteY22" fmla="*/ 1479661 h 6198437"/>
                <a:gd name="connsiteX23" fmla="*/ 5207384 w 5790777"/>
                <a:gd name="connsiteY23" fmla="*/ 1535080 h 6198437"/>
                <a:gd name="connsiteX24" fmla="*/ 5368648 w 5790777"/>
                <a:gd name="connsiteY24" fmla="*/ 1726990 h 6198437"/>
                <a:gd name="connsiteX25" fmla="*/ 5748636 w 5790777"/>
                <a:gd name="connsiteY25" fmla="*/ 3519512 h 6198437"/>
                <a:gd name="connsiteX26" fmla="*/ 5556557 w 5790777"/>
                <a:gd name="connsiteY26" fmla="*/ 4385669 h 6198437"/>
                <a:gd name="connsiteX27" fmla="*/ 5704007 w 5790777"/>
                <a:gd name="connsiteY27" fmla="*/ 4428964 h 6198437"/>
                <a:gd name="connsiteX28" fmla="*/ 5600090 w 5790777"/>
                <a:gd name="connsiteY28" fmla="*/ 4865439 h 6198437"/>
                <a:gd name="connsiteX29" fmla="*/ 5455487 w 5790777"/>
                <a:gd name="connsiteY29" fmla="*/ 4824545 h 6198437"/>
                <a:gd name="connsiteX30" fmla="*/ 4342060 w 5790777"/>
                <a:gd name="connsiteY30" fmla="*/ 6198437 h 6198437"/>
                <a:gd name="connsiteX31" fmla="*/ 4151062 w 5790777"/>
                <a:gd name="connsiteY31" fmla="*/ 5626725 h 6198437"/>
                <a:gd name="connsiteX32" fmla="*/ 4937197 w 5790777"/>
                <a:gd name="connsiteY32" fmla="*/ 4596953 h 6198437"/>
                <a:gd name="connsiteX33" fmla="*/ 5217246 w 5790777"/>
                <a:gd name="connsiteY33" fmla="*/ 3352779 h 6198437"/>
                <a:gd name="connsiteX34" fmla="*/ 4898430 w 5790777"/>
                <a:gd name="connsiteY34" fmla="*/ 2049487 h 6198437"/>
                <a:gd name="connsiteX35" fmla="*/ 4081177 w 5790777"/>
                <a:gd name="connsiteY35" fmla="*/ 1163055 h 6198437"/>
                <a:gd name="connsiteX36" fmla="*/ 2786911 w 5790777"/>
                <a:gd name="connsiteY36" fmla="*/ 761302 h 6198437"/>
                <a:gd name="connsiteX37" fmla="*/ 1788691 w 5790777"/>
                <a:gd name="connsiteY37" fmla="*/ 1081342 h 6198437"/>
                <a:gd name="connsiteX38" fmla="*/ 779771 w 5790777"/>
                <a:gd name="connsiteY38" fmla="*/ 2111591 h 6198437"/>
                <a:gd name="connsiteX39" fmla="*/ 541052 w 5790777"/>
                <a:gd name="connsiteY39" fmla="*/ 3178546 h 6198437"/>
                <a:gd name="connsiteX40" fmla="*/ 839093 w 5790777"/>
                <a:gd name="connsiteY40" fmla="*/ 4771487 h 6198437"/>
                <a:gd name="connsiteX41" fmla="*/ 429802 w 5790777"/>
                <a:gd name="connsiteY41" fmla="*/ 5189370 h 6198437"/>
                <a:gd name="connsiteX0" fmla="*/ 429802 w 5790777"/>
                <a:gd name="connsiteY0" fmla="*/ 5189370 h 6198437"/>
                <a:gd name="connsiteX1" fmla="*/ 0 w 5790777"/>
                <a:gd name="connsiteY1" fmla="*/ 3106020 h 6198437"/>
                <a:gd name="connsiteX2" fmla="*/ 157452 w 5790777"/>
                <a:gd name="connsiteY2" fmla="*/ 2374266 h 6198437"/>
                <a:gd name="connsiteX3" fmla="*/ 124721 w 5790777"/>
                <a:gd name="connsiteY3" fmla="*/ 2331944 h 6198437"/>
                <a:gd name="connsiteX4" fmla="*/ 196978 w 5790777"/>
                <a:gd name="connsiteY4" fmla="*/ 2067448 h 6198437"/>
                <a:gd name="connsiteX5" fmla="*/ 232694 w 5790777"/>
                <a:gd name="connsiteY5" fmla="*/ 2050403 h 6198437"/>
                <a:gd name="connsiteX6" fmla="*/ 1240051 w 5790777"/>
                <a:gd name="connsiteY6" fmla="*/ 647002 h 6198437"/>
                <a:gd name="connsiteX7" fmla="*/ 1452967 w 5790777"/>
                <a:gd name="connsiteY7" fmla="*/ 547251 h 6198437"/>
                <a:gd name="connsiteX8" fmla="*/ 1432906 w 5790777"/>
                <a:gd name="connsiteY8" fmla="*/ 432260 h 6198437"/>
                <a:gd name="connsiteX9" fmla="*/ 1628671 w 5790777"/>
                <a:gd name="connsiteY9" fmla="*/ 380302 h 6198437"/>
                <a:gd name="connsiteX10" fmla="*/ 1646044 w 5790777"/>
                <a:gd name="connsiteY10" fmla="*/ 481442 h 6198437"/>
                <a:gd name="connsiteX11" fmla="*/ 1773119 w 5790777"/>
                <a:gd name="connsiteY11" fmla="*/ 442651 h 6198437"/>
                <a:gd name="connsiteX12" fmla="*/ 1803598 w 5790777"/>
                <a:gd name="connsiteY12" fmla="*/ 393463 h 6198437"/>
                <a:gd name="connsiteX13" fmla="*/ 2039485 w 5790777"/>
                <a:gd name="connsiteY13" fmla="*/ 319342 h 6198437"/>
                <a:gd name="connsiteX14" fmla="*/ 2079940 w 5790777"/>
                <a:gd name="connsiteY14" fmla="*/ 352592 h 6198437"/>
                <a:gd name="connsiteX15" fmla="*/ 2276482 w 5790777"/>
                <a:gd name="connsiteY15" fmla="*/ 288171 h 6198437"/>
                <a:gd name="connsiteX16" fmla="*/ 2235694 w 5790777"/>
                <a:gd name="connsiteY16" fmla="*/ 119840 h 6198437"/>
                <a:gd name="connsiteX17" fmla="*/ 2618937 w 5790777"/>
                <a:gd name="connsiteY17" fmla="*/ 0 h 6198437"/>
                <a:gd name="connsiteX18" fmla="*/ 2667235 w 5790777"/>
                <a:gd name="connsiteY18" fmla="*/ 165560 h 6198437"/>
                <a:gd name="connsiteX19" fmla="*/ 4430786 w 5790777"/>
                <a:gd name="connsiteY19" fmla="*/ 680900 h 6198437"/>
                <a:gd name="connsiteX20" fmla="*/ 4980916 w 5790777"/>
                <a:gd name="connsiteY20" fmla="*/ 1291242 h 6198437"/>
                <a:gd name="connsiteX21" fmla="*/ 5042320 w 5790777"/>
                <a:gd name="connsiteY21" fmla="*/ 1298860 h 6198437"/>
                <a:gd name="connsiteX22" fmla="*/ 5207161 w 5790777"/>
                <a:gd name="connsiteY22" fmla="*/ 1479661 h 6198437"/>
                <a:gd name="connsiteX23" fmla="*/ 5207384 w 5790777"/>
                <a:gd name="connsiteY23" fmla="*/ 1535080 h 6198437"/>
                <a:gd name="connsiteX24" fmla="*/ 5368648 w 5790777"/>
                <a:gd name="connsiteY24" fmla="*/ 1726990 h 6198437"/>
                <a:gd name="connsiteX25" fmla="*/ 5748636 w 5790777"/>
                <a:gd name="connsiteY25" fmla="*/ 3519512 h 6198437"/>
                <a:gd name="connsiteX26" fmla="*/ 5556557 w 5790777"/>
                <a:gd name="connsiteY26" fmla="*/ 4385669 h 6198437"/>
                <a:gd name="connsiteX27" fmla="*/ 5704007 w 5790777"/>
                <a:gd name="connsiteY27" fmla="*/ 4428964 h 6198437"/>
                <a:gd name="connsiteX28" fmla="*/ 5600090 w 5790777"/>
                <a:gd name="connsiteY28" fmla="*/ 4865439 h 6198437"/>
                <a:gd name="connsiteX29" fmla="*/ 5455487 w 5790777"/>
                <a:gd name="connsiteY29" fmla="*/ 4824545 h 6198437"/>
                <a:gd name="connsiteX30" fmla="*/ 4342060 w 5790777"/>
                <a:gd name="connsiteY30" fmla="*/ 6198437 h 6198437"/>
                <a:gd name="connsiteX31" fmla="*/ 4151062 w 5790777"/>
                <a:gd name="connsiteY31" fmla="*/ 5626725 h 6198437"/>
                <a:gd name="connsiteX32" fmla="*/ 4937197 w 5790777"/>
                <a:gd name="connsiteY32" fmla="*/ 4596953 h 6198437"/>
                <a:gd name="connsiteX33" fmla="*/ 5217246 w 5790777"/>
                <a:gd name="connsiteY33" fmla="*/ 3352779 h 6198437"/>
                <a:gd name="connsiteX34" fmla="*/ 4898430 w 5790777"/>
                <a:gd name="connsiteY34" fmla="*/ 2049487 h 6198437"/>
                <a:gd name="connsiteX35" fmla="*/ 4081177 w 5790777"/>
                <a:gd name="connsiteY35" fmla="*/ 1163055 h 6198437"/>
                <a:gd name="connsiteX36" fmla="*/ 2786911 w 5790777"/>
                <a:gd name="connsiteY36" fmla="*/ 761302 h 6198437"/>
                <a:gd name="connsiteX37" fmla="*/ 1788691 w 5790777"/>
                <a:gd name="connsiteY37" fmla="*/ 1081342 h 6198437"/>
                <a:gd name="connsiteX38" fmla="*/ 779771 w 5790777"/>
                <a:gd name="connsiteY38" fmla="*/ 2111591 h 6198437"/>
                <a:gd name="connsiteX39" fmla="*/ 541052 w 5790777"/>
                <a:gd name="connsiteY39" fmla="*/ 3178546 h 6198437"/>
                <a:gd name="connsiteX40" fmla="*/ 429802 w 5790777"/>
                <a:gd name="connsiteY40" fmla="*/ 5189370 h 6198437"/>
                <a:gd name="connsiteX0" fmla="*/ 541052 w 5790777"/>
                <a:gd name="connsiteY0" fmla="*/ 3178546 h 6198437"/>
                <a:gd name="connsiteX1" fmla="*/ 0 w 5790777"/>
                <a:gd name="connsiteY1" fmla="*/ 3106020 h 6198437"/>
                <a:gd name="connsiteX2" fmla="*/ 157452 w 5790777"/>
                <a:gd name="connsiteY2" fmla="*/ 2374266 h 6198437"/>
                <a:gd name="connsiteX3" fmla="*/ 124721 w 5790777"/>
                <a:gd name="connsiteY3" fmla="*/ 2331944 h 6198437"/>
                <a:gd name="connsiteX4" fmla="*/ 196978 w 5790777"/>
                <a:gd name="connsiteY4" fmla="*/ 2067448 h 6198437"/>
                <a:gd name="connsiteX5" fmla="*/ 232694 w 5790777"/>
                <a:gd name="connsiteY5" fmla="*/ 2050403 h 6198437"/>
                <a:gd name="connsiteX6" fmla="*/ 1240051 w 5790777"/>
                <a:gd name="connsiteY6" fmla="*/ 647002 h 6198437"/>
                <a:gd name="connsiteX7" fmla="*/ 1452967 w 5790777"/>
                <a:gd name="connsiteY7" fmla="*/ 547251 h 6198437"/>
                <a:gd name="connsiteX8" fmla="*/ 1432906 w 5790777"/>
                <a:gd name="connsiteY8" fmla="*/ 432260 h 6198437"/>
                <a:gd name="connsiteX9" fmla="*/ 1628671 w 5790777"/>
                <a:gd name="connsiteY9" fmla="*/ 380302 h 6198437"/>
                <a:gd name="connsiteX10" fmla="*/ 1646044 w 5790777"/>
                <a:gd name="connsiteY10" fmla="*/ 481442 h 6198437"/>
                <a:gd name="connsiteX11" fmla="*/ 1773119 w 5790777"/>
                <a:gd name="connsiteY11" fmla="*/ 442651 h 6198437"/>
                <a:gd name="connsiteX12" fmla="*/ 1803598 w 5790777"/>
                <a:gd name="connsiteY12" fmla="*/ 393463 h 6198437"/>
                <a:gd name="connsiteX13" fmla="*/ 2039485 w 5790777"/>
                <a:gd name="connsiteY13" fmla="*/ 319342 h 6198437"/>
                <a:gd name="connsiteX14" fmla="*/ 2079940 w 5790777"/>
                <a:gd name="connsiteY14" fmla="*/ 352592 h 6198437"/>
                <a:gd name="connsiteX15" fmla="*/ 2276482 w 5790777"/>
                <a:gd name="connsiteY15" fmla="*/ 288171 h 6198437"/>
                <a:gd name="connsiteX16" fmla="*/ 2235694 w 5790777"/>
                <a:gd name="connsiteY16" fmla="*/ 119840 h 6198437"/>
                <a:gd name="connsiteX17" fmla="*/ 2618937 w 5790777"/>
                <a:gd name="connsiteY17" fmla="*/ 0 h 6198437"/>
                <a:gd name="connsiteX18" fmla="*/ 2667235 w 5790777"/>
                <a:gd name="connsiteY18" fmla="*/ 165560 h 6198437"/>
                <a:gd name="connsiteX19" fmla="*/ 4430786 w 5790777"/>
                <a:gd name="connsiteY19" fmla="*/ 680900 h 6198437"/>
                <a:gd name="connsiteX20" fmla="*/ 4980916 w 5790777"/>
                <a:gd name="connsiteY20" fmla="*/ 1291242 h 6198437"/>
                <a:gd name="connsiteX21" fmla="*/ 5042320 w 5790777"/>
                <a:gd name="connsiteY21" fmla="*/ 1298860 h 6198437"/>
                <a:gd name="connsiteX22" fmla="*/ 5207161 w 5790777"/>
                <a:gd name="connsiteY22" fmla="*/ 1479661 h 6198437"/>
                <a:gd name="connsiteX23" fmla="*/ 5207384 w 5790777"/>
                <a:gd name="connsiteY23" fmla="*/ 1535080 h 6198437"/>
                <a:gd name="connsiteX24" fmla="*/ 5368648 w 5790777"/>
                <a:gd name="connsiteY24" fmla="*/ 1726990 h 6198437"/>
                <a:gd name="connsiteX25" fmla="*/ 5748636 w 5790777"/>
                <a:gd name="connsiteY25" fmla="*/ 3519512 h 6198437"/>
                <a:gd name="connsiteX26" fmla="*/ 5556557 w 5790777"/>
                <a:gd name="connsiteY26" fmla="*/ 4385669 h 6198437"/>
                <a:gd name="connsiteX27" fmla="*/ 5704007 w 5790777"/>
                <a:gd name="connsiteY27" fmla="*/ 4428964 h 6198437"/>
                <a:gd name="connsiteX28" fmla="*/ 5600090 w 5790777"/>
                <a:gd name="connsiteY28" fmla="*/ 4865439 h 6198437"/>
                <a:gd name="connsiteX29" fmla="*/ 5455487 w 5790777"/>
                <a:gd name="connsiteY29" fmla="*/ 4824545 h 6198437"/>
                <a:gd name="connsiteX30" fmla="*/ 4342060 w 5790777"/>
                <a:gd name="connsiteY30" fmla="*/ 6198437 h 6198437"/>
                <a:gd name="connsiteX31" fmla="*/ 4151062 w 5790777"/>
                <a:gd name="connsiteY31" fmla="*/ 5626725 h 6198437"/>
                <a:gd name="connsiteX32" fmla="*/ 4937197 w 5790777"/>
                <a:gd name="connsiteY32" fmla="*/ 4596953 h 6198437"/>
                <a:gd name="connsiteX33" fmla="*/ 5217246 w 5790777"/>
                <a:gd name="connsiteY33" fmla="*/ 3352779 h 6198437"/>
                <a:gd name="connsiteX34" fmla="*/ 4898430 w 5790777"/>
                <a:gd name="connsiteY34" fmla="*/ 2049487 h 6198437"/>
                <a:gd name="connsiteX35" fmla="*/ 4081177 w 5790777"/>
                <a:gd name="connsiteY35" fmla="*/ 1163055 h 6198437"/>
                <a:gd name="connsiteX36" fmla="*/ 2786911 w 5790777"/>
                <a:gd name="connsiteY36" fmla="*/ 761302 h 6198437"/>
                <a:gd name="connsiteX37" fmla="*/ 1788691 w 5790777"/>
                <a:gd name="connsiteY37" fmla="*/ 1081342 h 6198437"/>
                <a:gd name="connsiteX38" fmla="*/ 779771 w 5790777"/>
                <a:gd name="connsiteY38" fmla="*/ 2111591 h 6198437"/>
                <a:gd name="connsiteX39" fmla="*/ 541052 w 5790777"/>
                <a:gd name="connsiteY39" fmla="*/ 3178546 h 6198437"/>
                <a:gd name="connsiteX0" fmla="*/ 573843 w 5823568"/>
                <a:gd name="connsiteY0" fmla="*/ 3178546 h 6198437"/>
                <a:gd name="connsiteX1" fmla="*/ 0 w 5823568"/>
                <a:gd name="connsiteY1" fmla="*/ 3178546 h 6198437"/>
                <a:gd name="connsiteX2" fmla="*/ 190243 w 5823568"/>
                <a:gd name="connsiteY2" fmla="*/ 2374266 h 6198437"/>
                <a:gd name="connsiteX3" fmla="*/ 157512 w 5823568"/>
                <a:gd name="connsiteY3" fmla="*/ 2331944 h 6198437"/>
                <a:gd name="connsiteX4" fmla="*/ 229769 w 5823568"/>
                <a:gd name="connsiteY4" fmla="*/ 2067448 h 6198437"/>
                <a:gd name="connsiteX5" fmla="*/ 265485 w 5823568"/>
                <a:gd name="connsiteY5" fmla="*/ 2050403 h 6198437"/>
                <a:gd name="connsiteX6" fmla="*/ 1272842 w 5823568"/>
                <a:gd name="connsiteY6" fmla="*/ 647002 h 6198437"/>
                <a:gd name="connsiteX7" fmla="*/ 1485758 w 5823568"/>
                <a:gd name="connsiteY7" fmla="*/ 547251 h 6198437"/>
                <a:gd name="connsiteX8" fmla="*/ 1465697 w 5823568"/>
                <a:gd name="connsiteY8" fmla="*/ 432260 h 6198437"/>
                <a:gd name="connsiteX9" fmla="*/ 1661462 w 5823568"/>
                <a:gd name="connsiteY9" fmla="*/ 380302 h 6198437"/>
                <a:gd name="connsiteX10" fmla="*/ 1678835 w 5823568"/>
                <a:gd name="connsiteY10" fmla="*/ 481442 h 6198437"/>
                <a:gd name="connsiteX11" fmla="*/ 1805910 w 5823568"/>
                <a:gd name="connsiteY11" fmla="*/ 442651 h 6198437"/>
                <a:gd name="connsiteX12" fmla="*/ 1836389 w 5823568"/>
                <a:gd name="connsiteY12" fmla="*/ 393463 h 6198437"/>
                <a:gd name="connsiteX13" fmla="*/ 2072276 w 5823568"/>
                <a:gd name="connsiteY13" fmla="*/ 319342 h 6198437"/>
                <a:gd name="connsiteX14" fmla="*/ 2112731 w 5823568"/>
                <a:gd name="connsiteY14" fmla="*/ 352592 h 6198437"/>
                <a:gd name="connsiteX15" fmla="*/ 2309273 w 5823568"/>
                <a:gd name="connsiteY15" fmla="*/ 288171 h 6198437"/>
                <a:gd name="connsiteX16" fmla="*/ 2268485 w 5823568"/>
                <a:gd name="connsiteY16" fmla="*/ 119840 h 6198437"/>
                <a:gd name="connsiteX17" fmla="*/ 2651728 w 5823568"/>
                <a:gd name="connsiteY17" fmla="*/ 0 h 6198437"/>
                <a:gd name="connsiteX18" fmla="*/ 2700026 w 5823568"/>
                <a:gd name="connsiteY18" fmla="*/ 165560 h 6198437"/>
                <a:gd name="connsiteX19" fmla="*/ 4463577 w 5823568"/>
                <a:gd name="connsiteY19" fmla="*/ 680900 h 6198437"/>
                <a:gd name="connsiteX20" fmla="*/ 5013707 w 5823568"/>
                <a:gd name="connsiteY20" fmla="*/ 1291242 h 6198437"/>
                <a:gd name="connsiteX21" fmla="*/ 5075111 w 5823568"/>
                <a:gd name="connsiteY21" fmla="*/ 1298860 h 6198437"/>
                <a:gd name="connsiteX22" fmla="*/ 5239952 w 5823568"/>
                <a:gd name="connsiteY22" fmla="*/ 1479661 h 6198437"/>
                <a:gd name="connsiteX23" fmla="*/ 5240175 w 5823568"/>
                <a:gd name="connsiteY23" fmla="*/ 1535080 h 6198437"/>
                <a:gd name="connsiteX24" fmla="*/ 5401439 w 5823568"/>
                <a:gd name="connsiteY24" fmla="*/ 1726990 h 6198437"/>
                <a:gd name="connsiteX25" fmla="*/ 5781427 w 5823568"/>
                <a:gd name="connsiteY25" fmla="*/ 3519512 h 6198437"/>
                <a:gd name="connsiteX26" fmla="*/ 5589348 w 5823568"/>
                <a:gd name="connsiteY26" fmla="*/ 4385669 h 6198437"/>
                <a:gd name="connsiteX27" fmla="*/ 5736798 w 5823568"/>
                <a:gd name="connsiteY27" fmla="*/ 4428964 h 6198437"/>
                <a:gd name="connsiteX28" fmla="*/ 5632881 w 5823568"/>
                <a:gd name="connsiteY28" fmla="*/ 4865439 h 6198437"/>
                <a:gd name="connsiteX29" fmla="*/ 5488278 w 5823568"/>
                <a:gd name="connsiteY29" fmla="*/ 4824545 h 6198437"/>
                <a:gd name="connsiteX30" fmla="*/ 4374851 w 5823568"/>
                <a:gd name="connsiteY30" fmla="*/ 6198437 h 6198437"/>
                <a:gd name="connsiteX31" fmla="*/ 4183853 w 5823568"/>
                <a:gd name="connsiteY31" fmla="*/ 5626725 h 6198437"/>
                <a:gd name="connsiteX32" fmla="*/ 4969988 w 5823568"/>
                <a:gd name="connsiteY32" fmla="*/ 4596953 h 6198437"/>
                <a:gd name="connsiteX33" fmla="*/ 5250037 w 5823568"/>
                <a:gd name="connsiteY33" fmla="*/ 3352779 h 6198437"/>
                <a:gd name="connsiteX34" fmla="*/ 4931221 w 5823568"/>
                <a:gd name="connsiteY34" fmla="*/ 2049487 h 6198437"/>
                <a:gd name="connsiteX35" fmla="*/ 4113968 w 5823568"/>
                <a:gd name="connsiteY35" fmla="*/ 1163055 h 6198437"/>
                <a:gd name="connsiteX36" fmla="*/ 2819702 w 5823568"/>
                <a:gd name="connsiteY36" fmla="*/ 761302 h 6198437"/>
                <a:gd name="connsiteX37" fmla="*/ 1821482 w 5823568"/>
                <a:gd name="connsiteY37" fmla="*/ 1081342 h 6198437"/>
                <a:gd name="connsiteX38" fmla="*/ 812562 w 5823568"/>
                <a:gd name="connsiteY38" fmla="*/ 2111591 h 6198437"/>
                <a:gd name="connsiteX39" fmla="*/ 573843 w 5823568"/>
                <a:gd name="connsiteY39" fmla="*/ 3178546 h 6198437"/>
                <a:gd name="connsiteX0" fmla="*/ 518530 w 5768255"/>
                <a:gd name="connsiteY0" fmla="*/ 3178546 h 6198437"/>
                <a:gd name="connsiteX1" fmla="*/ 0 w 5768255"/>
                <a:gd name="connsiteY1" fmla="*/ 3111230 h 6198437"/>
                <a:gd name="connsiteX2" fmla="*/ 134930 w 5768255"/>
                <a:gd name="connsiteY2" fmla="*/ 2374266 h 6198437"/>
                <a:gd name="connsiteX3" fmla="*/ 102199 w 5768255"/>
                <a:gd name="connsiteY3" fmla="*/ 2331944 h 6198437"/>
                <a:gd name="connsiteX4" fmla="*/ 174456 w 5768255"/>
                <a:gd name="connsiteY4" fmla="*/ 2067448 h 6198437"/>
                <a:gd name="connsiteX5" fmla="*/ 210172 w 5768255"/>
                <a:gd name="connsiteY5" fmla="*/ 2050403 h 6198437"/>
                <a:gd name="connsiteX6" fmla="*/ 1217529 w 5768255"/>
                <a:gd name="connsiteY6" fmla="*/ 647002 h 6198437"/>
                <a:gd name="connsiteX7" fmla="*/ 1430445 w 5768255"/>
                <a:gd name="connsiteY7" fmla="*/ 547251 h 6198437"/>
                <a:gd name="connsiteX8" fmla="*/ 1410384 w 5768255"/>
                <a:gd name="connsiteY8" fmla="*/ 432260 h 6198437"/>
                <a:gd name="connsiteX9" fmla="*/ 1606149 w 5768255"/>
                <a:gd name="connsiteY9" fmla="*/ 380302 h 6198437"/>
                <a:gd name="connsiteX10" fmla="*/ 1623522 w 5768255"/>
                <a:gd name="connsiteY10" fmla="*/ 481442 h 6198437"/>
                <a:gd name="connsiteX11" fmla="*/ 1750597 w 5768255"/>
                <a:gd name="connsiteY11" fmla="*/ 442651 h 6198437"/>
                <a:gd name="connsiteX12" fmla="*/ 1781076 w 5768255"/>
                <a:gd name="connsiteY12" fmla="*/ 393463 h 6198437"/>
                <a:gd name="connsiteX13" fmla="*/ 2016963 w 5768255"/>
                <a:gd name="connsiteY13" fmla="*/ 319342 h 6198437"/>
                <a:gd name="connsiteX14" fmla="*/ 2057418 w 5768255"/>
                <a:gd name="connsiteY14" fmla="*/ 352592 h 6198437"/>
                <a:gd name="connsiteX15" fmla="*/ 2253960 w 5768255"/>
                <a:gd name="connsiteY15" fmla="*/ 288171 h 6198437"/>
                <a:gd name="connsiteX16" fmla="*/ 2213172 w 5768255"/>
                <a:gd name="connsiteY16" fmla="*/ 119840 h 6198437"/>
                <a:gd name="connsiteX17" fmla="*/ 2596415 w 5768255"/>
                <a:gd name="connsiteY17" fmla="*/ 0 h 6198437"/>
                <a:gd name="connsiteX18" fmla="*/ 2644713 w 5768255"/>
                <a:gd name="connsiteY18" fmla="*/ 165560 h 6198437"/>
                <a:gd name="connsiteX19" fmla="*/ 4408264 w 5768255"/>
                <a:gd name="connsiteY19" fmla="*/ 680900 h 6198437"/>
                <a:gd name="connsiteX20" fmla="*/ 4958394 w 5768255"/>
                <a:gd name="connsiteY20" fmla="*/ 1291242 h 6198437"/>
                <a:gd name="connsiteX21" fmla="*/ 5019798 w 5768255"/>
                <a:gd name="connsiteY21" fmla="*/ 1298860 h 6198437"/>
                <a:gd name="connsiteX22" fmla="*/ 5184639 w 5768255"/>
                <a:gd name="connsiteY22" fmla="*/ 1479661 h 6198437"/>
                <a:gd name="connsiteX23" fmla="*/ 5184862 w 5768255"/>
                <a:gd name="connsiteY23" fmla="*/ 1535080 h 6198437"/>
                <a:gd name="connsiteX24" fmla="*/ 5346126 w 5768255"/>
                <a:gd name="connsiteY24" fmla="*/ 1726990 h 6198437"/>
                <a:gd name="connsiteX25" fmla="*/ 5726114 w 5768255"/>
                <a:gd name="connsiteY25" fmla="*/ 3519512 h 6198437"/>
                <a:gd name="connsiteX26" fmla="*/ 5534035 w 5768255"/>
                <a:gd name="connsiteY26" fmla="*/ 4385669 h 6198437"/>
                <a:gd name="connsiteX27" fmla="*/ 5681485 w 5768255"/>
                <a:gd name="connsiteY27" fmla="*/ 4428964 h 6198437"/>
                <a:gd name="connsiteX28" fmla="*/ 5577568 w 5768255"/>
                <a:gd name="connsiteY28" fmla="*/ 4865439 h 6198437"/>
                <a:gd name="connsiteX29" fmla="*/ 5432965 w 5768255"/>
                <a:gd name="connsiteY29" fmla="*/ 4824545 h 6198437"/>
                <a:gd name="connsiteX30" fmla="*/ 4319538 w 5768255"/>
                <a:gd name="connsiteY30" fmla="*/ 6198437 h 6198437"/>
                <a:gd name="connsiteX31" fmla="*/ 4128540 w 5768255"/>
                <a:gd name="connsiteY31" fmla="*/ 5626725 h 6198437"/>
                <a:gd name="connsiteX32" fmla="*/ 4914675 w 5768255"/>
                <a:gd name="connsiteY32" fmla="*/ 4596953 h 6198437"/>
                <a:gd name="connsiteX33" fmla="*/ 5194724 w 5768255"/>
                <a:gd name="connsiteY33" fmla="*/ 3352779 h 6198437"/>
                <a:gd name="connsiteX34" fmla="*/ 4875908 w 5768255"/>
                <a:gd name="connsiteY34" fmla="*/ 2049487 h 6198437"/>
                <a:gd name="connsiteX35" fmla="*/ 4058655 w 5768255"/>
                <a:gd name="connsiteY35" fmla="*/ 1163055 h 6198437"/>
                <a:gd name="connsiteX36" fmla="*/ 2764389 w 5768255"/>
                <a:gd name="connsiteY36" fmla="*/ 761302 h 6198437"/>
                <a:gd name="connsiteX37" fmla="*/ 1766169 w 5768255"/>
                <a:gd name="connsiteY37" fmla="*/ 1081342 h 6198437"/>
                <a:gd name="connsiteX38" fmla="*/ 757249 w 5768255"/>
                <a:gd name="connsiteY38" fmla="*/ 2111591 h 6198437"/>
                <a:gd name="connsiteX39" fmla="*/ 518530 w 5768255"/>
                <a:gd name="connsiteY39" fmla="*/ 3178546 h 6198437"/>
                <a:gd name="connsiteX0" fmla="*/ 566929 w 5816654"/>
                <a:gd name="connsiteY0" fmla="*/ 3178546 h 6198437"/>
                <a:gd name="connsiteX1" fmla="*/ 0 w 5816654"/>
                <a:gd name="connsiteY1" fmla="*/ 3186025 h 6198437"/>
                <a:gd name="connsiteX2" fmla="*/ 183329 w 5816654"/>
                <a:gd name="connsiteY2" fmla="*/ 2374266 h 6198437"/>
                <a:gd name="connsiteX3" fmla="*/ 150598 w 5816654"/>
                <a:gd name="connsiteY3" fmla="*/ 2331944 h 6198437"/>
                <a:gd name="connsiteX4" fmla="*/ 222855 w 5816654"/>
                <a:gd name="connsiteY4" fmla="*/ 2067448 h 6198437"/>
                <a:gd name="connsiteX5" fmla="*/ 258571 w 5816654"/>
                <a:gd name="connsiteY5" fmla="*/ 2050403 h 6198437"/>
                <a:gd name="connsiteX6" fmla="*/ 1265928 w 5816654"/>
                <a:gd name="connsiteY6" fmla="*/ 647002 h 6198437"/>
                <a:gd name="connsiteX7" fmla="*/ 1478844 w 5816654"/>
                <a:gd name="connsiteY7" fmla="*/ 547251 h 6198437"/>
                <a:gd name="connsiteX8" fmla="*/ 1458783 w 5816654"/>
                <a:gd name="connsiteY8" fmla="*/ 432260 h 6198437"/>
                <a:gd name="connsiteX9" fmla="*/ 1654548 w 5816654"/>
                <a:gd name="connsiteY9" fmla="*/ 380302 h 6198437"/>
                <a:gd name="connsiteX10" fmla="*/ 1671921 w 5816654"/>
                <a:gd name="connsiteY10" fmla="*/ 481442 h 6198437"/>
                <a:gd name="connsiteX11" fmla="*/ 1798996 w 5816654"/>
                <a:gd name="connsiteY11" fmla="*/ 442651 h 6198437"/>
                <a:gd name="connsiteX12" fmla="*/ 1829475 w 5816654"/>
                <a:gd name="connsiteY12" fmla="*/ 393463 h 6198437"/>
                <a:gd name="connsiteX13" fmla="*/ 2065362 w 5816654"/>
                <a:gd name="connsiteY13" fmla="*/ 319342 h 6198437"/>
                <a:gd name="connsiteX14" fmla="*/ 2105817 w 5816654"/>
                <a:gd name="connsiteY14" fmla="*/ 352592 h 6198437"/>
                <a:gd name="connsiteX15" fmla="*/ 2302359 w 5816654"/>
                <a:gd name="connsiteY15" fmla="*/ 288171 h 6198437"/>
                <a:gd name="connsiteX16" fmla="*/ 2261571 w 5816654"/>
                <a:gd name="connsiteY16" fmla="*/ 119840 h 6198437"/>
                <a:gd name="connsiteX17" fmla="*/ 2644814 w 5816654"/>
                <a:gd name="connsiteY17" fmla="*/ 0 h 6198437"/>
                <a:gd name="connsiteX18" fmla="*/ 2693112 w 5816654"/>
                <a:gd name="connsiteY18" fmla="*/ 165560 h 6198437"/>
                <a:gd name="connsiteX19" fmla="*/ 4456663 w 5816654"/>
                <a:gd name="connsiteY19" fmla="*/ 680900 h 6198437"/>
                <a:gd name="connsiteX20" fmla="*/ 5006793 w 5816654"/>
                <a:gd name="connsiteY20" fmla="*/ 1291242 h 6198437"/>
                <a:gd name="connsiteX21" fmla="*/ 5068197 w 5816654"/>
                <a:gd name="connsiteY21" fmla="*/ 1298860 h 6198437"/>
                <a:gd name="connsiteX22" fmla="*/ 5233038 w 5816654"/>
                <a:gd name="connsiteY22" fmla="*/ 1479661 h 6198437"/>
                <a:gd name="connsiteX23" fmla="*/ 5233261 w 5816654"/>
                <a:gd name="connsiteY23" fmla="*/ 1535080 h 6198437"/>
                <a:gd name="connsiteX24" fmla="*/ 5394525 w 5816654"/>
                <a:gd name="connsiteY24" fmla="*/ 1726990 h 6198437"/>
                <a:gd name="connsiteX25" fmla="*/ 5774513 w 5816654"/>
                <a:gd name="connsiteY25" fmla="*/ 3519512 h 6198437"/>
                <a:gd name="connsiteX26" fmla="*/ 5582434 w 5816654"/>
                <a:gd name="connsiteY26" fmla="*/ 4385669 h 6198437"/>
                <a:gd name="connsiteX27" fmla="*/ 5729884 w 5816654"/>
                <a:gd name="connsiteY27" fmla="*/ 4428964 h 6198437"/>
                <a:gd name="connsiteX28" fmla="*/ 5625967 w 5816654"/>
                <a:gd name="connsiteY28" fmla="*/ 4865439 h 6198437"/>
                <a:gd name="connsiteX29" fmla="*/ 5481364 w 5816654"/>
                <a:gd name="connsiteY29" fmla="*/ 4824545 h 6198437"/>
                <a:gd name="connsiteX30" fmla="*/ 4367937 w 5816654"/>
                <a:gd name="connsiteY30" fmla="*/ 6198437 h 6198437"/>
                <a:gd name="connsiteX31" fmla="*/ 4176939 w 5816654"/>
                <a:gd name="connsiteY31" fmla="*/ 5626725 h 6198437"/>
                <a:gd name="connsiteX32" fmla="*/ 4963074 w 5816654"/>
                <a:gd name="connsiteY32" fmla="*/ 4596953 h 6198437"/>
                <a:gd name="connsiteX33" fmla="*/ 5243123 w 5816654"/>
                <a:gd name="connsiteY33" fmla="*/ 3352779 h 6198437"/>
                <a:gd name="connsiteX34" fmla="*/ 4924307 w 5816654"/>
                <a:gd name="connsiteY34" fmla="*/ 2049487 h 6198437"/>
                <a:gd name="connsiteX35" fmla="*/ 4107054 w 5816654"/>
                <a:gd name="connsiteY35" fmla="*/ 1163055 h 6198437"/>
                <a:gd name="connsiteX36" fmla="*/ 2812788 w 5816654"/>
                <a:gd name="connsiteY36" fmla="*/ 761302 h 6198437"/>
                <a:gd name="connsiteX37" fmla="*/ 1814568 w 5816654"/>
                <a:gd name="connsiteY37" fmla="*/ 1081342 h 6198437"/>
                <a:gd name="connsiteX38" fmla="*/ 805648 w 5816654"/>
                <a:gd name="connsiteY38" fmla="*/ 2111591 h 6198437"/>
                <a:gd name="connsiteX39" fmla="*/ 566929 w 5816654"/>
                <a:gd name="connsiteY39" fmla="*/ 3178546 h 6198437"/>
                <a:gd name="connsiteX0" fmla="*/ 541577 w 5816654"/>
                <a:gd name="connsiteY0" fmla="*/ 3288247 h 6198437"/>
                <a:gd name="connsiteX1" fmla="*/ 0 w 5816654"/>
                <a:gd name="connsiteY1" fmla="*/ 3186025 h 6198437"/>
                <a:gd name="connsiteX2" fmla="*/ 183329 w 5816654"/>
                <a:gd name="connsiteY2" fmla="*/ 2374266 h 6198437"/>
                <a:gd name="connsiteX3" fmla="*/ 150598 w 5816654"/>
                <a:gd name="connsiteY3" fmla="*/ 2331944 h 6198437"/>
                <a:gd name="connsiteX4" fmla="*/ 222855 w 5816654"/>
                <a:gd name="connsiteY4" fmla="*/ 2067448 h 6198437"/>
                <a:gd name="connsiteX5" fmla="*/ 258571 w 5816654"/>
                <a:gd name="connsiteY5" fmla="*/ 2050403 h 6198437"/>
                <a:gd name="connsiteX6" fmla="*/ 1265928 w 5816654"/>
                <a:gd name="connsiteY6" fmla="*/ 647002 h 6198437"/>
                <a:gd name="connsiteX7" fmla="*/ 1478844 w 5816654"/>
                <a:gd name="connsiteY7" fmla="*/ 547251 h 6198437"/>
                <a:gd name="connsiteX8" fmla="*/ 1458783 w 5816654"/>
                <a:gd name="connsiteY8" fmla="*/ 432260 h 6198437"/>
                <a:gd name="connsiteX9" fmla="*/ 1654548 w 5816654"/>
                <a:gd name="connsiteY9" fmla="*/ 380302 h 6198437"/>
                <a:gd name="connsiteX10" fmla="*/ 1671921 w 5816654"/>
                <a:gd name="connsiteY10" fmla="*/ 481442 h 6198437"/>
                <a:gd name="connsiteX11" fmla="*/ 1798996 w 5816654"/>
                <a:gd name="connsiteY11" fmla="*/ 442651 h 6198437"/>
                <a:gd name="connsiteX12" fmla="*/ 1829475 w 5816654"/>
                <a:gd name="connsiteY12" fmla="*/ 393463 h 6198437"/>
                <a:gd name="connsiteX13" fmla="*/ 2065362 w 5816654"/>
                <a:gd name="connsiteY13" fmla="*/ 319342 h 6198437"/>
                <a:gd name="connsiteX14" fmla="*/ 2105817 w 5816654"/>
                <a:gd name="connsiteY14" fmla="*/ 352592 h 6198437"/>
                <a:gd name="connsiteX15" fmla="*/ 2302359 w 5816654"/>
                <a:gd name="connsiteY15" fmla="*/ 288171 h 6198437"/>
                <a:gd name="connsiteX16" fmla="*/ 2261571 w 5816654"/>
                <a:gd name="connsiteY16" fmla="*/ 119840 h 6198437"/>
                <a:gd name="connsiteX17" fmla="*/ 2644814 w 5816654"/>
                <a:gd name="connsiteY17" fmla="*/ 0 h 6198437"/>
                <a:gd name="connsiteX18" fmla="*/ 2693112 w 5816654"/>
                <a:gd name="connsiteY18" fmla="*/ 165560 h 6198437"/>
                <a:gd name="connsiteX19" fmla="*/ 4456663 w 5816654"/>
                <a:gd name="connsiteY19" fmla="*/ 680900 h 6198437"/>
                <a:gd name="connsiteX20" fmla="*/ 5006793 w 5816654"/>
                <a:gd name="connsiteY20" fmla="*/ 1291242 h 6198437"/>
                <a:gd name="connsiteX21" fmla="*/ 5068197 w 5816654"/>
                <a:gd name="connsiteY21" fmla="*/ 1298860 h 6198437"/>
                <a:gd name="connsiteX22" fmla="*/ 5233038 w 5816654"/>
                <a:gd name="connsiteY22" fmla="*/ 1479661 h 6198437"/>
                <a:gd name="connsiteX23" fmla="*/ 5233261 w 5816654"/>
                <a:gd name="connsiteY23" fmla="*/ 1535080 h 6198437"/>
                <a:gd name="connsiteX24" fmla="*/ 5394525 w 5816654"/>
                <a:gd name="connsiteY24" fmla="*/ 1726990 h 6198437"/>
                <a:gd name="connsiteX25" fmla="*/ 5774513 w 5816654"/>
                <a:gd name="connsiteY25" fmla="*/ 3519512 h 6198437"/>
                <a:gd name="connsiteX26" fmla="*/ 5582434 w 5816654"/>
                <a:gd name="connsiteY26" fmla="*/ 4385669 h 6198437"/>
                <a:gd name="connsiteX27" fmla="*/ 5729884 w 5816654"/>
                <a:gd name="connsiteY27" fmla="*/ 4428964 h 6198437"/>
                <a:gd name="connsiteX28" fmla="*/ 5625967 w 5816654"/>
                <a:gd name="connsiteY28" fmla="*/ 4865439 h 6198437"/>
                <a:gd name="connsiteX29" fmla="*/ 5481364 w 5816654"/>
                <a:gd name="connsiteY29" fmla="*/ 4824545 h 6198437"/>
                <a:gd name="connsiteX30" fmla="*/ 4367937 w 5816654"/>
                <a:gd name="connsiteY30" fmla="*/ 6198437 h 6198437"/>
                <a:gd name="connsiteX31" fmla="*/ 4176939 w 5816654"/>
                <a:gd name="connsiteY31" fmla="*/ 5626725 h 6198437"/>
                <a:gd name="connsiteX32" fmla="*/ 4963074 w 5816654"/>
                <a:gd name="connsiteY32" fmla="*/ 4596953 h 6198437"/>
                <a:gd name="connsiteX33" fmla="*/ 5243123 w 5816654"/>
                <a:gd name="connsiteY33" fmla="*/ 3352779 h 6198437"/>
                <a:gd name="connsiteX34" fmla="*/ 4924307 w 5816654"/>
                <a:gd name="connsiteY34" fmla="*/ 2049487 h 6198437"/>
                <a:gd name="connsiteX35" fmla="*/ 4107054 w 5816654"/>
                <a:gd name="connsiteY35" fmla="*/ 1163055 h 6198437"/>
                <a:gd name="connsiteX36" fmla="*/ 2812788 w 5816654"/>
                <a:gd name="connsiteY36" fmla="*/ 761302 h 6198437"/>
                <a:gd name="connsiteX37" fmla="*/ 1814568 w 5816654"/>
                <a:gd name="connsiteY37" fmla="*/ 1081342 h 6198437"/>
                <a:gd name="connsiteX38" fmla="*/ 805648 w 5816654"/>
                <a:gd name="connsiteY38" fmla="*/ 2111591 h 6198437"/>
                <a:gd name="connsiteX39" fmla="*/ 541577 w 5816654"/>
                <a:gd name="connsiteY39" fmla="*/ 3288247 h 6198437"/>
                <a:gd name="connsiteX0" fmla="*/ 543881 w 5818958"/>
                <a:gd name="connsiteY0" fmla="*/ 3288247 h 6198437"/>
                <a:gd name="connsiteX1" fmla="*/ 0 w 5818958"/>
                <a:gd name="connsiteY1" fmla="*/ 3193505 h 6198437"/>
                <a:gd name="connsiteX2" fmla="*/ 185633 w 5818958"/>
                <a:gd name="connsiteY2" fmla="*/ 2374266 h 6198437"/>
                <a:gd name="connsiteX3" fmla="*/ 152902 w 5818958"/>
                <a:gd name="connsiteY3" fmla="*/ 2331944 h 6198437"/>
                <a:gd name="connsiteX4" fmla="*/ 225159 w 5818958"/>
                <a:gd name="connsiteY4" fmla="*/ 2067448 h 6198437"/>
                <a:gd name="connsiteX5" fmla="*/ 260875 w 5818958"/>
                <a:gd name="connsiteY5" fmla="*/ 2050403 h 6198437"/>
                <a:gd name="connsiteX6" fmla="*/ 1268232 w 5818958"/>
                <a:gd name="connsiteY6" fmla="*/ 647002 h 6198437"/>
                <a:gd name="connsiteX7" fmla="*/ 1481148 w 5818958"/>
                <a:gd name="connsiteY7" fmla="*/ 547251 h 6198437"/>
                <a:gd name="connsiteX8" fmla="*/ 1461087 w 5818958"/>
                <a:gd name="connsiteY8" fmla="*/ 432260 h 6198437"/>
                <a:gd name="connsiteX9" fmla="*/ 1656852 w 5818958"/>
                <a:gd name="connsiteY9" fmla="*/ 380302 h 6198437"/>
                <a:gd name="connsiteX10" fmla="*/ 1674225 w 5818958"/>
                <a:gd name="connsiteY10" fmla="*/ 481442 h 6198437"/>
                <a:gd name="connsiteX11" fmla="*/ 1801300 w 5818958"/>
                <a:gd name="connsiteY11" fmla="*/ 442651 h 6198437"/>
                <a:gd name="connsiteX12" fmla="*/ 1831779 w 5818958"/>
                <a:gd name="connsiteY12" fmla="*/ 393463 h 6198437"/>
                <a:gd name="connsiteX13" fmla="*/ 2067666 w 5818958"/>
                <a:gd name="connsiteY13" fmla="*/ 319342 h 6198437"/>
                <a:gd name="connsiteX14" fmla="*/ 2108121 w 5818958"/>
                <a:gd name="connsiteY14" fmla="*/ 352592 h 6198437"/>
                <a:gd name="connsiteX15" fmla="*/ 2304663 w 5818958"/>
                <a:gd name="connsiteY15" fmla="*/ 288171 h 6198437"/>
                <a:gd name="connsiteX16" fmla="*/ 2263875 w 5818958"/>
                <a:gd name="connsiteY16" fmla="*/ 119840 h 6198437"/>
                <a:gd name="connsiteX17" fmla="*/ 2647118 w 5818958"/>
                <a:gd name="connsiteY17" fmla="*/ 0 h 6198437"/>
                <a:gd name="connsiteX18" fmla="*/ 2695416 w 5818958"/>
                <a:gd name="connsiteY18" fmla="*/ 165560 h 6198437"/>
                <a:gd name="connsiteX19" fmla="*/ 4458967 w 5818958"/>
                <a:gd name="connsiteY19" fmla="*/ 680900 h 6198437"/>
                <a:gd name="connsiteX20" fmla="*/ 5009097 w 5818958"/>
                <a:gd name="connsiteY20" fmla="*/ 1291242 h 6198437"/>
                <a:gd name="connsiteX21" fmla="*/ 5070501 w 5818958"/>
                <a:gd name="connsiteY21" fmla="*/ 1298860 h 6198437"/>
                <a:gd name="connsiteX22" fmla="*/ 5235342 w 5818958"/>
                <a:gd name="connsiteY22" fmla="*/ 1479661 h 6198437"/>
                <a:gd name="connsiteX23" fmla="*/ 5235565 w 5818958"/>
                <a:gd name="connsiteY23" fmla="*/ 1535080 h 6198437"/>
                <a:gd name="connsiteX24" fmla="*/ 5396829 w 5818958"/>
                <a:gd name="connsiteY24" fmla="*/ 1726990 h 6198437"/>
                <a:gd name="connsiteX25" fmla="*/ 5776817 w 5818958"/>
                <a:gd name="connsiteY25" fmla="*/ 3519512 h 6198437"/>
                <a:gd name="connsiteX26" fmla="*/ 5584738 w 5818958"/>
                <a:gd name="connsiteY26" fmla="*/ 4385669 h 6198437"/>
                <a:gd name="connsiteX27" fmla="*/ 5732188 w 5818958"/>
                <a:gd name="connsiteY27" fmla="*/ 4428964 h 6198437"/>
                <a:gd name="connsiteX28" fmla="*/ 5628271 w 5818958"/>
                <a:gd name="connsiteY28" fmla="*/ 4865439 h 6198437"/>
                <a:gd name="connsiteX29" fmla="*/ 5483668 w 5818958"/>
                <a:gd name="connsiteY29" fmla="*/ 4824545 h 6198437"/>
                <a:gd name="connsiteX30" fmla="*/ 4370241 w 5818958"/>
                <a:gd name="connsiteY30" fmla="*/ 6198437 h 6198437"/>
                <a:gd name="connsiteX31" fmla="*/ 4179243 w 5818958"/>
                <a:gd name="connsiteY31" fmla="*/ 5626725 h 6198437"/>
                <a:gd name="connsiteX32" fmla="*/ 4965378 w 5818958"/>
                <a:gd name="connsiteY32" fmla="*/ 4596953 h 6198437"/>
                <a:gd name="connsiteX33" fmla="*/ 5245427 w 5818958"/>
                <a:gd name="connsiteY33" fmla="*/ 3352779 h 6198437"/>
                <a:gd name="connsiteX34" fmla="*/ 4926611 w 5818958"/>
                <a:gd name="connsiteY34" fmla="*/ 2049487 h 6198437"/>
                <a:gd name="connsiteX35" fmla="*/ 4109358 w 5818958"/>
                <a:gd name="connsiteY35" fmla="*/ 1163055 h 6198437"/>
                <a:gd name="connsiteX36" fmla="*/ 2815092 w 5818958"/>
                <a:gd name="connsiteY36" fmla="*/ 761302 h 6198437"/>
                <a:gd name="connsiteX37" fmla="*/ 1816872 w 5818958"/>
                <a:gd name="connsiteY37" fmla="*/ 1081342 h 6198437"/>
                <a:gd name="connsiteX38" fmla="*/ 807952 w 5818958"/>
                <a:gd name="connsiteY38" fmla="*/ 2111591 h 6198437"/>
                <a:gd name="connsiteX39" fmla="*/ 543881 w 5818958"/>
                <a:gd name="connsiteY39" fmla="*/ 3288247 h 6198437"/>
                <a:gd name="connsiteX0" fmla="*/ 807952 w 5818958"/>
                <a:gd name="connsiteY0" fmla="*/ 2111591 h 6198437"/>
                <a:gd name="connsiteX1" fmla="*/ 0 w 5818958"/>
                <a:gd name="connsiteY1" fmla="*/ 3193505 h 6198437"/>
                <a:gd name="connsiteX2" fmla="*/ 185633 w 5818958"/>
                <a:gd name="connsiteY2" fmla="*/ 2374266 h 6198437"/>
                <a:gd name="connsiteX3" fmla="*/ 152902 w 5818958"/>
                <a:gd name="connsiteY3" fmla="*/ 2331944 h 6198437"/>
                <a:gd name="connsiteX4" fmla="*/ 225159 w 5818958"/>
                <a:gd name="connsiteY4" fmla="*/ 2067448 h 6198437"/>
                <a:gd name="connsiteX5" fmla="*/ 260875 w 5818958"/>
                <a:gd name="connsiteY5" fmla="*/ 2050403 h 6198437"/>
                <a:gd name="connsiteX6" fmla="*/ 1268232 w 5818958"/>
                <a:gd name="connsiteY6" fmla="*/ 647002 h 6198437"/>
                <a:gd name="connsiteX7" fmla="*/ 1481148 w 5818958"/>
                <a:gd name="connsiteY7" fmla="*/ 547251 h 6198437"/>
                <a:gd name="connsiteX8" fmla="*/ 1461087 w 5818958"/>
                <a:gd name="connsiteY8" fmla="*/ 432260 h 6198437"/>
                <a:gd name="connsiteX9" fmla="*/ 1656852 w 5818958"/>
                <a:gd name="connsiteY9" fmla="*/ 380302 h 6198437"/>
                <a:gd name="connsiteX10" fmla="*/ 1674225 w 5818958"/>
                <a:gd name="connsiteY10" fmla="*/ 481442 h 6198437"/>
                <a:gd name="connsiteX11" fmla="*/ 1801300 w 5818958"/>
                <a:gd name="connsiteY11" fmla="*/ 442651 h 6198437"/>
                <a:gd name="connsiteX12" fmla="*/ 1831779 w 5818958"/>
                <a:gd name="connsiteY12" fmla="*/ 393463 h 6198437"/>
                <a:gd name="connsiteX13" fmla="*/ 2067666 w 5818958"/>
                <a:gd name="connsiteY13" fmla="*/ 319342 h 6198437"/>
                <a:gd name="connsiteX14" fmla="*/ 2108121 w 5818958"/>
                <a:gd name="connsiteY14" fmla="*/ 352592 h 6198437"/>
                <a:gd name="connsiteX15" fmla="*/ 2304663 w 5818958"/>
                <a:gd name="connsiteY15" fmla="*/ 288171 h 6198437"/>
                <a:gd name="connsiteX16" fmla="*/ 2263875 w 5818958"/>
                <a:gd name="connsiteY16" fmla="*/ 119840 h 6198437"/>
                <a:gd name="connsiteX17" fmla="*/ 2647118 w 5818958"/>
                <a:gd name="connsiteY17" fmla="*/ 0 h 6198437"/>
                <a:gd name="connsiteX18" fmla="*/ 2695416 w 5818958"/>
                <a:gd name="connsiteY18" fmla="*/ 165560 h 6198437"/>
                <a:gd name="connsiteX19" fmla="*/ 4458967 w 5818958"/>
                <a:gd name="connsiteY19" fmla="*/ 680900 h 6198437"/>
                <a:gd name="connsiteX20" fmla="*/ 5009097 w 5818958"/>
                <a:gd name="connsiteY20" fmla="*/ 1291242 h 6198437"/>
                <a:gd name="connsiteX21" fmla="*/ 5070501 w 5818958"/>
                <a:gd name="connsiteY21" fmla="*/ 1298860 h 6198437"/>
                <a:gd name="connsiteX22" fmla="*/ 5235342 w 5818958"/>
                <a:gd name="connsiteY22" fmla="*/ 1479661 h 6198437"/>
                <a:gd name="connsiteX23" fmla="*/ 5235565 w 5818958"/>
                <a:gd name="connsiteY23" fmla="*/ 1535080 h 6198437"/>
                <a:gd name="connsiteX24" fmla="*/ 5396829 w 5818958"/>
                <a:gd name="connsiteY24" fmla="*/ 1726990 h 6198437"/>
                <a:gd name="connsiteX25" fmla="*/ 5776817 w 5818958"/>
                <a:gd name="connsiteY25" fmla="*/ 3519512 h 6198437"/>
                <a:gd name="connsiteX26" fmla="*/ 5584738 w 5818958"/>
                <a:gd name="connsiteY26" fmla="*/ 4385669 h 6198437"/>
                <a:gd name="connsiteX27" fmla="*/ 5732188 w 5818958"/>
                <a:gd name="connsiteY27" fmla="*/ 4428964 h 6198437"/>
                <a:gd name="connsiteX28" fmla="*/ 5628271 w 5818958"/>
                <a:gd name="connsiteY28" fmla="*/ 4865439 h 6198437"/>
                <a:gd name="connsiteX29" fmla="*/ 5483668 w 5818958"/>
                <a:gd name="connsiteY29" fmla="*/ 4824545 h 6198437"/>
                <a:gd name="connsiteX30" fmla="*/ 4370241 w 5818958"/>
                <a:gd name="connsiteY30" fmla="*/ 6198437 h 6198437"/>
                <a:gd name="connsiteX31" fmla="*/ 4179243 w 5818958"/>
                <a:gd name="connsiteY31" fmla="*/ 5626725 h 6198437"/>
                <a:gd name="connsiteX32" fmla="*/ 4965378 w 5818958"/>
                <a:gd name="connsiteY32" fmla="*/ 4596953 h 6198437"/>
                <a:gd name="connsiteX33" fmla="*/ 5245427 w 5818958"/>
                <a:gd name="connsiteY33" fmla="*/ 3352779 h 6198437"/>
                <a:gd name="connsiteX34" fmla="*/ 4926611 w 5818958"/>
                <a:gd name="connsiteY34" fmla="*/ 2049487 h 6198437"/>
                <a:gd name="connsiteX35" fmla="*/ 4109358 w 5818958"/>
                <a:gd name="connsiteY35" fmla="*/ 1163055 h 6198437"/>
                <a:gd name="connsiteX36" fmla="*/ 2815092 w 5818958"/>
                <a:gd name="connsiteY36" fmla="*/ 761302 h 6198437"/>
                <a:gd name="connsiteX37" fmla="*/ 1816872 w 5818958"/>
                <a:gd name="connsiteY37" fmla="*/ 1081342 h 6198437"/>
                <a:gd name="connsiteX38" fmla="*/ 807952 w 5818958"/>
                <a:gd name="connsiteY38" fmla="*/ 2111591 h 6198437"/>
                <a:gd name="connsiteX0" fmla="*/ 655050 w 5666056"/>
                <a:gd name="connsiteY0" fmla="*/ 2111591 h 6198437"/>
                <a:gd name="connsiteX1" fmla="*/ 32731 w 5666056"/>
                <a:gd name="connsiteY1" fmla="*/ 2374266 h 6198437"/>
                <a:gd name="connsiteX2" fmla="*/ 0 w 5666056"/>
                <a:gd name="connsiteY2" fmla="*/ 2331944 h 6198437"/>
                <a:gd name="connsiteX3" fmla="*/ 72257 w 5666056"/>
                <a:gd name="connsiteY3" fmla="*/ 2067448 h 6198437"/>
                <a:gd name="connsiteX4" fmla="*/ 107973 w 5666056"/>
                <a:gd name="connsiteY4" fmla="*/ 2050403 h 6198437"/>
                <a:gd name="connsiteX5" fmla="*/ 1115330 w 5666056"/>
                <a:gd name="connsiteY5" fmla="*/ 647002 h 6198437"/>
                <a:gd name="connsiteX6" fmla="*/ 1328246 w 5666056"/>
                <a:gd name="connsiteY6" fmla="*/ 547251 h 6198437"/>
                <a:gd name="connsiteX7" fmla="*/ 1308185 w 5666056"/>
                <a:gd name="connsiteY7" fmla="*/ 432260 h 6198437"/>
                <a:gd name="connsiteX8" fmla="*/ 1503950 w 5666056"/>
                <a:gd name="connsiteY8" fmla="*/ 380302 h 6198437"/>
                <a:gd name="connsiteX9" fmla="*/ 1521323 w 5666056"/>
                <a:gd name="connsiteY9" fmla="*/ 481442 h 6198437"/>
                <a:gd name="connsiteX10" fmla="*/ 1648398 w 5666056"/>
                <a:gd name="connsiteY10" fmla="*/ 442651 h 6198437"/>
                <a:gd name="connsiteX11" fmla="*/ 1678877 w 5666056"/>
                <a:gd name="connsiteY11" fmla="*/ 393463 h 6198437"/>
                <a:gd name="connsiteX12" fmla="*/ 1914764 w 5666056"/>
                <a:gd name="connsiteY12" fmla="*/ 319342 h 6198437"/>
                <a:gd name="connsiteX13" fmla="*/ 1955219 w 5666056"/>
                <a:gd name="connsiteY13" fmla="*/ 352592 h 6198437"/>
                <a:gd name="connsiteX14" fmla="*/ 2151761 w 5666056"/>
                <a:gd name="connsiteY14" fmla="*/ 288171 h 6198437"/>
                <a:gd name="connsiteX15" fmla="*/ 2110973 w 5666056"/>
                <a:gd name="connsiteY15" fmla="*/ 119840 h 6198437"/>
                <a:gd name="connsiteX16" fmla="*/ 2494216 w 5666056"/>
                <a:gd name="connsiteY16" fmla="*/ 0 h 6198437"/>
                <a:gd name="connsiteX17" fmla="*/ 2542514 w 5666056"/>
                <a:gd name="connsiteY17" fmla="*/ 165560 h 6198437"/>
                <a:gd name="connsiteX18" fmla="*/ 4306065 w 5666056"/>
                <a:gd name="connsiteY18" fmla="*/ 680900 h 6198437"/>
                <a:gd name="connsiteX19" fmla="*/ 4856195 w 5666056"/>
                <a:gd name="connsiteY19" fmla="*/ 1291242 h 6198437"/>
                <a:gd name="connsiteX20" fmla="*/ 4917599 w 5666056"/>
                <a:gd name="connsiteY20" fmla="*/ 1298860 h 6198437"/>
                <a:gd name="connsiteX21" fmla="*/ 5082440 w 5666056"/>
                <a:gd name="connsiteY21" fmla="*/ 1479661 h 6198437"/>
                <a:gd name="connsiteX22" fmla="*/ 5082663 w 5666056"/>
                <a:gd name="connsiteY22" fmla="*/ 1535080 h 6198437"/>
                <a:gd name="connsiteX23" fmla="*/ 5243927 w 5666056"/>
                <a:gd name="connsiteY23" fmla="*/ 1726990 h 6198437"/>
                <a:gd name="connsiteX24" fmla="*/ 5623915 w 5666056"/>
                <a:gd name="connsiteY24" fmla="*/ 3519512 h 6198437"/>
                <a:gd name="connsiteX25" fmla="*/ 5431836 w 5666056"/>
                <a:gd name="connsiteY25" fmla="*/ 4385669 h 6198437"/>
                <a:gd name="connsiteX26" fmla="*/ 5579286 w 5666056"/>
                <a:gd name="connsiteY26" fmla="*/ 4428964 h 6198437"/>
                <a:gd name="connsiteX27" fmla="*/ 5475369 w 5666056"/>
                <a:gd name="connsiteY27" fmla="*/ 4865439 h 6198437"/>
                <a:gd name="connsiteX28" fmla="*/ 5330766 w 5666056"/>
                <a:gd name="connsiteY28" fmla="*/ 4824545 h 6198437"/>
                <a:gd name="connsiteX29" fmla="*/ 4217339 w 5666056"/>
                <a:gd name="connsiteY29" fmla="*/ 6198437 h 6198437"/>
                <a:gd name="connsiteX30" fmla="*/ 4026341 w 5666056"/>
                <a:gd name="connsiteY30" fmla="*/ 5626725 h 6198437"/>
                <a:gd name="connsiteX31" fmla="*/ 4812476 w 5666056"/>
                <a:gd name="connsiteY31" fmla="*/ 4596953 h 6198437"/>
                <a:gd name="connsiteX32" fmla="*/ 5092525 w 5666056"/>
                <a:gd name="connsiteY32" fmla="*/ 3352779 h 6198437"/>
                <a:gd name="connsiteX33" fmla="*/ 4773709 w 5666056"/>
                <a:gd name="connsiteY33" fmla="*/ 2049487 h 6198437"/>
                <a:gd name="connsiteX34" fmla="*/ 3956456 w 5666056"/>
                <a:gd name="connsiteY34" fmla="*/ 1163055 h 6198437"/>
                <a:gd name="connsiteX35" fmla="*/ 2662190 w 5666056"/>
                <a:gd name="connsiteY35" fmla="*/ 761302 h 6198437"/>
                <a:gd name="connsiteX36" fmla="*/ 1663970 w 5666056"/>
                <a:gd name="connsiteY36" fmla="*/ 1081342 h 6198437"/>
                <a:gd name="connsiteX37" fmla="*/ 655050 w 5666056"/>
                <a:gd name="connsiteY37" fmla="*/ 2111591 h 6198437"/>
                <a:gd name="connsiteX0" fmla="*/ 655050 w 5666056"/>
                <a:gd name="connsiteY0" fmla="*/ 2111591 h 6198437"/>
                <a:gd name="connsiteX1" fmla="*/ 0 w 5666056"/>
                <a:gd name="connsiteY1" fmla="*/ 2331944 h 6198437"/>
                <a:gd name="connsiteX2" fmla="*/ 72257 w 5666056"/>
                <a:gd name="connsiteY2" fmla="*/ 2067448 h 6198437"/>
                <a:gd name="connsiteX3" fmla="*/ 107973 w 5666056"/>
                <a:gd name="connsiteY3" fmla="*/ 2050403 h 6198437"/>
                <a:gd name="connsiteX4" fmla="*/ 1115330 w 5666056"/>
                <a:gd name="connsiteY4" fmla="*/ 647002 h 6198437"/>
                <a:gd name="connsiteX5" fmla="*/ 1328246 w 5666056"/>
                <a:gd name="connsiteY5" fmla="*/ 547251 h 6198437"/>
                <a:gd name="connsiteX6" fmla="*/ 1308185 w 5666056"/>
                <a:gd name="connsiteY6" fmla="*/ 432260 h 6198437"/>
                <a:gd name="connsiteX7" fmla="*/ 1503950 w 5666056"/>
                <a:gd name="connsiteY7" fmla="*/ 380302 h 6198437"/>
                <a:gd name="connsiteX8" fmla="*/ 1521323 w 5666056"/>
                <a:gd name="connsiteY8" fmla="*/ 481442 h 6198437"/>
                <a:gd name="connsiteX9" fmla="*/ 1648398 w 5666056"/>
                <a:gd name="connsiteY9" fmla="*/ 442651 h 6198437"/>
                <a:gd name="connsiteX10" fmla="*/ 1678877 w 5666056"/>
                <a:gd name="connsiteY10" fmla="*/ 393463 h 6198437"/>
                <a:gd name="connsiteX11" fmla="*/ 1914764 w 5666056"/>
                <a:gd name="connsiteY11" fmla="*/ 319342 h 6198437"/>
                <a:gd name="connsiteX12" fmla="*/ 1955219 w 5666056"/>
                <a:gd name="connsiteY12" fmla="*/ 352592 h 6198437"/>
                <a:gd name="connsiteX13" fmla="*/ 2151761 w 5666056"/>
                <a:gd name="connsiteY13" fmla="*/ 288171 h 6198437"/>
                <a:gd name="connsiteX14" fmla="*/ 2110973 w 5666056"/>
                <a:gd name="connsiteY14" fmla="*/ 119840 h 6198437"/>
                <a:gd name="connsiteX15" fmla="*/ 2494216 w 5666056"/>
                <a:gd name="connsiteY15" fmla="*/ 0 h 6198437"/>
                <a:gd name="connsiteX16" fmla="*/ 2542514 w 5666056"/>
                <a:gd name="connsiteY16" fmla="*/ 165560 h 6198437"/>
                <a:gd name="connsiteX17" fmla="*/ 4306065 w 5666056"/>
                <a:gd name="connsiteY17" fmla="*/ 680900 h 6198437"/>
                <a:gd name="connsiteX18" fmla="*/ 4856195 w 5666056"/>
                <a:gd name="connsiteY18" fmla="*/ 1291242 h 6198437"/>
                <a:gd name="connsiteX19" fmla="*/ 4917599 w 5666056"/>
                <a:gd name="connsiteY19" fmla="*/ 1298860 h 6198437"/>
                <a:gd name="connsiteX20" fmla="*/ 5082440 w 5666056"/>
                <a:gd name="connsiteY20" fmla="*/ 1479661 h 6198437"/>
                <a:gd name="connsiteX21" fmla="*/ 5082663 w 5666056"/>
                <a:gd name="connsiteY21" fmla="*/ 1535080 h 6198437"/>
                <a:gd name="connsiteX22" fmla="*/ 5243927 w 5666056"/>
                <a:gd name="connsiteY22" fmla="*/ 1726990 h 6198437"/>
                <a:gd name="connsiteX23" fmla="*/ 5623915 w 5666056"/>
                <a:gd name="connsiteY23" fmla="*/ 3519512 h 6198437"/>
                <a:gd name="connsiteX24" fmla="*/ 5431836 w 5666056"/>
                <a:gd name="connsiteY24" fmla="*/ 4385669 h 6198437"/>
                <a:gd name="connsiteX25" fmla="*/ 5579286 w 5666056"/>
                <a:gd name="connsiteY25" fmla="*/ 4428964 h 6198437"/>
                <a:gd name="connsiteX26" fmla="*/ 5475369 w 5666056"/>
                <a:gd name="connsiteY26" fmla="*/ 4865439 h 6198437"/>
                <a:gd name="connsiteX27" fmla="*/ 5330766 w 5666056"/>
                <a:gd name="connsiteY27" fmla="*/ 4824545 h 6198437"/>
                <a:gd name="connsiteX28" fmla="*/ 4217339 w 5666056"/>
                <a:gd name="connsiteY28" fmla="*/ 6198437 h 6198437"/>
                <a:gd name="connsiteX29" fmla="*/ 4026341 w 5666056"/>
                <a:gd name="connsiteY29" fmla="*/ 5626725 h 6198437"/>
                <a:gd name="connsiteX30" fmla="*/ 4812476 w 5666056"/>
                <a:gd name="connsiteY30" fmla="*/ 4596953 h 6198437"/>
                <a:gd name="connsiteX31" fmla="*/ 5092525 w 5666056"/>
                <a:gd name="connsiteY31" fmla="*/ 3352779 h 6198437"/>
                <a:gd name="connsiteX32" fmla="*/ 4773709 w 5666056"/>
                <a:gd name="connsiteY32" fmla="*/ 2049487 h 6198437"/>
                <a:gd name="connsiteX33" fmla="*/ 3956456 w 5666056"/>
                <a:gd name="connsiteY33" fmla="*/ 1163055 h 6198437"/>
                <a:gd name="connsiteX34" fmla="*/ 2662190 w 5666056"/>
                <a:gd name="connsiteY34" fmla="*/ 761302 h 6198437"/>
                <a:gd name="connsiteX35" fmla="*/ 1663970 w 5666056"/>
                <a:gd name="connsiteY35" fmla="*/ 1081342 h 6198437"/>
                <a:gd name="connsiteX36" fmla="*/ 655050 w 5666056"/>
                <a:gd name="connsiteY36" fmla="*/ 2111591 h 6198437"/>
                <a:gd name="connsiteX0" fmla="*/ 582793 w 5593799"/>
                <a:gd name="connsiteY0" fmla="*/ 2111591 h 6198437"/>
                <a:gd name="connsiteX1" fmla="*/ 0 w 5593799"/>
                <a:gd name="connsiteY1" fmla="*/ 2067448 h 6198437"/>
                <a:gd name="connsiteX2" fmla="*/ 35716 w 5593799"/>
                <a:gd name="connsiteY2" fmla="*/ 2050403 h 6198437"/>
                <a:gd name="connsiteX3" fmla="*/ 1043073 w 5593799"/>
                <a:gd name="connsiteY3" fmla="*/ 647002 h 6198437"/>
                <a:gd name="connsiteX4" fmla="*/ 1255989 w 5593799"/>
                <a:gd name="connsiteY4" fmla="*/ 547251 h 6198437"/>
                <a:gd name="connsiteX5" fmla="*/ 1235928 w 5593799"/>
                <a:gd name="connsiteY5" fmla="*/ 432260 h 6198437"/>
                <a:gd name="connsiteX6" fmla="*/ 1431693 w 5593799"/>
                <a:gd name="connsiteY6" fmla="*/ 380302 h 6198437"/>
                <a:gd name="connsiteX7" fmla="*/ 1449066 w 5593799"/>
                <a:gd name="connsiteY7" fmla="*/ 481442 h 6198437"/>
                <a:gd name="connsiteX8" fmla="*/ 1576141 w 5593799"/>
                <a:gd name="connsiteY8" fmla="*/ 442651 h 6198437"/>
                <a:gd name="connsiteX9" fmla="*/ 1606620 w 5593799"/>
                <a:gd name="connsiteY9" fmla="*/ 393463 h 6198437"/>
                <a:gd name="connsiteX10" fmla="*/ 1842507 w 5593799"/>
                <a:gd name="connsiteY10" fmla="*/ 319342 h 6198437"/>
                <a:gd name="connsiteX11" fmla="*/ 1882962 w 5593799"/>
                <a:gd name="connsiteY11" fmla="*/ 352592 h 6198437"/>
                <a:gd name="connsiteX12" fmla="*/ 2079504 w 5593799"/>
                <a:gd name="connsiteY12" fmla="*/ 288171 h 6198437"/>
                <a:gd name="connsiteX13" fmla="*/ 2038716 w 5593799"/>
                <a:gd name="connsiteY13" fmla="*/ 119840 h 6198437"/>
                <a:gd name="connsiteX14" fmla="*/ 2421959 w 5593799"/>
                <a:gd name="connsiteY14" fmla="*/ 0 h 6198437"/>
                <a:gd name="connsiteX15" fmla="*/ 2470257 w 5593799"/>
                <a:gd name="connsiteY15" fmla="*/ 165560 h 6198437"/>
                <a:gd name="connsiteX16" fmla="*/ 4233808 w 5593799"/>
                <a:gd name="connsiteY16" fmla="*/ 680900 h 6198437"/>
                <a:gd name="connsiteX17" fmla="*/ 4783938 w 5593799"/>
                <a:gd name="connsiteY17" fmla="*/ 1291242 h 6198437"/>
                <a:gd name="connsiteX18" fmla="*/ 4845342 w 5593799"/>
                <a:gd name="connsiteY18" fmla="*/ 1298860 h 6198437"/>
                <a:gd name="connsiteX19" fmla="*/ 5010183 w 5593799"/>
                <a:gd name="connsiteY19" fmla="*/ 1479661 h 6198437"/>
                <a:gd name="connsiteX20" fmla="*/ 5010406 w 5593799"/>
                <a:gd name="connsiteY20" fmla="*/ 1535080 h 6198437"/>
                <a:gd name="connsiteX21" fmla="*/ 5171670 w 5593799"/>
                <a:gd name="connsiteY21" fmla="*/ 1726990 h 6198437"/>
                <a:gd name="connsiteX22" fmla="*/ 5551658 w 5593799"/>
                <a:gd name="connsiteY22" fmla="*/ 3519512 h 6198437"/>
                <a:gd name="connsiteX23" fmla="*/ 5359579 w 5593799"/>
                <a:gd name="connsiteY23" fmla="*/ 4385669 h 6198437"/>
                <a:gd name="connsiteX24" fmla="*/ 5507029 w 5593799"/>
                <a:gd name="connsiteY24" fmla="*/ 4428964 h 6198437"/>
                <a:gd name="connsiteX25" fmla="*/ 5403112 w 5593799"/>
                <a:gd name="connsiteY25" fmla="*/ 4865439 h 6198437"/>
                <a:gd name="connsiteX26" fmla="*/ 5258509 w 5593799"/>
                <a:gd name="connsiteY26" fmla="*/ 4824545 h 6198437"/>
                <a:gd name="connsiteX27" fmla="*/ 4145082 w 5593799"/>
                <a:gd name="connsiteY27" fmla="*/ 6198437 h 6198437"/>
                <a:gd name="connsiteX28" fmla="*/ 3954084 w 5593799"/>
                <a:gd name="connsiteY28" fmla="*/ 5626725 h 6198437"/>
                <a:gd name="connsiteX29" fmla="*/ 4740219 w 5593799"/>
                <a:gd name="connsiteY29" fmla="*/ 4596953 h 6198437"/>
                <a:gd name="connsiteX30" fmla="*/ 5020268 w 5593799"/>
                <a:gd name="connsiteY30" fmla="*/ 3352779 h 6198437"/>
                <a:gd name="connsiteX31" fmla="*/ 4701452 w 5593799"/>
                <a:gd name="connsiteY31" fmla="*/ 2049487 h 6198437"/>
                <a:gd name="connsiteX32" fmla="*/ 3884199 w 5593799"/>
                <a:gd name="connsiteY32" fmla="*/ 1163055 h 6198437"/>
                <a:gd name="connsiteX33" fmla="*/ 2589933 w 5593799"/>
                <a:gd name="connsiteY33" fmla="*/ 761302 h 6198437"/>
                <a:gd name="connsiteX34" fmla="*/ 1591713 w 5593799"/>
                <a:gd name="connsiteY34" fmla="*/ 1081342 h 6198437"/>
                <a:gd name="connsiteX35" fmla="*/ 582793 w 5593799"/>
                <a:gd name="connsiteY35" fmla="*/ 2111591 h 6198437"/>
                <a:gd name="connsiteX0" fmla="*/ 582793 w 5593799"/>
                <a:gd name="connsiteY0" fmla="*/ 2111591 h 6198437"/>
                <a:gd name="connsiteX1" fmla="*/ 0 w 5593799"/>
                <a:gd name="connsiteY1" fmla="*/ 2067448 h 6198437"/>
                <a:gd name="connsiteX2" fmla="*/ 1043073 w 5593799"/>
                <a:gd name="connsiteY2" fmla="*/ 647002 h 6198437"/>
                <a:gd name="connsiteX3" fmla="*/ 1255989 w 5593799"/>
                <a:gd name="connsiteY3" fmla="*/ 547251 h 6198437"/>
                <a:gd name="connsiteX4" fmla="*/ 1235928 w 5593799"/>
                <a:gd name="connsiteY4" fmla="*/ 432260 h 6198437"/>
                <a:gd name="connsiteX5" fmla="*/ 1431693 w 5593799"/>
                <a:gd name="connsiteY5" fmla="*/ 380302 h 6198437"/>
                <a:gd name="connsiteX6" fmla="*/ 1449066 w 5593799"/>
                <a:gd name="connsiteY6" fmla="*/ 481442 h 6198437"/>
                <a:gd name="connsiteX7" fmla="*/ 1576141 w 5593799"/>
                <a:gd name="connsiteY7" fmla="*/ 442651 h 6198437"/>
                <a:gd name="connsiteX8" fmla="*/ 1606620 w 5593799"/>
                <a:gd name="connsiteY8" fmla="*/ 393463 h 6198437"/>
                <a:gd name="connsiteX9" fmla="*/ 1842507 w 5593799"/>
                <a:gd name="connsiteY9" fmla="*/ 319342 h 6198437"/>
                <a:gd name="connsiteX10" fmla="*/ 1882962 w 5593799"/>
                <a:gd name="connsiteY10" fmla="*/ 352592 h 6198437"/>
                <a:gd name="connsiteX11" fmla="*/ 2079504 w 5593799"/>
                <a:gd name="connsiteY11" fmla="*/ 288171 h 6198437"/>
                <a:gd name="connsiteX12" fmla="*/ 2038716 w 5593799"/>
                <a:gd name="connsiteY12" fmla="*/ 119840 h 6198437"/>
                <a:gd name="connsiteX13" fmla="*/ 2421959 w 5593799"/>
                <a:gd name="connsiteY13" fmla="*/ 0 h 6198437"/>
                <a:gd name="connsiteX14" fmla="*/ 2470257 w 5593799"/>
                <a:gd name="connsiteY14" fmla="*/ 165560 h 6198437"/>
                <a:gd name="connsiteX15" fmla="*/ 4233808 w 5593799"/>
                <a:gd name="connsiteY15" fmla="*/ 680900 h 6198437"/>
                <a:gd name="connsiteX16" fmla="*/ 4783938 w 5593799"/>
                <a:gd name="connsiteY16" fmla="*/ 1291242 h 6198437"/>
                <a:gd name="connsiteX17" fmla="*/ 4845342 w 5593799"/>
                <a:gd name="connsiteY17" fmla="*/ 1298860 h 6198437"/>
                <a:gd name="connsiteX18" fmla="*/ 5010183 w 5593799"/>
                <a:gd name="connsiteY18" fmla="*/ 1479661 h 6198437"/>
                <a:gd name="connsiteX19" fmla="*/ 5010406 w 5593799"/>
                <a:gd name="connsiteY19" fmla="*/ 1535080 h 6198437"/>
                <a:gd name="connsiteX20" fmla="*/ 5171670 w 5593799"/>
                <a:gd name="connsiteY20" fmla="*/ 1726990 h 6198437"/>
                <a:gd name="connsiteX21" fmla="*/ 5551658 w 5593799"/>
                <a:gd name="connsiteY21" fmla="*/ 3519512 h 6198437"/>
                <a:gd name="connsiteX22" fmla="*/ 5359579 w 5593799"/>
                <a:gd name="connsiteY22" fmla="*/ 4385669 h 6198437"/>
                <a:gd name="connsiteX23" fmla="*/ 5507029 w 5593799"/>
                <a:gd name="connsiteY23" fmla="*/ 4428964 h 6198437"/>
                <a:gd name="connsiteX24" fmla="*/ 5403112 w 5593799"/>
                <a:gd name="connsiteY24" fmla="*/ 4865439 h 6198437"/>
                <a:gd name="connsiteX25" fmla="*/ 5258509 w 5593799"/>
                <a:gd name="connsiteY25" fmla="*/ 4824545 h 6198437"/>
                <a:gd name="connsiteX26" fmla="*/ 4145082 w 5593799"/>
                <a:gd name="connsiteY26" fmla="*/ 6198437 h 6198437"/>
                <a:gd name="connsiteX27" fmla="*/ 3954084 w 5593799"/>
                <a:gd name="connsiteY27" fmla="*/ 5626725 h 6198437"/>
                <a:gd name="connsiteX28" fmla="*/ 4740219 w 5593799"/>
                <a:gd name="connsiteY28" fmla="*/ 4596953 h 6198437"/>
                <a:gd name="connsiteX29" fmla="*/ 5020268 w 5593799"/>
                <a:gd name="connsiteY29" fmla="*/ 3352779 h 6198437"/>
                <a:gd name="connsiteX30" fmla="*/ 4701452 w 5593799"/>
                <a:gd name="connsiteY30" fmla="*/ 2049487 h 6198437"/>
                <a:gd name="connsiteX31" fmla="*/ 3884199 w 5593799"/>
                <a:gd name="connsiteY31" fmla="*/ 1163055 h 6198437"/>
                <a:gd name="connsiteX32" fmla="*/ 2589933 w 5593799"/>
                <a:gd name="connsiteY32" fmla="*/ 761302 h 6198437"/>
                <a:gd name="connsiteX33" fmla="*/ 1591713 w 5593799"/>
                <a:gd name="connsiteY33" fmla="*/ 1081342 h 6198437"/>
                <a:gd name="connsiteX34" fmla="*/ 582793 w 5593799"/>
                <a:gd name="connsiteY34" fmla="*/ 2111591 h 6198437"/>
                <a:gd name="connsiteX0" fmla="*/ 0 w 5011006"/>
                <a:gd name="connsiteY0" fmla="*/ 2111591 h 6198437"/>
                <a:gd name="connsiteX1" fmla="*/ 460280 w 5011006"/>
                <a:gd name="connsiteY1" fmla="*/ 647002 h 6198437"/>
                <a:gd name="connsiteX2" fmla="*/ 673196 w 5011006"/>
                <a:gd name="connsiteY2" fmla="*/ 547251 h 6198437"/>
                <a:gd name="connsiteX3" fmla="*/ 653135 w 5011006"/>
                <a:gd name="connsiteY3" fmla="*/ 432260 h 6198437"/>
                <a:gd name="connsiteX4" fmla="*/ 848900 w 5011006"/>
                <a:gd name="connsiteY4" fmla="*/ 380302 h 6198437"/>
                <a:gd name="connsiteX5" fmla="*/ 866273 w 5011006"/>
                <a:gd name="connsiteY5" fmla="*/ 481442 h 6198437"/>
                <a:gd name="connsiteX6" fmla="*/ 993348 w 5011006"/>
                <a:gd name="connsiteY6" fmla="*/ 442651 h 6198437"/>
                <a:gd name="connsiteX7" fmla="*/ 1023827 w 5011006"/>
                <a:gd name="connsiteY7" fmla="*/ 393463 h 6198437"/>
                <a:gd name="connsiteX8" fmla="*/ 1259714 w 5011006"/>
                <a:gd name="connsiteY8" fmla="*/ 319342 h 6198437"/>
                <a:gd name="connsiteX9" fmla="*/ 1300169 w 5011006"/>
                <a:gd name="connsiteY9" fmla="*/ 352592 h 6198437"/>
                <a:gd name="connsiteX10" fmla="*/ 1496711 w 5011006"/>
                <a:gd name="connsiteY10" fmla="*/ 288171 h 6198437"/>
                <a:gd name="connsiteX11" fmla="*/ 1455923 w 5011006"/>
                <a:gd name="connsiteY11" fmla="*/ 119840 h 6198437"/>
                <a:gd name="connsiteX12" fmla="*/ 1839166 w 5011006"/>
                <a:gd name="connsiteY12" fmla="*/ 0 h 6198437"/>
                <a:gd name="connsiteX13" fmla="*/ 1887464 w 5011006"/>
                <a:gd name="connsiteY13" fmla="*/ 165560 h 6198437"/>
                <a:gd name="connsiteX14" fmla="*/ 3651015 w 5011006"/>
                <a:gd name="connsiteY14" fmla="*/ 680900 h 6198437"/>
                <a:gd name="connsiteX15" fmla="*/ 4201145 w 5011006"/>
                <a:gd name="connsiteY15" fmla="*/ 1291242 h 6198437"/>
                <a:gd name="connsiteX16" fmla="*/ 4262549 w 5011006"/>
                <a:gd name="connsiteY16" fmla="*/ 1298860 h 6198437"/>
                <a:gd name="connsiteX17" fmla="*/ 4427390 w 5011006"/>
                <a:gd name="connsiteY17" fmla="*/ 1479661 h 6198437"/>
                <a:gd name="connsiteX18" fmla="*/ 4427613 w 5011006"/>
                <a:gd name="connsiteY18" fmla="*/ 1535080 h 6198437"/>
                <a:gd name="connsiteX19" fmla="*/ 4588877 w 5011006"/>
                <a:gd name="connsiteY19" fmla="*/ 1726990 h 6198437"/>
                <a:gd name="connsiteX20" fmla="*/ 4968865 w 5011006"/>
                <a:gd name="connsiteY20" fmla="*/ 3519512 h 6198437"/>
                <a:gd name="connsiteX21" fmla="*/ 4776786 w 5011006"/>
                <a:gd name="connsiteY21" fmla="*/ 4385669 h 6198437"/>
                <a:gd name="connsiteX22" fmla="*/ 4924236 w 5011006"/>
                <a:gd name="connsiteY22" fmla="*/ 4428964 h 6198437"/>
                <a:gd name="connsiteX23" fmla="*/ 4820319 w 5011006"/>
                <a:gd name="connsiteY23" fmla="*/ 4865439 h 6198437"/>
                <a:gd name="connsiteX24" fmla="*/ 4675716 w 5011006"/>
                <a:gd name="connsiteY24" fmla="*/ 4824545 h 6198437"/>
                <a:gd name="connsiteX25" fmla="*/ 3562289 w 5011006"/>
                <a:gd name="connsiteY25" fmla="*/ 6198437 h 6198437"/>
                <a:gd name="connsiteX26" fmla="*/ 3371291 w 5011006"/>
                <a:gd name="connsiteY26" fmla="*/ 5626725 h 6198437"/>
                <a:gd name="connsiteX27" fmla="*/ 4157426 w 5011006"/>
                <a:gd name="connsiteY27" fmla="*/ 4596953 h 6198437"/>
                <a:gd name="connsiteX28" fmla="*/ 4437475 w 5011006"/>
                <a:gd name="connsiteY28" fmla="*/ 3352779 h 6198437"/>
                <a:gd name="connsiteX29" fmla="*/ 4118659 w 5011006"/>
                <a:gd name="connsiteY29" fmla="*/ 2049487 h 6198437"/>
                <a:gd name="connsiteX30" fmla="*/ 3301406 w 5011006"/>
                <a:gd name="connsiteY30" fmla="*/ 1163055 h 6198437"/>
                <a:gd name="connsiteX31" fmla="*/ 2007140 w 5011006"/>
                <a:gd name="connsiteY31" fmla="*/ 761302 h 6198437"/>
                <a:gd name="connsiteX32" fmla="*/ 1008920 w 5011006"/>
                <a:gd name="connsiteY32" fmla="*/ 1081342 h 6198437"/>
                <a:gd name="connsiteX33" fmla="*/ 0 w 5011006"/>
                <a:gd name="connsiteY33" fmla="*/ 2111591 h 6198437"/>
                <a:gd name="connsiteX0" fmla="*/ 548640 w 4550726"/>
                <a:gd name="connsiteY0" fmla="*/ 1081342 h 6198437"/>
                <a:gd name="connsiteX1" fmla="*/ 0 w 4550726"/>
                <a:gd name="connsiteY1" fmla="*/ 647002 h 6198437"/>
                <a:gd name="connsiteX2" fmla="*/ 212916 w 4550726"/>
                <a:gd name="connsiteY2" fmla="*/ 547251 h 6198437"/>
                <a:gd name="connsiteX3" fmla="*/ 192855 w 4550726"/>
                <a:gd name="connsiteY3" fmla="*/ 432260 h 6198437"/>
                <a:gd name="connsiteX4" fmla="*/ 388620 w 4550726"/>
                <a:gd name="connsiteY4" fmla="*/ 380302 h 6198437"/>
                <a:gd name="connsiteX5" fmla="*/ 405993 w 4550726"/>
                <a:gd name="connsiteY5" fmla="*/ 481442 h 6198437"/>
                <a:gd name="connsiteX6" fmla="*/ 533068 w 4550726"/>
                <a:gd name="connsiteY6" fmla="*/ 442651 h 6198437"/>
                <a:gd name="connsiteX7" fmla="*/ 563547 w 4550726"/>
                <a:gd name="connsiteY7" fmla="*/ 393463 h 6198437"/>
                <a:gd name="connsiteX8" fmla="*/ 799434 w 4550726"/>
                <a:gd name="connsiteY8" fmla="*/ 319342 h 6198437"/>
                <a:gd name="connsiteX9" fmla="*/ 839889 w 4550726"/>
                <a:gd name="connsiteY9" fmla="*/ 352592 h 6198437"/>
                <a:gd name="connsiteX10" fmla="*/ 1036431 w 4550726"/>
                <a:gd name="connsiteY10" fmla="*/ 288171 h 6198437"/>
                <a:gd name="connsiteX11" fmla="*/ 995643 w 4550726"/>
                <a:gd name="connsiteY11" fmla="*/ 119840 h 6198437"/>
                <a:gd name="connsiteX12" fmla="*/ 1378886 w 4550726"/>
                <a:gd name="connsiteY12" fmla="*/ 0 h 6198437"/>
                <a:gd name="connsiteX13" fmla="*/ 1427184 w 4550726"/>
                <a:gd name="connsiteY13" fmla="*/ 165560 h 6198437"/>
                <a:gd name="connsiteX14" fmla="*/ 3190735 w 4550726"/>
                <a:gd name="connsiteY14" fmla="*/ 680900 h 6198437"/>
                <a:gd name="connsiteX15" fmla="*/ 3740865 w 4550726"/>
                <a:gd name="connsiteY15" fmla="*/ 1291242 h 6198437"/>
                <a:gd name="connsiteX16" fmla="*/ 3802269 w 4550726"/>
                <a:gd name="connsiteY16" fmla="*/ 1298860 h 6198437"/>
                <a:gd name="connsiteX17" fmla="*/ 3967110 w 4550726"/>
                <a:gd name="connsiteY17" fmla="*/ 1479661 h 6198437"/>
                <a:gd name="connsiteX18" fmla="*/ 3967333 w 4550726"/>
                <a:gd name="connsiteY18" fmla="*/ 1535080 h 6198437"/>
                <a:gd name="connsiteX19" fmla="*/ 4128597 w 4550726"/>
                <a:gd name="connsiteY19" fmla="*/ 1726990 h 6198437"/>
                <a:gd name="connsiteX20" fmla="*/ 4508585 w 4550726"/>
                <a:gd name="connsiteY20" fmla="*/ 3519512 h 6198437"/>
                <a:gd name="connsiteX21" fmla="*/ 4316506 w 4550726"/>
                <a:gd name="connsiteY21" fmla="*/ 4385669 h 6198437"/>
                <a:gd name="connsiteX22" fmla="*/ 4463956 w 4550726"/>
                <a:gd name="connsiteY22" fmla="*/ 4428964 h 6198437"/>
                <a:gd name="connsiteX23" fmla="*/ 4360039 w 4550726"/>
                <a:gd name="connsiteY23" fmla="*/ 4865439 h 6198437"/>
                <a:gd name="connsiteX24" fmla="*/ 4215436 w 4550726"/>
                <a:gd name="connsiteY24" fmla="*/ 4824545 h 6198437"/>
                <a:gd name="connsiteX25" fmla="*/ 3102009 w 4550726"/>
                <a:gd name="connsiteY25" fmla="*/ 6198437 h 6198437"/>
                <a:gd name="connsiteX26" fmla="*/ 2911011 w 4550726"/>
                <a:gd name="connsiteY26" fmla="*/ 5626725 h 6198437"/>
                <a:gd name="connsiteX27" fmla="*/ 3697146 w 4550726"/>
                <a:gd name="connsiteY27" fmla="*/ 4596953 h 6198437"/>
                <a:gd name="connsiteX28" fmla="*/ 3977195 w 4550726"/>
                <a:gd name="connsiteY28" fmla="*/ 3352779 h 6198437"/>
                <a:gd name="connsiteX29" fmla="*/ 3658379 w 4550726"/>
                <a:gd name="connsiteY29" fmla="*/ 2049487 h 6198437"/>
                <a:gd name="connsiteX30" fmla="*/ 2841126 w 4550726"/>
                <a:gd name="connsiteY30" fmla="*/ 1163055 h 6198437"/>
                <a:gd name="connsiteX31" fmla="*/ 1546860 w 4550726"/>
                <a:gd name="connsiteY31" fmla="*/ 761302 h 6198437"/>
                <a:gd name="connsiteX32" fmla="*/ 548640 w 4550726"/>
                <a:gd name="connsiteY32" fmla="*/ 1081342 h 6198437"/>
                <a:gd name="connsiteX0" fmla="*/ 355785 w 4357871"/>
                <a:gd name="connsiteY0" fmla="*/ 1081342 h 6198437"/>
                <a:gd name="connsiteX1" fmla="*/ 20061 w 4357871"/>
                <a:gd name="connsiteY1" fmla="*/ 547251 h 6198437"/>
                <a:gd name="connsiteX2" fmla="*/ 0 w 4357871"/>
                <a:gd name="connsiteY2" fmla="*/ 432260 h 6198437"/>
                <a:gd name="connsiteX3" fmla="*/ 195765 w 4357871"/>
                <a:gd name="connsiteY3" fmla="*/ 380302 h 6198437"/>
                <a:gd name="connsiteX4" fmla="*/ 213138 w 4357871"/>
                <a:gd name="connsiteY4" fmla="*/ 481442 h 6198437"/>
                <a:gd name="connsiteX5" fmla="*/ 340213 w 4357871"/>
                <a:gd name="connsiteY5" fmla="*/ 442651 h 6198437"/>
                <a:gd name="connsiteX6" fmla="*/ 370692 w 4357871"/>
                <a:gd name="connsiteY6" fmla="*/ 393463 h 6198437"/>
                <a:gd name="connsiteX7" fmla="*/ 606579 w 4357871"/>
                <a:gd name="connsiteY7" fmla="*/ 319342 h 6198437"/>
                <a:gd name="connsiteX8" fmla="*/ 647034 w 4357871"/>
                <a:gd name="connsiteY8" fmla="*/ 352592 h 6198437"/>
                <a:gd name="connsiteX9" fmla="*/ 843576 w 4357871"/>
                <a:gd name="connsiteY9" fmla="*/ 288171 h 6198437"/>
                <a:gd name="connsiteX10" fmla="*/ 802788 w 4357871"/>
                <a:gd name="connsiteY10" fmla="*/ 119840 h 6198437"/>
                <a:gd name="connsiteX11" fmla="*/ 1186031 w 4357871"/>
                <a:gd name="connsiteY11" fmla="*/ 0 h 6198437"/>
                <a:gd name="connsiteX12" fmla="*/ 1234329 w 4357871"/>
                <a:gd name="connsiteY12" fmla="*/ 165560 h 6198437"/>
                <a:gd name="connsiteX13" fmla="*/ 2997880 w 4357871"/>
                <a:gd name="connsiteY13" fmla="*/ 680900 h 6198437"/>
                <a:gd name="connsiteX14" fmla="*/ 3548010 w 4357871"/>
                <a:gd name="connsiteY14" fmla="*/ 1291242 h 6198437"/>
                <a:gd name="connsiteX15" fmla="*/ 3609414 w 4357871"/>
                <a:gd name="connsiteY15" fmla="*/ 1298860 h 6198437"/>
                <a:gd name="connsiteX16" fmla="*/ 3774255 w 4357871"/>
                <a:gd name="connsiteY16" fmla="*/ 1479661 h 6198437"/>
                <a:gd name="connsiteX17" fmla="*/ 3774478 w 4357871"/>
                <a:gd name="connsiteY17" fmla="*/ 1535080 h 6198437"/>
                <a:gd name="connsiteX18" fmla="*/ 3935742 w 4357871"/>
                <a:gd name="connsiteY18" fmla="*/ 1726990 h 6198437"/>
                <a:gd name="connsiteX19" fmla="*/ 4315730 w 4357871"/>
                <a:gd name="connsiteY19" fmla="*/ 3519512 h 6198437"/>
                <a:gd name="connsiteX20" fmla="*/ 4123651 w 4357871"/>
                <a:gd name="connsiteY20" fmla="*/ 4385669 h 6198437"/>
                <a:gd name="connsiteX21" fmla="*/ 4271101 w 4357871"/>
                <a:gd name="connsiteY21" fmla="*/ 4428964 h 6198437"/>
                <a:gd name="connsiteX22" fmla="*/ 4167184 w 4357871"/>
                <a:gd name="connsiteY22" fmla="*/ 4865439 h 6198437"/>
                <a:gd name="connsiteX23" fmla="*/ 4022581 w 4357871"/>
                <a:gd name="connsiteY23" fmla="*/ 4824545 h 6198437"/>
                <a:gd name="connsiteX24" fmla="*/ 2909154 w 4357871"/>
                <a:gd name="connsiteY24" fmla="*/ 6198437 h 6198437"/>
                <a:gd name="connsiteX25" fmla="*/ 2718156 w 4357871"/>
                <a:gd name="connsiteY25" fmla="*/ 5626725 h 6198437"/>
                <a:gd name="connsiteX26" fmla="*/ 3504291 w 4357871"/>
                <a:gd name="connsiteY26" fmla="*/ 4596953 h 6198437"/>
                <a:gd name="connsiteX27" fmla="*/ 3784340 w 4357871"/>
                <a:gd name="connsiteY27" fmla="*/ 3352779 h 6198437"/>
                <a:gd name="connsiteX28" fmla="*/ 3465524 w 4357871"/>
                <a:gd name="connsiteY28" fmla="*/ 2049487 h 6198437"/>
                <a:gd name="connsiteX29" fmla="*/ 2648271 w 4357871"/>
                <a:gd name="connsiteY29" fmla="*/ 1163055 h 6198437"/>
                <a:gd name="connsiteX30" fmla="*/ 1354005 w 4357871"/>
                <a:gd name="connsiteY30" fmla="*/ 761302 h 6198437"/>
                <a:gd name="connsiteX31" fmla="*/ 355785 w 4357871"/>
                <a:gd name="connsiteY31" fmla="*/ 1081342 h 6198437"/>
                <a:gd name="connsiteX0" fmla="*/ 355785 w 4357871"/>
                <a:gd name="connsiteY0" fmla="*/ 1081342 h 6198437"/>
                <a:gd name="connsiteX1" fmla="*/ 0 w 4357871"/>
                <a:gd name="connsiteY1" fmla="*/ 432260 h 6198437"/>
                <a:gd name="connsiteX2" fmla="*/ 195765 w 4357871"/>
                <a:gd name="connsiteY2" fmla="*/ 380302 h 6198437"/>
                <a:gd name="connsiteX3" fmla="*/ 213138 w 4357871"/>
                <a:gd name="connsiteY3" fmla="*/ 481442 h 6198437"/>
                <a:gd name="connsiteX4" fmla="*/ 340213 w 4357871"/>
                <a:gd name="connsiteY4" fmla="*/ 442651 h 6198437"/>
                <a:gd name="connsiteX5" fmla="*/ 370692 w 4357871"/>
                <a:gd name="connsiteY5" fmla="*/ 393463 h 6198437"/>
                <a:gd name="connsiteX6" fmla="*/ 606579 w 4357871"/>
                <a:gd name="connsiteY6" fmla="*/ 319342 h 6198437"/>
                <a:gd name="connsiteX7" fmla="*/ 647034 w 4357871"/>
                <a:gd name="connsiteY7" fmla="*/ 352592 h 6198437"/>
                <a:gd name="connsiteX8" fmla="*/ 843576 w 4357871"/>
                <a:gd name="connsiteY8" fmla="*/ 288171 h 6198437"/>
                <a:gd name="connsiteX9" fmla="*/ 802788 w 4357871"/>
                <a:gd name="connsiteY9" fmla="*/ 119840 h 6198437"/>
                <a:gd name="connsiteX10" fmla="*/ 1186031 w 4357871"/>
                <a:gd name="connsiteY10" fmla="*/ 0 h 6198437"/>
                <a:gd name="connsiteX11" fmla="*/ 1234329 w 4357871"/>
                <a:gd name="connsiteY11" fmla="*/ 165560 h 6198437"/>
                <a:gd name="connsiteX12" fmla="*/ 2997880 w 4357871"/>
                <a:gd name="connsiteY12" fmla="*/ 680900 h 6198437"/>
                <a:gd name="connsiteX13" fmla="*/ 3548010 w 4357871"/>
                <a:gd name="connsiteY13" fmla="*/ 1291242 h 6198437"/>
                <a:gd name="connsiteX14" fmla="*/ 3609414 w 4357871"/>
                <a:gd name="connsiteY14" fmla="*/ 1298860 h 6198437"/>
                <a:gd name="connsiteX15" fmla="*/ 3774255 w 4357871"/>
                <a:gd name="connsiteY15" fmla="*/ 1479661 h 6198437"/>
                <a:gd name="connsiteX16" fmla="*/ 3774478 w 4357871"/>
                <a:gd name="connsiteY16" fmla="*/ 1535080 h 6198437"/>
                <a:gd name="connsiteX17" fmla="*/ 3935742 w 4357871"/>
                <a:gd name="connsiteY17" fmla="*/ 1726990 h 6198437"/>
                <a:gd name="connsiteX18" fmla="*/ 4315730 w 4357871"/>
                <a:gd name="connsiteY18" fmla="*/ 3519512 h 6198437"/>
                <a:gd name="connsiteX19" fmla="*/ 4123651 w 4357871"/>
                <a:gd name="connsiteY19" fmla="*/ 4385669 h 6198437"/>
                <a:gd name="connsiteX20" fmla="*/ 4271101 w 4357871"/>
                <a:gd name="connsiteY20" fmla="*/ 4428964 h 6198437"/>
                <a:gd name="connsiteX21" fmla="*/ 4167184 w 4357871"/>
                <a:gd name="connsiteY21" fmla="*/ 4865439 h 6198437"/>
                <a:gd name="connsiteX22" fmla="*/ 4022581 w 4357871"/>
                <a:gd name="connsiteY22" fmla="*/ 4824545 h 6198437"/>
                <a:gd name="connsiteX23" fmla="*/ 2909154 w 4357871"/>
                <a:gd name="connsiteY23" fmla="*/ 6198437 h 6198437"/>
                <a:gd name="connsiteX24" fmla="*/ 2718156 w 4357871"/>
                <a:gd name="connsiteY24" fmla="*/ 5626725 h 6198437"/>
                <a:gd name="connsiteX25" fmla="*/ 3504291 w 4357871"/>
                <a:gd name="connsiteY25" fmla="*/ 4596953 h 6198437"/>
                <a:gd name="connsiteX26" fmla="*/ 3784340 w 4357871"/>
                <a:gd name="connsiteY26" fmla="*/ 3352779 h 6198437"/>
                <a:gd name="connsiteX27" fmla="*/ 3465524 w 4357871"/>
                <a:gd name="connsiteY27" fmla="*/ 2049487 h 6198437"/>
                <a:gd name="connsiteX28" fmla="*/ 2648271 w 4357871"/>
                <a:gd name="connsiteY28" fmla="*/ 1163055 h 6198437"/>
                <a:gd name="connsiteX29" fmla="*/ 1354005 w 4357871"/>
                <a:gd name="connsiteY29" fmla="*/ 761302 h 6198437"/>
                <a:gd name="connsiteX30" fmla="*/ 355785 w 4357871"/>
                <a:gd name="connsiteY30" fmla="*/ 1081342 h 6198437"/>
                <a:gd name="connsiteX0" fmla="*/ 160020 w 4162106"/>
                <a:gd name="connsiteY0" fmla="*/ 1081342 h 6198437"/>
                <a:gd name="connsiteX1" fmla="*/ 0 w 4162106"/>
                <a:gd name="connsiteY1" fmla="*/ 380302 h 6198437"/>
                <a:gd name="connsiteX2" fmla="*/ 17373 w 4162106"/>
                <a:gd name="connsiteY2" fmla="*/ 481442 h 6198437"/>
                <a:gd name="connsiteX3" fmla="*/ 144448 w 4162106"/>
                <a:gd name="connsiteY3" fmla="*/ 442651 h 6198437"/>
                <a:gd name="connsiteX4" fmla="*/ 174927 w 4162106"/>
                <a:gd name="connsiteY4" fmla="*/ 393463 h 6198437"/>
                <a:gd name="connsiteX5" fmla="*/ 410814 w 4162106"/>
                <a:gd name="connsiteY5" fmla="*/ 319342 h 6198437"/>
                <a:gd name="connsiteX6" fmla="*/ 451269 w 4162106"/>
                <a:gd name="connsiteY6" fmla="*/ 352592 h 6198437"/>
                <a:gd name="connsiteX7" fmla="*/ 647811 w 4162106"/>
                <a:gd name="connsiteY7" fmla="*/ 288171 h 6198437"/>
                <a:gd name="connsiteX8" fmla="*/ 607023 w 4162106"/>
                <a:gd name="connsiteY8" fmla="*/ 119840 h 6198437"/>
                <a:gd name="connsiteX9" fmla="*/ 990266 w 4162106"/>
                <a:gd name="connsiteY9" fmla="*/ 0 h 6198437"/>
                <a:gd name="connsiteX10" fmla="*/ 1038564 w 4162106"/>
                <a:gd name="connsiteY10" fmla="*/ 165560 h 6198437"/>
                <a:gd name="connsiteX11" fmla="*/ 2802115 w 4162106"/>
                <a:gd name="connsiteY11" fmla="*/ 680900 h 6198437"/>
                <a:gd name="connsiteX12" fmla="*/ 3352245 w 4162106"/>
                <a:gd name="connsiteY12" fmla="*/ 1291242 h 6198437"/>
                <a:gd name="connsiteX13" fmla="*/ 3413649 w 4162106"/>
                <a:gd name="connsiteY13" fmla="*/ 1298860 h 6198437"/>
                <a:gd name="connsiteX14" fmla="*/ 3578490 w 4162106"/>
                <a:gd name="connsiteY14" fmla="*/ 1479661 h 6198437"/>
                <a:gd name="connsiteX15" fmla="*/ 3578713 w 4162106"/>
                <a:gd name="connsiteY15" fmla="*/ 1535080 h 6198437"/>
                <a:gd name="connsiteX16" fmla="*/ 3739977 w 4162106"/>
                <a:gd name="connsiteY16" fmla="*/ 1726990 h 6198437"/>
                <a:gd name="connsiteX17" fmla="*/ 4119965 w 4162106"/>
                <a:gd name="connsiteY17" fmla="*/ 3519512 h 6198437"/>
                <a:gd name="connsiteX18" fmla="*/ 3927886 w 4162106"/>
                <a:gd name="connsiteY18" fmla="*/ 4385669 h 6198437"/>
                <a:gd name="connsiteX19" fmla="*/ 4075336 w 4162106"/>
                <a:gd name="connsiteY19" fmla="*/ 4428964 h 6198437"/>
                <a:gd name="connsiteX20" fmla="*/ 3971419 w 4162106"/>
                <a:gd name="connsiteY20" fmla="*/ 4865439 h 6198437"/>
                <a:gd name="connsiteX21" fmla="*/ 3826816 w 4162106"/>
                <a:gd name="connsiteY21" fmla="*/ 4824545 h 6198437"/>
                <a:gd name="connsiteX22" fmla="*/ 2713389 w 4162106"/>
                <a:gd name="connsiteY22" fmla="*/ 6198437 h 6198437"/>
                <a:gd name="connsiteX23" fmla="*/ 2522391 w 4162106"/>
                <a:gd name="connsiteY23" fmla="*/ 5626725 h 6198437"/>
                <a:gd name="connsiteX24" fmla="*/ 3308526 w 4162106"/>
                <a:gd name="connsiteY24" fmla="*/ 4596953 h 6198437"/>
                <a:gd name="connsiteX25" fmla="*/ 3588575 w 4162106"/>
                <a:gd name="connsiteY25" fmla="*/ 3352779 h 6198437"/>
                <a:gd name="connsiteX26" fmla="*/ 3269759 w 4162106"/>
                <a:gd name="connsiteY26" fmla="*/ 2049487 h 6198437"/>
                <a:gd name="connsiteX27" fmla="*/ 2452506 w 4162106"/>
                <a:gd name="connsiteY27" fmla="*/ 1163055 h 6198437"/>
                <a:gd name="connsiteX28" fmla="*/ 1158240 w 4162106"/>
                <a:gd name="connsiteY28" fmla="*/ 761302 h 6198437"/>
                <a:gd name="connsiteX29" fmla="*/ 160020 w 4162106"/>
                <a:gd name="connsiteY29" fmla="*/ 1081342 h 6198437"/>
                <a:gd name="connsiteX0" fmla="*/ 146766 w 4148852"/>
                <a:gd name="connsiteY0" fmla="*/ 1081342 h 6198437"/>
                <a:gd name="connsiteX1" fmla="*/ 4119 w 4148852"/>
                <a:gd name="connsiteY1" fmla="*/ 481442 h 6198437"/>
                <a:gd name="connsiteX2" fmla="*/ 131194 w 4148852"/>
                <a:gd name="connsiteY2" fmla="*/ 442651 h 6198437"/>
                <a:gd name="connsiteX3" fmla="*/ 161673 w 4148852"/>
                <a:gd name="connsiteY3" fmla="*/ 393463 h 6198437"/>
                <a:gd name="connsiteX4" fmla="*/ 397560 w 4148852"/>
                <a:gd name="connsiteY4" fmla="*/ 319342 h 6198437"/>
                <a:gd name="connsiteX5" fmla="*/ 438015 w 4148852"/>
                <a:gd name="connsiteY5" fmla="*/ 352592 h 6198437"/>
                <a:gd name="connsiteX6" fmla="*/ 634557 w 4148852"/>
                <a:gd name="connsiteY6" fmla="*/ 288171 h 6198437"/>
                <a:gd name="connsiteX7" fmla="*/ 593769 w 4148852"/>
                <a:gd name="connsiteY7" fmla="*/ 119840 h 6198437"/>
                <a:gd name="connsiteX8" fmla="*/ 977012 w 4148852"/>
                <a:gd name="connsiteY8" fmla="*/ 0 h 6198437"/>
                <a:gd name="connsiteX9" fmla="*/ 1025310 w 4148852"/>
                <a:gd name="connsiteY9" fmla="*/ 165560 h 6198437"/>
                <a:gd name="connsiteX10" fmla="*/ 2788861 w 4148852"/>
                <a:gd name="connsiteY10" fmla="*/ 680900 h 6198437"/>
                <a:gd name="connsiteX11" fmla="*/ 3338991 w 4148852"/>
                <a:gd name="connsiteY11" fmla="*/ 1291242 h 6198437"/>
                <a:gd name="connsiteX12" fmla="*/ 3400395 w 4148852"/>
                <a:gd name="connsiteY12" fmla="*/ 1298860 h 6198437"/>
                <a:gd name="connsiteX13" fmla="*/ 3565236 w 4148852"/>
                <a:gd name="connsiteY13" fmla="*/ 1479661 h 6198437"/>
                <a:gd name="connsiteX14" fmla="*/ 3565459 w 4148852"/>
                <a:gd name="connsiteY14" fmla="*/ 1535080 h 6198437"/>
                <a:gd name="connsiteX15" fmla="*/ 3726723 w 4148852"/>
                <a:gd name="connsiteY15" fmla="*/ 1726990 h 6198437"/>
                <a:gd name="connsiteX16" fmla="*/ 4106711 w 4148852"/>
                <a:gd name="connsiteY16" fmla="*/ 3519512 h 6198437"/>
                <a:gd name="connsiteX17" fmla="*/ 3914632 w 4148852"/>
                <a:gd name="connsiteY17" fmla="*/ 4385669 h 6198437"/>
                <a:gd name="connsiteX18" fmla="*/ 4062082 w 4148852"/>
                <a:gd name="connsiteY18" fmla="*/ 4428964 h 6198437"/>
                <a:gd name="connsiteX19" fmla="*/ 3958165 w 4148852"/>
                <a:gd name="connsiteY19" fmla="*/ 4865439 h 6198437"/>
                <a:gd name="connsiteX20" fmla="*/ 3813562 w 4148852"/>
                <a:gd name="connsiteY20" fmla="*/ 4824545 h 6198437"/>
                <a:gd name="connsiteX21" fmla="*/ 2700135 w 4148852"/>
                <a:gd name="connsiteY21" fmla="*/ 6198437 h 6198437"/>
                <a:gd name="connsiteX22" fmla="*/ 2509137 w 4148852"/>
                <a:gd name="connsiteY22" fmla="*/ 5626725 h 6198437"/>
                <a:gd name="connsiteX23" fmla="*/ 3295272 w 4148852"/>
                <a:gd name="connsiteY23" fmla="*/ 4596953 h 6198437"/>
                <a:gd name="connsiteX24" fmla="*/ 3575321 w 4148852"/>
                <a:gd name="connsiteY24" fmla="*/ 3352779 h 6198437"/>
                <a:gd name="connsiteX25" fmla="*/ 3256505 w 4148852"/>
                <a:gd name="connsiteY25" fmla="*/ 2049487 h 6198437"/>
                <a:gd name="connsiteX26" fmla="*/ 2439252 w 4148852"/>
                <a:gd name="connsiteY26" fmla="*/ 1163055 h 6198437"/>
                <a:gd name="connsiteX27" fmla="*/ 1144986 w 4148852"/>
                <a:gd name="connsiteY27" fmla="*/ 761302 h 6198437"/>
                <a:gd name="connsiteX28" fmla="*/ 146766 w 4148852"/>
                <a:gd name="connsiteY28" fmla="*/ 1081342 h 6198437"/>
                <a:gd name="connsiteX0" fmla="*/ 142647 w 4144733"/>
                <a:gd name="connsiteY0" fmla="*/ 1081342 h 6198437"/>
                <a:gd name="connsiteX1" fmla="*/ 0 w 4144733"/>
                <a:gd name="connsiteY1" fmla="*/ 481442 h 6198437"/>
                <a:gd name="connsiteX2" fmla="*/ 127075 w 4144733"/>
                <a:gd name="connsiteY2" fmla="*/ 442651 h 6198437"/>
                <a:gd name="connsiteX3" fmla="*/ 157554 w 4144733"/>
                <a:gd name="connsiteY3" fmla="*/ 393463 h 6198437"/>
                <a:gd name="connsiteX4" fmla="*/ 393441 w 4144733"/>
                <a:gd name="connsiteY4" fmla="*/ 319342 h 6198437"/>
                <a:gd name="connsiteX5" fmla="*/ 433896 w 4144733"/>
                <a:gd name="connsiteY5" fmla="*/ 352592 h 6198437"/>
                <a:gd name="connsiteX6" fmla="*/ 630438 w 4144733"/>
                <a:gd name="connsiteY6" fmla="*/ 288171 h 6198437"/>
                <a:gd name="connsiteX7" fmla="*/ 589650 w 4144733"/>
                <a:gd name="connsiteY7" fmla="*/ 119840 h 6198437"/>
                <a:gd name="connsiteX8" fmla="*/ 972893 w 4144733"/>
                <a:gd name="connsiteY8" fmla="*/ 0 h 6198437"/>
                <a:gd name="connsiteX9" fmla="*/ 1021191 w 4144733"/>
                <a:gd name="connsiteY9" fmla="*/ 165560 h 6198437"/>
                <a:gd name="connsiteX10" fmla="*/ 2784742 w 4144733"/>
                <a:gd name="connsiteY10" fmla="*/ 680900 h 6198437"/>
                <a:gd name="connsiteX11" fmla="*/ 3334872 w 4144733"/>
                <a:gd name="connsiteY11" fmla="*/ 1291242 h 6198437"/>
                <a:gd name="connsiteX12" fmla="*/ 3396276 w 4144733"/>
                <a:gd name="connsiteY12" fmla="*/ 1298860 h 6198437"/>
                <a:gd name="connsiteX13" fmla="*/ 3561117 w 4144733"/>
                <a:gd name="connsiteY13" fmla="*/ 1479661 h 6198437"/>
                <a:gd name="connsiteX14" fmla="*/ 3561340 w 4144733"/>
                <a:gd name="connsiteY14" fmla="*/ 1535080 h 6198437"/>
                <a:gd name="connsiteX15" fmla="*/ 3722604 w 4144733"/>
                <a:gd name="connsiteY15" fmla="*/ 1726990 h 6198437"/>
                <a:gd name="connsiteX16" fmla="*/ 4102592 w 4144733"/>
                <a:gd name="connsiteY16" fmla="*/ 3519512 h 6198437"/>
                <a:gd name="connsiteX17" fmla="*/ 3910513 w 4144733"/>
                <a:gd name="connsiteY17" fmla="*/ 4385669 h 6198437"/>
                <a:gd name="connsiteX18" fmla="*/ 4057963 w 4144733"/>
                <a:gd name="connsiteY18" fmla="*/ 4428964 h 6198437"/>
                <a:gd name="connsiteX19" fmla="*/ 3954046 w 4144733"/>
                <a:gd name="connsiteY19" fmla="*/ 4865439 h 6198437"/>
                <a:gd name="connsiteX20" fmla="*/ 3809443 w 4144733"/>
                <a:gd name="connsiteY20" fmla="*/ 4824545 h 6198437"/>
                <a:gd name="connsiteX21" fmla="*/ 2696016 w 4144733"/>
                <a:gd name="connsiteY21" fmla="*/ 6198437 h 6198437"/>
                <a:gd name="connsiteX22" fmla="*/ 2505018 w 4144733"/>
                <a:gd name="connsiteY22" fmla="*/ 5626725 h 6198437"/>
                <a:gd name="connsiteX23" fmla="*/ 3291153 w 4144733"/>
                <a:gd name="connsiteY23" fmla="*/ 4596953 h 6198437"/>
                <a:gd name="connsiteX24" fmla="*/ 3571202 w 4144733"/>
                <a:gd name="connsiteY24" fmla="*/ 3352779 h 6198437"/>
                <a:gd name="connsiteX25" fmla="*/ 3252386 w 4144733"/>
                <a:gd name="connsiteY25" fmla="*/ 2049487 h 6198437"/>
                <a:gd name="connsiteX26" fmla="*/ 2435133 w 4144733"/>
                <a:gd name="connsiteY26" fmla="*/ 1163055 h 6198437"/>
                <a:gd name="connsiteX27" fmla="*/ 1140867 w 4144733"/>
                <a:gd name="connsiteY27" fmla="*/ 761302 h 6198437"/>
                <a:gd name="connsiteX28" fmla="*/ 142647 w 4144733"/>
                <a:gd name="connsiteY28" fmla="*/ 1081342 h 6198437"/>
                <a:gd name="connsiteX0" fmla="*/ 142647 w 4144733"/>
                <a:gd name="connsiteY0" fmla="*/ 1081342 h 6198437"/>
                <a:gd name="connsiteX1" fmla="*/ 0 w 4144733"/>
                <a:gd name="connsiteY1" fmla="*/ 481442 h 6198437"/>
                <a:gd name="connsiteX2" fmla="*/ 127075 w 4144733"/>
                <a:gd name="connsiteY2" fmla="*/ 442651 h 6198437"/>
                <a:gd name="connsiteX3" fmla="*/ 157554 w 4144733"/>
                <a:gd name="connsiteY3" fmla="*/ 393463 h 6198437"/>
                <a:gd name="connsiteX4" fmla="*/ 393441 w 4144733"/>
                <a:gd name="connsiteY4" fmla="*/ 319342 h 6198437"/>
                <a:gd name="connsiteX5" fmla="*/ 433896 w 4144733"/>
                <a:gd name="connsiteY5" fmla="*/ 352592 h 6198437"/>
                <a:gd name="connsiteX6" fmla="*/ 630438 w 4144733"/>
                <a:gd name="connsiteY6" fmla="*/ 288171 h 6198437"/>
                <a:gd name="connsiteX7" fmla="*/ 589650 w 4144733"/>
                <a:gd name="connsiteY7" fmla="*/ 119840 h 6198437"/>
                <a:gd name="connsiteX8" fmla="*/ 972893 w 4144733"/>
                <a:gd name="connsiteY8" fmla="*/ 0 h 6198437"/>
                <a:gd name="connsiteX9" fmla="*/ 1021191 w 4144733"/>
                <a:gd name="connsiteY9" fmla="*/ 165560 h 6198437"/>
                <a:gd name="connsiteX10" fmla="*/ 2784742 w 4144733"/>
                <a:gd name="connsiteY10" fmla="*/ 680900 h 6198437"/>
                <a:gd name="connsiteX11" fmla="*/ 3334872 w 4144733"/>
                <a:gd name="connsiteY11" fmla="*/ 1291242 h 6198437"/>
                <a:gd name="connsiteX12" fmla="*/ 3396276 w 4144733"/>
                <a:gd name="connsiteY12" fmla="*/ 1298860 h 6198437"/>
                <a:gd name="connsiteX13" fmla="*/ 3561117 w 4144733"/>
                <a:gd name="connsiteY13" fmla="*/ 1479661 h 6198437"/>
                <a:gd name="connsiteX14" fmla="*/ 3561340 w 4144733"/>
                <a:gd name="connsiteY14" fmla="*/ 1535080 h 6198437"/>
                <a:gd name="connsiteX15" fmla="*/ 3722604 w 4144733"/>
                <a:gd name="connsiteY15" fmla="*/ 1726990 h 6198437"/>
                <a:gd name="connsiteX16" fmla="*/ 4102592 w 4144733"/>
                <a:gd name="connsiteY16" fmla="*/ 3519512 h 6198437"/>
                <a:gd name="connsiteX17" fmla="*/ 3910513 w 4144733"/>
                <a:gd name="connsiteY17" fmla="*/ 4385669 h 6198437"/>
                <a:gd name="connsiteX18" fmla="*/ 4057963 w 4144733"/>
                <a:gd name="connsiteY18" fmla="*/ 4428964 h 6198437"/>
                <a:gd name="connsiteX19" fmla="*/ 3954046 w 4144733"/>
                <a:gd name="connsiteY19" fmla="*/ 4865439 h 6198437"/>
                <a:gd name="connsiteX20" fmla="*/ 3809443 w 4144733"/>
                <a:gd name="connsiteY20" fmla="*/ 4824545 h 6198437"/>
                <a:gd name="connsiteX21" fmla="*/ 2696016 w 4144733"/>
                <a:gd name="connsiteY21" fmla="*/ 6198437 h 6198437"/>
                <a:gd name="connsiteX22" fmla="*/ 2505018 w 4144733"/>
                <a:gd name="connsiteY22" fmla="*/ 5626725 h 6198437"/>
                <a:gd name="connsiteX23" fmla="*/ 3291153 w 4144733"/>
                <a:gd name="connsiteY23" fmla="*/ 4596953 h 6198437"/>
                <a:gd name="connsiteX24" fmla="*/ 3571202 w 4144733"/>
                <a:gd name="connsiteY24" fmla="*/ 3352779 h 6198437"/>
                <a:gd name="connsiteX25" fmla="*/ 3252386 w 4144733"/>
                <a:gd name="connsiteY25" fmla="*/ 2049487 h 6198437"/>
                <a:gd name="connsiteX26" fmla="*/ 2435133 w 4144733"/>
                <a:gd name="connsiteY26" fmla="*/ 1163055 h 6198437"/>
                <a:gd name="connsiteX27" fmla="*/ 1140867 w 4144733"/>
                <a:gd name="connsiteY27" fmla="*/ 761302 h 6198437"/>
                <a:gd name="connsiteX28" fmla="*/ 142647 w 4144733"/>
                <a:gd name="connsiteY28" fmla="*/ 1081342 h 6198437"/>
                <a:gd name="connsiteX0" fmla="*/ 150413 w 4144733"/>
                <a:gd name="connsiteY0" fmla="*/ 1077187 h 6198437"/>
                <a:gd name="connsiteX1" fmla="*/ 0 w 4144733"/>
                <a:gd name="connsiteY1" fmla="*/ 481442 h 6198437"/>
                <a:gd name="connsiteX2" fmla="*/ 127075 w 4144733"/>
                <a:gd name="connsiteY2" fmla="*/ 442651 h 6198437"/>
                <a:gd name="connsiteX3" fmla="*/ 157554 w 4144733"/>
                <a:gd name="connsiteY3" fmla="*/ 393463 h 6198437"/>
                <a:gd name="connsiteX4" fmla="*/ 393441 w 4144733"/>
                <a:gd name="connsiteY4" fmla="*/ 319342 h 6198437"/>
                <a:gd name="connsiteX5" fmla="*/ 433896 w 4144733"/>
                <a:gd name="connsiteY5" fmla="*/ 352592 h 6198437"/>
                <a:gd name="connsiteX6" fmla="*/ 630438 w 4144733"/>
                <a:gd name="connsiteY6" fmla="*/ 288171 h 6198437"/>
                <a:gd name="connsiteX7" fmla="*/ 589650 w 4144733"/>
                <a:gd name="connsiteY7" fmla="*/ 119840 h 6198437"/>
                <a:gd name="connsiteX8" fmla="*/ 972893 w 4144733"/>
                <a:gd name="connsiteY8" fmla="*/ 0 h 6198437"/>
                <a:gd name="connsiteX9" fmla="*/ 1021191 w 4144733"/>
                <a:gd name="connsiteY9" fmla="*/ 165560 h 6198437"/>
                <a:gd name="connsiteX10" fmla="*/ 2784742 w 4144733"/>
                <a:gd name="connsiteY10" fmla="*/ 680900 h 6198437"/>
                <a:gd name="connsiteX11" fmla="*/ 3334872 w 4144733"/>
                <a:gd name="connsiteY11" fmla="*/ 1291242 h 6198437"/>
                <a:gd name="connsiteX12" fmla="*/ 3396276 w 4144733"/>
                <a:gd name="connsiteY12" fmla="*/ 1298860 h 6198437"/>
                <a:gd name="connsiteX13" fmla="*/ 3561117 w 4144733"/>
                <a:gd name="connsiteY13" fmla="*/ 1479661 h 6198437"/>
                <a:gd name="connsiteX14" fmla="*/ 3561340 w 4144733"/>
                <a:gd name="connsiteY14" fmla="*/ 1535080 h 6198437"/>
                <a:gd name="connsiteX15" fmla="*/ 3722604 w 4144733"/>
                <a:gd name="connsiteY15" fmla="*/ 1726990 h 6198437"/>
                <a:gd name="connsiteX16" fmla="*/ 4102592 w 4144733"/>
                <a:gd name="connsiteY16" fmla="*/ 3519512 h 6198437"/>
                <a:gd name="connsiteX17" fmla="*/ 3910513 w 4144733"/>
                <a:gd name="connsiteY17" fmla="*/ 4385669 h 6198437"/>
                <a:gd name="connsiteX18" fmla="*/ 4057963 w 4144733"/>
                <a:gd name="connsiteY18" fmla="*/ 4428964 h 6198437"/>
                <a:gd name="connsiteX19" fmla="*/ 3954046 w 4144733"/>
                <a:gd name="connsiteY19" fmla="*/ 4865439 h 6198437"/>
                <a:gd name="connsiteX20" fmla="*/ 3809443 w 4144733"/>
                <a:gd name="connsiteY20" fmla="*/ 4824545 h 6198437"/>
                <a:gd name="connsiteX21" fmla="*/ 2696016 w 4144733"/>
                <a:gd name="connsiteY21" fmla="*/ 6198437 h 6198437"/>
                <a:gd name="connsiteX22" fmla="*/ 2505018 w 4144733"/>
                <a:gd name="connsiteY22" fmla="*/ 5626725 h 6198437"/>
                <a:gd name="connsiteX23" fmla="*/ 3291153 w 4144733"/>
                <a:gd name="connsiteY23" fmla="*/ 4596953 h 6198437"/>
                <a:gd name="connsiteX24" fmla="*/ 3571202 w 4144733"/>
                <a:gd name="connsiteY24" fmla="*/ 3352779 h 6198437"/>
                <a:gd name="connsiteX25" fmla="*/ 3252386 w 4144733"/>
                <a:gd name="connsiteY25" fmla="*/ 2049487 h 6198437"/>
                <a:gd name="connsiteX26" fmla="*/ 2435133 w 4144733"/>
                <a:gd name="connsiteY26" fmla="*/ 1163055 h 6198437"/>
                <a:gd name="connsiteX27" fmla="*/ 1140867 w 4144733"/>
                <a:gd name="connsiteY27" fmla="*/ 761302 h 6198437"/>
                <a:gd name="connsiteX28" fmla="*/ 150413 w 4144733"/>
                <a:gd name="connsiteY28" fmla="*/ 1077187 h 6198437"/>
                <a:gd name="connsiteX0" fmla="*/ 150413 w 4144733"/>
                <a:gd name="connsiteY0" fmla="*/ 1077187 h 6198437"/>
                <a:gd name="connsiteX1" fmla="*/ 0 w 4144733"/>
                <a:gd name="connsiteY1" fmla="*/ 481442 h 6198437"/>
                <a:gd name="connsiteX2" fmla="*/ 127075 w 4144733"/>
                <a:gd name="connsiteY2" fmla="*/ 442651 h 6198437"/>
                <a:gd name="connsiteX3" fmla="*/ 157554 w 4144733"/>
                <a:gd name="connsiteY3" fmla="*/ 393463 h 6198437"/>
                <a:gd name="connsiteX4" fmla="*/ 393441 w 4144733"/>
                <a:gd name="connsiteY4" fmla="*/ 319342 h 6198437"/>
                <a:gd name="connsiteX5" fmla="*/ 433896 w 4144733"/>
                <a:gd name="connsiteY5" fmla="*/ 352592 h 6198437"/>
                <a:gd name="connsiteX6" fmla="*/ 630438 w 4144733"/>
                <a:gd name="connsiteY6" fmla="*/ 288171 h 6198437"/>
                <a:gd name="connsiteX7" fmla="*/ 589650 w 4144733"/>
                <a:gd name="connsiteY7" fmla="*/ 119840 h 6198437"/>
                <a:gd name="connsiteX8" fmla="*/ 972893 w 4144733"/>
                <a:gd name="connsiteY8" fmla="*/ 0 h 6198437"/>
                <a:gd name="connsiteX9" fmla="*/ 1021191 w 4144733"/>
                <a:gd name="connsiteY9" fmla="*/ 165560 h 6198437"/>
                <a:gd name="connsiteX10" fmla="*/ 2784742 w 4144733"/>
                <a:gd name="connsiteY10" fmla="*/ 680900 h 6198437"/>
                <a:gd name="connsiteX11" fmla="*/ 3334872 w 4144733"/>
                <a:gd name="connsiteY11" fmla="*/ 1291242 h 6198437"/>
                <a:gd name="connsiteX12" fmla="*/ 3396276 w 4144733"/>
                <a:gd name="connsiteY12" fmla="*/ 1298860 h 6198437"/>
                <a:gd name="connsiteX13" fmla="*/ 3561117 w 4144733"/>
                <a:gd name="connsiteY13" fmla="*/ 1479661 h 6198437"/>
                <a:gd name="connsiteX14" fmla="*/ 3561340 w 4144733"/>
                <a:gd name="connsiteY14" fmla="*/ 1535080 h 6198437"/>
                <a:gd name="connsiteX15" fmla="*/ 3722604 w 4144733"/>
                <a:gd name="connsiteY15" fmla="*/ 1726990 h 6198437"/>
                <a:gd name="connsiteX16" fmla="*/ 4102592 w 4144733"/>
                <a:gd name="connsiteY16" fmla="*/ 3519512 h 6198437"/>
                <a:gd name="connsiteX17" fmla="*/ 3910513 w 4144733"/>
                <a:gd name="connsiteY17" fmla="*/ 4385669 h 6198437"/>
                <a:gd name="connsiteX18" fmla="*/ 4057963 w 4144733"/>
                <a:gd name="connsiteY18" fmla="*/ 4428964 h 6198437"/>
                <a:gd name="connsiteX19" fmla="*/ 3954046 w 4144733"/>
                <a:gd name="connsiteY19" fmla="*/ 4865439 h 6198437"/>
                <a:gd name="connsiteX20" fmla="*/ 3809443 w 4144733"/>
                <a:gd name="connsiteY20" fmla="*/ 4824545 h 6198437"/>
                <a:gd name="connsiteX21" fmla="*/ 2696016 w 4144733"/>
                <a:gd name="connsiteY21" fmla="*/ 6198437 h 6198437"/>
                <a:gd name="connsiteX22" fmla="*/ 2505018 w 4144733"/>
                <a:gd name="connsiteY22" fmla="*/ 5626725 h 6198437"/>
                <a:gd name="connsiteX23" fmla="*/ 3291153 w 4144733"/>
                <a:gd name="connsiteY23" fmla="*/ 4596953 h 6198437"/>
                <a:gd name="connsiteX24" fmla="*/ 3571202 w 4144733"/>
                <a:gd name="connsiteY24" fmla="*/ 3352779 h 6198437"/>
                <a:gd name="connsiteX25" fmla="*/ 3252386 w 4144733"/>
                <a:gd name="connsiteY25" fmla="*/ 2049487 h 6198437"/>
                <a:gd name="connsiteX26" fmla="*/ 2435133 w 4144733"/>
                <a:gd name="connsiteY26" fmla="*/ 1163055 h 6198437"/>
                <a:gd name="connsiteX27" fmla="*/ 1140867 w 4144733"/>
                <a:gd name="connsiteY27" fmla="*/ 761302 h 6198437"/>
                <a:gd name="connsiteX28" fmla="*/ 150413 w 4144733"/>
                <a:gd name="connsiteY28" fmla="*/ 1077187 h 6198437"/>
                <a:gd name="connsiteX0" fmla="*/ 1140867 w 4144733"/>
                <a:gd name="connsiteY0" fmla="*/ 761302 h 6198437"/>
                <a:gd name="connsiteX1" fmla="*/ 0 w 4144733"/>
                <a:gd name="connsiteY1" fmla="*/ 481442 h 6198437"/>
                <a:gd name="connsiteX2" fmla="*/ 127075 w 4144733"/>
                <a:gd name="connsiteY2" fmla="*/ 442651 h 6198437"/>
                <a:gd name="connsiteX3" fmla="*/ 157554 w 4144733"/>
                <a:gd name="connsiteY3" fmla="*/ 393463 h 6198437"/>
                <a:gd name="connsiteX4" fmla="*/ 393441 w 4144733"/>
                <a:gd name="connsiteY4" fmla="*/ 319342 h 6198437"/>
                <a:gd name="connsiteX5" fmla="*/ 433896 w 4144733"/>
                <a:gd name="connsiteY5" fmla="*/ 352592 h 6198437"/>
                <a:gd name="connsiteX6" fmla="*/ 630438 w 4144733"/>
                <a:gd name="connsiteY6" fmla="*/ 288171 h 6198437"/>
                <a:gd name="connsiteX7" fmla="*/ 589650 w 4144733"/>
                <a:gd name="connsiteY7" fmla="*/ 119840 h 6198437"/>
                <a:gd name="connsiteX8" fmla="*/ 972893 w 4144733"/>
                <a:gd name="connsiteY8" fmla="*/ 0 h 6198437"/>
                <a:gd name="connsiteX9" fmla="*/ 1021191 w 4144733"/>
                <a:gd name="connsiteY9" fmla="*/ 165560 h 6198437"/>
                <a:gd name="connsiteX10" fmla="*/ 2784742 w 4144733"/>
                <a:gd name="connsiteY10" fmla="*/ 680900 h 6198437"/>
                <a:gd name="connsiteX11" fmla="*/ 3334872 w 4144733"/>
                <a:gd name="connsiteY11" fmla="*/ 1291242 h 6198437"/>
                <a:gd name="connsiteX12" fmla="*/ 3396276 w 4144733"/>
                <a:gd name="connsiteY12" fmla="*/ 1298860 h 6198437"/>
                <a:gd name="connsiteX13" fmla="*/ 3561117 w 4144733"/>
                <a:gd name="connsiteY13" fmla="*/ 1479661 h 6198437"/>
                <a:gd name="connsiteX14" fmla="*/ 3561340 w 4144733"/>
                <a:gd name="connsiteY14" fmla="*/ 1535080 h 6198437"/>
                <a:gd name="connsiteX15" fmla="*/ 3722604 w 4144733"/>
                <a:gd name="connsiteY15" fmla="*/ 1726990 h 6198437"/>
                <a:gd name="connsiteX16" fmla="*/ 4102592 w 4144733"/>
                <a:gd name="connsiteY16" fmla="*/ 3519512 h 6198437"/>
                <a:gd name="connsiteX17" fmla="*/ 3910513 w 4144733"/>
                <a:gd name="connsiteY17" fmla="*/ 4385669 h 6198437"/>
                <a:gd name="connsiteX18" fmla="*/ 4057963 w 4144733"/>
                <a:gd name="connsiteY18" fmla="*/ 4428964 h 6198437"/>
                <a:gd name="connsiteX19" fmla="*/ 3954046 w 4144733"/>
                <a:gd name="connsiteY19" fmla="*/ 4865439 h 6198437"/>
                <a:gd name="connsiteX20" fmla="*/ 3809443 w 4144733"/>
                <a:gd name="connsiteY20" fmla="*/ 4824545 h 6198437"/>
                <a:gd name="connsiteX21" fmla="*/ 2696016 w 4144733"/>
                <a:gd name="connsiteY21" fmla="*/ 6198437 h 6198437"/>
                <a:gd name="connsiteX22" fmla="*/ 2505018 w 4144733"/>
                <a:gd name="connsiteY22" fmla="*/ 5626725 h 6198437"/>
                <a:gd name="connsiteX23" fmla="*/ 3291153 w 4144733"/>
                <a:gd name="connsiteY23" fmla="*/ 4596953 h 6198437"/>
                <a:gd name="connsiteX24" fmla="*/ 3571202 w 4144733"/>
                <a:gd name="connsiteY24" fmla="*/ 3352779 h 6198437"/>
                <a:gd name="connsiteX25" fmla="*/ 3252386 w 4144733"/>
                <a:gd name="connsiteY25" fmla="*/ 2049487 h 6198437"/>
                <a:gd name="connsiteX26" fmla="*/ 2435133 w 4144733"/>
                <a:gd name="connsiteY26" fmla="*/ 1163055 h 6198437"/>
                <a:gd name="connsiteX27" fmla="*/ 1140867 w 4144733"/>
                <a:gd name="connsiteY27" fmla="*/ 761302 h 6198437"/>
                <a:gd name="connsiteX0" fmla="*/ 1013792 w 4017658"/>
                <a:gd name="connsiteY0" fmla="*/ 761302 h 6198437"/>
                <a:gd name="connsiteX1" fmla="*/ 0 w 4017658"/>
                <a:gd name="connsiteY1" fmla="*/ 442651 h 6198437"/>
                <a:gd name="connsiteX2" fmla="*/ 30479 w 4017658"/>
                <a:gd name="connsiteY2" fmla="*/ 393463 h 6198437"/>
                <a:gd name="connsiteX3" fmla="*/ 266366 w 4017658"/>
                <a:gd name="connsiteY3" fmla="*/ 319342 h 6198437"/>
                <a:gd name="connsiteX4" fmla="*/ 306821 w 4017658"/>
                <a:gd name="connsiteY4" fmla="*/ 352592 h 6198437"/>
                <a:gd name="connsiteX5" fmla="*/ 503363 w 4017658"/>
                <a:gd name="connsiteY5" fmla="*/ 288171 h 6198437"/>
                <a:gd name="connsiteX6" fmla="*/ 462575 w 4017658"/>
                <a:gd name="connsiteY6" fmla="*/ 119840 h 6198437"/>
                <a:gd name="connsiteX7" fmla="*/ 845818 w 4017658"/>
                <a:gd name="connsiteY7" fmla="*/ 0 h 6198437"/>
                <a:gd name="connsiteX8" fmla="*/ 894116 w 4017658"/>
                <a:gd name="connsiteY8" fmla="*/ 165560 h 6198437"/>
                <a:gd name="connsiteX9" fmla="*/ 2657667 w 4017658"/>
                <a:gd name="connsiteY9" fmla="*/ 680900 h 6198437"/>
                <a:gd name="connsiteX10" fmla="*/ 3207797 w 4017658"/>
                <a:gd name="connsiteY10" fmla="*/ 1291242 h 6198437"/>
                <a:gd name="connsiteX11" fmla="*/ 3269201 w 4017658"/>
                <a:gd name="connsiteY11" fmla="*/ 1298860 h 6198437"/>
                <a:gd name="connsiteX12" fmla="*/ 3434042 w 4017658"/>
                <a:gd name="connsiteY12" fmla="*/ 1479661 h 6198437"/>
                <a:gd name="connsiteX13" fmla="*/ 3434265 w 4017658"/>
                <a:gd name="connsiteY13" fmla="*/ 1535080 h 6198437"/>
                <a:gd name="connsiteX14" fmla="*/ 3595529 w 4017658"/>
                <a:gd name="connsiteY14" fmla="*/ 1726990 h 6198437"/>
                <a:gd name="connsiteX15" fmla="*/ 3975517 w 4017658"/>
                <a:gd name="connsiteY15" fmla="*/ 3519512 h 6198437"/>
                <a:gd name="connsiteX16" fmla="*/ 3783438 w 4017658"/>
                <a:gd name="connsiteY16" fmla="*/ 4385669 h 6198437"/>
                <a:gd name="connsiteX17" fmla="*/ 3930888 w 4017658"/>
                <a:gd name="connsiteY17" fmla="*/ 4428964 h 6198437"/>
                <a:gd name="connsiteX18" fmla="*/ 3826971 w 4017658"/>
                <a:gd name="connsiteY18" fmla="*/ 4865439 h 6198437"/>
                <a:gd name="connsiteX19" fmla="*/ 3682368 w 4017658"/>
                <a:gd name="connsiteY19" fmla="*/ 4824545 h 6198437"/>
                <a:gd name="connsiteX20" fmla="*/ 2568941 w 4017658"/>
                <a:gd name="connsiteY20" fmla="*/ 6198437 h 6198437"/>
                <a:gd name="connsiteX21" fmla="*/ 2377943 w 4017658"/>
                <a:gd name="connsiteY21" fmla="*/ 5626725 h 6198437"/>
                <a:gd name="connsiteX22" fmla="*/ 3164078 w 4017658"/>
                <a:gd name="connsiteY22" fmla="*/ 4596953 h 6198437"/>
                <a:gd name="connsiteX23" fmla="*/ 3444127 w 4017658"/>
                <a:gd name="connsiteY23" fmla="*/ 3352779 h 6198437"/>
                <a:gd name="connsiteX24" fmla="*/ 3125311 w 4017658"/>
                <a:gd name="connsiteY24" fmla="*/ 2049487 h 6198437"/>
                <a:gd name="connsiteX25" fmla="*/ 2308058 w 4017658"/>
                <a:gd name="connsiteY25" fmla="*/ 1163055 h 6198437"/>
                <a:gd name="connsiteX26" fmla="*/ 1013792 w 4017658"/>
                <a:gd name="connsiteY26" fmla="*/ 761302 h 6198437"/>
                <a:gd name="connsiteX0" fmla="*/ 983313 w 3987179"/>
                <a:gd name="connsiteY0" fmla="*/ 761302 h 6198437"/>
                <a:gd name="connsiteX1" fmla="*/ 0 w 3987179"/>
                <a:gd name="connsiteY1" fmla="*/ 393463 h 6198437"/>
                <a:gd name="connsiteX2" fmla="*/ 235887 w 3987179"/>
                <a:gd name="connsiteY2" fmla="*/ 319342 h 6198437"/>
                <a:gd name="connsiteX3" fmla="*/ 276342 w 3987179"/>
                <a:gd name="connsiteY3" fmla="*/ 352592 h 6198437"/>
                <a:gd name="connsiteX4" fmla="*/ 472884 w 3987179"/>
                <a:gd name="connsiteY4" fmla="*/ 288171 h 6198437"/>
                <a:gd name="connsiteX5" fmla="*/ 432096 w 3987179"/>
                <a:gd name="connsiteY5" fmla="*/ 119840 h 6198437"/>
                <a:gd name="connsiteX6" fmla="*/ 815339 w 3987179"/>
                <a:gd name="connsiteY6" fmla="*/ 0 h 6198437"/>
                <a:gd name="connsiteX7" fmla="*/ 863637 w 3987179"/>
                <a:gd name="connsiteY7" fmla="*/ 165560 h 6198437"/>
                <a:gd name="connsiteX8" fmla="*/ 2627188 w 3987179"/>
                <a:gd name="connsiteY8" fmla="*/ 680900 h 6198437"/>
                <a:gd name="connsiteX9" fmla="*/ 3177318 w 3987179"/>
                <a:gd name="connsiteY9" fmla="*/ 1291242 h 6198437"/>
                <a:gd name="connsiteX10" fmla="*/ 3238722 w 3987179"/>
                <a:gd name="connsiteY10" fmla="*/ 1298860 h 6198437"/>
                <a:gd name="connsiteX11" fmla="*/ 3403563 w 3987179"/>
                <a:gd name="connsiteY11" fmla="*/ 1479661 h 6198437"/>
                <a:gd name="connsiteX12" fmla="*/ 3403786 w 3987179"/>
                <a:gd name="connsiteY12" fmla="*/ 1535080 h 6198437"/>
                <a:gd name="connsiteX13" fmla="*/ 3565050 w 3987179"/>
                <a:gd name="connsiteY13" fmla="*/ 1726990 h 6198437"/>
                <a:gd name="connsiteX14" fmla="*/ 3945038 w 3987179"/>
                <a:gd name="connsiteY14" fmla="*/ 3519512 h 6198437"/>
                <a:gd name="connsiteX15" fmla="*/ 3752959 w 3987179"/>
                <a:gd name="connsiteY15" fmla="*/ 4385669 h 6198437"/>
                <a:gd name="connsiteX16" fmla="*/ 3900409 w 3987179"/>
                <a:gd name="connsiteY16" fmla="*/ 4428964 h 6198437"/>
                <a:gd name="connsiteX17" fmla="*/ 3796492 w 3987179"/>
                <a:gd name="connsiteY17" fmla="*/ 4865439 h 6198437"/>
                <a:gd name="connsiteX18" fmla="*/ 3651889 w 3987179"/>
                <a:gd name="connsiteY18" fmla="*/ 4824545 h 6198437"/>
                <a:gd name="connsiteX19" fmla="*/ 2538462 w 3987179"/>
                <a:gd name="connsiteY19" fmla="*/ 6198437 h 6198437"/>
                <a:gd name="connsiteX20" fmla="*/ 2347464 w 3987179"/>
                <a:gd name="connsiteY20" fmla="*/ 5626725 h 6198437"/>
                <a:gd name="connsiteX21" fmla="*/ 3133599 w 3987179"/>
                <a:gd name="connsiteY21" fmla="*/ 4596953 h 6198437"/>
                <a:gd name="connsiteX22" fmla="*/ 3413648 w 3987179"/>
                <a:gd name="connsiteY22" fmla="*/ 3352779 h 6198437"/>
                <a:gd name="connsiteX23" fmla="*/ 3094832 w 3987179"/>
                <a:gd name="connsiteY23" fmla="*/ 2049487 h 6198437"/>
                <a:gd name="connsiteX24" fmla="*/ 2277579 w 3987179"/>
                <a:gd name="connsiteY24" fmla="*/ 1163055 h 6198437"/>
                <a:gd name="connsiteX25" fmla="*/ 983313 w 3987179"/>
                <a:gd name="connsiteY25" fmla="*/ 761302 h 6198437"/>
                <a:gd name="connsiteX0" fmla="*/ 747426 w 3751292"/>
                <a:gd name="connsiteY0" fmla="*/ 761302 h 6198437"/>
                <a:gd name="connsiteX1" fmla="*/ 0 w 3751292"/>
                <a:gd name="connsiteY1" fmla="*/ 319342 h 6198437"/>
                <a:gd name="connsiteX2" fmla="*/ 40455 w 3751292"/>
                <a:gd name="connsiteY2" fmla="*/ 352592 h 6198437"/>
                <a:gd name="connsiteX3" fmla="*/ 236997 w 3751292"/>
                <a:gd name="connsiteY3" fmla="*/ 288171 h 6198437"/>
                <a:gd name="connsiteX4" fmla="*/ 196209 w 3751292"/>
                <a:gd name="connsiteY4" fmla="*/ 119840 h 6198437"/>
                <a:gd name="connsiteX5" fmla="*/ 579452 w 3751292"/>
                <a:gd name="connsiteY5" fmla="*/ 0 h 6198437"/>
                <a:gd name="connsiteX6" fmla="*/ 627750 w 3751292"/>
                <a:gd name="connsiteY6" fmla="*/ 165560 h 6198437"/>
                <a:gd name="connsiteX7" fmla="*/ 2391301 w 3751292"/>
                <a:gd name="connsiteY7" fmla="*/ 680900 h 6198437"/>
                <a:gd name="connsiteX8" fmla="*/ 2941431 w 3751292"/>
                <a:gd name="connsiteY8" fmla="*/ 1291242 h 6198437"/>
                <a:gd name="connsiteX9" fmla="*/ 3002835 w 3751292"/>
                <a:gd name="connsiteY9" fmla="*/ 1298860 h 6198437"/>
                <a:gd name="connsiteX10" fmla="*/ 3167676 w 3751292"/>
                <a:gd name="connsiteY10" fmla="*/ 1479661 h 6198437"/>
                <a:gd name="connsiteX11" fmla="*/ 3167899 w 3751292"/>
                <a:gd name="connsiteY11" fmla="*/ 1535080 h 6198437"/>
                <a:gd name="connsiteX12" fmla="*/ 3329163 w 3751292"/>
                <a:gd name="connsiteY12" fmla="*/ 1726990 h 6198437"/>
                <a:gd name="connsiteX13" fmla="*/ 3709151 w 3751292"/>
                <a:gd name="connsiteY13" fmla="*/ 3519512 h 6198437"/>
                <a:gd name="connsiteX14" fmla="*/ 3517072 w 3751292"/>
                <a:gd name="connsiteY14" fmla="*/ 4385669 h 6198437"/>
                <a:gd name="connsiteX15" fmla="*/ 3664522 w 3751292"/>
                <a:gd name="connsiteY15" fmla="*/ 4428964 h 6198437"/>
                <a:gd name="connsiteX16" fmla="*/ 3560605 w 3751292"/>
                <a:gd name="connsiteY16" fmla="*/ 4865439 h 6198437"/>
                <a:gd name="connsiteX17" fmla="*/ 3416002 w 3751292"/>
                <a:gd name="connsiteY17" fmla="*/ 4824545 h 6198437"/>
                <a:gd name="connsiteX18" fmla="*/ 2302575 w 3751292"/>
                <a:gd name="connsiteY18" fmla="*/ 6198437 h 6198437"/>
                <a:gd name="connsiteX19" fmla="*/ 2111577 w 3751292"/>
                <a:gd name="connsiteY19" fmla="*/ 5626725 h 6198437"/>
                <a:gd name="connsiteX20" fmla="*/ 2897712 w 3751292"/>
                <a:gd name="connsiteY20" fmla="*/ 4596953 h 6198437"/>
                <a:gd name="connsiteX21" fmla="*/ 3177761 w 3751292"/>
                <a:gd name="connsiteY21" fmla="*/ 3352779 h 6198437"/>
                <a:gd name="connsiteX22" fmla="*/ 2858945 w 3751292"/>
                <a:gd name="connsiteY22" fmla="*/ 2049487 h 6198437"/>
                <a:gd name="connsiteX23" fmla="*/ 2041692 w 3751292"/>
                <a:gd name="connsiteY23" fmla="*/ 1163055 h 6198437"/>
                <a:gd name="connsiteX24" fmla="*/ 747426 w 3751292"/>
                <a:gd name="connsiteY24" fmla="*/ 761302 h 6198437"/>
                <a:gd name="connsiteX0" fmla="*/ 706971 w 3710837"/>
                <a:gd name="connsiteY0" fmla="*/ 761302 h 6198437"/>
                <a:gd name="connsiteX1" fmla="*/ 0 w 3710837"/>
                <a:gd name="connsiteY1" fmla="*/ 352592 h 6198437"/>
                <a:gd name="connsiteX2" fmla="*/ 196542 w 3710837"/>
                <a:gd name="connsiteY2" fmla="*/ 288171 h 6198437"/>
                <a:gd name="connsiteX3" fmla="*/ 155754 w 3710837"/>
                <a:gd name="connsiteY3" fmla="*/ 119840 h 6198437"/>
                <a:gd name="connsiteX4" fmla="*/ 538997 w 3710837"/>
                <a:gd name="connsiteY4" fmla="*/ 0 h 6198437"/>
                <a:gd name="connsiteX5" fmla="*/ 587295 w 3710837"/>
                <a:gd name="connsiteY5" fmla="*/ 165560 h 6198437"/>
                <a:gd name="connsiteX6" fmla="*/ 2350846 w 3710837"/>
                <a:gd name="connsiteY6" fmla="*/ 680900 h 6198437"/>
                <a:gd name="connsiteX7" fmla="*/ 2900976 w 3710837"/>
                <a:gd name="connsiteY7" fmla="*/ 1291242 h 6198437"/>
                <a:gd name="connsiteX8" fmla="*/ 2962380 w 3710837"/>
                <a:gd name="connsiteY8" fmla="*/ 1298860 h 6198437"/>
                <a:gd name="connsiteX9" fmla="*/ 3127221 w 3710837"/>
                <a:gd name="connsiteY9" fmla="*/ 1479661 h 6198437"/>
                <a:gd name="connsiteX10" fmla="*/ 3127444 w 3710837"/>
                <a:gd name="connsiteY10" fmla="*/ 1535080 h 6198437"/>
                <a:gd name="connsiteX11" fmla="*/ 3288708 w 3710837"/>
                <a:gd name="connsiteY11" fmla="*/ 1726990 h 6198437"/>
                <a:gd name="connsiteX12" fmla="*/ 3668696 w 3710837"/>
                <a:gd name="connsiteY12" fmla="*/ 3519512 h 6198437"/>
                <a:gd name="connsiteX13" fmla="*/ 3476617 w 3710837"/>
                <a:gd name="connsiteY13" fmla="*/ 4385669 h 6198437"/>
                <a:gd name="connsiteX14" fmla="*/ 3624067 w 3710837"/>
                <a:gd name="connsiteY14" fmla="*/ 4428964 h 6198437"/>
                <a:gd name="connsiteX15" fmla="*/ 3520150 w 3710837"/>
                <a:gd name="connsiteY15" fmla="*/ 4865439 h 6198437"/>
                <a:gd name="connsiteX16" fmla="*/ 3375547 w 3710837"/>
                <a:gd name="connsiteY16" fmla="*/ 4824545 h 6198437"/>
                <a:gd name="connsiteX17" fmla="*/ 2262120 w 3710837"/>
                <a:gd name="connsiteY17" fmla="*/ 6198437 h 6198437"/>
                <a:gd name="connsiteX18" fmla="*/ 2071122 w 3710837"/>
                <a:gd name="connsiteY18" fmla="*/ 5626725 h 6198437"/>
                <a:gd name="connsiteX19" fmla="*/ 2857257 w 3710837"/>
                <a:gd name="connsiteY19" fmla="*/ 4596953 h 6198437"/>
                <a:gd name="connsiteX20" fmla="*/ 3137306 w 3710837"/>
                <a:gd name="connsiteY20" fmla="*/ 3352779 h 6198437"/>
                <a:gd name="connsiteX21" fmla="*/ 2818490 w 3710837"/>
                <a:gd name="connsiteY21" fmla="*/ 2049487 h 6198437"/>
                <a:gd name="connsiteX22" fmla="*/ 2001237 w 3710837"/>
                <a:gd name="connsiteY22" fmla="*/ 1163055 h 6198437"/>
                <a:gd name="connsiteX23" fmla="*/ 706971 w 3710837"/>
                <a:gd name="connsiteY23" fmla="*/ 761302 h 6198437"/>
                <a:gd name="connsiteX0" fmla="*/ 551217 w 3555083"/>
                <a:gd name="connsiteY0" fmla="*/ 761302 h 6198437"/>
                <a:gd name="connsiteX1" fmla="*/ 40788 w 3555083"/>
                <a:gd name="connsiteY1" fmla="*/ 288171 h 6198437"/>
                <a:gd name="connsiteX2" fmla="*/ 0 w 3555083"/>
                <a:gd name="connsiteY2" fmla="*/ 119840 h 6198437"/>
                <a:gd name="connsiteX3" fmla="*/ 383243 w 3555083"/>
                <a:gd name="connsiteY3" fmla="*/ 0 h 6198437"/>
                <a:gd name="connsiteX4" fmla="*/ 431541 w 3555083"/>
                <a:gd name="connsiteY4" fmla="*/ 165560 h 6198437"/>
                <a:gd name="connsiteX5" fmla="*/ 2195092 w 3555083"/>
                <a:gd name="connsiteY5" fmla="*/ 680900 h 6198437"/>
                <a:gd name="connsiteX6" fmla="*/ 2745222 w 3555083"/>
                <a:gd name="connsiteY6" fmla="*/ 1291242 h 6198437"/>
                <a:gd name="connsiteX7" fmla="*/ 2806626 w 3555083"/>
                <a:gd name="connsiteY7" fmla="*/ 1298860 h 6198437"/>
                <a:gd name="connsiteX8" fmla="*/ 2971467 w 3555083"/>
                <a:gd name="connsiteY8" fmla="*/ 1479661 h 6198437"/>
                <a:gd name="connsiteX9" fmla="*/ 2971690 w 3555083"/>
                <a:gd name="connsiteY9" fmla="*/ 1535080 h 6198437"/>
                <a:gd name="connsiteX10" fmla="*/ 3132954 w 3555083"/>
                <a:gd name="connsiteY10" fmla="*/ 1726990 h 6198437"/>
                <a:gd name="connsiteX11" fmla="*/ 3512942 w 3555083"/>
                <a:gd name="connsiteY11" fmla="*/ 3519512 h 6198437"/>
                <a:gd name="connsiteX12" fmla="*/ 3320863 w 3555083"/>
                <a:gd name="connsiteY12" fmla="*/ 4385669 h 6198437"/>
                <a:gd name="connsiteX13" fmla="*/ 3468313 w 3555083"/>
                <a:gd name="connsiteY13" fmla="*/ 4428964 h 6198437"/>
                <a:gd name="connsiteX14" fmla="*/ 3364396 w 3555083"/>
                <a:gd name="connsiteY14" fmla="*/ 4865439 h 6198437"/>
                <a:gd name="connsiteX15" fmla="*/ 3219793 w 3555083"/>
                <a:gd name="connsiteY15" fmla="*/ 4824545 h 6198437"/>
                <a:gd name="connsiteX16" fmla="*/ 2106366 w 3555083"/>
                <a:gd name="connsiteY16" fmla="*/ 6198437 h 6198437"/>
                <a:gd name="connsiteX17" fmla="*/ 1915368 w 3555083"/>
                <a:gd name="connsiteY17" fmla="*/ 5626725 h 6198437"/>
                <a:gd name="connsiteX18" fmla="*/ 2701503 w 3555083"/>
                <a:gd name="connsiteY18" fmla="*/ 4596953 h 6198437"/>
                <a:gd name="connsiteX19" fmla="*/ 2981552 w 3555083"/>
                <a:gd name="connsiteY19" fmla="*/ 3352779 h 6198437"/>
                <a:gd name="connsiteX20" fmla="*/ 2662736 w 3555083"/>
                <a:gd name="connsiteY20" fmla="*/ 2049487 h 6198437"/>
                <a:gd name="connsiteX21" fmla="*/ 1845483 w 3555083"/>
                <a:gd name="connsiteY21" fmla="*/ 1163055 h 6198437"/>
                <a:gd name="connsiteX22" fmla="*/ 551217 w 3555083"/>
                <a:gd name="connsiteY22" fmla="*/ 761302 h 6198437"/>
                <a:gd name="connsiteX0" fmla="*/ 551217 w 3555083"/>
                <a:gd name="connsiteY0" fmla="*/ 761302 h 6198437"/>
                <a:gd name="connsiteX1" fmla="*/ 0 w 3555083"/>
                <a:gd name="connsiteY1" fmla="*/ 119840 h 6198437"/>
                <a:gd name="connsiteX2" fmla="*/ 383243 w 3555083"/>
                <a:gd name="connsiteY2" fmla="*/ 0 h 6198437"/>
                <a:gd name="connsiteX3" fmla="*/ 431541 w 3555083"/>
                <a:gd name="connsiteY3" fmla="*/ 165560 h 6198437"/>
                <a:gd name="connsiteX4" fmla="*/ 2195092 w 3555083"/>
                <a:gd name="connsiteY4" fmla="*/ 680900 h 6198437"/>
                <a:gd name="connsiteX5" fmla="*/ 2745222 w 3555083"/>
                <a:gd name="connsiteY5" fmla="*/ 1291242 h 6198437"/>
                <a:gd name="connsiteX6" fmla="*/ 2806626 w 3555083"/>
                <a:gd name="connsiteY6" fmla="*/ 1298860 h 6198437"/>
                <a:gd name="connsiteX7" fmla="*/ 2971467 w 3555083"/>
                <a:gd name="connsiteY7" fmla="*/ 1479661 h 6198437"/>
                <a:gd name="connsiteX8" fmla="*/ 2971690 w 3555083"/>
                <a:gd name="connsiteY8" fmla="*/ 1535080 h 6198437"/>
                <a:gd name="connsiteX9" fmla="*/ 3132954 w 3555083"/>
                <a:gd name="connsiteY9" fmla="*/ 1726990 h 6198437"/>
                <a:gd name="connsiteX10" fmla="*/ 3512942 w 3555083"/>
                <a:gd name="connsiteY10" fmla="*/ 3519512 h 6198437"/>
                <a:gd name="connsiteX11" fmla="*/ 3320863 w 3555083"/>
                <a:gd name="connsiteY11" fmla="*/ 4385669 h 6198437"/>
                <a:gd name="connsiteX12" fmla="*/ 3468313 w 3555083"/>
                <a:gd name="connsiteY12" fmla="*/ 4428964 h 6198437"/>
                <a:gd name="connsiteX13" fmla="*/ 3364396 w 3555083"/>
                <a:gd name="connsiteY13" fmla="*/ 4865439 h 6198437"/>
                <a:gd name="connsiteX14" fmla="*/ 3219793 w 3555083"/>
                <a:gd name="connsiteY14" fmla="*/ 4824545 h 6198437"/>
                <a:gd name="connsiteX15" fmla="*/ 2106366 w 3555083"/>
                <a:gd name="connsiteY15" fmla="*/ 6198437 h 6198437"/>
                <a:gd name="connsiteX16" fmla="*/ 1915368 w 3555083"/>
                <a:gd name="connsiteY16" fmla="*/ 5626725 h 6198437"/>
                <a:gd name="connsiteX17" fmla="*/ 2701503 w 3555083"/>
                <a:gd name="connsiteY17" fmla="*/ 4596953 h 6198437"/>
                <a:gd name="connsiteX18" fmla="*/ 2981552 w 3555083"/>
                <a:gd name="connsiteY18" fmla="*/ 3352779 h 6198437"/>
                <a:gd name="connsiteX19" fmla="*/ 2662736 w 3555083"/>
                <a:gd name="connsiteY19" fmla="*/ 2049487 h 6198437"/>
                <a:gd name="connsiteX20" fmla="*/ 1845483 w 3555083"/>
                <a:gd name="connsiteY20" fmla="*/ 1163055 h 6198437"/>
                <a:gd name="connsiteX21" fmla="*/ 551217 w 3555083"/>
                <a:gd name="connsiteY21" fmla="*/ 761302 h 6198437"/>
                <a:gd name="connsiteX0" fmla="*/ 167974 w 3171840"/>
                <a:gd name="connsiteY0" fmla="*/ 761302 h 6198437"/>
                <a:gd name="connsiteX1" fmla="*/ 0 w 3171840"/>
                <a:gd name="connsiteY1" fmla="*/ 0 h 6198437"/>
                <a:gd name="connsiteX2" fmla="*/ 48298 w 3171840"/>
                <a:gd name="connsiteY2" fmla="*/ 165560 h 6198437"/>
                <a:gd name="connsiteX3" fmla="*/ 1811849 w 3171840"/>
                <a:gd name="connsiteY3" fmla="*/ 680900 h 6198437"/>
                <a:gd name="connsiteX4" fmla="*/ 2361979 w 3171840"/>
                <a:gd name="connsiteY4" fmla="*/ 1291242 h 6198437"/>
                <a:gd name="connsiteX5" fmla="*/ 2423383 w 3171840"/>
                <a:gd name="connsiteY5" fmla="*/ 1298860 h 6198437"/>
                <a:gd name="connsiteX6" fmla="*/ 2588224 w 3171840"/>
                <a:gd name="connsiteY6" fmla="*/ 1479661 h 6198437"/>
                <a:gd name="connsiteX7" fmla="*/ 2588447 w 3171840"/>
                <a:gd name="connsiteY7" fmla="*/ 1535080 h 6198437"/>
                <a:gd name="connsiteX8" fmla="*/ 2749711 w 3171840"/>
                <a:gd name="connsiteY8" fmla="*/ 1726990 h 6198437"/>
                <a:gd name="connsiteX9" fmla="*/ 3129699 w 3171840"/>
                <a:gd name="connsiteY9" fmla="*/ 3519512 h 6198437"/>
                <a:gd name="connsiteX10" fmla="*/ 2937620 w 3171840"/>
                <a:gd name="connsiteY10" fmla="*/ 4385669 h 6198437"/>
                <a:gd name="connsiteX11" fmla="*/ 3085070 w 3171840"/>
                <a:gd name="connsiteY11" fmla="*/ 4428964 h 6198437"/>
                <a:gd name="connsiteX12" fmla="*/ 2981153 w 3171840"/>
                <a:gd name="connsiteY12" fmla="*/ 4865439 h 6198437"/>
                <a:gd name="connsiteX13" fmla="*/ 2836550 w 3171840"/>
                <a:gd name="connsiteY13" fmla="*/ 4824545 h 6198437"/>
                <a:gd name="connsiteX14" fmla="*/ 1723123 w 3171840"/>
                <a:gd name="connsiteY14" fmla="*/ 6198437 h 6198437"/>
                <a:gd name="connsiteX15" fmla="*/ 1532125 w 3171840"/>
                <a:gd name="connsiteY15" fmla="*/ 5626725 h 6198437"/>
                <a:gd name="connsiteX16" fmla="*/ 2318260 w 3171840"/>
                <a:gd name="connsiteY16" fmla="*/ 4596953 h 6198437"/>
                <a:gd name="connsiteX17" fmla="*/ 2598309 w 3171840"/>
                <a:gd name="connsiteY17" fmla="*/ 3352779 h 6198437"/>
                <a:gd name="connsiteX18" fmla="*/ 2279493 w 3171840"/>
                <a:gd name="connsiteY18" fmla="*/ 2049487 h 6198437"/>
                <a:gd name="connsiteX19" fmla="*/ 1462240 w 3171840"/>
                <a:gd name="connsiteY19" fmla="*/ 1163055 h 6198437"/>
                <a:gd name="connsiteX20" fmla="*/ 167974 w 3171840"/>
                <a:gd name="connsiteY20" fmla="*/ 761302 h 6198437"/>
                <a:gd name="connsiteX0" fmla="*/ 119676 w 3123542"/>
                <a:gd name="connsiteY0" fmla="*/ 648673 h 6085808"/>
                <a:gd name="connsiteX1" fmla="*/ 0 w 3123542"/>
                <a:gd name="connsiteY1" fmla="*/ 52931 h 6085808"/>
                <a:gd name="connsiteX2" fmla="*/ 1763551 w 3123542"/>
                <a:gd name="connsiteY2" fmla="*/ 568271 h 6085808"/>
                <a:gd name="connsiteX3" fmla="*/ 2313681 w 3123542"/>
                <a:gd name="connsiteY3" fmla="*/ 1178613 h 6085808"/>
                <a:gd name="connsiteX4" fmla="*/ 2375085 w 3123542"/>
                <a:gd name="connsiteY4" fmla="*/ 1186231 h 6085808"/>
                <a:gd name="connsiteX5" fmla="*/ 2539926 w 3123542"/>
                <a:gd name="connsiteY5" fmla="*/ 1367032 h 6085808"/>
                <a:gd name="connsiteX6" fmla="*/ 2540149 w 3123542"/>
                <a:gd name="connsiteY6" fmla="*/ 1422451 h 6085808"/>
                <a:gd name="connsiteX7" fmla="*/ 2701413 w 3123542"/>
                <a:gd name="connsiteY7" fmla="*/ 1614361 h 6085808"/>
                <a:gd name="connsiteX8" fmla="*/ 3081401 w 3123542"/>
                <a:gd name="connsiteY8" fmla="*/ 3406883 h 6085808"/>
                <a:gd name="connsiteX9" fmla="*/ 2889322 w 3123542"/>
                <a:gd name="connsiteY9" fmla="*/ 4273040 h 6085808"/>
                <a:gd name="connsiteX10" fmla="*/ 3036772 w 3123542"/>
                <a:gd name="connsiteY10" fmla="*/ 4316335 h 6085808"/>
                <a:gd name="connsiteX11" fmla="*/ 2932855 w 3123542"/>
                <a:gd name="connsiteY11" fmla="*/ 4752810 h 6085808"/>
                <a:gd name="connsiteX12" fmla="*/ 2788252 w 3123542"/>
                <a:gd name="connsiteY12" fmla="*/ 4711916 h 6085808"/>
                <a:gd name="connsiteX13" fmla="*/ 1674825 w 3123542"/>
                <a:gd name="connsiteY13" fmla="*/ 6085808 h 6085808"/>
                <a:gd name="connsiteX14" fmla="*/ 1483827 w 3123542"/>
                <a:gd name="connsiteY14" fmla="*/ 5514096 h 6085808"/>
                <a:gd name="connsiteX15" fmla="*/ 2269962 w 3123542"/>
                <a:gd name="connsiteY15" fmla="*/ 4484324 h 6085808"/>
                <a:gd name="connsiteX16" fmla="*/ 2550011 w 3123542"/>
                <a:gd name="connsiteY16" fmla="*/ 3240150 h 6085808"/>
                <a:gd name="connsiteX17" fmla="*/ 2231195 w 3123542"/>
                <a:gd name="connsiteY17" fmla="*/ 1936858 h 6085808"/>
                <a:gd name="connsiteX18" fmla="*/ 1413942 w 3123542"/>
                <a:gd name="connsiteY18" fmla="*/ 1050426 h 6085808"/>
                <a:gd name="connsiteX19" fmla="*/ 119676 w 3123542"/>
                <a:gd name="connsiteY19" fmla="*/ 648673 h 6085808"/>
                <a:gd name="connsiteX0" fmla="*/ 0 w 3003866"/>
                <a:gd name="connsiteY0" fmla="*/ 80402 h 5517537"/>
                <a:gd name="connsiteX1" fmla="*/ 1643875 w 3003866"/>
                <a:gd name="connsiteY1" fmla="*/ 0 h 5517537"/>
                <a:gd name="connsiteX2" fmla="*/ 2194005 w 3003866"/>
                <a:gd name="connsiteY2" fmla="*/ 610342 h 5517537"/>
                <a:gd name="connsiteX3" fmla="*/ 2255409 w 3003866"/>
                <a:gd name="connsiteY3" fmla="*/ 617960 h 5517537"/>
                <a:gd name="connsiteX4" fmla="*/ 2420250 w 3003866"/>
                <a:gd name="connsiteY4" fmla="*/ 798761 h 5517537"/>
                <a:gd name="connsiteX5" fmla="*/ 2420473 w 3003866"/>
                <a:gd name="connsiteY5" fmla="*/ 854180 h 5517537"/>
                <a:gd name="connsiteX6" fmla="*/ 2581737 w 3003866"/>
                <a:gd name="connsiteY6" fmla="*/ 1046090 h 5517537"/>
                <a:gd name="connsiteX7" fmla="*/ 2961725 w 3003866"/>
                <a:gd name="connsiteY7" fmla="*/ 2838612 h 5517537"/>
                <a:gd name="connsiteX8" fmla="*/ 2769646 w 3003866"/>
                <a:gd name="connsiteY8" fmla="*/ 3704769 h 5517537"/>
                <a:gd name="connsiteX9" fmla="*/ 2917096 w 3003866"/>
                <a:gd name="connsiteY9" fmla="*/ 3748064 h 5517537"/>
                <a:gd name="connsiteX10" fmla="*/ 2813179 w 3003866"/>
                <a:gd name="connsiteY10" fmla="*/ 4184539 h 5517537"/>
                <a:gd name="connsiteX11" fmla="*/ 2668576 w 3003866"/>
                <a:gd name="connsiteY11" fmla="*/ 4143645 h 5517537"/>
                <a:gd name="connsiteX12" fmla="*/ 1555149 w 3003866"/>
                <a:gd name="connsiteY12" fmla="*/ 5517537 h 5517537"/>
                <a:gd name="connsiteX13" fmla="*/ 1364151 w 3003866"/>
                <a:gd name="connsiteY13" fmla="*/ 4945825 h 5517537"/>
                <a:gd name="connsiteX14" fmla="*/ 2150286 w 3003866"/>
                <a:gd name="connsiteY14" fmla="*/ 3916053 h 5517537"/>
                <a:gd name="connsiteX15" fmla="*/ 2430335 w 3003866"/>
                <a:gd name="connsiteY15" fmla="*/ 2671879 h 5517537"/>
                <a:gd name="connsiteX16" fmla="*/ 2111519 w 3003866"/>
                <a:gd name="connsiteY16" fmla="*/ 1368587 h 5517537"/>
                <a:gd name="connsiteX17" fmla="*/ 1294266 w 3003866"/>
                <a:gd name="connsiteY17" fmla="*/ 482155 h 5517537"/>
                <a:gd name="connsiteX18" fmla="*/ 0 w 3003866"/>
                <a:gd name="connsiteY18" fmla="*/ 80402 h 5517537"/>
                <a:gd name="connsiteX0" fmla="*/ 13536 w 1723136"/>
                <a:gd name="connsiteY0" fmla="*/ 483325 h 5518707"/>
                <a:gd name="connsiteX1" fmla="*/ 363145 w 1723136"/>
                <a:gd name="connsiteY1" fmla="*/ 1170 h 5518707"/>
                <a:gd name="connsiteX2" fmla="*/ 913275 w 1723136"/>
                <a:gd name="connsiteY2" fmla="*/ 611512 h 5518707"/>
                <a:gd name="connsiteX3" fmla="*/ 974679 w 1723136"/>
                <a:gd name="connsiteY3" fmla="*/ 619130 h 5518707"/>
                <a:gd name="connsiteX4" fmla="*/ 1139520 w 1723136"/>
                <a:gd name="connsiteY4" fmla="*/ 799931 h 5518707"/>
                <a:gd name="connsiteX5" fmla="*/ 1139743 w 1723136"/>
                <a:gd name="connsiteY5" fmla="*/ 855350 h 5518707"/>
                <a:gd name="connsiteX6" fmla="*/ 1301007 w 1723136"/>
                <a:gd name="connsiteY6" fmla="*/ 1047260 h 5518707"/>
                <a:gd name="connsiteX7" fmla="*/ 1680995 w 1723136"/>
                <a:gd name="connsiteY7" fmla="*/ 2839782 h 5518707"/>
                <a:gd name="connsiteX8" fmla="*/ 1488916 w 1723136"/>
                <a:gd name="connsiteY8" fmla="*/ 3705939 h 5518707"/>
                <a:gd name="connsiteX9" fmla="*/ 1636366 w 1723136"/>
                <a:gd name="connsiteY9" fmla="*/ 3749234 h 5518707"/>
                <a:gd name="connsiteX10" fmla="*/ 1532449 w 1723136"/>
                <a:gd name="connsiteY10" fmla="*/ 4185709 h 5518707"/>
                <a:gd name="connsiteX11" fmla="*/ 1387846 w 1723136"/>
                <a:gd name="connsiteY11" fmla="*/ 4144815 h 5518707"/>
                <a:gd name="connsiteX12" fmla="*/ 274419 w 1723136"/>
                <a:gd name="connsiteY12" fmla="*/ 5518707 h 5518707"/>
                <a:gd name="connsiteX13" fmla="*/ 83421 w 1723136"/>
                <a:gd name="connsiteY13" fmla="*/ 4946995 h 5518707"/>
                <a:gd name="connsiteX14" fmla="*/ 869556 w 1723136"/>
                <a:gd name="connsiteY14" fmla="*/ 3917223 h 5518707"/>
                <a:gd name="connsiteX15" fmla="*/ 1149605 w 1723136"/>
                <a:gd name="connsiteY15" fmla="*/ 2673049 h 5518707"/>
                <a:gd name="connsiteX16" fmla="*/ 830789 w 1723136"/>
                <a:gd name="connsiteY16" fmla="*/ 1369757 h 5518707"/>
                <a:gd name="connsiteX17" fmla="*/ 13536 w 1723136"/>
                <a:gd name="connsiteY17" fmla="*/ 483325 h 5518707"/>
                <a:gd name="connsiteX0" fmla="*/ 0 w 1709600"/>
                <a:gd name="connsiteY0" fmla="*/ 483078 h 5518460"/>
                <a:gd name="connsiteX1" fmla="*/ 349609 w 1709600"/>
                <a:gd name="connsiteY1" fmla="*/ 923 h 5518460"/>
                <a:gd name="connsiteX2" fmla="*/ 899739 w 1709600"/>
                <a:gd name="connsiteY2" fmla="*/ 611265 h 5518460"/>
                <a:gd name="connsiteX3" fmla="*/ 961143 w 1709600"/>
                <a:gd name="connsiteY3" fmla="*/ 618883 h 5518460"/>
                <a:gd name="connsiteX4" fmla="*/ 1125984 w 1709600"/>
                <a:gd name="connsiteY4" fmla="*/ 799684 h 5518460"/>
                <a:gd name="connsiteX5" fmla="*/ 1126207 w 1709600"/>
                <a:gd name="connsiteY5" fmla="*/ 855103 h 5518460"/>
                <a:gd name="connsiteX6" fmla="*/ 1287471 w 1709600"/>
                <a:gd name="connsiteY6" fmla="*/ 1047013 h 5518460"/>
                <a:gd name="connsiteX7" fmla="*/ 1667459 w 1709600"/>
                <a:gd name="connsiteY7" fmla="*/ 2839535 h 5518460"/>
                <a:gd name="connsiteX8" fmla="*/ 1475380 w 1709600"/>
                <a:gd name="connsiteY8" fmla="*/ 3705692 h 5518460"/>
                <a:gd name="connsiteX9" fmla="*/ 1622830 w 1709600"/>
                <a:gd name="connsiteY9" fmla="*/ 3748987 h 5518460"/>
                <a:gd name="connsiteX10" fmla="*/ 1518913 w 1709600"/>
                <a:gd name="connsiteY10" fmla="*/ 4185462 h 5518460"/>
                <a:gd name="connsiteX11" fmla="*/ 1374310 w 1709600"/>
                <a:gd name="connsiteY11" fmla="*/ 4144568 h 5518460"/>
                <a:gd name="connsiteX12" fmla="*/ 260883 w 1709600"/>
                <a:gd name="connsiteY12" fmla="*/ 5518460 h 5518460"/>
                <a:gd name="connsiteX13" fmla="*/ 69885 w 1709600"/>
                <a:gd name="connsiteY13" fmla="*/ 4946748 h 5518460"/>
                <a:gd name="connsiteX14" fmla="*/ 856020 w 1709600"/>
                <a:gd name="connsiteY14" fmla="*/ 3916976 h 5518460"/>
                <a:gd name="connsiteX15" fmla="*/ 1136069 w 1709600"/>
                <a:gd name="connsiteY15" fmla="*/ 2672802 h 5518460"/>
                <a:gd name="connsiteX16" fmla="*/ 817253 w 1709600"/>
                <a:gd name="connsiteY16" fmla="*/ 1369510 h 5518460"/>
                <a:gd name="connsiteX17" fmla="*/ 0 w 1709600"/>
                <a:gd name="connsiteY17" fmla="*/ 483078 h 5518460"/>
                <a:gd name="connsiteX0" fmla="*/ 0 w 1732009"/>
                <a:gd name="connsiteY0" fmla="*/ 467166 h 5518500"/>
                <a:gd name="connsiteX1" fmla="*/ 372018 w 1732009"/>
                <a:gd name="connsiteY1" fmla="*/ 963 h 5518500"/>
                <a:gd name="connsiteX2" fmla="*/ 922148 w 1732009"/>
                <a:gd name="connsiteY2" fmla="*/ 611305 h 5518500"/>
                <a:gd name="connsiteX3" fmla="*/ 983552 w 1732009"/>
                <a:gd name="connsiteY3" fmla="*/ 618923 h 5518500"/>
                <a:gd name="connsiteX4" fmla="*/ 1148393 w 1732009"/>
                <a:gd name="connsiteY4" fmla="*/ 799724 h 5518500"/>
                <a:gd name="connsiteX5" fmla="*/ 1148616 w 1732009"/>
                <a:gd name="connsiteY5" fmla="*/ 855143 h 5518500"/>
                <a:gd name="connsiteX6" fmla="*/ 1309880 w 1732009"/>
                <a:gd name="connsiteY6" fmla="*/ 1047053 h 5518500"/>
                <a:gd name="connsiteX7" fmla="*/ 1689868 w 1732009"/>
                <a:gd name="connsiteY7" fmla="*/ 2839575 h 5518500"/>
                <a:gd name="connsiteX8" fmla="*/ 1497789 w 1732009"/>
                <a:gd name="connsiteY8" fmla="*/ 3705732 h 5518500"/>
                <a:gd name="connsiteX9" fmla="*/ 1645239 w 1732009"/>
                <a:gd name="connsiteY9" fmla="*/ 3749027 h 5518500"/>
                <a:gd name="connsiteX10" fmla="*/ 1541322 w 1732009"/>
                <a:gd name="connsiteY10" fmla="*/ 4185502 h 5518500"/>
                <a:gd name="connsiteX11" fmla="*/ 1396719 w 1732009"/>
                <a:gd name="connsiteY11" fmla="*/ 4144608 h 5518500"/>
                <a:gd name="connsiteX12" fmla="*/ 283292 w 1732009"/>
                <a:gd name="connsiteY12" fmla="*/ 5518500 h 5518500"/>
                <a:gd name="connsiteX13" fmla="*/ 92294 w 1732009"/>
                <a:gd name="connsiteY13" fmla="*/ 4946788 h 5518500"/>
                <a:gd name="connsiteX14" fmla="*/ 878429 w 1732009"/>
                <a:gd name="connsiteY14" fmla="*/ 3917016 h 5518500"/>
                <a:gd name="connsiteX15" fmla="*/ 1158478 w 1732009"/>
                <a:gd name="connsiteY15" fmla="*/ 2672842 h 5518500"/>
                <a:gd name="connsiteX16" fmla="*/ 839662 w 1732009"/>
                <a:gd name="connsiteY16" fmla="*/ 1369550 h 5518500"/>
                <a:gd name="connsiteX17" fmla="*/ 0 w 1732009"/>
                <a:gd name="connsiteY17" fmla="*/ 467166 h 5518500"/>
                <a:gd name="connsiteX0" fmla="*/ 0 w 1732009"/>
                <a:gd name="connsiteY0" fmla="*/ 466203 h 5517537"/>
                <a:gd name="connsiteX1" fmla="*/ 372018 w 1732009"/>
                <a:gd name="connsiteY1" fmla="*/ 0 h 5517537"/>
                <a:gd name="connsiteX2" fmla="*/ 922148 w 1732009"/>
                <a:gd name="connsiteY2" fmla="*/ 610342 h 5517537"/>
                <a:gd name="connsiteX3" fmla="*/ 983552 w 1732009"/>
                <a:gd name="connsiteY3" fmla="*/ 617960 h 5517537"/>
                <a:gd name="connsiteX4" fmla="*/ 1148393 w 1732009"/>
                <a:gd name="connsiteY4" fmla="*/ 798761 h 5517537"/>
                <a:gd name="connsiteX5" fmla="*/ 1148616 w 1732009"/>
                <a:gd name="connsiteY5" fmla="*/ 854180 h 5517537"/>
                <a:gd name="connsiteX6" fmla="*/ 1309880 w 1732009"/>
                <a:gd name="connsiteY6" fmla="*/ 1046090 h 5517537"/>
                <a:gd name="connsiteX7" fmla="*/ 1689868 w 1732009"/>
                <a:gd name="connsiteY7" fmla="*/ 2838612 h 5517537"/>
                <a:gd name="connsiteX8" fmla="*/ 1497789 w 1732009"/>
                <a:gd name="connsiteY8" fmla="*/ 3704769 h 5517537"/>
                <a:gd name="connsiteX9" fmla="*/ 1645239 w 1732009"/>
                <a:gd name="connsiteY9" fmla="*/ 3748064 h 5517537"/>
                <a:gd name="connsiteX10" fmla="*/ 1541322 w 1732009"/>
                <a:gd name="connsiteY10" fmla="*/ 4184539 h 5517537"/>
                <a:gd name="connsiteX11" fmla="*/ 1396719 w 1732009"/>
                <a:gd name="connsiteY11" fmla="*/ 4143645 h 5517537"/>
                <a:gd name="connsiteX12" fmla="*/ 283292 w 1732009"/>
                <a:gd name="connsiteY12" fmla="*/ 5517537 h 5517537"/>
                <a:gd name="connsiteX13" fmla="*/ 92294 w 1732009"/>
                <a:gd name="connsiteY13" fmla="*/ 4945825 h 5517537"/>
                <a:gd name="connsiteX14" fmla="*/ 878429 w 1732009"/>
                <a:gd name="connsiteY14" fmla="*/ 3916053 h 5517537"/>
                <a:gd name="connsiteX15" fmla="*/ 1158478 w 1732009"/>
                <a:gd name="connsiteY15" fmla="*/ 2671879 h 5517537"/>
                <a:gd name="connsiteX16" fmla="*/ 839662 w 1732009"/>
                <a:gd name="connsiteY16" fmla="*/ 1368587 h 5517537"/>
                <a:gd name="connsiteX17" fmla="*/ 0 w 1732009"/>
                <a:gd name="connsiteY17" fmla="*/ 466203 h 5517537"/>
                <a:gd name="connsiteX0" fmla="*/ 0 w 1739354"/>
                <a:gd name="connsiteY0" fmla="*/ 442272 h 5517537"/>
                <a:gd name="connsiteX1" fmla="*/ 379363 w 1739354"/>
                <a:gd name="connsiteY1" fmla="*/ 0 h 5517537"/>
                <a:gd name="connsiteX2" fmla="*/ 929493 w 1739354"/>
                <a:gd name="connsiteY2" fmla="*/ 610342 h 5517537"/>
                <a:gd name="connsiteX3" fmla="*/ 990897 w 1739354"/>
                <a:gd name="connsiteY3" fmla="*/ 617960 h 5517537"/>
                <a:gd name="connsiteX4" fmla="*/ 1155738 w 1739354"/>
                <a:gd name="connsiteY4" fmla="*/ 798761 h 5517537"/>
                <a:gd name="connsiteX5" fmla="*/ 1155961 w 1739354"/>
                <a:gd name="connsiteY5" fmla="*/ 854180 h 5517537"/>
                <a:gd name="connsiteX6" fmla="*/ 1317225 w 1739354"/>
                <a:gd name="connsiteY6" fmla="*/ 1046090 h 5517537"/>
                <a:gd name="connsiteX7" fmla="*/ 1697213 w 1739354"/>
                <a:gd name="connsiteY7" fmla="*/ 2838612 h 5517537"/>
                <a:gd name="connsiteX8" fmla="*/ 1505134 w 1739354"/>
                <a:gd name="connsiteY8" fmla="*/ 3704769 h 5517537"/>
                <a:gd name="connsiteX9" fmla="*/ 1652584 w 1739354"/>
                <a:gd name="connsiteY9" fmla="*/ 3748064 h 5517537"/>
                <a:gd name="connsiteX10" fmla="*/ 1548667 w 1739354"/>
                <a:gd name="connsiteY10" fmla="*/ 4184539 h 5517537"/>
                <a:gd name="connsiteX11" fmla="*/ 1404064 w 1739354"/>
                <a:gd name="connsiteY11" fmla="*/ 4143645 h 5517537"/>
                <a:gd name="connsiteX12" fmla="*/ 290637 w 1739354"/>
                <a:gd name="connsiteY12" fmla="*/ 5517537 h 5517537"/>
                <a:gd name="connsiteX13" fmla="*/ 99639 w 1739354"/>
                <a:gd name="connsiteY13" fmla="*/ 4945825 h 5517537"/>
                <a:gd name="connsiteX14" fmla="*/ 885774 w 1739354"/>
                <a:gd name="connsiteY14" fmla="*/ 3916053 h 5517537"/>
                <a:gd name="connsiteX15" fmla="*/ 1165823 w 1739354"/>
                <a:gd name="connsiteY15" fmla="*/ 2671879 h 5517537"/>
                <a:gd name="connsiteX16" fmla="*/ 847007 w 1739354"/>
                <a:gd name="connsiteY16" fmla="*/ 1368587 h 5517537"/>
                <a:gd name="connsiteX17" fmla="*/ 0 w 1739354"/>
                <a:gd name="connsiteY17" fmla="*/ 442272 h 5517537"/>
                <a:gd name="connsiteX0" fmla="*/ 0 w 1739354"/>
                <a:gd name="connsiteY0" fmla="*/ 460885 h 5536150"/>
                <a:gd name="connsiteX1" fmla="*/ 367121 w 1739354"/>
                <a:gd name="connsiteY1" fmla="*/ 0 h 5536150"/>
                <a:gd name="connsiteX2" fmla="*/ 929493 w 1739354"/>
                <a:gd name="connsiteY2" fmla="*/ 628955 h 5536150"/>
                <a:gd name="connsiteX3" fmla="*/ 990897 w 1739354"/>
                <a:gd name="connsiteY3" fmla="*/ 636573 h 5536150"/>
                <a:gd name="connsiteX4" fmla="*/ 1155738 w 1739354"/>
                <a:gd name="connsiteY4" fmla="*/ 817374 h 5536150"/>
                <a:gd name="connsiteX5" fmla="*/ 1155961 w 1739354"/>
                <a:gd name="connsiteY5" fmla="*/ 872793 h 5536150"/>
                <a:gd name="connsiteX6" fmla="*/ 1317225 w 1739354"/>
                <a:gd name="connsiteY6" fmla="*/ 1064703 h 5536150"/>
                <a:gd name="connsiteX7" fmla="*/ 1697213 w 1739354"/>
                <a:gd name="connsiteY7" fmla="*/ 2857225 h 5536150"/>
                <a:gd name="connsiteX8" fmla="*/ 1505134 w 1739354"/>
                <a:gd name="connsiteY8" fmla="*/ 3723382 h 5536150"/>
                <a:gd name="connsiteX9" fmla="*/ 1652584 w 1739354"/>
                <a:gd name="connsiteY9" fmla="*/ 3766677 h 5536150"/>
                <a:gd name="connsiteX10" fmla="*/ 1548667 w 1739354"/>
                <a:gd name="connsiteY10" fmla="*/ 4203152 h 5536150"/>
                <a:gd name="connsiteX11" fmla="*/ 1404064 w 1739354"/>
                <a:gd name="connsiteY11" fmla="*/ 4162258 h 5536150"/>
                <a:gd name="connsiteX12" fmla="*/ 290637 w 1739354"/>
                <a:gd name="connsiteY12" fmla="*/ 5536150 h 5536150"/>
                <a:gd name="connsiteX13" fmla="*/ 99639 w 1739354"/>
                <a:gd name="connsiteY13" fmla="*/ 4964438 h 5536150"/>
                <a:gd name="connsiteX14" fmla="*/ 885774 w 1739354"/>
                <a:gd name="connsiteY14" fmla="*/ 3934666 h 5536150"/>
                <a:gd name="connsiteX15" fmla="*/ 1165823 w 1739354"/>
                <a:gd name="connsiteY15" fmla="*/ 2690492 h 5536150"/>
                <a:gd name="connsiteX16" fmla="*/ 847007 w 1739354"/>
                <a:gd name="connsiteY16" fmla="*/ 1387200 h 5536150"/>
                <a:gd name="connsiteX17" fmla="*/ 0 w 1739354"/>
                <a:gd name="connsiteY17" fmla="*/ 460885 h 5536150"/>
                <a:gd name="connsiteX0" fmla="*/ 0 w 1739354"/>
                <a:gd name="connsiteY0" fmla="*/ 460885 h 5536150"/>
                <a:gd name="connsiteX1" fmla="*/ 367121 w 1739354"/>
                <a:gd name="connsiteY1" fmla="*/ 0 h 5536150"/>
                <a:gd name="connsiteX2" fmla="*/ 929493 w 1739354"/>
                <a:gd name="connsiteY2" fmla="*/ 628955 h 5536150"/>
                <a:gd name="connsiteX3" fmla="*/ 990897 w 1739354"/>
                <a:gd name="connsiteY3" fmla="*/ 636573 h 5536150"/>
                <a:gd name="connsiteX4" fmla="*/ 1155738 w 1739354"/>
                <a:gd name="connsiteY4" fmla="*/ 817374 h 5536150"/>
                <a:gd name="connsiteX5" fmla="*/ 1155961 w 1739354"/>
                <a:gd name="connsiteY5" fmla="*/ 872793 h 5536150"/>
                <a:gd name="connsiteX6" fmla="*/ 1317225 w 1739354"/>
                <a:gd name="connsiteY6" fmla="*/ 1064703 h 5536150"/>
                <a:gd name="connsiteX7" fmla="*/ 1697213 w 1739354"/>
                <a:gd name="connsiteY7" fmla="*/ 2857225 h 5536150"/>
                <a:gd name="connsiteX8" fmla="*/ 1505134 w 1739354"/>
                <a:gd name="connsiteY8" fmla="*/ 3723382 h 5536150"/>
                <a:gd name="connsiteX9" fmla="*/ 1652584 w 1739354"/>
                <a:gd name="connsiteY9" fmla="*/ 3766677 h 5536150"/>
                <a:gd name="connsiteX10" fmla="*/ 1548667 w 1739354"/>
                <a:gd name="connsiteY10" fmla="*/ 4203152 h 5536150"/>
                <a:gd name="connsiteX11" fmla="*/ 1404064 w 1739354"/>
                <a:gd name="connsiteY11" fmla="*/ 4162258 h 5536150"/>
                <a:gd name="connsiteX12" fmla="*/ 290637 w 1739354"/>
                <a:gd name="connsiteY12" fmla="*/ 5536150 h 5536150"/>
                <a:gd name="connsiteX13" fmla="*/ 99639 w 1739354"/>
                <a:gd name="connsiteY13" fmla="*/ 4964438 h 5536150"/>
                <a:gd name="connsiteX14" fmla="*/ 885774 w 1739354"/>
                <a:gd name="connsiteY14" fmla="*/ 3934666 h 5536150"/>
                <a:gd name="connsiteX15" fmla="*/ 1165823 w 1739354"/>
                <a:gd name="connsiteY15" fmla="*/ 2690492 h 5536150"/>
                <a:gd name="connsiteX16" fmla="*/ 847007 w 1739354"/>
                <a:gd name="connsiteY16" fmla="*/ 1387200 h 5536150"/>
                <a:gd name="connsiteX17" fmla="*/ 0 w 1739354"/>
                <a:gd name="connsiteY17" fmla="*/ 460885 h 5536150"/>
                <a:gd name="connsiteX0" fmla="*/ 747368 w 1639715"/>
                <a:gd name="connsiteY0" fmla="*/ 1387200 h 5536150"/>
                <a:gd name="connsiteX1" fmla="*/ 267482 w 1639715"/>
                <a:gd name="connsiteY1" fmla="*/ 0 h 5536150"/>
                <a:gd name="connsiteX2" fmla="*/ 829854 w 1639715"/>
                <a:gd name="connsiteY2" fmla="*/ 628955 h 5536150"/>
                <a:gd name="connsiteX3" fmla="*/ 891258 w 1639715"/>
                <a:gd name="connsiteY3" fmla="*/ 636573 h 5536150"/>
                <a:gd name="connsiteX4" fmla="*/ 1056099 w 1639715"/>
                <a:gd name="connsiteY4" fmla="*/ 817374 h 5536150"/>
                <a:gd name="connsiteX5" fmla="*/ 1056322 w 1639715"/>
                <a:gd name="connsiteY5" fmla="*/ 872793 h 5536150"/>
                <a:gd name="connsiteX6" fmla="*/ 1217586 w 1639715"/>
                <a:gd name="connsiteY6" fmla="*/ 1064703 h 5536150"/>
                <a:gd name="connsiteX7" fmla="*/ 1597574 w 1639715"/>
                <a:gd name="connsiteY7" fmla="*/ 2857225 h 5536150"/>
                <a:gd name="connsiteX8" fmla="*/ 1405495 w 1639715"/>
                <a:gd name="connsiteY8" fmla="*/ 3723382 h 5536150"/>
                <a:gd name="connsiteX9" fmla="*/ 1552945 w 1639715"/>
                <a:gd name="connsiteY9" fmla="*/ 3766677 h 5536150"/>
                <a:gd name="connsiteX10" fmla="*/ 1449028 w 1639715"/>
                <a:gd name="connsiteY10" fmla="*/ 4203152 h 5536150"/>
                <a:gd name="connsiteX11" fmla="*/ 1304425 w 1639715"/>
                <a:gd name="connsiteY11" fmla="*/ 4162258 h 5536150"/>
                <a:gd name="connsiteX12" fmla="*/ 190998 w 1639715"/>
                <a:gd name="connsiteY12" fmla="*/ 5536150 h 5536150"/>
                <a:gd name="connsiteX13" fmla="*/ 0 w 1639715"/>
                <a:gd name="connsiteY13" fmla="*/ 4964438 h 5536150"/>
                <a:gd name="connsiteX14" fmla="*/ 786135 w 1639715"/>
                <a:gd name="connsiteY14" fmla="*/ 3934666 h 5536150"/>
                <a:gd name="connsiteX15" fmla="*/ 1066184 w 1639715"/>
                <a:gd name="connsiteY15" fmla="*/ 2690492 h 5536150"/>
                <a:gd name="connsiteX16" fmla="*/ 747368 w 1639715"/>
                <a:gd name="connsiteY16" fmla="*/ 1387200 h 5536150"/>
                <a:gd name="connsiteX0" fmla="*/ 747368 w 1639715"/>
                <a:gd name="connsiteY0" fmla="*/ 758245 h 4907195"/>
                <a:gd name="connsiteX1" fmla="*/ 829854 w 1639715"/>
                <a:gd name="connsiteY1" fmla="*/ 0 h 4907195"/>
                <a:gd name="connsiteX2" fmla="*/ 891258 w 1639715"/>
                <a:gd name="connsiteY2" fmla="*/ 7618 h 4907195"/>
                <a:gd name="connsiteX3" fmla="*/ 1056099 w 1639715"/>
                <a:gd name="connsiteY3" fmla="*/ 188419 h 4907195"/>
                <a:gd name="connsiteX4" fmla="*/ 1056322 w 1639715"/>
                <a:gd name="connsiteY4" fmla="*/ 243838 h 4907195"/>
                <a:gd name="connsiteX5" fmla="*/ 1217586 w 1639715"/>
                <a:gd name="connsiteY5" fmla="*/ 435748 h 4907195"/>
                <a:gd name="connsiteX6" fmla="*/ 1597574 w 1639715"/>
                <a:gd name="connsiteY6" fmla="*/ 2228270 h 4907195"/>
                <a:gd name="connsiteX7" fmla="*/ 1405495 w 1639715"/>
                <a:gd name="connsiteY7" fmla="*/ 3094427 h 4907195"/>
                <a:gd name="connsiteX8" fmla="*/ 1552945 w 1639715"/>
                <a:gd name="connsiteY8" fmla="*/ 3137722 h 4907195"/>
                <a:gd name="connsiteX9" fmla="*/ 1449028 w 1639715"/>
                <a:gd name="connsiteY9" fmla="*/ 3574197 h 4907195"/>
                <a:gd name="connsiteX10" fmla="*/ 1304425 w 1639715"/>
                <a:gd name="connsiteY10" fmla="*/ 3533303 h 4907195"/>
                <a:gd name="connsiteX11" fmla="*/ 190998 w 1639715"/>
                <a:gd name="connsiteY11" fmla="*/ 4907195 h 4907195"/>
                <a:gd name="connsiteX12" fmla="*/ 0 w 1639715"/>
                <a:gd name="connsiteY12" fmla="*/ 4335483 h 4907195"/>
                <a:gd name="connsiteX13" fmla="*/ 786135 w 1639715"/>
                <a:gd name="connsiteY13" fmla="*/ 3305711 h 4907195"/>
                <a:gd name="connsiteX14" fmla="*/ 1066184 w 1639715"/>
                <a:gd name="connsiteY14" fmla="*/ 2061537 h 4907195"/>
                <a:gd name="connsiteX15" fmla="*/ 747368 w 1639715"/>
                <a:gd name="connsiteY15" fmla="*/ 758245 h 4907195"/>
                <a:gd name="connsiteX0" fmla="*/ 747368 w 1639715"/>
                <a:gd name="connsiteY0" fmla="*/ 750627 h 4899577"/>
                <a:gd name="connsiteX1" fmla="*/ 891258 w 1639715"/>
                <a:gd name="connsiteY1" fmla="*/ 0 h 4899577"/>
                <a:gd name="connsiteX2" fmla="*/ 1056099 w 1639715"/>
                <a:gd name="connsiteY2" fmla="*/ 180801 h 4899577"/>
                <a:gd name="connsiteX3" fmla="*/ 1056322 w 1639715"/>
                <a:gd name="connsiteY3" fmla="*/ 236220 h 4899577"/>
                <a:gd name="connsiteX4" fmla="*/ 1217586 w 1639715"/>
                <a:gd name="connsiteY4" fmla="*/ 428130 h 4899577"/>
                <a:gd name="connsiteX5" fmla="*/ 1597574 w 1639715"/>
                <a:gd name="connsiteY5" fmla="*/ 2220652 h 4899577"/>
                <a:gd name="connsiteX6" fmla="*/ 1405495 w 1639715"/>
                <a:gd name="connsiteY6" fmla="*/ 3086809 h 4899577"/>
                <a:gd name="connsiteX7" fmla="*/ 1552945 w 1639715"/>
                <a:gd name="connsiteY7" fmla="*/ 3130104 h 4899577"/>
                <a:gd name="connsiteX8" fmla="*/ 1449028 w 1639715"/>
                <a:gd name="connsiteY8" fmla="*/ 3566579 h 4899577"/>
                <a:gd name="connsiteX9" fmla="*/ 1304425 w 1639715"/>
                <a:gd name="connsiteY9" fmla="*/ 3525685 h 4899577"/>
                <a:gd name="connsiteX10" fmla="*/ 190998 w 1639715"/>
                <a:gd name="connsiteY10" fmla="*/ 4899577 h 4899577"/>
                <a:gd name="connsiteX11" fmla="*/ 0 w 1639715"/>
                <a:gd name="connsiteY11" fmla="*/ 4327865 h 4899577"/>
                <a:gd name="connsiteX12" fmla="*/ 786135 w 1639715"/>
                <a:gd name="connsiteY12" fmla="*/ 3298093 h 4899577"/>
                <a:gd name="connsiteX13" fmla="*/ 1066184 w 1639715"/>
                <a:gd name="connsiteY13" fmla="*/ 2053919 h 4899577"/>
                <a:gd name="connsiteX14" fmla="*/ 747368 w 1639715"/>
                <a:gd name="connsiteY14" fmla="*/ 750627 h 4899577"/>
                <a:gd name="connsiteX0" fmla="*/ 747368 w 1639715"/>
                <a:gd name="connsiteY0" fmla="*/ 569826 h 4718776"/>
                <a:gd name="connsiteX1" fmla="*/ 1056099 w 1639715"/>
                <a:gd name="connsiteY1" fmla="*/ 0 h 4718776"/>
                <a:gd name="connsiteX2" fmla="*/ 1056322 w 1639715"/>
                <a:gd name="connsiteY2" fmla="*/ 55419 h 4718776"/>
                <a:gd name="connsiteX3" fmla="*/ 1217586 w 1639715"/>
                <a:gd name="connsiteY3" fmla="*/ 247329 h 4718776"/>
                <a:gd name="connsiteX4" fmla="*/ 1597574 w 1639715"/>
                <a:gd name="connsiteY4" fmla="*/ 2039851 h 4718776"/>
                <a:gd name="connsiteX5" fmla="*/ 1405495 w 1639715"/>
                <a:gd name="connsiteY5" fmla="*/ 2906008 h 4718776"/>
                <a:gd name="connsiteX6" fmla="*/ 1552945 w 1639715"/>
                <a:gd name="connsiteY6" fmla="*/ 2949303 h 4718776"/>
                <a:gd name="connsiteX7" fmla="*/ 1449028 w 1639715"/>
                <a:gd name="connsiteY7" fmla="*/ 3385778 h 4718776"/>
                <a:gd name="connsiteX8" fmla="*/ 1304425 w 1639715"/>
                <a:gd name="connsiteY8" fmla="*/ 3344884 h 4718776"/>
                <a:gd name="connsiteX9" fmla="*/ 190998 w 1639715"/>
                <a:gd name="connsiteY9" fmla="*/ 4718776 h 4718776"/>
                <a:gd name="connsiteX10" fmla="*/ 0 w 1639715"/>
                <a:gd name="connsiteY10" fmla="*/ 4147064 h 4718776"/>
                <a:gd name="connsiteX11" fmla="*/ 786135 w 1639715"/>
                <a:gd name="connsiteY11" fmla="*/ 3117292 h 4718776"/>
                <a:gd name="connsiteX12" fmla="*/ 1066184 w 1639715"/>
                <a:gd name="connsiteY12" fmla="*/ 1873118 h 4718776"/>
                <a:gd name="connsiteX13" fmla="*/ 747368 w 1639715"/>
                <a:gd name="connsiteY13" fmla="*/ 569826 h 4718776"/>
                <a:gd name="connsiteX0" fmla="*/ 747368 w 1639715"/>
                <a:gd name="connsiteY0" fmla="*/ 514407 h 4663357"/>
                <a:gd name="connsiteX1" fmla="*/ 1056322 w 1639715"/>
                <a:gd name="connsiteY1" fmla="*/ 0 h 4663357"/>
                <a:gd name="connsiteX2" fmla="*/ 1217586 w 1639715"/>
                <a:gd name="connsiteY2" fmla="*/ 191910 h 4663357"/>
                <a:gd name="connsiteX3" fmla="*/ 1597574 w 1639715"/>
                <a:gd name="connsiteY3" fmla="*/ 1984432 h 4663357"/>
                <a:gd name="connsiteX4" fmla="*/ 1405495 w 1639715"/>
                <a:gd name="connsiteY4" fmla="*/ 2850589 h 4663357"/>
                <a:gd name="connsiteX5" fmla="*/ 1552945 w 1639715"/>
                <a:gd name="connsiteY5" fmla="*/ 2893884 h 4663357"/>
                <a:gd name="connsiteX6" fmla="*/ 1449028 w 1639715"/>
                <a:gd name="connsiteY6" fmla="*/ 3330359 h 4663357"/>
                <a:gd name="connsiteX7" fmla="*/ 1304425 w 1639715"/>
                <a:gd name="connsiteY7" fmla="*/ 3289465 h 4663357"/>
                <a:gd name="connsiteX8" fmla="*/ 190998 w 1639715"/>
                <a:gd name="connsiteY8" fmla="*/ 4663357 h 4663357"/>
                <a:gd name="connsiteX9" fmla="*/ 0 w 1639715"/>
                <a:gd name="connsiteY9" fmla="*/ 4091645 h 4663357"/>
                <a:gd name="connsiteX10" fmla="*/ 786135 w 1639715"/>
                <a:gd name="connsiteY10" fmla="*/ 3061873 h 4663357"/>
                <a:gd name="connsiteX11" fmla="*/ 1066184 w 1639715"/>
                <a:gd name="connsiteY11" fmla="*/ 1817699 h 4663357"/>
                <a:gd name="connsiteX12" fmla="*/ 747368 w 1639715"/>
                <a:gd name="connsiteY12" fmla="*/ 514407 h 4663357"/>
                <a:gd name="connsiteX0" fmla="*/ 747368 w 1639715"/>
                <a:gd name="connsiteY0" fmla="*/ 413750 h 4562700"/>
                <a:gd name="connsiteX1" fmla="*/ 1217586 w 1639715"/>
                <a:gd name="connsiteY1" fmla="*/ 91253 h 4562700"/>
                <a:gd name="connsiteX2" fmla="*/ 1597574 w 1639715"/>
                <a:gd name="connsiteY2" fmla="*/ 1883775 h 4562700"/>
                <a:gd name="connsiteX3" fmla="*/ 1405495 w 1639715"/>
                <a:gd name="connsiteY3" fmla="*/ 2749932 h 4562700"/>
                <a:gd name="connsiteX4" fmla="*/ 1552945 w 1639715"/>
                <a:gd name="connsiteY4" fmla="*/ 2793227 h 4562700"/>
                <a:gd name="connsiteX5" fmla="*/ 1449028 w 1639715"/>
                <a:gd name="connsiteY5" fmla="*/ 3229702 h 4562700"/>
                <a:gd name="connsiteX6" fmla="*/ 1304425 w 1639715"/>
                <a:gd name="connsiteY6" fmla="*/ 3188808 h 4562700"/>
                <a:gd name="connsiteX7" fmla="*/ 190998 w 1639715"/>
                <a:gd name="connsiteY7" fmla="*/ 4562700 h 4562700"/>
                <a:gd name="connsiteX8" fmla="*/ 0 w 1639715"/>
                <a:gd name="connsiteY8" fmla="*/ 3990988 h 4562700"/>
                <a:gd name="connsiteX9" fmla="*/ 786135 w 1639715"/>
                <a:gd name="connsiteY9" fmla="*/ 2961216 h 4562700"/>
                <a:gd name="connsiteX10" fmla="*/ 1066184 w 1639715"/>
                <a:gd name="connsiteY10" fmla="*/ 1717042 h 4562700"/>
                <a:gd name="connsiteX11" fmla="*/ 747368 w 1639715"/>
                <a:gd name="connsiteY11" fmla="*/ 413750 h 4562700"/>
                <a:gd name="connsiteX0" fmla="*/ 1066184 w 1639715"/>
                <a:gd name="connsiteY0" fmla="*/ 1626274 h 4471932"/>
                <a:gd name="connsiteX1" fmla="*/ 1217586 w 1639715"/>
                <a:gd name="connsiteY1" fmla="*/ 485 h 4471932"/>
                <a:gd name="connsiteX2" fmla="*/ 1597574 w 1639715"/>
                <a:gd name="connsiteY2" fmla="*/ 1793007 h 4471932"/>
                <a:gd name="connsiteX3" fmla="*/ 1405495 w 1639715"/>
                <a:gd name="connsiteY3" fmla="*/ 2659164 h 4471932"/>
                <a:gd name="connsiteX4" fmla="*/ 1552945 w 1639715"/>
                <a:gd name="connsiteY4" fmla="*/ 2702459 h 4471932"/>
                <a:gd name="connsiteX5" fmla="*/ 1449028 w 1639715"/>
                <a:gd name="connsiteY5" fmla="*/ 3138934 h 4471932"/>
                <a:gd name="connsiteX6" fmla="*/ 1304425 w 1639715"/>
                <a:gd name="connsiteY6" fmla="*/ 3098040 h 4471932"/>
                <a:gd name="connsiteX7" fmla="*/ 190998 w 1639715"/>
                <a:gd name="connsiteY7" fmla="*/ 4471932 h 4471932"/>
                <a:gd name="connsiteX8" fmla="*/ 0 w 1639715"/>
                <a:gd name="connsiteY8" fmla="*/ 3900220 h 4471932"/>
                <a:gd name="connsiteX9" fmla="*/ 786135 w 1639715"/>
                <a:gd name="connsiteY9" fmla="*/ 2870448 h 4471932"/>
                <a:gd name="connsiteX10" fmla="*/ 1066184 w 1639715"/>
                <a:gd name="connsiteY10" fmla="*/ 1626274 h 4471932"/>
                <a:gd name="connsiteX0" fmla="*/ 1066184 w 1597574"/>
                <a:gd name="connsiteY0" fmla="*/ 75715 h 2921373"/>
                <a:gd name="connsiteX1" fmla="*/ 1597574 w 1597574"/>
                <a:gd name="connsiteY1" fmla="*/ 242448 h 2921373"/>
                <a:gd name="connsiteX2" fmla="*/ 1405495 w 1597574"/>
                <a:gd name="connsiteY2" fmla="*/ 1108605 h 2921373"/>
                <a:gd name="connsiteX3" fmla="*/ 1552945 w 1597574"/>
                <a:gd name="connsiteY3" fmla="*/ 1151900 h 2921373"/>
                <a:gd name="connsiteX4" fmla="*/ 1449028 w 1597574"/>
                <a:gd name="connsiteY4" fmla="*/ 1588375 h 2921373"/>
                <a:gd name="connsiteX5" fmla="*/ 1304425 w 1597574"/>
                <a:gd name="connsiteY5" fmla="*/ 1547481 h 2921373"/>
                <a:gd name="connsiteX6" fmla="*/ 190998 w 1597574"/>
                <a:gd name="connsiteY6" fmla="*/ 2921373 h 2921373"/>
                <a:gd name="connsiteX7" fmla="*/ 0 w 1597574"/>
                <a:gd name="connsiteY7" fmla="*/ 2349661 h 2921373"/>
                <a:gd name="connsiteX8" fmla="*/ 786135 w 1597574"/>
                <a:gd name="connsiteY8" fmla="*/ 1319889 h 2921373"/>
                <a:gd name="connsiteX9" fmla="*/ 1066184 w 1597574"/>
                <a:gd name="connsiteY9" fmla="*/ 75715 h 2921373"/>
                <a:gd name="connsiteX0" fmla="*/ 1066184 w 1607247"/>
                <a:gd name="connsiteY0" fmla="*/ 81725 h 2927383"/>
                <a:gd name="connsiteX1" fmla="*/ 1607247 w 1607247"/>
                <a:gd name="connsiteY1" fmla="*/ 222219 h 2927383"/>
                <a:gd name="connsiteX2" fmla="*/ 1405495 w 1607247"/>
                <a:gd name="connsiteY2" fmla="*/ 1114615 h 2927383"/>
                <a:gd name="connsiteX3" fmla="*/ 1552945 w 1607247"/>
                <a:gd name="connsiteY3" fmla="*/ 1157910 h 2927383"/>
                <a:gd name="connsiteX4" fmla="*/ 1449028 w 1607247"/>
                <a:gd name="connsiteY4" fmla="*/ 1594385 h 2927383"/>
                <a:gd name="connsiteX5" fmla="*/ 1304425 w 1607247"/>
                <a:gd name="connsiteY5" fmla="*/ 1553491 h 2927383"/>
                <a:gd name="connsiteX6" fmla="*/ 190998 w 1607247"/>
                <a:gd name="connsiteY6" fmla="*/ 2927383 h 2927383"/>
                <a:gd name="connsiteX7" fmla="*/ 0 w 1607247"/>
                <a:gd name="connsiteY7" fmla="*/ 2355671 h 2927383"/>
                <a:gd name="connsiteX8" fmla="*/ 786135 w 1607247"/>
                <a:gd name="connsiteY8" fmla="*/ 1325899 h 2927383"/>
                <a:gd name="connsiteX9" fmla="*/ 1066184 w 1607247"/>
                <a:gd name="connsiteY9" fmla="*/ 81725 h 2927383"/>
                <a:gd name="connsiteX0" fmla="*/ 1066184 w 1607247"/>
                <a:gd name="connsiteY0" fmla="*/ 64806 h 2910464"/>
                <a:gd name="connsiteX1" fmla="*/ 1607247 w 1607247"/>
                <a:gd name="connsiteY1" fmla="*/ 205300 h 2910464"/>
                <a:gd name="connsiteX2" fmla="*/ 1405495 w 1607247"/>
                <a:gd name="connsiteY2" fmla="*/ 1097696 h 2910464"/>
                <a:gd name="connsiteX3" fmla="*/ 1552945 w 1607247"/>
                <a:gd name="connsiteY3" fmla="*/ 1140991 h 2910464"/>
                <a:gd name="connsiteX4" fmla="*/ 1449028 w 1607247"/>
                <a:gd name="connsiteY4" fmla="*/ 1577466 h 2910464"/>
                <a:gd name="connsiteX5" fmla="*/ 1304425 w 1607247"/>
                <a:gd name="connsiteY5" fmla="*/ 1536572 h 2910464"/>
                <a:gd name="connsiteX6" fmla="*/ 190998 w 1607247"/>
                <a:gd name="connsiteY6" fmla="*/ 2910464 h 2910464"/>
                <a:gd name="connsiteX7" fmla="*/ 0 w 1607247"/>
                <a:gd name="connsiteY7" fmla="*/ 2338752 h 2910464"/>
                <a:gd name="connsiteX8" fmla="*/ 786135 w 1607247"/>
                <a:gd name="connsiteY8" fmla="*/ 1308980 h 2910464"/>
                <a:gd name="connsiteX9" fmla="*/ 1066184 w 1607247"/>
                <a:gd name="connsiteY9" fmla="*/ 64806 h 2910464"/>
                <a:gd name="connsiteX0" fmla="*/ 1066184 w 1607247"/>
                <a:gd name="connsiteY0" fmla="*/ 0 h 2845658"/>
                <a:gd name="connsiteX1" fmla="*/ 1607247 w 1607247"/>
                <a:gd name="connsiteY1" fmla="*/ 140494 h 2845658"/>
                <a:gd name="connsiteX2" fmla="*/ 1405495 w 1607247"/>
                <a:gd name="connsiteY2" fmla="*/ 1032890 h 2845658"/>
                <a:gd name="connsiteX3" fmla="*/ 1552945 w 1607247"/>
                <a:gd name="connsiteY3" fmla="*/ 1076185 h 2845658"/>
                <a:gd name="connsiteX4" fmla="*/ 1449028 w 1607247"/>
                <a:gd name="connsiteY4" fmla="*/ 1512660 h 2845658"/>
                <a:gd name="connsiteX5" fmla="*/ 1304425 w 1607247"/>
                <a:gd name="connsiteY5" fmla="*/ 1471766 h 2845658"/>
                <a:gd name="connsiteX6" fmla="*/ 190998 w 1607247"/>
                <a:gd name="connsiteY6" fmla="*/ 2845658 h 2845658"/>
                <a:gd name="connsiteX7" fmla="*/ 0 w 1607247"/>
                <a:gd name="connsiteY7" fmla="*/ 2273946 h 2845658"/>
                <a:gd name="connsiteX8" fmla="*/ 786135 w 1607247"/>
                <a:gd name="connsiteY8" fmla="*/ 1244174 h 2845658"/>
                <a:gd name="connsiteX9" fmla="*/ 1066184 w 1607247"/>
                <a:gd name="connsiteY9" fmla="*/ 0 h 2845658"/>
                <a:gd name="connsiteX0" fmla="*/ 1061348 w 1607247"/>
                <a:gd name="connsiteY0" fmla="*/ 0 h 2840410"/>
                <a:gd name="connsiteX1" fmla="*/ 1607247 w 1607247"/>
                <a:gd name="connsiteY1" fmla="*/ 135246 h 2840410"/>
                <a:gd name="connsiteX2" fmla="*/ 1405495 w 1607247"/>
                <a:gd name="connsiteY2" fmla="*/ 1027642 h 2840410"/>
                <a:gd name="connsiteX3" fmla="*/ 1552945 w 1607247"/>
                <a:gd name="connsiteY3" fmla="*/ 1070937 h 2840410"/>
                <a:gd name="connsiteX4" fmla="*/ 1449028 w 1607247"/>
                <a:gd name="connsiteY4" fmla="*/ 1507412 h 2840410"/>
                <a:gd name="connsiteX5" fmla="*/ 1304425 w 1607247"/>
                <a:gd name="connsiteY5" fmla="*/ 1466518 h 2840410"/>
                <a:gd name="connsiteX6" fmla="*/ 190998 w 1607247"/>
                <a:gd name="connsiteY6" fmla="*/ 2840410 h 2840410"/>
                <a:gd name="connsiteX7" fmla="*/ 0 w 1607247"/>
                <a:gd name="connsiteY7" fmla="*/ 2268698 h 2840410"/>
                <a:gd name="connsiteX8" fmla="*/ 786135 w 1607247"/>
                <a:gd name="connsiteY8" fmla="*/ 1238926 h 2840410"/>
                <a:gd name="connsiteX9" fmla="*/ 1061348 w 1607247"/>
                <a:gd name="connsiteY9" fmla="*/ 0 h 2840410"/>
                <a:gd name="connsiteX0" fmla="*/ 1061348 w 1607247"/>
                <a:gd name="connsiteY0" fmla="*/ 0 h 2840410"/>
                <a:gd name="connsiteX1" fmla="*/ 1607247 w 1607247"/>
                <a:gd name="connsiteY1" fmla="*/ 135246 h 2840410"/>
                <a:gd name="connsiteX2" fmla="*/ 1405495 w 1607247"/>
                <a:gd name="connsiteY2" fmla="*/ 1027642 h 2840410"/>
                <a:gd name="connsiteX3" fmla="*/ 1552945 w 1607247"/>
                <a:gd name="connsiteY3" fmla="*/ 1070937 h 2840410"/>
                <a:gd name="connsiteX4" fmla="*/ 1449028 w 1607247"/>
                <a:gd name="connsiteY4" fmla="*/ 1507412 h 2840410"/>
                <a:gd name="connsiteX5" fmla="*/ 1304425 w 1607247"/>
                <a:gd name="connsiteY5" fmla="*/ 1466518 h 2840410"/>
                <a:gd name="connsiteX6" fmla="*/ 190998 w 1607247"/>
                <a:gd name="connsiteY6" fmla="*/ 2840410 h 2840410"/>
                <a:gd name="connsiteX7" fmla="*/ 0 w 1607247"/>
                <a:gd name="connsiteY7" fmla="*/ 2268698 h 2840410"/>
                <a:gd name="connsiteX8" fmla="*/ 786135 w 1607247"/>
                <a:gd name="connsiteY8" fmla="*/ 1238926 h 2840410"/>
                <a:gd name="connsiteX9" fmla="*/ 1061348 w 1607247"/>
                <a:gd name="connsiteY9" fmla="*/ 0 h 2840410"/>
                <a:gd name="connsiteX0" fmla="*/ 1061348 w 1602411"/>
                <a:gd name="connsiteY0" fmla="*/ 0 h 2840410"/>
                <a:gd name="connsiteX1" fmla="*/ 1602411 w 1602411"/>
                <a:gd name="connsiteY1" fmla="*/ 124751 h 2840410"/>
                <a:gd name="connsiteX2" fmla="*/ 1405495 w 1602411"/>
                <a:gd name="connsiteY2" fmla="*/ 1027642 h 2840410"/>
                <a:gd name="connsiteX3" fmla="*/ 1552945 w 1602411"/>
                <a:gd name="connsiteY3" fmla="*/ 1070937 h 2840410"/>
                <a:gd name="connsiteX4" fmla="*/ 1449028 w 1602411"/>
                <a:gd name="connsiteY4" fmla="*/ 1507412 h 2840410"/>
                <a:gd name="connsiteX5" fmla="*/ 1304425 w 1602411"/>
                <a:gd name="connsiteY5" fmla="*/ 1466518 h 2840410"/>
                <a:gd name="connsiteX6" fmla="*/ 190998 w 1602411"/>
                <a:gd name="connsiteY6" fmla="*/ 2840410 h 2840410"/>
                <a:gd name="connsiteX7" fmla="*/ 0 w 1602411"/>
                <a:gd name="connsiteY7" fmla="*/ 2268698 h 2840410"/>
                <a:gd name="connsiteX8" fmla="*/ 786135 w 1602411"/>
                <a:gd name="connsiteY8" fmla="*/ 1238926 h 2840410"/>
                <a:gd name="connsiteX9" fmla="*/ 1061348 w 1602411"/>
                <a:gd name="connsiteY9" fmla="*/ 0 h 2840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02411" h="2840410">
                  <a:moveTo>
                    <a:pt x="1061348" y="0"/>
                  </a:moveTo>
                  <a:lnTo>
                    <a:pt x="1602411" y="124751"/>
                  </a:lnTo>
                  <a:lnTo>
                    <a:pt x="1405495" y="1027642"/>
                  </a:lnTo>
                  <a:lnTo>
                    <a:pt x="1552945" y="1070937"/>
                  </a:lnTo>
                  <a:lnTo>
                    <a:pt x="1449028" y="1507412"/>
                  </a:lnTo>
                  <a:lnTo>
                    <a:pt x="1304425" y="1466518"/>
                  </a:lnTo>
                  <a:cubicBezTo>
                    <a:pt x="1133931" y="2018956"/>
                    <a:pt x="808542" y="2542565"/>
                    <a:pt x="190998" y="2840410"/>
                  </a:cubicBezTo>
                  <a:lnTo>
                    <a:pt x="0" y="2268698"/>
                  </a:lnTo>
                  <a:cubicBezTo>
                    <a:pt x="583520" y="1949699"/>
                    <a:pt x="662710" y="1567422"/>
                    <a:pt x="786135" y="1238926"/>
                  </a:cubicBezTo>
                  <a:cubicBezTo>
                    <a:pt x="852175" y="921426"/>
                    <a:pt x="995308" y="317500"/>
                    <a:pt x="1061348" y="0"/>
                  </a:cubicBezTo>
                  <a:close/>
                </a:path>
              </a:pathLst>
            </a:custGeom>
            <a:solidFill>
              <a:srgbClr val="008000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DE" sz="6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3" name="Text_T110N_BA2">
              <a:extLst>
                <a:ext uri="{FF2B5EF4-FFF2-40B4-BE49-F238E27FC236}">
                  <a16:creationId xmlns:a16="http://schemas.microsoft.com/office/drawing/2014/main" id="{D736A886-3474-43F7-9621-26A3FA909C1E}"/>
                </a:ext>
              </a:extLst>
            </p:cNvPr>
            <p:cNvSpPr/>
            <p:nvPr/>
          </p:nvSpPr>
          <p:spPr>
            <a:xfrm>
              <a:off x="8524839" y="3504888"/>
              <a:ext cx="798712" cy="189330"/>
            </a:xfrm>
            <a:prstGeom prst="borderCallout1">
              <a:avLst>
                <a:gd name="adj1" fmla="val 50659"/>
                <a:gd name="adj2" fmla="val -489"/>
                <a:gd name="adj3" fmla="val 48212"/>
                <a:gd name="adj4" fmla="val -80117"/>
              </a:avLst>
            </a:prstGeom>
            <a:solidFill>
              <a:schemeClr val="tx2">
                <a:lumMod val="20000"/>
                <a:lumOff val="80000"/>
              </a:schemeClr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257312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>
                  <a:solidFill>
                    <a:sysClr val="windowText" lastClr="000000"/>
                  </a:solidFill>
                </a:rPr>
                <a:t>T110N, 2. BA</a:t>
              </a:r>
            </a:p>
          </p:txBody>
        </p:sp>
        <p:sp>
          <p:nvSpPr>
            <p:cNvPr id="24" name="Text_T110N_BA2">
              <a:extLst>
                <a:ext uri="{FF2B5EF4-FFF2-40B4-BE49-F238E27FC236}">
                  <a16:creationId xmlns:a16="http://schemas.microsoft.com/office/drawing/2014/main" id="{0481AC96-458E-4958-A894-F430CB17E1D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889077" y="3581461"/>
              <a:ext cx="25117" cy="24697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de-DE" dirty="0"/>
            </a:p>
          </p:txBody>
        </p:sp>
        <p:sp>
          <p:nvSpPr>
            <p:cNvPr id="25" name="T110S">
              <a:extLst>
                <a:ext uri="{FF2B5EF4-FFF2-40B4-BE49-F238E27FC236}">
                  <a16:creationId xmlns:a16="http://schemas.microsoft.com/office/drawing/2014/main" id="{CA49C8E3-D7EA-4C78-B8FF-6DB2C22DCD9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101778" y="4017971"/>
              <a:ext cx="2227536" cy="936601"/>
            </a:xfrm>
            <a:custGeom>
              <a:avLst/>
              <a:gdLst>
                <a:gd name="connsiteX0" fmla="*/ 0 w 5234940"/>
                <a:gd name="connsiteY0" fmla="*/ 1219200 h 4191000"/>
                <a:gd name="connsiteX1" fmla="*/ 190500 w 5234940"/>
                <a:gd name="connsiteY1" fmla="*/ 990600 h 4191000"/>
                <a:gd name="connsiteX2" fmla="*/ 434340 w 5234940"/>
                <a:gd name="connsiteY2" fmla="*/ 792480 h 4191000"/>
                <a:gd name="connsiteX3" fmla="*/ 662940 w 5234940"/>
                <a:gd name="connsiteY3" fmla="*/ 624840 h 4191000"/>
                <a:gd name="connsiteX4" fmla="*/ 906780 w 5234940"/>
                <a:gd name="connsiteY4" fmla="*/ 533400 h 4191000"/>
                <a:gd name="connsiteX5" fmla="*/ 868680 w 5234940"/>
                <a:gd name="connsiteY5" fmla="*/ 426720 h 4191000"/>
                <a:gd name="connsiteX6" fmla="*/ 1051560 w 5234940"/>
                <a:gd name="connsiteY6" fmla="*/ 358140 h 4191000"/>
                <a:gd name="connsiteX7" fmla="*/ 1097280 w 5234940"/>
                <a:gd name="connsiteY7" fmla="*/ 464820 h 4191000"/>
                <a:gd name="connsiteX8" fmla="*/ 1219200 w 5234940"/>
                <a:gd name="connsiteY8" fmla="*/ 434340 h 4191000"/>
                <a:gd name="connsiteX9" fmla="*/ 1249680 w 5234940"/>
                <a:gd name="connsiteY9" fmla="*/ 365760 h 4191000"/>
                <a:gd name="connsiteX10" fmla="*/ 1508760 w 5234940"/>
                <a:gd name="connsiteY10" fmla="*/ 297180 h 4191000"/>
                <a:gd name="connsiteX11" fmla="*/ 1562100 w 5234940"/>
                <a:gd name="connsiteY11" fmla="*/ 327660 h 4191000"/>
                <a:gd name="connsiteX12" fmla="*/ 1691640 w 5234940"/>
                <a:gd name="connsiteY12" fmla="*/ 274320 h 4191000"/>
                <a:gd name="connsiteX13" fmla="*/ 1661160 w 5234940"/>
                <a:gd name="connsiteY13" fmla="*/ 114300 h 4191000"/>
                <a:gd name="connsiteX14" fmla="*/ 2065020 w 5234940"/>
                <a:gd name="connsiteY14" fmla="*/ 0 h 4191000"/>
                <a:gd name="connsiteX15" fmla="*/ 2110740 w 5234940"/>
                <a:gd name="connsiteY15" fmla="*/ 160020 h 4191000"/>
                <a:gd name="connsiteX16" fmla="*/ 2362200 w 5234940"/>
                <a:gd name="connsiteY16" fmla="*/ 106680 h 4191000"/>
                <a:gd name="connsiteX17" fmla="*/ 2621280 w 5234940"/>
                <a:gd name="connsiteY17" fmla="*/ 99060 h 4191000"/>
                <a:gd name="connsiteX18" fmla="*/ 2948940 w 5234940"/>
                <a:gd name="connsiteY18" fmla="*/ 152400 h 4191000"/>
                <a:gd name="connsiteX19" fmla="*/ 3276600 w 5234940"/>
                <a:gd name="connsiteY19" fmla="*/ 251460 h 4191000"/>
                <a:gd name="connsiteX20" fmla="*/ 3642360 w 5234940"/>
                <a:gd name="connsiteY20" fmla="*/ 464820 h 4191000"/>
                <a:gd name="connsiteX21" fmla="*/ 3931920 w 5234940"/>
                <a:gd name="connsiteY21" fmla="*/ 723900 h 4191000"/>
                <a:gd name="connsiteX22" fmla="*/ 4442460 w 5234940"/>
                <a:gd name="connsiteY22" fmla="*/ 1280160 h 4191000"/>
                <a:gd name="connsiteX23" fmla="*/ 4472940 w 5234940"/>
                <a:gd name="connsiteY23" fmla="*/ 1287780 h 4191000"/>
                <a:gd name="connsiteX24" fmla="*/ 4655820 w 5234940"/>
                <a:gd name="connsiteY24" fmla="*/ 1463040 h 4191000"/>
                <a:gd name="connsiteX25" fmla="*/ 4640580 w 5234940"/>
                <a:gd name="connsiteY25" fmla="*/ 1524000 h 4191000"/>
                <a:gd name="connsiteX26" fmla="*/ 4892040 w 5234940"/>
                <a:gd name="connsiteY26" fmla="*/ 1821180 h 4191000"/>
                <a:gd name="connsiteX27" fmla="*/ 5082540 w 5234940"/>
                <a:gd name="connsiteY27" fmla="*/ 2217420 h 4191000"/>
                <a:gd name="connsiteX28" fmla="*/ 5204460 w 5234940"/>
                <a:gd name="connsiteY28" fmla="*/ 2636520 h 4191000"/>
                <a:gd name="connsiteX29" fmla="*/ 5234940 w 5234940"/>
                <a:gd name="connsiteY29" fmla="*/ 3086100 h 4191000"/>
                <a:gd name="connsiteX30" fmla="*/ 5181600 w 5234940"/>
                <a:gd name="connsiteY30" fmla="*/ 3611880 h 4191000"/>
                <a:gd name="connsiteX31" fmla="*/ 5029200 w 5234940"/>
                <a:gd name="connsiteY31" fmla="*/ 4175760 h 4191000"/>
                <a:gd name="connsiteX32" fmla="*/ 4450080 w 5234940"/>
                <a:gd name="connsiteY32" fmla="*/ 4191000 h 4191000"/>
                <a:gd name="connsiteX33" fmla="*/ 4671060 w 5234940"/>
                <a:gd name="connsiteY33" fmla="*/ 3261360 h 4191000"/>
                <a:gd name="connsiteX34" fmla="*/ 4678680 w 5234940"/>
                <a:gd name="connsiteY34" fmla="*/ 2834640 h 4191000"/>
                <a:gd name="connsiteX35" fmla="*/ 4556760 w 5234940"/>
                <a:gd name="connsiteY35" fmla="*/ 2415540 h 4191000"/>
                <a:gd name="connsiteX36" fmla="*/ 4351020 w 5234940"/>
                <a:gd name="connsiteY36" fmla="*/ 2057400 h 4191000"/>
                <a:gd name="connsiteX37" fmla="*/ 3406140 w 5234940"/>
                <a:gd name="connsiteY37" fmla="*/ 1013460 h 4191000"/>
                <a:gd name="connsiteX38" fmla="*/ 3169920 w 5234940"/>
                <a:gd name="connsiteY38" fmla="*/ 853440 h 4191000"/>
                <a:gd name="connsiteX39" fmla="*/ 2887980 w 5234940"/>
                <a:gd name="connsiteY39" fmla="*/ 739140 h 4191000"/>
                <a:gd name="connsiteX40" fmla="*/ 2491740 w 5234940"/>
                <a:gd name="connsiteY40" fmla="*/ 693420 h 4191000"/>
                <a:gd name="connsiteX41" fmla="*/ 2209800 w 5234940"/>
                <a:gd name="connsiteY41" fmla="*/ 739140 h 4191000"/>
                <a:gd name="connsiteX42" fmla="*/ 1211580 w 5234940"/>
                <a:gd name="connsiteY42" fmla="*/ 1059180 h 4191000"/>
                <a:gd name="connsiteX43" fmla="*/ 937260 w 5234940"/>
                <a:gd name="connsiteY43" fmla="*/ 1165860 h 4191000"/>
                <a:gd name="connsiteX44" fmla="*/ 792480 w 5234940"/>
                <a:gd name="connsiteY44" fmla="*/ 1257300 h 4191000"/>
                <a:gd name="connsiteX45" fmla="*/ 0 w 5234940"/>
                <a:gd name="connsiteY45" fmla="*/ 1219200 h 4191000"/>
                <a:gd name="connsiteX0" fmla="*/ 0 w 5257800"/>
                <a:gd name="connsiteY0" fmla="*/ 1234440 h 4191000"/>
                <a:gd name="connsiteX1" fmla="*/ 213360 w 5257800"/>
                <a:gd name="connsiteY1" fmla="*/ 990600 h 4191000"/>
                <a:gd name="connsiteX2" fmla="*/ 457200 w 5257800"/>
                <a:gd name="connsiteY2" fmla="*/ 792480 h 4191000"/>
                <a:gd name="connsiteX3" fmla="*/ 685800 w 5257800"/>
                <a:gd name="connsiteY3" fmla="*/ 624840 h 4191000"/>
                <a:gd name="connsiteX4" fmla="*/ 929640 w 5257800"/>
                <a:gd name="connsiteY4" fmla="*/ 533400 h 4191000"/>
                <a:gd name="connsiteX5" fmla="*/ 891540 w 5257800"/>
                <a:gd name="connsiteY5" fmla="*/ 426720 h 4191000"/>
                <a:gd name="connsiteX6" fmla="*/ 1074420 w 5257800"/>
                <a:gd name="connsiteY6" fmla="*/ 358140 h 4191000"/>
                <a:gd name="connsiteX7" fmla="*/ 1120140 w 5257800"/>
                <a:gd name="connsiteY7" fmla="*/ 464820 h 4191000"/>
                <a:gd name="connsiteX8" fmla="*/ 1242060 w 5257800"/>
                <a:gd name="connsiteY8" fmla="*/ 434340 h 4191000"/>
                <a:gd name="connsiteX9" fmla="*/ 1272540 w 5257800"/>
                <a:gd name="connsiteY9" fmla="*/ 365760 h 4191000"/>
                <a:gd name="connsiteX10" fmla="*/ 1531620 w 5257800"/>
                <a:gd name="connsiteY10" fmla="*/ 297180 h 4191000"/>
                <a:gd name="connsiteX11" fmla="*/ 1584960 w 5257800"/>
                <a:gd name="connsiteY11" fmla="*/ 327660 h 4191000"/>
                <a:gd name="connsiteX12" fmla="*/ 1714500 w 5257800"/>
                <a:gd name="connsiteY12" fmla="*/ 274320 h 4191000"/>
                <a:gd name="connsiteX13" fmla="*/ 1684020 w 5257800"/>
                <a:gd name="connsiteY13" fmla="*/ 114300 h 4191000"/>
                <a:gd name="connsiteX14" fmla="*/ 2087880 w 5257800"/>
                <a:gd name="connsiteY14" fmla="*/ 0 h 4191000"/>
                <a:gd name="connsiteX15" fmla="*/ 2133600 w 5257800"/>
                <a:gd name="connsiteY15" fmla="*/ 160020 h 4191000"/>
                <a:gd name="connsiteX16" fmla="*/ 2385060 w 5257800"/>
                <a:gd name="connsiteY16" fmla="*/ 106680 h 4191000"/>
                <a:gd name="connsiteX17" fmla="*/ 2644140 w 5257800"/>
                <a:gd name="connsiteY17" fmla="*/ 99060 h 4191000"/>
                <a:gd name="connsiteX18" fmla="*/ 2971800 w 5257800"/>
                <a:gd name="connsiteY18" fmla="*/ 152400 h 4191000"/>
                <a:gd name="connsiteX19" fmla="*/ 3299460 w 5257800"/>
                <a:gd name="connsiteY19" fmla="*/ 251460 h 4191000"/>
                <a:gd name="connsiteX20" fmla="*/ 3665220 w 5257800"/>
                <a:gd name="connsiteY20" fmla="*/ 464820 h 4191000"/>
                <a:gd name="connsiteX21" fmla="*/ 3954780 w 5257800"/>
                <a:gd name="connsiteY21" fmla="*/ 723900 h 4191000"/>
                <a:gd name="connsiteX22" fmla="*/ 4465320 w 5257800"/>
                <a:gd name="connsiteY22" fmla="*/ 1280160 h 4191000"/>
                <a:gd name="connsiteX23" fmla="*/ 4495800 w 5257800"/>
                <a:gd name="connsiteY23" fmla="*/ 1287780 h 4191000"/>
                <a:gd name="connsiteX24" fmla="*/ 4678680 w 5257800"/>
                <a:gd name="connsiteY24" fmla="*/ 1463040 h 4191000"/>
                <a:gd name="connsiteX25" fmla="*/ 4663440 w 5257800"/>
                <a:gd name="connsiteY25" fmla="*/ 1524000 h 4191000"/>
                <a:gd name="connsiteX26" fmla="*/ 4914900 w 5257800"/>
                <a:gd name="connsiteY26" fmla="*/ 1821180 h 4191000"/>
                <a:gd name="connsiteX27" fmla="*/ 5105400 w 5257800"/>
                <a:gd name="connsiteY27" fmla="*/ 2217420 h 4191000"/>
                <a:gd name="connsiteX28" fmla="*/ 5227320 w 5257800"/>
                <a:gd name="connsiteY28" fmla="*/ 2636520 h 4191000"/>
                <a:gd name="connsiteX29" fmla="*/ 5257800 w 5257800"/>
                <a:gd name="connsiteY29" fmla="*/ 3086100 h 4191000"/>
                <a:gd name="connsiteX30" fmla="*/ 5204460 w 5257800"/>
                <a:gd name="connsiteY30" fmla="*/ 3611880 h 4191000"/>
                <a:gd name="connsiteX31" fmla="*/ 5052060 w 5257800"/>
                <a:gd name="connsiteY31" fmla="*/ 4175760 h 4191000"/>
                <a:gd name="connsiteX32" fmla="*/ 4472940 w 5257800"/>
                <a:gd name="connsiteY32" fmla="*/ 4191000 h 4191000"/>
                <a:gd name="connsiteX33" fmla="*/ 4693920 w 5257800"/>
                <a:gd name="connsiteY33" fmla="*/ 3261360 h 4191000"/>
                <a:gd name="connsiteX34" fmla="*/ 4701540 w 5257800"/>
                <a:gd name="connsiteY34" fmla="*/ 2834640 h 4191000"/>
                <a:gd name="connsiteX35" fmla="*/ 4579620 w 5257800"/>
                <a:gd name="connsiteY35" fmla="*/ 2415540 h 4191000"/>
                <a:gd name="connsiteX36" fmla="*/ 4373880 w 5257800"/>
                <a:gd name="connsiteY36" fmla="*/ 2057400 h 4191000"/>
                <a:gd name="connsiteX37" fmla="*/ 3429000 w 5257800"/>
                <a:gd name="connsiteY37" fmla="*/ 1013460 h 4191000"/>
                <a:gd name="connsiteX38" fmla="*/ 3192780 w 5257800"/>
                <a:gd name="connsiteY38" fmla="*/ 853440 h 4191000"/>
                <a:gd name="connsiteX39" fmla="*/ 2910840 w 5257800"/>
                <a:gd name="connsiteY39" fmla="*/ 739140 h 4191000"/>
                <a:gd name="connsiteX40" fmla="*/ 2514600 w 5257800"/>
                <a:gd name="connsiteY40" fmla="*/ 693420 h 4191000"/>
                <a:gd name="connsiteX41" fmla="*/ 2232660 w 5257800"/>
                <a:gd name="connsiteY41" fmla="*/ 739140 h 4191000"/>
                <a:gd name="connsiteX42" fmla="*/ 1234440 w 5257800"/>
                <a:gd name="connsiteY42" fmla="*/ 1059180 h 4191000"/>
                <a:gd name="connsiteX43" fmla="*/ 960120 w 5257800"/>
                <a:gd name="connsiteY43" fmla="*/ 1165860 h 4191000"/>
                <a:gd name="connsiteX44" fmla="*/ 815340 w 5257800"/>
                <a:gd name="connsiteY44" fmla="*/ 1257300 h 4191000"/>
                <a:gd name="connsiteX45" fmla="*/ 0 w 5257800"/>
                <a:gd name="connsiteY45" fmla="*/ 1234440 h 4191000"/>
                <a:gd name="connsiteX0" fmla="*/ 0 w 5257800"/>
                <a:gd name="connsiteY0" fmla="*/ 1234440 h 4206240"/>
                <a:gd name="connsiteX1" fmla="*/ 213360 w 5257800"/>
                <a:gd name="connsiteY1" fmla="*/ 990600 h 4206240"/>
                <a:gd name="connsiteX2" fmla="*/ 457200 w 5257800"/>
                <a:gd name="connsiteY2" fmla="*/ 792480 h 4206240"/>
                <a:gd name="connsiteX3" fmla="*/ 685800 w 5257800"/>
                <a:gd name="connsiteY3" fmla="*/ 624840 h 4206240"/>
                <a:gd name="connsiteX4" fmla="*/ 929640 w 5257800"/>
                <a:gd name="connsiteY4" fmla="*/ 533400 h 4206240"/>
                <a:gd name="connsiteX5" fmla="*/ 891540 w 5257800"/>
                <a:gd name="connsiteY5" fmla="*/ 426720 h 4206240"/>
                <a:gd name="connsiteX6" fmla="*/ 1074420 w 5257800"/>
                <a:gd name="connsiteY6" fmla="*/ 358140 h 4206240"/>
                <a:gd name="connsiteX7" fmla="*/ 1120140 w 5257800"/>
                <a:gd name="connsiteY7" fmla="*/ 464820 h 4206240"/>
                <a:gd name="connsiteX8" fmla="*/ 1242060 w 5257800"/>
                <a:gd name="connsiteY8" fmla="*/ 434340 h 4206240"/>
                <a:gd name="connsiteX9" fmla="*/ 1272540 w 5257800"/>
                <a:gd name="connsiteY9" fmla="*/ 365760 h 4206240"/>
                <a:gd name="connsiteX10" fmla="*/ 1531620 w 5257800"/>
                <a:gd name="connsiteY10" fmla="*/ 297180 h 4206240"/>
                <a:gd name="connsiteX11" fmla="*/ 1584960 w 5257800"/>
                <a:gd name="connsiteY11" fmla="*/ 327660 h 4206240"/>
                <a:gd name="connsiteX12" fmla="*/ 1714500 w 5257800"/>
                <a:gd name="connsiteY12" fmla="*/ 274320 h 4206240"/>
                <a:gd name="connsiteX13" fmla="*/ 1684020 w 5257800"/>
                <a:gd name="connsiteY13" fmla="*/ 114300 h 4206240"/>
                <a:gd name="connsiteX14" fmla="*/ 2087880 w 5257800"/>
                <a:gd name="connsiteY14" fmla="*/ 0 h 4206240"/>
                <a:gd name="connsiteX15" fmla="*/ 2133600 w 5257800"/>
                <a:gd name="connsiteY15" fmla="*/ 160020 h 4206240"/>
                <a:gd name="connsiteX16" fmla="*/ 2385060 w 5257800"/>
                <a:gd name="connsiteY16" fmla="*/ 106680 h 4206240"/>
                <a:gd name="connsiteX17" fmla="*/ 2644140 w 5257800"/>
                <a:gd name="connsiteY17" fmla="*/ 99060 h 4206240"/>
                <a:gd name="connsiteX18" fmla="*/ 2971800 w 5257800"/>
                <a:gd name="connsiteY18" fmla="*/ 152400 h 4206240"/>
                <a:gd name="connsiteX19" fmla="*/ 3299460 w 5257800"/>
                <a:gd name="connsiteY19" fmla="*/ 251460 h 4206240"/>
                <a:gd name="connsiteX20" fmla="*/ 3665220 w 5257800"/>
                <a:gd name="connsiteY20" fmla="*/ 464820 h 4206240"/>
                <a:gd name="connsiteX21" fmla="*/ 3954780 w 5257800"/>
                <a:gd name="connsiteY21" fmla="*/ 723900 h 4206240"/>
                <a:gd name="connsiteX22" fmla="*/ 4465320 w 5257800"/>
                <a:gd name="connsiteY22" fmla="*/ 1280160 h 4206240"/>
                <a:gd name="connsiteX23" fmla="*/ 4495800 w 5257800"/>
                <a:gd name="connsiteY23" fmla="*/ 1287780 h 4206240"/>
                <a:gd name="connsiteX24" fmla="*/ 4678680 w 5257800"/>
                <a:gd name="connsiteY24" fmla="*/ 1463040 h 4206240"/>
                <a:gd name="connsiteX25" fmla="*/ 4663440 w 5257800"/>
                <a:gd name="connsiteY25" fmla="*/ 1524000 h 4206240"/>
                <a:gd name="connsiteX26" fmla="*/ 4914900 w 5257800"/>
                <a:gd name="connsiteY26" fmla="*/ 1821180 h 4206240"/>
                <a:gd name="connsiteX27" fmla="*/ 5105400 w 5257800"/>
                <a:gd name="connsiteY27" fmla="*/ 2217420 h 4206240"/>
                <a:gd name="connsiteX28" fmla="*/ 5227320 w 5257800"/>
                <a:gd name="connsiteY28" fmla="*/ 2636520 h 4206240"/>
                <a:gd name="connsiteX29" fmla="*/ 5257800 w 5257800"/>
                <a:gd name="connsiteY29" fmla="*/ 3086100 h 4206240"/>
                <a:gd name="connsiteX30" fmla="*/ 5204460 w 5257800"/>
                <a:gd name="connsiteY30" fmla="*/ 3611880 h 4206240"/>
                <a:gd name="connsiteX31" fmla="*/ 5044440 w 5257800"/>
                <a:gd name="connsiteY31" fmla="*/ 4206240 h 4206240"/>
                <a:gd name="connsiteX32" fmla="*/ 4472940 w 5257800"/>
                <a:gd name="connsiteY32" fmla="*/ 4191000 h 4206240"/>
                <a:gd name="connsiteX33" fmla="*/ 4693920 w 5257800"/>
                <a:gd name="connsiteY33" fmla="*/ 3261360 h 4206240"/>
                <a:gd name="connsiteX34" fmla="*/ 4701540 w 5257800"/>
                <a:gd name="connsiteY34" fmla="*/ 2834640 h 4206240"/>
                <a:gd name="connsiteX35" fmla="*/ 4579620 w 5257800"/>
                <a:gd name="connsiteY35" fmla="*/ 2415540 h 4206240"/>
                <a:gd name="connsiteX36" fmla="*/ 4373880 w 5257800"/>
                <a:gd name="connsiteY36" fmla="*/ 2057400 h 4206240"/>
                <a:gd name="connsiteX37" fmla="*/ 3429000 w 5257800"/>
                <a:gd name="connsiteY37" fmla="*/ 1013460 h 4206240"/>
                <a:gd name="connsiteX38" fmla="*/ 3192780 w 5257800"/>
                <a:gd name="connsiteY38" fmla="*/ 853440 h 4206240"/>
                <a:gd name="connsiteX39" fmla="*/ 2910840 w 5257800"/>
                <a:gd name="connsiteY39" fmla="*/ 739140 h 4206240"/>
                <a:gd name="connsiteX40" fmla="*/ 2514600 w 5257800"/>
                <a:gd name="connsiteY40" fmla="*/ 693420 h 4206240"/>
                <a:gd name="connsiteX41" fmla="*/ 2232660 w 5257800"/>
                <a:gd name="connsiteY41" fmla="*/ 739140 h 4206240"/>
                <a:gd name="connsiteX42" fmla="*/ 1234440 w 5257800"/>
                <a:gd name="connsiteY42" fmla="*/ 1059180 h 4206240"/>
                <a:gd name="connsiteX43" fmla="*/ 960120 w 5257800"/>
                <a:gd name="connsiteY43" fmla="*/ 1165860 h 4206240"/>
                <a:gd name="connsiteX44" fmla="*/ 815340 w 5257800"/>
                <a:gd name="connsiteY44" fmla="*/ 1257300 h 4206240"/>
                <a:gd name="connsiteX45" fmla="*/ 0 w 5257800"/>
                <a:gd name="connsiteY45" fmla="*/ 1234440 h 4206240"/>
                <a:gd name="connsiteX0" fmla="*/ 0 w 5257800"/>
                <a:gd name="connsiteY0" fmla="*/ 1234440 h 4213860"/>
                <a:gd name="connsiteX1" fmla="*/ 213360 w 5257800"/>
                <a:gd name="connsiteY1" fmla="*/ 990600 h 4213860"/>
                <a:gd name="connsiteX2" fmla="*/ 457200 w 5257800"/>
                <a:gd name="connsiteY2" fmla="*/ 792480 h 4213860"/>
                <a:gd name="connsiteX3" fmla="*/ 685800 w 5257800"/>
                <a:gd name="connsiteY3" fmla="*/ 624840 h 4213860"/>
                <a:gd name="connsiteX4" fmla="*/ 929640 w 5257800"/>
                <a:gd name="connsiteY4" fmla="*/ 533400 h 4213860"/>
                <a:gd name="connsiteX5" fmla="*/ 891540 w 5257800"/>
                <a:gd name="connsiteY5" fmla="*/ 426720 h 4213860"/>
                <a:gd name="connsiteX6" fmla="*/ 1074420 w 5257800"/>
                <a:gd name="connsiteY6" fmla="*/ 358140 h 4213860"/>
                <a:gd name="connsiteX7" fmla="*/ 1120140 w 5257800"/>
                <a:gd name="connsiteY7" fmla="*/ 464820 h 4213860"/>
                <a:gd name="connsiteX8" fmla="*/ 1242060 w 5257800"/>
                <a:gd name="connsiteY8" fmla="*/ 434340 h 4213860"/>
                <a:gd name="connsiteX9" fmla="*/ 1272540 w 5257800"/>
                <a:gd name="connsiteY9" fmla="*/ 365760 h 4213860"/>
                <a:gd name="connsiteX10" fmla="*/ 1531620 w 5257800"/>
                <a:gd name="connsiteY10" fmla="*/ 297180 h 4213860"/>
                <a:gd name="connsiteX11" fmla="*/ 1584960 w 5257800"/>
                <a:gd name="connsiteY11" fmla="*/ 327660 h 4213860"/>
                <a:gd name="connsiteX12" fmla="*/ 1714500 w 5257800"/>
                <a:gd name="connsiteY12" fmla="*/ 274320 h 4213860"/>
                <a:gd name="connsiteX13" fmla="*/ 1684020 w 5257800"/>
                <a:gd name="connsiteY13" fmla="*/ 114300 h 4213860"/>
                <a:gd name="connsiteX14" fmla="*/ 2087880 w 5257800"/>
                <a:gd name="connsiteY14" fmla="*/ 0 h 4213860"/>
                <a:gd name="connsiteX15" fmla="*/ 2133600 w 5257800"/>
                <a:gd name="connsiteY15" fmla="*/ 160020 h 4213860"/>
                <a:gd name="connsiteX16" fmla="*/ 2385060 w 5257800"/>
                <a:gd name="connsiteY16" fmla="*/ 106680 h 4213860"/>
                <a:gd name="connsiteX17" fmla="*/ 2644140 w 5257800"/>
                <a:gd name="connsiteY17" fmla="*/ 99060 h 4213860"/>
                <a:gd name="connsiteX18" fmla="*/ 2971800 w 5257800"/>
                <a:gd name="connsiteY18" fmla="*/ 152400 h 4213860"/>
                <a:gd name="connsiteX19" fmla="*/ 3299460 w 5257800"/>
                <a:gd name="connsiteY19" fmla="*/ 251460 h 4213860"/>
                <a:gd name="connsiteX20" fmla="*/ 3665220 w 5257800"/>
                <a:gd name="connsiteY20" fmla="*/ 464820 h 4213860"/>
                <a:gd name="connsiteX21" fmla="*/ 3954780 w 5257800"/>
                <a:gd name="connsiteY21" fmla="*/ 723900 h 4213860"/>
                <a:gd name="connsiteX22" fmla="*/ 4465320 w 5257800"/>
                <a:gd name="connsiteY22" fmla="*/ 1280160 h 4213860"/>
                <a:gd name="connsiteX23" fmla="*/ 4495800 w 5257800"/>
                <a:gd name="connsiteY23" fmla="*/ 1287780 h 4213860"/>
                <a:gd name="connsiteX24" fmla="*/ 4678680 w 5257800"/>
                <a:gd name="connsiteY24" fmla="*/ 1463040 h 4213860"/>
                <a:gd name="connsiteX25" fmla="*/ 4663440 w 5257800"/>
                <a:gd name="connsiteY25" fmla="*/ 1524000 h 4213860"/>
                <a:gd name="connsiteX26" fmla="*/ 4914900 w 5257800"/>
                <a:gd name="connsiteY26" fmla="*/ 1821180 h 4213860"/>
                <a:gd name="connsiteX27" fmla="*/ 5105400 w 5257800"/>
                <a:gd name="connsiteY27" fmla="*/ 2217420 h 4213860"/>
                <a:gd name="connsiteX28" fmla="*/ 5227320 w 5257800"/>
                <a:gd name="connsiteY28" fmla="*/ 2636520 h 4213860"/>
                <a:gd name="connsiteX29" fmla="*/ 5257800 w 5257800"/>
                <a:gd name="connsiteY29" fmla="*/ 3086100 h 4213860"/>
                <a:gd name="connsiteX30" fmla="*/ 5204460 w 5257800"/>
                <a:gd name="connsiteY30" fmla="*/ 3611880 h 4213860"/>
                <a:gd name="connsiteX31" fmla="*/ 5044440 w 5257800"/>
                <a:gd name="connsiteY31" fmla="*/ 4206240 h 4213860"/>
                <a:gd name="connsiteX32" fmla="*/ 4495800 w 5257800"/>
                <a:gd name="connsiteY32" fmla="*/ 4213860 h 4213860"/>
                <a:gd name="connsiteX33" fmla="*/ 4693920 w 5257800"/>
                <a:gd name="connsiteY33" fmla="*/ 3261360 h 4213860"/>
                <a:gd name="connsiteX34" fmla="*/ 4701540 w 5257800"/>
                <a:gd name="connsiteY34" fmla="*/ 2834640 h 4213860"/>
                <a:gd name="connsiteX35" fmla="*/ 4579620 w 5257800"/>
                <a:gd name="connsiteY35" fmla="*/ 2415540 h 4213860"/>
                <a:gd name="connsiteX36" fmla="*/ 4373880 w 5257800"/>
                <a:gd name="connsiteY36" fmla="*/ 2057400 h 4213860"/>
                <a:gd name="connsiteX37" fmla="*/ 3429000 w 5257800"/>
                <a:gd name="connsiteY37" fmla="*/ 1013460 h 4213860"/>
                <a:gd name="connsiteX38" fmla="*/ 3192780 w 5257800"/>
                <a:gd name="connsiteY38" fmla="*/ 853440 h 4213860"/>
                <a:gd name="connsiteX39" fmla="*/ 2910840 w 5257800"/>
                <a:gd name="connsiteY39" fmla="*/ 739140 h 4213860"/>
                <a:gd name="connsiteX40" fmla="*/ 2514600 w 5257800"/>
                <a:gd name="connsiteY40" fmla="*/ 693420 h 4213860"/>
                <a:gd name="connsiteX41" fmla="*/ 2232660 w 5257800"/>
                <a:gd name="connsiteY41" fmla="*/ 739140 h 4213860"/>
                <a:gd name="connsiteX42" fmla="*/ 1234440 w 5257800"/>
                <a:gd name="connsiteY42" fmla="*/ 1059180 h 4213860"/>
                <a:gd name="connsiteX43" fmla="*/ 960120 w 5257800"/>
                <a:gd name="connsiteY43" fmla="*/ 1165860 h 4213860"/>
                <a:gd name="connsiteX44" fmla="*/ 815340 w 5257800"/>
                <a:gd name="connsiteY44" fmla="*/ 1257300 h 4213860"/>
                <a:gd name="connsiteX45" fmla="*/ 0 w 5257800"/>
                <a:gd name="connsiteY45" fmla="*/ 1234440 h 4213860"/>
                <a:gd name="connsiteX0" fmla="*/ 0 w 5257800"/>
                <a:gd name="connsiteY0" fmla="*/ 1234440 h 4213860"/>
                <a:gd name="connsiteX1" fmla="*/ 213360 w 5257800"/>
                <a:gd name="connsiteY1" fmla="*/ 990600 h 4213860"/>
                <a:gd name="connsiteX2" fmla="*/ 457200 w 5257800"/>
                <a:gd name="connsiteY2" fmla="*/ 792480 h 4213860"/>
                <a:gd name="connsiteX3" fmla="*/ 685800 w 5257800"/>
                <a:gd name="connsiteY3" fmla="*/ 624840 h 4213860"/>
                <a:gd name="connsiteX4" fmla="*/ 929640 w 5257800"/>
                <a:gd name="connsiteY4" fmla="*/ 533400 h 4213860"/>
                <a:gd name="connsiteX5" fmla="*/ 891540 w 5257800"/>
                <a:gd name="connsiteY5" fmla="*/ 426720 h 4213860"/>
                <a:gd name="connsiteX6" fmla="*/ 1074420 w 5257800"/>
                <a:gd name="connsiteY6" fmla="*/ 358140 h 4213860"/>
                <a:gd name="connsiteX7" fmla="*/ 1120140 w 5257800"/>
                <a:gd name="connsiteY7" fmla="*/ 464820 h 4213860"/>
                <a:gd name="connsiteX8" fmla="*/ 1242060 w 5257800"/>
                <a:gd name="connsiteY8" fmla="*/ 434340 h 4213860"/>
                <a:gd name="connsiteX9" fmla="*/ 1272540 w 5257800"/>
                <a:gd name="connsiteY9" fmla="*/ 365760 h 4213860"/>
                <a:gd name="connsiteX10" fmla="*/ 1531620 w 5257800"/>
                <a:gd name="connsiteY10" fmla="*/ 297180 h 4213860"/>
                <a:gd name="connsiteX11" fmla="*/ 1584960 w 5257800"/>
                <a:gd name="connsiteY11" fmla="*/ 327660 h 4213860"/>
                <a:gd name="connsiteX12" fmla="*/ 1714500 w 5257800"/>
                <a:gd name="connsiteY12" fmla="*/ 274320 h 4213860"/>
                <a:gd name="connsiteX13" fmla="*/ 1684020 w 5257800"/>
                <a:gd name="connsiteY13" fmla="*/ 114300 h 4213860"/>
                <a:gd name="connsiteX14" fmla="*/ 2087880 w 5257800"/>
                <a:gd name="connsiteY14" fmla="*/ 0 h 4213860"/>
                <a:gd name="connsiteX15" fmla="*/ 2133600 w 5257800"/>
                <a:gd name="connsiteY15" fmla="*/ 160020 h 4213860"/>
                <a:gd name="connsiteX16" fmla="*/ 2385060 w 5257800"/>
                <a:gd name="connsiteY16" fmla="*/ 106680 h 4213860"/>
                <a:gd name="connsiteX17" fmla="*/ 2644140 w 5257800"/>
                <a:gd name="connsiteY17" fmla="*/ 99060 h 4213860"/>
                <a:gd name="connsiteX18" fmla="*/ 2971800 w 5257800"/>
                <a:gd name="connsiteY18" fmla="*/ 152400 h 4213860"/>
                <a:gd name="connsiteX19" fmla="*/ 3299460 w 5257800"/>
                <a:gd name="connsiteY19" fmla="*/ 251460 h 4213860"/>
                <a:gd name="connsiteX20" fmla="*/ 3665220 w 5257800"/>
                <a:gd name="connsiteY20" fmla="*/ 464820 h 4213860"/>
                <a:gd name="connsiteX21" fmla="*/ 3954780 w 5257800"/>
                <a:gd name="connsiteY21" fmla="*/ 723900 h 4213860"/>
                <a:gd name="connsiteX22" fmla="*/ 4465320 w 5257800"/>
                <a:gd name="connsiteY22" fmla="*/ 1280160 h 4213860"/>
                <a:gd name="connsiteX23" fmla="*/ 4495800 w 5257800"/>
                <a:gd name="connsiteY23" fmla="*/ 1287780 h 4213860"/>
                <a:gd name="connsiteX24" fmla="*/ 4678680 w 5257800"/>
                <a:gd name="connsiteY24" fmla="*/ 1463040 h 4213860"/>
                <a:gd name="connsiteX25" fmla="*/ 4663440 w 5257800"/>
                <a:gd name="connsiteY25" fmla="*/ 1524000 h 4213860"/>
                <a:gd name="connsiteX26" fmla="*/ 4914900 w 5257800"/>
                <a:gd name="connsiteY26" fmla="*/ 1821180 h 4213860"/>
                <a:gd name="connsiteX27" fmla="*/ 5105400 w 5257800"/>
                <a:gd name="connsiteY27" fmla="*/ 2217420 h 4213860"/>
                <a:gd name="connsiteX28" fmla="*/ 5227320 w 5257800"/>
                <a:gd name="connsiteY28" fmla="*/ 2636520 h 4213860"/>
                <a:gd name="connsiteX29" fmla="*/ 5257800 w 5257800"/>
                <a:gd name="connsiteY29" fmla="*/ 3086100 h 4213860"/>
                <a:gd name="connsiteX30" fmla="*/ 5204460 w 5257800"/>
                <a:gd name="connsiteY30" fmla="*/ 3611880 h 4213860"/>
                <a:gd name="connsiteX31" fmla="*/ 5044440 w 5257800"/>
                <a:gd name="connsiteY31" fmla="*/ 4206240 h 4213860"/>
                <a:gd name="connsiteX32" fmla="*/ 4495800 w 5257800"/>
                <a:gd name="connsiteY32" fmla="*/ 4213860 h 4213860"/>
                <a:gd name="connsiteX33" fmla="*/ 4693920 w 5257800"/>
                <a:gd name="connsiteY33" fmla="*/ 3261360 h 4213860"/>
                <a:gd name="connsiteX34" fmla="*/ 4701540 w 5257800"/>
                <a:gd name="connsiteY34" fmla="*/ 2834640 h 4213860"/>
                <a:gd name="connsiteX35" fmla="*/ 4579620 w 5257800"/>
                <a:gd name="connsiteY35" fmla="*/ 2415540 h 4213860"/>
                <a:gd name="connsiteX36" fmla="*/ 4373880 w 5257800"/>
                <a:gd name="connsiteY36" fmla="*/ 2057400 h 4213860"/>
                <a:gd name="connsiteX37" fmla="*/ 3429000 w 5257800"/>
                <a:gd name="connsiteY37" fmla="*/ 1013460 h 4213860"/>
                <a:gd name="connsiteX38" fmla="*/ 3192780 w 5257800"/>
                <a:gd name="connsiteY38" fmla="*/ 853440 h 4213860"/>
                <a:gd name="connsiteX39" fmla="*/ 2910840 w 5257800"/>
                <a:gd name="connsiteY39" fmla="*/ 739140 h 4213860"/>
                <a:gd name="connsiteX40" fmla="*/ 2514600 w 5257800"/>
                <a:gd name="connsiteY40" fmla="*/ 693420 h 4213860"/>
                <a:gd name="connsiteX41" fmla="*/ 2232660 w 5257800"/>
                <a:gd name="connsiteY41" fmla="*/ 739140 h 4213860"/>
                <a:gd name="connsiteX42" fmla="*/ 1234440 w 5257800"/>
                <a:gd name="connsiteY42" fmla="*/ 1059180 h 4213860"/>
                <a:gd name="connsiteX43" fmla="*/ 960120 w 5257800"/>
                <a:gd name="connsiteY43" fmla="*/ 1165860 h 4213860"/>
                <a:gd name="connsiteX44" fmla="*/ 815340 w 5257800"/>
                <a:gd name="connsiteY44" fmla="*/ 1257300 h 4213860"/>
                <a:gd name="connsiteX45" fmla="*/ 0 w 5257800"/>
                <a:gd name="connsiteY45" fmla="*/ 1234440 h 4213860"/>
                <a:gd name="connsiteX0" fmla="*/ 0 w 5257800"/>
                <a:gd name="connsiteY0" fmla="*/ 1234440 h 4213860"/>
                <a:gd name="connsiteX1" fmla="*/ 213360 w 5257800"/>
                <a:gd name="connsiteY1" fmla="*/ 990600 h 4213860"/>
                <a:gd name="connsiteX2" fmla="*/ 457200 w 5257800"/>
                <a:gd name="connsiteY2" fmla="*/ 792480 h 4213860"/>
                <a:gd name="connsiteX3" fmla="*/ 685800 w 5257800"/>
                <a:gd name="connsiteY3" fmla="*/ 624840 h 4213860"/>
                <a:gd name="connsiteX4" fmla="*/ 929640 w 5257800"/>
                <a:gd name="connsiteY4" fmla="*/ 533400 h 4213860"/>
                <a:gd name="connsiteX5" fmla="*/ 891540 w 5257800"/>
                <a:gd name="connsiteY5" fmla="*/ 426720 h 4213860"/>
                <a:gd name="connsiteX6" fmla="*/ 1074420 w 5257800"/>
                <a:gd name="connsiteY6" fmla="*/ 358140 h 4213860"/>
                <a:gd name="connsiteX7" fmla="*/ 1120140 w 5257800"/>
                <a:gd name="connsiteY7" fmla="*/ 464820 h 4213860"/>
                <a:gd name="connsiteX8" fmla="*/ 1242060 w 5257800"/>
                <a:gd name="connsiteY8" fmla="*/ 434340 h 4213860"/>
                <a:gd name="connsiteX9" fmla="*/ 1272540 w 5257800"/>
                <a:gd name="connsiteY9" fmla="*/ 365760 h 4213860"/>
                <a:gd name="connsiteX10" fmla="*/ 1531620 w 5257800"/>
                <a:gd name="connsiteY10" fmla="*/ 297180 h 4213860"/>
                <a:gd name="connsiteX11" fmla="*/ 1584960 w 5257800"/>
                <a:gd name="connsiteY11" fmla="*/ 327660 h 4213860"/>
                <a:gd name="connsiteX12" fmla="*/ 1714500 w 5257800"/>
                <a:gd name="connsiteY12" fmla="*/ 274320 h 4213860"/>
                <a:gd name="connsiteX13" fmla="*/ 1684020 w 5257800"/>
                <a:gd name="connsiteY13" fmla="*/ 114300 h 4213860"/>
                <a:gd name="connsiteX14" fmla="*/ 2087880 w 5257800"/>
                <a:gd name="connsiteY14" fmla="*/ 0 h 4213860"/>
                <a:gd name="connsiteX15" fmla="*/ 2133600 w 5257800"/>
                <a:gd name="connsiteY15" fmla="*/ 160020 h 4213860"/>
                <a:gd name="connsiteX16" fmla="*/ 2385060 w 5257800"/>
                <a:gd name="connsiteY16" fmla="*/ 106680 h 4213860"/>
                <a:gd name="connsiteX17" fmla="*/ 2644140 w 5257800"/>
                <a:gd name="connsiteY17" fmla="*/ 99060 h 4213860"/>
                <a:gd name="connsiteX18" fmla="*/ 2971800 w 5257800"/>
                <a:gd name="connsiteY18" fmla="*/ 152400 h 4213860"/>
                <a:gd name="connsiteX19" fmla="*/ 3299460 w 5257800"/>
                <a:gd name="connsiteY19" fmla="*/ 251460 h 4213860"/>
                <a:gd name="connsiteX20" fmla="*/ 3665220 w 5257800"/>
                <a:gd name="connsiteY20" fmla="*/ 464820 h 4213860"/>
                <a:gd name="connsiteX21" fmla="*/ 3954780 w 5257800"/>
                <a:gd name="connsiteY21" fmla="*/ 723900 h 4213860"/>
                <a:gd name="connsiteX22" fmla="*/ 4465320 w 5257800"/>
                <a:gd name="connsiteY22" fmla="*/ 1280160 h 4213860"/>
                <a:gd name="connsiteX23" fmla="*/ 4495800 w 5257800"/>
                <a:gd name="connsiteY23" fmla="*/ 1287780 h 4213860"/>
                <a:gd name="connsiteX24" fmla="*/ 4678680 w 5257800"/>
                <a:gd name="connsiteY24" fmla="*/ 1463040 h 4213860"/>
                <a:gd name="connsiteX25" fmla="*/ 4663440 w 5257800"/>
                <a:gd name="connsiteY25" fmla="*/ 1524000 h 4213860"/>
                <a:gd name="connsiteX26" fmla="*/ 4914900 w 5257800"/>
                <a:gd name="connsiteY26" fmla="*/ 1821180 h 4213860"/>
                <a:gd name="connsiteX27" fmla="*/ 5105400 w 5257800"/>
                <a:gd name="connsiteY27" fmla="*/ 2217420 h 4213860"/>
                <a:gd name="connsiteX28" fmla="*/ 5227320 w 5257800"/>
                <a:gd name="connsiteY28" fmla="*/ 2636520 h 4213860"/>
                <a:gd name="connsiteX29" fmla="*/ 5257800 w 5257800"/>
                <a:gd name="connsiteY29" fmla="*/ 3086100 h 4213860"/>
                <a:gd name="connsiteX30" fmla="*/ 5204460 w 5257800"/>
                <a:gd name="connsiteY30" fmla="*/ 3611880 h 4213860"/>
                <a:gd name="connsiteX31" fmla="*/ 5044440 w 5257800"/>
                <a:gd name="connsiteY31" fmla="*/ 4206240 h 4213860"/>
                <a:gd name="connsiteX32" fmla="*/ 4495800 w 5257800"/>
                <a:gd name="connsiteY32" fmla="*/ 4213860 h 4213860"/>
                <a:gd name="connsiteX33" fmla="*/ 4693920 w 5257800"/>
                <a:gd name="connsiteY33" fmla="*/ 3261360 h 4213860"/>
                <a:gd name="connsiteX34" fmla="*/ 4701540 w 5257800"/>
                <a:gd name="connsiteY34" fmla="*/ 2834640 h 4213860"/>
                <a:gd name="connsiteX35" fmla="*/ 4579620 w 5257800"/>
                <a:gd name="connsiteY35" fmla="*/ 2415540 h 4213860"/>
                <a:gd name="connsiteX36" fmla="*/ 4373880 w 5257800"/>
                <a:gd name="connsiteY36" fmla="*/ 2057400 h 4213860"/>
                <a:gd name="connsiteX37" fmla="*/ 3429000 w 5257800"/>
                <a:gd name="connsiteY37" fmla="*/ 1013460 h 4213860"/>
                <a:gd name="connsiteX38" fmla="*/ 3192780 w 5257800"/>
                <a:gd name="connsiteY38" fmla="*/ 853440 h 4213860"/>
                <a:gd name="connsiteX39" fmla="*/ 2910840 w 5257800"/>
                <a:gd name="connsiteY39" fmla="*/ 739140 h 4213860"/>
                <a:gd name="connsiteX40" fmla="*/ 2514600 w 5257800"/>
                <a:gd name="connsiteY40" fmla="*/ 693420 h 4213860"/>
                <a:gd name="connsiteX41" fmla="*/ 2232660 w 5257800"/>
                <a:gd name="connsiteY41" fmla="*/ 739140 h 4213860"/>
                <a:gd name="connsiteX42" fmla="*/ 1234440 w 5257800"/>
                <a:gd name="connsiteY42" fmla="*/ 1059180 h 4213860"/>
                <a:gd name="connsiteX43" fmla="*/ 960120 w 5257800"/>
                <a:gd name="connsiteY43" fmla="*/ 1165860 h 4213860"/>
                <a:gd name="connsiteX44" fmla="*/ 815340 w 5257800"/>
                <a:gd name="connsiteY44" fmla="*/ 1257300 h 4213860"/>
                <a:gd name="connsiteX45" fmla="*/ 0 w 5257800"/>
                <a:gd name="connsiteY45" fmla="*/ 1234440 h 4213860"/>
                <a:gd name="connsiteX0" fmla="*/ 0 w 5257800"/>
                <a:gd name="connsiteY0" fmla="*/ 1234440 h 4213860"/>
                <a:gd name="connsiteX1" fmla="*/ 213360 w 5257800"/>
                <a:gd name="connsiteY1" fmla="*/ 990600 h 4213860"/>
                <a:gd name="connsiteX2" fmla="*/ 457200 w 5257800"/>
                <a:gd name="connsiteY2" fmla="*/ 792480 h 4213860"/>
                <a:gd name="connsiteX3" fmla="*/ 685800 w 5257800"/>
                <a:gd name="connsiteY3" fmla="*/ 624840 h 4213860"/>
                <a:gd name="connsiteX4" fmla="*/ 929640 w 5257800"/>
                <a:gd name="connsiteY4" fmla="*/ 533400 h 4213860"/>
                <a:gd name="connsiteX5" fmla="*/ 891540 w 5257800"/>
                <a:gd name="connsiteY5" fmla="*/ 426720 h 4213860"/>
                <a:gd name="connsiteX6" fmla="*/ 1074420 w 5257800"/>
                <a:gd name="connsiteY6" fmla="*/ 358140 h 4213860"/>
                <a:gd name="connsiteX7" fmla="*/ 1120140 w 5257800"/>
                <a:gd name="connsiteY7" fmla="*/ 464820 h 4213860"/>
                <a:gd name="connsiteX8" fmla="*/ 1242060 w 5257800"/>
                <a:gd name="connsiteY8" fmla="*/ 434340 h 4213860"/>
                <a:gd name="connsiteX9" fmla="*/ 1272540 w 5257800"/>
                <a:gd name="connsiteY9" fmla="*/ 365760 h 4213860"/>
                <a:gd name="connsiteX10" fmla="*/ 1531620 w 5257800"/>
                <a:gd name="connsiteY10" fmla="*/ 297180 h 4213860"/>
                <a:gd name="connsiteX11" fmla="*/ 1584960 w 5257800"/>
                <a:gd name="connsiteY11" fmla="*/ 327660 h 4213860"/>
                <a:gd name="connsiteX12" fmla="*/ 1714500 w 5257800"/>
                <a:gd name="connsiteY12" fmla="*/ 274320 h 4213860"/>
                <a:gd name="connsiteX13" fmla="*/ 1684020 w 5257800"/>
                <a:gd name="connsiteY13" fmla="*/ 114300 h 4213860"/>
                <a:gd name="connsiteX14" fmla="*/ 2087880 w 5257800"/>
                <a:gd name="connsiteY14" fmla="*/ 0 h 4213860"/>
                <a:gd name="connsiteX15" fmla="*/ 2133600 w 5257800"/>
                <a:gd name="connsiteY15" fmla="*/ 160020 h 4213860"/>
                <a:gd name="connsiteX16" fmla="*/ 2385060 w 5257800"/>
                <a:gd name="connsiteY16" fmla="*/ 106680 h 4213860"/>
                <a:gd name="connsiteX17" fmla="*/ 2644140 w 5257800"/>
                <a:gd name="connsiteY17" fmla="*/ 99060 h 4213860"/>
                <a:gd name="connsiteX18" fmla="*/ 2971800 w 5257800"/>
                <a:gd name="connsiteY18" fmla="*/ 152400 h 4213860"/>
                <a:gd name="connsiteX19" fmla="*/ 3299460 w 5257800"/>
                <a:gd name="connsiteY19" fmla="*/ 251460 h 4213860"/>
                <a:gd name="connsiteX20" fmla="*/ 3665220 w 5257800"/>
                <a:gd name="connsiteY20" fmla="*/ 464820 h 4213860"/>
                <a:gd name="connsiteX21" fmla="*/ 3954780 w 5257800"/>
                <a:gd name="connsiteY21" fmla="*/ 723900 h 4213860"/>
                <a:gd name="connsiteX22" fmla="*/ 4465320 w 5257800"/>
                <a:gd name="connsiteY22" fmla="*/ 1280160 h 4213860"/>
                <a:gd name="connsiteX23" fmla="*/ 4495800 w 5257800"/>
                <a:gd name="connsiteY23" fmla="*/ 1287780 h 4213860"/>
                <a:gd name="connsiteX24" fmla="*/ 4678680 w 5257800"/>
                <a:gd name="connsiteY24" fmla="*/ 1463040 h 4213860"/>
                <a:gd name="connsiteX25" fmla="*/ 4663440 w 5257800"/>
                <a:gd name="connsiteY25" fmla="*/ 1524000 h 4213860"/>
                <a:gd name="connsiteX26" fmla="*/ 4914900 w 5257800"/>
                <a:gd name="connsiteY26" fmla="*/ 1821180 h 4213860"/>
                <a:gd name="connsiteX27" fmla="*/ 5105400 w 5257800"/>
                <a:gd name="connsiteY27" fmla="*/ 2217420 h 4213860"/>
                <a:gd name="connsiteX28" fmla="*/ 5227320 w 5257800"/>
                <a:gd name="connsiteY28" fmla="*/ 2636520 h 4213860"/>
                <a:gd name="connsiteX29" fmla="*/ 5257800 w 5257800"/>
                <a:gd name="connsiteY29" fmla="*/ 3086100 h 4213860"/>
                <a:gd name="connsiteX30" fmla="*/ 5204460 w 5257800"/>
                <a:gd name="connsiteY30" fmla="*/ 3611880 h 4213860"/>
                <a:gd name="connsiteX31" fmla="*/ 5044440 w 5257800"/>
                <a:gd name="connsiteY31" fmla="*/ 4206240 h 4213860"/>
                <a:gd name="connsiteX32" fmla="*/ 4495800 w 5257800"/>
                <a:gd name="connsiteY32" fmla="*/ 4213860 h 4213860"/>
                <a:gd name="connsiteX33" fmla="*/ 4693920 w 5257800"/>
                <a:gd name="connsiteY33" fmla="*/ 3261360 h 4213860"/>
                <a:gd name="connsiteX34" fmla="*/ 4701540 w 5257800"/>
                <a:gd name="connsiteY34" fmla="*/ 2834640 h 4213860"/>
                <a:gd name="connsiteX35" fmla="*/ 4579620 w 5257800"/>
                <a:gd name="connsiteY35" fmla="*/ 2415540 h 4213860"/>
                <a:gd name="connsiteX36" fmla="*/ 4373880 w 5257800"/>
                <a:gd name="connsiteY36" fmla="*/ 2057400 h 4213860"/>
                <a:gd name="connsiteX37" fmla="*/ 3429000 w 5257800"/>
                <a:gd name="connsiteY37" fmla="*/ 1013460 h 4213860"/>
                <a:gd name="connsiteX38" fmla="*/ 3192780 w 5257800"/>
                <a:gd name="connsiteY38" fmla="*/ 853440 h 4213860"/>
                <a:gd name="connsiteX39" fmla="*/ 2910840 w 5257800"/>
                <a:gd name="connsiteY39" fmla="*/ 739140 h 4213860"/>
                <a:gd name="connsiteX40" fmla="*/ 2514600 w 5257800"/>
                <a:gd name="connsiteY40" fmla="*/ 693420 h 4213860"/>
                <a:gd name="connsiteX41" fmla="*/ 2232660 w 5257800"/>
                <a:gd name="connsiteY41" fmla="*/ 739140 h 4213860"/>
                <a:gd name="connsiteX42" fmla="*/ 1234440 w 5257800"/>
                <a:gd name="connsiteY42" fmla="*/ 1059180 h 4213860"/>
                <a:gd name="connsiteX43" fmla="*/ 960120 w 5257800"/>
                <a:gd name="connsiteY43" fmla="*/ 1165860 h 4213860"/>
                <a:gd name="connsiteX44" fmla="*/ 815340 w 5257800"/>
                <a:gd name="connsiteY44" fmla="*/ 1257300 h 4213860"/>
                <a:gd name="connsiteX45" fmla="*/ 0 w 5257800"/>
                <a:gd name="connsiteY45" fmla="*/ 1234440 h 4213860"/>
                <a:gd name="connsiteX0" fmla="*/ 0 w 5257800"/>
                <a:gd name="connsiteY0" fmla="*/ 1234440 h 4574791"/>
                <a:gd name="connsiteX1" fmla="*/ 213360 w 5257800"/>
                <a:gd name="connsiteY1" fmla="*/ 990600 h 4574791"/>
                <a:gd name="connsiteX2" fmla="*/ 457200 w 5257800"/>
                <a:gd name="connsiteY2" fmla="*/ 792480 h 4574791"/>
                <a:gd name="connsiteX3" fmla="*/ 685800 w 5257800"/>
                <a:gd name="connsiteY3" fmla="*/ 624840 h 4574791"/>
                <a:gd name="connsiteX4" fmla="*/ 929640 w 5257800"/>
                <a:gd name="connsiteY4" fmla="*/ 533400 h 4574791"/>
                <a:gd name="connsiteX5" fmla="*/ 891540 w 5257800"/>
                <a:gd name="connsiteY5" fmla="*/ 426720 h 4574791"/>
                <a:gd name="connsiteX6" fmla="*/ 1074420 w 5257800"/>
                <a:gd name="connsiteY6" fmla="*/ 358140 h 4574791"/>
                <a:gd name="connsiteX7" fmla="*/ 1120140 w 5257800"/>
                <a:gd name="connsiteY7" fmla="*/ 464820 h 4574791"/>
                <a:gd name="connsiteX8" fmla="*/ 1242060 w 5257800"/>
                <a:gd name="connsiteY8" fmla="*/ 434340 h 4574791"/>
                <a:gd name="connsiteX9" fmla="*/ 1272540 w 5257800"/>
                <a:gd name="connsiteY9" fmla="*/ 365760 h 4574791"/>
                <a:gd name="connsiteX10" fmla="*/ 1531620 w 5257800"/>
                <a:gd name="connsiteY10" fmla="*/ 297180 h 4574791"/>
                <a:gd name="connsiteX11" fmla="*/ 1584960 w 5257800"/>
                <a:gd name="connsiteY11" fmla="*/ 327660 h 4574791"/>
                <a:gd name="connsiteX12" fmla="*/ 1714500 w 5257800"/>
                <a:gd name="connsiteY12" fmla="*/ 274320 h 4574791"/>
                <a:gd name="connsiteX13" fmla="*/ 1684020 w 5257800"/>
                <a:gd name="connsiteY13" fmla="*/ 114300 h 4574791"/>
                <a:gd name="connsiteX14" fmla="*/ 2087880 w 5257800"/>
                <a:gd name="connsiteY14" fmla="*/ 0 h 4574791"/>
                <a:gd name="connsiteX15" fmla="*/ 2133600 w 5257800"/>
                <a:gd name="connsiteY15" fmla="*/ 160020 h 4574791"/>
                <a:gd name="connsiteX16" fmla="*/ 2385060 w 5257800"/>
                <a:gd name="connsiteY16" fmla="*/ 106680 h 4574791"/>
                <a:gd name="connsiteX17" fmla="*/ 2644140 w 5257800"/>
                <a:gd name="connsiteY17" fmla="*/ 99060 h 4574791"/>
                <a:gd name="connsiteX18" fmla="*/ 2971800 w 5257800"/>
                <a:gd name="connsiteY18" fmla="*/ 152400 h 4574791"/>
                <a:gd name="connsiteX19" fmla="*/ 3299460 w 5257800"/>
                <a:gd name="connsiteY19" fmla="*/ 251460 h 4574791"/>
                <a:gd name="connsiteX20" fmla="*/ 3665220 w 5257800"/>
                <a:gd name="connsiteY20" fmla="*/ 464820 h 4574791"/>
                <a:gd name="connsiteX21" fmla="*/ 3954780 w 5257800"/>
                <a:gd name="connsiteY21" fmla="*/ 723900 h 4574791"/>
                <a:gd name="connsiteX22" fmla="*/ 4465320 w 5257800"/>
                <a:gd name="connsiteY22" fmla="*/ 1280160 h 4574791"/>
                <a:gd name="connsiteX23" fmla="*/ 4495800 w 5257800"/>
                <a:gd name="connsiteY23" fmla="*/ 1287780 h 4574791"/>
                <a:gd name="connsiteX24" fmla="*/ 4678680 w 5257800"/>
                <a:gd name="connsiteY24" fmla="*/ 1463040 h 4574791"/>
                <a:gd name="connsiteX25" fmla="*/ 4663440 w 5257800"/>
                <a:gd name="connsiteY25" fmla="*/ 1524000 h 4574791"/>
                <a:gd name="connsiteX26" fmla="*/ 4914900 w 5257800"/>
                <a:gd name="connsiteY26" fmla="*/ 1821180 h 4574791"/>
                <a:gd name="connsiteX27" fmla="*/ 5105400 w 5257800"/>
                <a:gd name="connsiteY27" fmla="*/ 2217420 h 4574791"/>
                <a:gd name="connsiteX28" fmla="*/ 5227320 w 5257800"/>
                <a:gd name="connsiteY28" fmla="*/ 2636520 h 4574791"/>
                <a:gd name="connsiteX29" fmla="*/ 5257800 w 5257800"/>
                <a:gd name="connsiteY29" fmla="*/ 3086100 h 4574791"/>
                <a:gd name="connsiteX30" fmla="*/ 5204460 w 5257800"/>
                <a:gd name="connsiteY30" fmla="*/ 3611880 h 4574791"/>
                <a:gd name="connsiteX31" fmla="*/ 5044440 w 5257800"/>
                <a:gd name="connsiteY31" fmla="*/ 4206240 h 4574791"/>
                <a:gd name="connsiteX32" fmla="*/ 4382946 w 5257800"/>
                <a:gd name="connsiteY32" fmla="*/ 4574791 h 4574791"/>
                <a:gd name="connsiteX33" fmla="*/ 4693920 w 5257800"/>
                <a:gd name="connsiteY33" fmla="*/ 3261360 h 4574791"/>
                <a:gd name="connsiteX34" fmla="*/ 4701540 w 5257800"/>
                <a:gd name="connsiteY34" fmla="*/ 2834640 h 4574791"/>
                <a:gd name="connsiteX35" fmla="*/ 4579620 w 5257800"/>
                <a:gd name="connsiteY35" fmla="*/ 2415540 h 4574791"/>
                <a:gd name="connsiteX36" fmla="*/ 4373880 w 5257800"/>
                <a:gd name="connsiteY36" fmla="*/ 2057400 h 4574791"/>
                <a:gd name="connsiteX37" fmla="*/ 3429000 w 5257800"/>
                <a:gd name="connsiteY37" fmla="*/ 1013460 h 4574791"/>
                <a:gd name="connsiteX38" fmla="*/ 3192780 w 5257800"/>
                <a:gd name="connsiteY38" fmla="*/ 853440 h 4574791"/>
                <a:gd name="connsiteX39" fmla="*/ 2910840 w 5257800"/>
                <a:gd name="connsiteY39" fmla="*/ 739140 h 4574791"/>
                <a:gd name="connsiteX40" fmla="*/ 2514600 w 5257800"/>
                <a:gd name="connsiteY40" fmla="*/ 693420 h 4574791"/>
                <a:gd name="connsiteX41" fmla="*/ 2232660 w 5257800"/>
                <a:gd name="connsiteY41" fmla="*/ 739140 h 4574791"/>
                <a:gd name="connsiteX42" fmla="*/ 1234440 w 5257800"/>
                <a:gd name="connsiteY42" fmla="*/ 1059180 h 4574791"/>
                <a:gd name="connsiteX43" fmla="*/ 960120 w 5257800"/>
                <a:gd name="connsiteY43" fmla="*/ 1165860 h 4574791"/>
                <a:gd name="connsiteX44" fmla="*/ 815340 w 5257800"/>
                <a:gd name="connsiteY44" fmla="*/ 1257300 h 4574791"/>
                <a:gd name="connsiteX45" fmla="*/ 0 w 5257800"/>
                <a:gd name="connsiteY45" fmla="*/ 1234440 h 4574791"/>
                <a:gd name="connsiteX0" fmla="*/ 0 w 5257800"/>
                <a:gd name="connsiteY0" fmla="*/ 1234440 h 4785630"/>
                <a:gd name="connsiteX1" fmla="*/ 213360 w 5257800"/>
                <a:gd name="connsiteY1" fmla="*/ 990600 h 4785630"/>
                <a:gd name="connsiteX2" fmla="*/ 457200 w 5257800"/>
                <a:gd name="connsiteY2" fmla="*/ 792480 h 4785630"/>
                <a:gd name="connsiteX3" fmla="*/ 685800 w 5257800"/>
                <a:gd name="connsiteY3" fmla="*/ 624840 h 4785630"/>
                <a:gd name="connsiteX4" fmla="*/ 929640 w 5257800"/>
                <a:gd name="connsiteY4" fmla="*/ 533400 h 4785630"/>
                <a:gd name="connsiteX5" fmla="*/ 891540 w 5257800"/>
                <a:gd name="connsiteY5" fmla="*/ 426720 h 4785630"/>
                <a:gd name="connsiteX6" fmla="*/ 1074420 w 5257800"/>
                <a:gd name="connsiteY6" fmla="*/ 358140 h 4785630"/>
                <a:gd name="connsiteX7" fmla="*/ 1120140 w 5257800"/>
                <a:gd name="connsiteY7" fmla="*/ 464820 h 4785630"/>
                <a:gd name="connsiteX8" fmla="*/ 1242060 w 5257800"/>
                <a:gd name="connsiteY8" fmla="*/ 434340 h 4785630"/>
                <a:gd name="connsiteX9" fmla="*/ 1272540 w 5257800"/>
                <a:gd name="connsiteY9" fmla="*/ 365760 h 4785630"/>
                <a:gd name="connsiteX10" fmla="*/ 1531620 w 5257800"/>
                <a:gd name="connsiteY10" fmla="*/ 297180 h 4785630"/>
                <a:gd name="connsiteX11" fmla="*/ 1584960 w 5257800"/>
                <a:gd name="connsiteY11" fmla="*/ 327660 h 4785630"/>
                <a:gd name="connsiteX12" fmla="*/ 1714500 w 5257800"/>
                <a:gd name="connsiteY12" fmla="*/ 274320 h 4785630"/>
                <a:gd name="connsiteX13" fmla="*/ 1684020 w 5257800"/>
                <a:gd name="connsiteY13" fmla="*/ 114300 h 4785630"/>
                <a:gd name="connsiteX14" fmla="*/ 2087880 w 5257800"/>
                <a:gd name="connsiteY14" fmla="*/ 0 h 4785630"/>
                <a:gd name="connsiteX15" fmla="*/ 2133600 w 5257800"/>
                <a:gd name="connsiteY15" fmla="*/ 160020 h 4785630"/>
                <a:gd name="connsiteX16" fmla="*/ 2385060 w 5257800"/>
                <a:gd name="connsiteY16" fmla="*/ 106680 h 4785630"/>
                <a:gd name="connsiteX17" fmla="*/ 2644140 w 5257800"/>
                <a:gd name="connsiteY17" fmla="*/ 99060 h 4785630"/>
                <a:gd name="connsiteX18" fmla="*/ 2971800 w 5257800"/>
                <a:gd name="connsiteY18" fmla="*/ 152400 h 4785630"/>
                <a:gd name="connsiteX19" fmla="*/ 3299460 w 5257800"/>
                <a:gd name="connsiteY19" fmla="*/ 251460 h 4785630"/>
                <a:gd name="connsiteX20" fmla="*/ 3665220 w 5257800"/>
                <a:gd name="connsiteY20" fmla="*/ 464820 h 4785630"/>
                <a:gd name="connsiteX21" fmla="*/ 3954780 w 5257800"/>
                <a:gd name="connsiteY21" fmla="*/ 723900 h 4785630"/>
                <a:gd name="connsiteX22" fmla="*/ 4465320 w 5257800"/>
                <a:gd name="connsiteY22" fmla="*/ 1280160 h 4785630"/>
                <a:gd name="connsiteX23" fmla="*/ 4495800 w 5257800"/>
                <a:gd name="connsiteY23" fmla="*/ 1287780 h 4785630"/>
                <a:gd name="connsiteX24" fmla="*/ 4678680 w 5257800"/>
                <a:gd name="connsiteY24" fmla="*/ 1463040 h 4785630"/>
                <a:gd name="connsiteX25" fmla="*/ 4663440 w 5257800"/>
                <a:gd name="connsiteY25" fmla="*/ 1524000 h 4785630"/>
                <a:gd name="connsiteX26" fmla="*/ 4914900 w 5257800"/>
                <a:gd name="connsiteY26" fmla="*/ 1821180 h 4785630"/>
                <a:gd name="connsiteX27" fmla="*/ 5105400 w 5257800"/>
                <a:gd name="connsiteY27" fmla="*/ 2217420 h 4785630"/>
                <a:gd name="connsiteX28" fmla="*/ 5227320 w 5257800"/>
                <a:gd name="connsiteY28" fmla="*/ 2636520 h 4785630"/>
                <a:gd name="connsiteX29" fmla="*/ 5257800 w 5257800"/>
                <a:gd name="connsiteY29" fmla="*/ 3086100 h 4785630"/>
                <a:gd name="connsiteX30" fmla="*/ 5204460 w 5257800"/>
                <a:gd name="connsiteY30" fmla="*/ 3611880 h 4785630"/>
                <a:gd name="connsiteX31" fmla="*/ 4905544 w 5257800"/>
                <a:gd name="connsiteY31" fmla="*/ 4785630 h 4785630"/>
                <a:gd name="connsiteX32" fmla="*/ 4382946 w 5257800"/>
                <a:gd name="connsiteY32" fmla="*/ 4574791 h 4785630"/>
                <a:gd name="connsiteX33" fmla="*/ 4693920 w 5257800"/>
                <a:gd name="connsiteY33" fmla="*/ 3261360 h 4785630"/>
                <a:gd name="connsiteX34" fmla="*/ 4701540 w 5257800"/>
                <a:gd name="connsiteY34" fmla="*/ 2834640 h 4785630"/>
                <a:gd name="connsiteX35" fmla="*/ 4579620 w 5257800"/>
                <a:gd name="connsiteY35" fmla="*/ 2415540 h 4785630"/>
                <a:gd name="connsiteX36" fmla="*/ 4373880 w 5257800"/>
                <a:gd name="connsiteY36" fmla="*/ 2057400 h 4785630"/>
                <a:gd name="connsiteX37" fmla="*/ 3429000 w 5257800"/>
                <a:gd name="connsiteY37" fmla="*/ 1013460 h 4785630"/>
                <a:gd name="connsiteX38" fmla="*/ 3192780 w 5257800"/>
                <a:gd name="connsiteY38" fmla="*/ 853440 h 4785630"/>
                <a:gd name="connsiteX39" fmla="*/ 2910840 w 5257800"/>
                <a:gd name="connsiteY39" fmla="*/ 739140 h 4785630"/>
                <a:gd name="connsiteX40" fmla="*/ 2514600 w 5257800"/>
                <a:gd name="connsiteY40" fmla="*/ 693420 h 4785630"/>
                <a:gd name="connsiteX41" fmla="*/ 2232660 w 5257800"/>
                <a:gd name="connsiteY41" fmla="*/ 739140 h 4785630"/>
                <a:gd name="connsiteX42" fmla="*/ 1234440 w 5257800"/>
                <a:gd name="connsiteY42" fmla="*/ 1059180 h 4785630"/>
                <a:gd name="connsiteX43" fmla="*/ 960120 w 5257800"/>
                <a:gd name="connsiteY43" fmla="*/ 1165860 h 4785630"/>
                <a:gd name="connsiteX44" fmla="*/ 815340 w 5257800"/>
                <a:gd name="connsiteY44" fmla="*/ 1257300 h 4785630"/>
                <a:gd name="connsiteX45" fmla="*/ 0 w 5257800"/>
                <a:gd name="connsiteY45" fmla="*/ 1234440 h 4785630"/>
                <a:gd name="connsiteX0" fmla="*/ 0 w 5257800"/>
                <a:gd name="connsiteY0" fmla="*/ 1234440 h 4785630"/>
                <a:gd name="connsiteX1" fmla="*/ 213360 w 5257800"/>
                <a:gd name="connsiteY1" fmla="*/ 990600 h 4785630"/>
                <a:gd name="connsiteX2" fmla="*/ 457200 w 5257800"/>
                <a:gd name="connsiteY2" fmla="*/ 792480 h 4785630"/>
                <a:gd name="connsiteX3" fmla="*/ 685800 w 5257800"/>
                <a:gd name="connsiteY3" fmla="*/ 624840 h 4785630"/>
                <a:gd name="connsiteX4" fmla="*/ 929640 w 5257800"/>
                <a:gd name="connsiteY4" fmla="*/ 533400 h 4785630"/>
                <a:gd name="connsiteX5" fmla="*/ 891540 w 5257800"/>
                <a:gd name="connsiteY5" fmla="*/ 426720 h 4785630"/>
                <a:gd name="connsiteX6" fmla="*/ 1074420 w 5257800"/>
                <a:gd name="connsiteY6" fmla="*/ 358140 h 4785630"/>
                <a:gd name="connsiteX7" fmla="*/ 1120140 w 5257800"/>
                <a:gd name="connsiteY7" fmla="*/ 464820 h 4785630"/>
                <a:gd name="connsiteX8" fmla="*/ 1242060 w 5257800"/>
                <a:gd name="connsiteY8" fmla="*/ 434340 h 4785630"/>
                <a:gd name="connsiteX9" fmla="*/ 1272540 w 5257800"/>
                <a:gd name="connsiteY9" fmla="*/ 365760 h 4785630"/>
                <a:gd name="connsiteX10" fmla="*/ 1531620 w 5257800"/>
                <a:gd name="connsiteY10" fmla="*/ 297180 h 4785630"/>
                <a:gd name="connsiteX11" fmla="*/ 1584960 w 5257800"/>
                <a:gd name="connsiteY11" fmla="*/ 327660 h 4785630"/>
                <a:gd name="connsiteX12" fmla="*/ 1714500 w 5257800"/>
                <a:gd name="connsiteY12" fmla="*/ 274320 h 4785630"/>
                <a:gd name="connsiteX13" fmla="*/ 1684020 w 5257800"/>
                <a:gd name="connsiteY13" fmla="*/ 114300 h 4785630"/>
                <a:gd name="connsiteX14" fmla="*/ 2087880 w 5257800"/>
                <a:gd name="connsiteY14" fmla="*/ 0 h 4785630"/>
                <a:gd name="connsiteX15" fmla="*/ 2133600 w 5257800"/>
                <a:gd name="connsiteY15" fmla="*/ 160020 h 4785630"/>
                <a:gd name="connsiteX16" fmla="*/ 2385060 w 5257800"/>
                <a:gd name="connsiteY16" fmla="*/ 106680 h 4785630"/>
                <a:gd name="connsiteX17" fmla="*/ 2644140 w 5257800"/>
                <a:gd name="connsiteY17" fmla="*/ 99060 h 4785630"/>
                <a:gd name="connsiteX18" fmla="*/ 2971800 w 5257800"/>
                <a:gd name="connsiteY18" fmla="*/ 152400 h 4785630"/>
                <a:gd name="connsiteX19" fmla="*/ 3299460 w 5257800"/>
                <a:gd name="connsiteY19" fmla="*/ 251460 h 4785630"/>
                <a:gd name="connsiteX20" fmla="*/ 3665220 w 5257800"/>
                <a:gd name="connsiteY20" fmla="*/ 464820 h 4785630"/>
                <a:gd name="connsiteX21" fmla="*/ 3954780 w 5257800"/>
                <a:gd name="connsiteY21" fmla="*/ 723900 h 4785630"/>
                <a:gd name="connsiteX22" fmla="*/ 4465320 w 5257800"/>
                <a:gd name="connsiteY22" fmla="*/ 1280160 h 4785630"/>
                <a:gd name="connsiteX23" fmla="*/ 4495800 w 5257800"/>
                <a:gd name="connsiteY23" fmla="*/ 1287780 h 4785630"/>
                <a:gd name="connsiteX24" fmla="*/ 4678680 w 5257800"/>
                <a:gd name="connsiteY24" fmla="*/ 1463040 h 4785630"/>
                <a:gd name="connsiteX25" fmla="*/ 4663440 w 5257800"/>
                <a:gd name="connsiteY25" fmla="*/ 1524000 h 4785630"/>
                <a:gd name="connsiteX26" fmla="*/ 4914900 w 5257800"/>
                <a:gd name="connsiteY26" fmla="*/ 1821180 h 4785630"/>
                <a:gd name="connsiteX27" fmla="*/ 5105400 w 5257800"/>
                <a:gd name="connsiteY27" fmla="*/ 2217420 h 4785630"/>
                <a:gd name="connsiteX28" fmla="*/ 5227320 w 5257800"/>
                <a:gd name="connsiteY28" fmla="*/ 2636520 h 4785630"/>
                <a:gd name="connsiteX29" fmla="*/ 5257800 w 5257800"/>
                <a:gd name="connsiteY29" fmla="*/ 3086100 h 4785630"/>
                <a:gd name="connsiteX30" fmla="*/ 5204460 w 5257800"/>
                <a:gd name="connsiteY30" fmla="*/ 3611880 h 4785630"/>
                <a:gd name="connsiteX31" fmla="*/ 4958901 w 5257800"/>
                <a:gd name="connsiteY31" fmla="*/ 4553471 h 4785630"/>
                <a:gd name="connsiteX32" fmla="*/ 4905544 w 5257800"/>
                <a:gd name="connsiteY32" fmla="*/ 4785630 h 4785630"/>
                <a:gd name="connsiteX33" fmla="*/ 4382946 w 5257800"/>
                <a:gd name="connsiteY33" fmla="*/ 4574791 h 4785630"/>
                <a:gd name="connsiteX34" fmla="*/ 4693920 w 5257800"/>
                <a:gd name="connsiteY34" fmla="*/ 3261360 h 4785630"/>
                <a:gd name="connsiteX35" fmla="*/ 4701540 w 5257800"/>
                <a:gd name="connsiteY35" fmla="*/ 2834640 h 4785630"/>
                <a:gd name="connsiteX36" fmla="*/ 4579620 w 5257800"/>
                <a:gd name="connsiteY36" fmla="*/ 2415540 h 4785630"/>
                <a:gd name="connsiteX37" fmla="*/ 4373880 w 5257800"/>
                <a:gd name="connsiteY37" fmla="*/ 2057400 h 4785630"/>
                <a:gd name="connsiteX38" fmla="*/ 3429000 w 5257800"/>
                <a:gd name="connsiteY38" fmla="*/ 1013460 h 4785630"/>
                <a:gd name="connsiteX39" fmla="*/ 3192780 w 5257800"/>
                <a:gd name="connsiteY39" fmla="*/ 853440 h 4785630"/>
                <a:gd name="connsiteX40" fmla="*/ 2910840 w 5257800"/>
                <a:gd name="connsiteY40" fmla="*/ 739140 h 4785630"/>
                <a:gd name="connsiteX41" fmla="*/ 2514600 w 5257800"/>
                <a:gd name="connsiteY41" fmla="*/ 693420 h 4785630"/>
                <a:gd name="connsiteX42" fmla="*/ 2232660 w 5257800"/>
                <a:gd name="connsiteY42" fmla="*/ 739140 h 4785630"/>
                <a:gd name="connsiteX43" fmla="*/ 1234440 w 5257800"/>
                <a:gd name="connsiteY43" fmla="*/ 1059180 h 4785630"/>
                <a:gd name="connsiteX44" fmla="*/ 960120 w 5257800"/>
                <a:gd name="connsiteY44" fmla="*/ 1165860 h 4785630"/>
                <a:gd name="connsiteX45" fmla="*/ 815340 w 5257800"/>
                <a:gd name="connsiteY45" fmla="*/ 1257300 h 4785630"/>
                <a:gd name="connsiteX46" fmla="*/ 0 w 5257800"/>
                <a:gd name="connsiteY46" fmla="*/ 1234440 h 4785630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63073 w 5257800"/>
                <a:gd name="connsiteY31" fmla="*/ 4847915 h 4847915"/>
                <a:gd name="connsiteX32" fmla="*/ 4905544 w 5257800"/>
                <a:gd name="connsiteY32" fmla="*/ 4785630 h 4847915"/>
                <a:gd name="connsiteX33" fmla="*/ 4382946 w 5257800"/>
                <a:gd name="connsiteY33" fmla="*/ 4574791 h 4847915"/>
                <a:gd name="connsiteX34" fmla="*/ 4693920 w 5257800"/>
                <a:gd name="connsiteY34" fmla="*/ 3261360 h 4847915"/>
                <a:gd name="connsiteX35" fmla="*/ 4701540 w 5257800"/>
                <a:gd name="connsiteY35" fmla="*/ 2834640 h 4847915"/>
                <a:gd name="connsiteX36" fmla="*/ 4579620 w 5257800"/>
                <a:gd name="connsiteY36" fmla="*/ 2415540 h 4847915"/>
                <a:gd name="connsiteX37" fmla="*/ 4373880 w 5257800"/>
                <a:gd name="connsiteY37" fmla="*/ 2057400 h 4847915"/>
                <a:gd name="connsiteX38" fmla="*/ 3429000 w 5257800"/>
                <a:gd name="connsiteY38" fmla="*/ 1013460 h 4847915"/>
                <a:gd name="connsiteX39" fmla="*/ 3192780 w 5257800"/>
                <a:gd name="connsiteY39" fmla="*/ 853440 h 4847915"/>
                <a:gd name="connsiteX40" fmla="*/ 2910840 w 5257800"/>
                <a:gd name="connsiteY40" fmla="*/ 739140 h 4847915"/>
                <a:gd name="connsiteX41" fmla="*/ 2514600 w 5257800"/>
                <a:gd name="connsiteY41" fmla="*/ 693420 h 4847915"/>
                <a:gd name="connsiteX42" fmla="*/ 2232660 w 5257800"/>
                <a:gd name="connsiteY42" fmla="*/ 739140 h 4847915"/>
                <a:gd name="connsiteX43" fmla="*/ 1234440 w 5257800"/>
                <a:gd name="connsiteY43" fmla="*/ 1059180 h 4847915"/>
                <a:gd name="connsiteX44" fmla="*/ 960120 w 5257800"/>
                <a:gd name="connsiteY44" fmla="*/ 1165860 h 4847915"/>
                <a:gd name="connsiteX45" fmla="*/ 815340 w 5257800"/>
                <a:gd name="connsiteY45" fmla="*/ 1257300 h 4847915"/>
                <a:gd name="connsiteX46" fmla="*/ 0 w 5257800"/>
                <a:gd name="connsiteY46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132522 w 5257800"/>
                <a:gd name="connsiteY31" fmla="*/ 4173543 h 4847915"/>
                <a:gd name="connsiteX32" fmla="*/ 5063073 w 5257800"/>
                <a:gd name="connsiteY32" fmla="*/ 4847915 h 4847915"/>
                <a:gd name="connsiteX33" fmla="*/ 4905544 w 5257800"/>
                <a:gd name="connsiteY33" fmla="*/ 4785630 h 4847915"/>
                <a:gd name="connsiteX34" fmla="*/ 4382946 w 5257800"/>
                <a:gd name="connsiteY34" fmla="*/ 4574791 h 4847915"/>
                <a:gd name="connsiteX35" fmla="*/ 4693920 w 5257800"/>
                <a:gd name="connsiteY35" fmla="*/ 3261360 h 4847915"/>
                <a:gd name="connsiteX36" fmla="*/ 4701540 w 5257800"/>
                <a:gd name="connsiteY36" fmla="*/ 2834640 h 4847915"/>
                <a:gd name="connsiteX37" fmla="*/ 4579620 w 5257800"/>
                <a:gd name="connsiteY37" fmla="*/ 2415540 h 4847915"/>
                <a:gd name="connsiteX38" fmla="*/ 4373880 w 5257800"/>
                <a:gd name="connsiteY38" fmla="*/ 2057400 h 4847915"/>
                <a:gd name="connsiteX39" fmla="*/ 3429000 w 5257800"/>
                <a:gd name="connsiteY39" fmla="*/ 1013460 h 4847915"/>
                <a:gd name="connsiteX40" fmla="*/ 3192780 w 5257800"/>
                <a:gd name="connsiteY40" fmla="*/ 853440 h 4847915"/>
                <a:gd name="connsiteX41" fmla="*/ 2910840 w 5257800"/>
                <a:gd name="connsiteY41" fmla="*/ 739140 h 4847915"/>
                <a:gd name="connsiteX42" fmla="*/ 2514600 w 5257800"/>
                <a:gd name="connsiteY42" fmla="*/ 693420 h 4847915"/>
                <a:gd name="connsiteX43" fmla="*/ 2232660 w 5257800"/>
                <a:gd name="connsiteY43" fmla="*/ 739140 h 4847915"/>
                <a:gd name="connsiteX44" fmla="*/ 1234440 w 5257800"/>
                <a:gd name="connsiteY44" fmla="*/ 1059180 h 4847915"/>
                <a:gd name="connsiteX45" fmla="*/ 960120 w 5257800"/>
                <a:gd name="connsiteY45" fmla="*/ 1165860 h 4847915"/>
                <a:gd name="connsiteX46" fmla="*/ 815340 w 5257800"/>
                <a:gd name="connsiteY46" fmla="*/ 1257300 h 4847915"/>
                <a:gd name="connsiteX47" fmla="*/ 0 w 5257800"/>
                <a:gd name="connsiteY47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02306 w 5257800"/>
                <a:gd name="connsiteY31" fmla="*/ 4363507 h 4847915"/>
                <a:gd name="connsiteX32" fmla="*/ 5063073 w 5257800"/>
                <a:gd name="connsiteY32" fmla="*/ 4847915 h 4847915"/>
                <a:gd name="connsiteX33" fmla="*/ 4905544 w 5257800"/>
                <a:gd name="connsiteY33" fmla="*/ 4785630 h 4847915"/>
                <a:gd name="connsiteX34" fmla="*/ 4382946 w 5257800"/>
                <a:gd name="connsiteY34" fmla="*/ 4574791 h 4847915"/>
                <a:gd name="connsiteX35" fmla="*/ 4693920 w 5257800"/>
                <a:gd name="connsiteY35" fmla="*/ 3261360 h 4847915"/>
                <a:gd name="connsiteX36" fmla="*/ 4701540 w 5257800"/>
                <a:gd name="connsiteY36" fmla="*/ 2834640 h 4847915"/>
                <a:gd name="connsiteX37" fmla="*/ 4579620 w 5257800"/>
                <a:gd name="connsiteY37" fmla="*/ 2415540 h 4847915"/>
                <a:gd name="connsiteX38" fmla="*/ 4373880 w 5257800"/>
                <a:gd name="connsiteY38" fmla="*/ 2057400 h 4847915"/>
                <a:gd name="connsiteX39" fmla="*/ 3429000 w 5257800"/>
                <a:gd name="connsiteY39" fmla="*/ 1013460 h 4847915"/>
                <a:gd name="connsiteX40" fmla="*/ 3192780 w 5257800"/>
                <a:gd name="connsiteY40" fmla="*/ 853440 h 4847915"/>
                <a:gd name="connsiteX41" fmla="*/ 2910840 w 5257800"/>
                <a:gd name="connsiteY41" fmla="*/ 739140 h 4847915"/>
                <a:gd name="connsiteX42" fmla="*/ 2514600 w 5257800"/>
                <a:gd name="connsiteY42" fmla="*/ 693420 h 4847915"/>
                <a:gd name="connsiteX43" fmla="*/ 2232660 w 5257800"/>
                <a:gd name="connsiteY43" fmla="*/ 739140 h 4847915"/>
                <a:gd name="connsiteX44" fmla="*/ 1234440 w 5257800"/>
                <a:gd name="connsiteY44" fmla="*/ 1059180 h 4847915"/>
                <a:gd name="connsiteX45" fmla="*/ 960120 w 5257800"/>
                <a:gd name="connsiteY45" fmla="*/ 1165860 h 4847915"/>
                <a:gd name="connsiteX46" fmla="*/ 815340 w 5257800"/>
                <a:gd name="connsiteY46" fmla="*/ 1257300 h 4847915"/>
                <a:gd name="connsiteX47" fmla="*/ 0 w 5257800"/>
                <a:gd name="connsiteY47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02306 w 5257800"/>
                <a:gd name="connsiteY31" fmla="*/ 4363507 h 4847915"/>
                <a:gd name="connsiteX32" fmla="*/ 5010987 w 5257800"/>
                <a:gd name="connsiteY32" fmla="*/ 4600961 h 4847915"/>
                <a:gd name="connsiteX33" fmla="*/ 5063073 w 5257800"/>
                <a:gd name="connsiteY33" fmla="*/ 4847915 h 4847915"/>
                <a:gd name="connsiteX34" fmla="*/ 4905544 w 5257800"/>
                <a:gd name="connsiteY34" fmla="*/ 4785630 h 4847915"/>
                <a:gd name="connsiteX35" fmla="*/ 4382946 w 5257800"/>
                <a:gd name="connsiteY35" fmla="*/ 4574791 h 4847915"/>
                <a:gd name="connsiteX36" fmla="*/ 4693920 w 5257800"/>
                <a:gd name="connsiteY36" fmla="*/ 3261360 h 4847915"/>
                <a:gd name="connsiteX37" fmla="*/ 4701540 w 5257800"/>
                <a:gd name="connsiteY37" fmla="*/ 2834640 h 4847915"/>
                <a:gd name="connsiteX38" fmla="*/ 4579620 w 5257800"/>
                <a:gd name="connsiteY38" fmla="*/ 2415540 h 4847915"/>
                <a:gd name="connsiteX39" fmla="*/ 4373880 w 5257800"/>
                <a:gd name="connsiteY39" fmla="*/ 2057400 h 4847915"/>
                <a:gd name="connsiteX40" fmla="*/ 3429000 w 5257800"/>
                <a:gd name="connsiteY40" fmla="*/ 1013460 h 4847915"/>
                <a:gd name="connsiteX41" fmla="*/ 3192780 w 5257800"/>
                <a:gd name="connsiteY41" fmla="*/ 853440 h 4847915"/>
                <a:gd name="connsiteX42" fmla="*/ 2910840 w 5257800"/>
                <a:gd name="connsiteY42" fmla="*/ 739140 h 4847915"/>
                <a:gd name="connsiteX43" fmla="*/ 2514600 w 5257800"/>
                <a:gd name="connsiteY43" fmla="*/ 693420 h 4847915"/>
                <a:gd name="connsiteX44" fmla="*/ 2232660 w 5257800"/>
                <a:gd name="connsiteY44" fmla="*/ 739140 h 4847915"/>
                <a:gd name="connsiteX45" fmla="*/ 1234440 w 5257800"/>
                <a:gd name="connsiteY45" fmla="*/ 1059180 h 4847915"/>
                <a:gd name="connsiteX46" fmla="*/ 960120 w 5257800"/>
                <a:gd name="connsiteY46" fmla="*/ 1165860 h 4847915"/>
                <a:gd name="connsiteX47" fmla="*/ 815340 w 5257800"/>
                <a:gd name="connsiteY47" fmla="*/ 1257300 h 4847915"/>
                <a:gd name="connsiteX48" fmla="*/ 0 w 5257800"/>
                <a:gd name="connsiteY48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02306 w 5257800"/>
                <a:gd name="connsiteY31" fmla="*/ 4363507 h 4847915"/>
                <a:gd name="connsiteX32" fmla="*/ 5132522 w 5257800"/>
                <a:gd name="connsiteY32" fmla="*/ 4429994 h 4847915"/>
                <a:gd name="connsiteX33" fmla="*/ 5063073 w 5257800"/>
                <a:gd name="connsiteY33" fmla="*/ 4847915 h 4847915"/>
                <a:gd name="connsiteX34" fmla="*/ 4905544 w 5257800"/>
                <a:gd name="connsiteY34" fmla="*/ 4785630 h 4847915"/>
                <a:gd name="connsiteX35" fmla="*/ 4382946 w 5257800"/>
                <a:gd name="connsiteY35" fmla="*/ 4574791 h 4847915"/>
                <a:gd name="connsiteX36" fmla="*/ 4693920 w 5257800"/>
                <a:gd name="connsiteY36" fmla="*/ 3261360 h 4847915"/>
                <a:gd name="connsiteX37" fmla="*/ 4701540 w 5257800"/>
                <a:gd name="connsiteY37" fmla="*/ 2834640 h 4847915"/>
                <a:gd name="connsiteX38" fmla="*/ 4579620 w 5257800"/>
                <a:gd name="connsiteY38" fmla="*/ 2415540 h 4847915"/>
                <a:gd name="connsiteX39" fmla="*/ 4373880 w 5257800"/>
                <a:gd name="connsiteY39" fmla="*/ 2057400 h 4847915"/>
                <a:gd name="connsiteX40" fmla="*/ 3429000 w 5257800"/>
                <a:gd name="connsiteY40" fmla="*/ 1013460 h 4847915"/>
                <a:gd name="connsiteX41" fmla="*/ 3192780 w 5257800"/>
                <a:gd name="connsiteY41" fmla="*/ 853440 h 4847915"/>
                <a:gd name="connsiteX42" fmla="*/ 2910840 w 5257800"/>
                <a:gd name="connsiteY42" fmla="*/ 739140 h 4847915"/>
                <a:gd name="connsiteX43" fmla="*/ 2514600 w 5257800"/>
                <a:gd name="connsiteY43" fmla="*/ 693420 h 4847915"/>
                <a:gd name="connsiteX44" fmla="*/ 2232660 w 5257800"/>
                <a:gd name="connsiteY44" fmla="*/ 739140 h 4847915"/>
                <a:gd name="connsiteX45" fmla="*/ 1234440 w 5257800"/>
                <a:gd name="connsiteY45" fmla="*/ 1059180 h 4847915"/>
                <a:gd name="connsiteX46" fmla="*/ 960120 w 5257800"/>
                <a:gd name="connsiteY46" fmla="*/ 1165860 h 4847915"/>
                <a:gd name="connsiteX47" fmla="*/ 815340 w 5257800"/>
                <a:gd name="connsiteY47" fmla="*/ 1257300 h 4847915"/>
                <a:gd name="connsiteX48" fmla="*/ 0 w 5257800"/>
                <a:gd name="connsiteY48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02306 w 5257800"/>
                <a:gd name="connsiteY31" fmla="*/ 4363507 h 4847915"/>
                <a:gd name="connsiteX32" fmla="*/ 5132522 w 5257800"/>
                <a:gd name="connsiteY32" fmla="*/ 4429994 h 4847915"/>
                <a:gd name="connsiteX33" fmla="*/ 5063073 w 5257800"/>
                <a:gd name="connsiteY33" fmla="*/ 4847915 h 4847915"/>
                <a:gd name="connsiteX34" fmla="*/ 4905544 w 5257800"/>
                <a:gd name="connsiteY34" fmla="*/ 4785630 h 4847915"/>
                <a:gd name="connsiteX35" fmla="*/ 4655065 w 5257800"/>
                <a:gd name="connsiteY35" fmla="*/ 4676947 h 4847915"/>
                <a:gd name="connsiteX36" fmla="*/ 4382946 w 5257800"/>
                <a:gd name="connsiteY36" fmla="*/ 4574791 h 4847915"/>
                <a:gd name="connsiteX37" fmla="*/ 4693920 w 5257800"/>
                <a:gd name="connsiteY37" fmla="*/ 3261360 h 4847915"/>
                <a:gd name="connsiteX38" fmla="*/ 4701540 w 5257800"/>
                <a:gd name="connsiteY38" fmla="*/ 2834640 h 4847915"/>
                <a:gd name="connsiteX39" fmla="*/ 4579620 w 5257800"/>
                <a:gd name="connsiteY39" fmla="*/ 2415540 h 4847915"/>
                <a:gd name="connsiteX40" fmla="*/ 4373880 w 5257800"/>
                <a:gd name="connsiteY40" fmla="*/ 2057400 h 4847915"/>
                <a:gd name="connsiteX41" fmla="*/ 3429000 w 5257800"/>
                <a:gd name="connsiteY41" fmla="*/ 1013460 h 4847915"/>
                <a:gd name="connsiteX42" fmla="*/ 3192780 w 5257800"/>
                <a:gd name="connsiteY42" fmla="*/ 853440 h 4847915"/>
                <a:gd name="connsiteX43" fmla="*/ 2910840 w 5257800"/>
                <a:gd name="connsiteY43" fmla="*/ 739140 h 4847915"/>
                <a:gd name="connsiteX44" fmla="*/ 2514600 w 5257800"/>
                <a:gd name="connsiteY44" fmla="*/ 693420 h 4847915"/>
                <a:gd name="connsiteX45" fmla="*/ 2232660 w 5257800"/>
                <a:gd name="connsiteY45" fmla="*/ 739140 h 4847915"/>
                <a:gd name="connsiteX46" fmla="*/ 1234440 w 5257800"/>
                <a:gd name="connsiteY46" fmla="*/ 1059180 h 4847915"/>
                <a:gd name="connsiteX47" fmla="*/ 960120 w 5257800"/>
                <a:gd name="connsiteY47" fmla="*/ 1165860 h 4847915"/>
                <a:gd name="connsiteX48" fmla="*/ 815340 w 5257800"/>
                <a:gd name="connsiteY48" fmla="*/ 1257300 h 4847915"/>
                <a:gd name="connsiteX49" fmla="*/ 0 w 5257800"/>
                <a:gd name="connsiteY49" fmla="*/ 1234440 h 4847915"/>
                <a:gd name="connsiteX0" fmla="*/ 0 w 5257800"/>
                <a:gd name="connsiteY0" fmla="*/ 1234440 h 5588772"/>
                <a:gd name="connsiteX1" fmla="*/ 213360 w 5257800"/>
                <a:gd name="connsiteY1" fmla="*/ 990600 h 5588772"/>
                <a:gd name="connsiteX2" fmla="*/ 457200 w 5257800"/>
                <a:gd name="connsiteY2" fmla="*/ 792480 h 5588772"/>
                <a:gd name="connsiteX3" fmla="*/ 685800 w 5257800"/>
                <a:gd name="connsiteY3" fmla="*/ 624840 h 5588772"/>
                <a:gd name="connsiteX4" fmla="*/ 929640 w 5257800"/>
                <a:gd name="connsiteY4" fmla="*/ 533400 h 5588772"/>
                <a:gd name="connsiteX5" fmla="*/ 891540 w 5257800"/>
                <a:gd name="connsiteY5" fmla="*/ 426720 h 5588772"/>
                <a:gd name="connsiteX6" fmla="*/ 1074420 w 5257800"/>
                <a:gd name="connsiteY6" fmla="*/ 358140 h 5588772"/>
                <a:gd name="connsiteX7" fmla="*/ 1120140 w 5257800"/>
                <a:gd name="connsiteY7" fmla="*/ 464820 h 5588772"/>
                <a:gd name="connsiteX8" fmla="*/ 1242060 w 5257800"/>
                <a:gd name="connsiteY8" fmla="*/ 434340 h 5588772"/>
                <a:gd name="connsiteX9" fmla="*/ 1272540 w 5257800"/>
                <a:gd name="connsiteY9" fmla="*/ 365760 h 5588772"/>
                <a:gd name="connsiteX10" fmla="*/ 1531620 w 5257800"/>
                <a:gd name="connsiteY10" fmla="*/ 297180 h 5588772"/>
                <a:gd name="connsiteX11" fmla="*/ 1584960 w 5257800"/>
                <a:gd name="connsiteY11" fmla="*/ 327660 h 5588772"/>
                <a:gd name="connsiteX12" fmla="*/ 1714500 w 5257800"/>
                <a:gd name="connsiteY12" fmla="*/ 274320 h 5588772"/>
                <a:gd name="connsiteX13" fmla="*/ 1684020 w 5257800"/>
                <a:gd name="connsiteY13" fmla="*/ 114300 h 5588772"/>
                <a:gd name="connsiteX14" fmla="*/ 2087880 w 5257800"/>
                <a:gd name="connsiteY14" fmla="*/ 0 h 5588772"/>
                <a:gd name="connsiteX15" fmla="*/ 2133600 w 5257800"/>
                <a:gd name="connsiteY15" fmla="*/ 160020 h 5588772"/>
                <a:gd name="connsiteX16" fmla="*/ 2385060 w 5257800"/>
                <a:gd name="connsiteY16" fmla="*/ 106680 h 5588772"/>
                <a:gd name="connsiteX17" fmla="*/ 2644140 w 5257800"/>
                <a:gd name="connsiteY17" fmla="*/ 99060 h 5588772"/>
                <a:gd name="connsiteX18" fmla="*/ 2971800 w 5257800"/>
                <a:gd name="connsiteY18" fmla="*/ 152400 h 5588772"/>
                <a:gd name="connsiteX19" fmla="*/ 3299460 w 5257800"/>
                <a:gd name="connsiteY19" fmla="*/ 251460 h 5588772"/>
                <a:gd name="connsiteX20" fmla="*/ 3665220 w 5257800"/>
                <a:gd name="connsiteY20" fmla="*/ 464820 h 5588772"/>
                <a:gd name="connsiteX21" fmla="*/ 3954780 w 5257800"/>
                <a:gd name="connsiteY21" fmla="*/ 723900 h 5588772"/>
                <a:gd name="connsiteX22" fmla="*/ 4465320 w 5257800"/>
                <a:gd name="connsiteY22" fmla="*/ 1280160 h 5588772"/>
                <a:gd name="connsiteX23" fmla="*/ 4495800 w 5257800"/>
                <a:gd name="connsiteY23" fmla="*/ 1287780 h 5588772"/>
                <a:gd name="connsiteX24" fmla="*/ 4678680 w 5257800"/>
                <a:gd name="connsiteY24" fmla="*/ 1463040 h 5588772"/>
                <a:gd name="connsiteX25" fmla="*/ 4663440 w 5257800"/>
                <a:gd name="connsiteY25" fmla="*/ 1524000 h 5588772"/>
                <a:gd name="connsiteX26" fmla="*/ 4914900 w 5257800"/>
                <a:gd name="connsiteY26" fmla="*/ 1821180 h 5588772"/>
                <a:gd name="connsiteX27" fmla="*/ 5105400 w 5257800"/>
                <a:gd name="connsiteY27" fmla="*/ 2217420 h 5588772"/>
                <a:gd name="connsiteX28" fmla="*/ 5227320 w 5257800"/>
                <a:gd name="connsiteY28" fmla="*/ 2636520 h 5588772"/>
                <a:gd name="connsiteX29" fmla="*/ 5257800 w 5257800"/>
                <a:gd name="connsiteY29" fmla="*/ 3086100 h 5588772"/>
                <a:gd name="connsiteX30" fmla="*/ 5204460 w 5257800"/>
                <a:gd name="connsiteY30" fmla="*/ 3611880 h 5588772"/>
                <a:gd name="connsiteX31" fmla="*/ 5002306 w 5257800"/>
                <a:gd name="connsiteY31" fmla="*/ 4363507 h 5588772"/>
                <a:gd name="connsiteX32" fmla="*/ 5132522 w 5257800"/>
                <a:gd name="connsiteY32" fmla="*/ 4429994 h 5588772"/>
                <a:gd name="connsiteX33" fmla="*/ 5063073 w 5257800"/>
                <a:gd name="connsiteY33" fmla="*/ 4847915 h 5588772"/>
                <a:gd name="connsiteX34" fmla="*/ 4905544 w 5257800"/>
                <a:gd name="connsiteY34" fmla="*/ 4785630 h 5588772"/>
                <a:gd name="connsiteX35" fmla="*/ 3595980 w 5257800"/>
                <a:gd name="connsiteY35" fmla="*/ 5588772 h 5588772"/>
                <a:gd name="connsiteX36" fmla="*/ 4382946 w 5257800"/>
                <a:gd name="connsiteY36" fmla="*/ 4574791 h 5588772"/>
                <a:gd name="connsiteX37" fmla="*/ 4693920 w 5257800"/>
                <a:gd name="connsiteY37" fmla="*/ 3261360 h 5588772"/>
                <a:gd name="connsiteX38" fmla="*/ 4701540 w 5257800"/>
                <a:gd name="connsiteY38" fmla="*/ 2834640 h 5588772"/>
                <a:gd name="connsiteX39" fmla="*/ 4579620 w 5257800"/>
                <a:gd name="connsiteY39" fmla="*/ 2415540 h 5588772"/>
                <a:gd name="connsiteX40" fmla="*/ 4373880 w 5257800"/>
                <a:gd name="connsiteY40" fmla="*/ 2057400 h 5588772"/>
                <a:gd name="connsiteX41" fmla="*/ 3429000 w 5257800"/>
                <a:gd name="connsiteY41" fmla="*/ 1013460 h 5588772"/>
                <a:gd name="connsiteX42" fmla="*/ 3192780 w 5257800"/>
                <a:gd name="connsiteY42" fmla="*/ 853440 h 5588772"/>
                <a:gd name="connsiteX43" fmla="*/ 2910840 w 5257800"/>
                <a:gd name="connsiteY43" fmla="*/ 739140 h 5588772"/>
                <a:gd name="connsiteX44" fmla="*/ 2514600 w 5257800"/>
                <a:gd name="connsiteY44" fmla="*/ 693420 h 5588772"/>
                <a:gd name="connsiteX45" fmla="*/ 2232660 w 5257800"/>
                <a:gd name="connsiteY45" fmla="*/ 739140 h 5588772"/>
                <a:gd name="connsiteX46" fmla="*/ 1234440 w 5257800"/>
                <a:gd name="connsiteY46" fmla="*/ 1059180 h 5588772"/>
                <a:gd name="connsiteX47" fmla="*/ 960120 w 5257800"/>
                <a:gd name="connsiteY47" fmla="*/ 1165860 h 5588772"/>
                <a:gd name="connsiteX48" fmla="*/ 815340 w 5257800"/>
                <a:gd name="connsiteY48" fmla="*/ 1257300 h 5588772"/>
                <a:gd name="connsiteX49" fmla="*/ 0 w 5257800"/>
                <a:gd name="connsiteY49" fmla="*/ 1234440 h 5588772"/>
                <a:gd name="connsiteX0" fmla="*/ 0 w 5257800"/>
                <a:gd name="connsiteY0" fmla="*/ 1234440 h 5588772"/>
                <a:gd name="connsiteX1" fmla="*/ 213360 w 5257800"/>
                <a:gd name="connsiteY1" fmla="*/ 990600 h 5588772"/>
                <a:gd name="connsiteX2" fmla="*/ 457200 w 5257800"/>
                <a:gd name="connsiteY2" fmla="*/ 792480 h 5588772"/>
                <a:gd name="connsiteX3" fmla="*/ 685800 w 5257800"/>
                <a:gd name="connsiteY3" fmla="*/ 624840 h 5588772"/>
                <a:gd name="connsiteX4" fmla="*/ 929640 w 5257800"/>
                <a:gd name="connsiteY4" fmla="*/ 533400 h 5588772"/>
                <a:gd name="connsiteX5" fmla="*/ 891540 w 5257800"/>
                <a:gd name="connsiteY5" fmla="*/ 426720 h 5588772"/>
                <a:gd name="connsiteX6" fmla="*/ 1074420 w 5257800"/>
                <a:gd name="connsiteY6" fmla="*/ 358140 h 5588772"/>
                <a:gd name="connsiteX7" fmla="*/ 1120140 w 5257800"/>
                <a:gd name="connsiteY7" fmla="*/ 464820 h 5588772"/>
                <a:gd name="connsiteX8" fmla="*/ 1242060 w 5257800"/>
                <a:gd name="connsiteY8" fmla="*/ 434340 h 5588772"/>
                <a:gd name="connsiteX9" fmla="*/ 1272540 w 5257800"/>
                <a:gd name="connsiteY9" fmla="*/ 365760 h 5588772"/>
                <a:gd name="connsiteX10" fmla="*/ 1531620 w 5257800"/>
                <a:gd name="connsiteY10" fmla="*/ 297180 h 5588772"/>
                <a:gd name="connsiteX11" fmla="*/ 1584960 w 5257800"/>
                <a:gd name="connsiteY11" fmla="*/ 327660 h 5588772"/>
                <a:gd name="connsiteX12" fmla="*/ 1714500 w 5257800"/>
                <a:gd name="connsiteY12" fmla="*/ 274320 h 5588772"/>
                <a:gd name="connsiteX13" fmla="*/ 1684020 w 5257800"/>
                <a:gd name="connsiteY13" fmla="*/ 114300 h 5588772"/>
                <a:gd name="connsiteX14" fmla="*/ 2087880 w 5257800"/>
                <a:gd name="connsiteY14" fmla="*/ 0 h 5588772"/>
                <a:gd name="connsiteX15" fmla="*/ 2133600 w 5257800"/>
                <a:gd name="connsiteY15" fmla="*/ 160020 h 5588772"/>
                <a:gd name="connsiteX16" fmla="*/ 2385060 w 5257800"/>
                <a:gd name="connsiteY16" fmla="*/ 106680 h 5588772"/>
                <a:gd name="connsiteX17" fmla="*/ 2644140 w 5257800"/>
                <a:gd name="connsiteY17" fmla="*/ 99060 h 5588772"/>
                <a:gd name="connsiteX18" fmla="*/ 2971800 w 5257800"/>
                <a:gd name="connsiteY18" fmla="*/ 152400 h 5588772"/>
                <a:gd name="connsiteX19" fmla="*/ 3299460 w 5257800"/>
                <a:gd name="connsiteY19" fmla="*/ 251460 h 5588772"/>
                <a:gd name="connsiteX20" fmla="*/ 3665220 w 5257800"/>
                <a:gd name="connsiteY20" fmla="*/ 464820 h 5588772"/>
                <a:gd name="connsiteX21" fmla="*/ 3954780 w 5257800"/>
                <a:gd name="connsiteY21" fmla="*/ 723900 h 5588772"/>
                <a:gd name="connsiteX22" fmla="*/ 4465320 w 5257800"/>
                <a:gd name="connsiteY22" fmla="*/ 1280160 h 5588772"/>
                <a:gd name="connsiteX23" fmla="*/ 4495800 w 5257800"/>
                <a:gd name="connsiteY23" fmla="*/ 1287780 h 5588772"/>
                <a:gd name="connsiteX24" fmla="*/ 4678680 w 5257800"/>
                <a:gd name="connsiteY24" fmla="*/ 1463040 h 5588772"/>
                <a:gd name="connsiteX25" fmla="*/ 4663440 w 5257800"/>
                <a:gd name="connsiteY25" fmla="*/ 1524000 h 5588772"/>
                <a:gd name="connsiteX26" fmla="*/ 4914900 w 5257800"/>
                <a:gd name="connsiteY26" fmla="*/ 1821180 h 5588772"/>
                <a:gd name="connsiteX27" fmla="*/ 5105400 w 5257800"/>
                <a:gd name="connsiteY27" fmla="*/ 2217420 h 5588772"/>
                <a:gd name="connsiteX28" fmla="*/ 5227320 w 5257800"/>
                <a:gd name="connsiteY28" fmla="*/ 2636520 h 5588772"/>
                <a:gd name="connsiteX29" fmla="*/ 5257800 w 5257800"/>
                <a:gd name="connsiteY29" fmla="*/ 3086100 h 5588772"/>
                <a:gd name="connsiteX30" fmla="*/ 5204460 w 5257800"/>
                <a:gd name="connsiteY30" fmla="*/ 3611880 h 5588772"/>
                <a:gd name="connsiteX31" fmla="*/ 5002306 w 5257800"/>
                <a:gd name="connsiteY31" fmla="*/ 4363507 h 5588772"/>
                <a:gd name="connsiteX32" fmla="*/ 5132522 w 5257800"/>
                <a:gd name="connsiteY32" fmla="*/ 4429994 h 5588772"/>
                <a:gd name="connsiteX33" fmla="*/ 5063073 w 5257800"/>
                <a:gd name="connsiteY33" fmla="*/ 4847915 h 5588772"/>
                <a:gd name="connsiteX34" fmla="*/ 4905544 w 5257800"/>
                <a:gd name="connsiteY34" fmla="*/ 4785630 h 5588772"/>
                <a:gd name="connsiteX35" fmla="*/ 4385953 w 5257800"/>
                <a:gd name="connsiteY35" fmla="*/ 5104365 h 5588772"/>
                <a:gd name="connsiteX36" fmla="*/ 3595980 w 5257800"/>
                <a:gd name="connsiteY36" fmla="*/ 5588772 h 5588772"/>
                <a:gd name="connsiteX37" fmla="*/ 4382946 w 5257800"/>
                <a:gd name="connsiteY37" fmla="*/ 4574791 h 5588772"/>
                <a:gd name="connsiteX38" fmla="*/ 4693920 w 5257800"/>
                <a:gd name="connsiteY38" fmla="*/ 3261360 h 5588772"/>
                <a:gd name="connsiteX39" fmla="*/ 4701540 w 5257800"/>
                <a:gd name="connsiteY39" fmla="*/ 2834640 h 5588772"/>
                <a:gd name="connsiteX40" fmla="*/ 4579620 w 5257800"/>
                <a:gd name="connsiteY40" fmla="*/ 2415540 h 5588772"/>
                <a:gd name="connsiteX41" fmla="*/ 4373880 w 5257800"/>
                <a:gd name="connsiteY41" fmla="*/ 2057400 h 5588772"/>
                <a:gd name="connsiteX42" fmla="*/ 3429000 w 5257800"/>
                <a:gd name="connsiteY42" fmla="*/ 1013460 h 5588772"/>
                <a:gd name="connsiteX43" fmla="*/ 3192780 w 5257800"/>
                <a:gd name="connsiteY43" fmla="*/ 853440 h 5588772"/>
                <a:gd name="connsiteX44" fmla="*/ 2910840 w 5257800"/>
                <a:gd name="connsiteY44" fmla="*/ 739140 h 5588772"/>
                <a:gd name="connsiteX45" fmla="*/ 2514600 w 5257800"/>
                <a:gd name="connsiteY45" fmla="*/ 693420 h 5588772"/>
                <a:gd name="connsiteX46" fmla="*/ 2232660 w 5257800"/>
                <a:gd name="connsiteY46" fmla="*/ 739140 h 5588772"/>
                <a:gd name="connsiteX47" fmla="*/ 1234440 w 5257800"/>
                <a:gd name="connsiteY47" fmla="*/ 1059180 h 5588772"/>
                <a:gd name="connsiteX48" fmla="*/ 960120 w 5257800"/>
                <a:gd name="connsiteY48" fmla="*/ 1165860 h 5588772"/>
                <a:gd name="connsiteX49" fmla="*/ 815340 w 5257800"/>
                <a:gd name="connsiteY49" fmla="*/ 1257300 h 5588772"/>
                <a:gd name="connsiteX50" fmla="*/ 0 w 5257800"/>
                <a:gd name="connsiteY50" fmla="*/ 1234440 h 5588772"/>
                <a:gd name="connsiteX0" fmla="*/ 0 w 5257800"/>
                <a:gd name="connsiteY0" fmla="*/ 1234440 h 6187157"/>
                <a:gd name="connsiteX1" fmla="*/ 213360 w 5257800"/>
                <a:gd name="connsiteY1" fmla="*/ 990600 h 6187157"/>
                <a:gd name="connsiteX2" fmla="*/ 457200 w 5257800"/>
                <a:gd name="connsiteY2" fmla="*/ 792480 h 6187157"/>
                <a:gd name="connsiteX3" fmla="*/ 685800 w 5257800"/>
                <a:gd name="connsiteY3" fmla="*/ 624840 h 6187157"/>
                <a:gd name="connsiteX4" fmla="*/ 929640 w 5257800"/>
                <a:gd name="connsiteY4" fmla="*/ 533400 h 6187157"/>
                <a:gd name="connsiteX5" fmla="*/ 891540 w 5257800"/>
                <a:gd name="connsiteY5" fmla="*/ 426720 h 6187157"/>
                <a:gd name="connsiteX6" fmla="*/ 1074420 w 5257800"/>
                <a:gd name="connsiteY6" fmla="*/ 358140 h 6187157"/>
                <a:gd name="connsiteX7" fmla="*/ 1120140 w 5257800"/>
                <a:gd name="connsiteY7" fmla="*/ 464820 h 6187157"/>
                <a:gd name="connsiteX8" fmla="*/ 1242060 w 5257800"/>
                <a:gd name="connsiteY8" fmla="*/ 434340 h 6187157"/>
                <a:gd name="connsiteX9" fmla="*/ 1272540 w 5257800"/>
                <a:gd name="connsiteY9" fmla="*/ 365760 h 6187157"/>
                <a:gd name="connsiteX10" fmla="*/ 1531620 w 5257800"/>
                <a:gd name="connsiteY10" fmla="*/ 297180 h 6187157"/>
                <a:gd name="connsiteX11" fmla="*/ 1584960 w 5257800"/>
                <a:gd name="connsiteY11" fmla="*/ 327660 h 6187157"/>
                <a:gd name="connsiteX12" fmla="*/ 1714500 w 5257800"/>
                <a:gd name="connsiteY12" fmla="*/ 274320 h 6187157"/>
                <a:gd name="connsiteX13" fmla="*/ 1684020 w 5257800"/>
                <a:gd name="connsiteY13" fmla="*/ 114300 h 6187157"/>
                <a:gd name="connsiteX14" fmla="*/ 2087880 w 5257800"/>
                <a:gd name="connsiteY14" fmla="*/ 0 h 6187157"/>
                <a:gd name="connsiteX15" fmla="*/ 2133600 w 5257800"/>
                <a:gd name="connsiteY15" fmla="*/ 160020 h 6187157"/>
                <a:gd name="connsiteX16" fmla="*/ 2385060 w 5257800"/>
                <a:gd name="connsiteY16" fmla="*/ 106680 h 6187157"/>
                <a:gd name="connsiteX17" fmla="*/ 2644140 w 5257800"/>
                <a:gd name="connsiteY17" fmla="*/ 99060 h 6187157"/>
                <a:gd name="connsiteX18" fmla="*/ 2971800 w 5257800"/>
                <a:gd name="connsiteY18" fmla="*/ 152400 h 6187157"/>
                <a:gd name="connsiteX19" fmla="*/ 3299460 w 5257800"/>
                <a:gd name="connsiteY19" fmla="*/ 251460 h 6187157"/>
                <a:gd name="connsiteX20" fmla="*/ 3665220 w 5257800"/>
                <a:gd name="connsiteY20" fmla="*/ 464820 h 6187157"/>
                <a:gd name="connsiteX21" fmla="*/ 3954780 w 5257800"/>
                <a:gd name="connsiteY21" fmla="*/ 723900 h 6187157"/>
                <a:gd name="connsiteX22" fmla="*/ 4465320 w 5257800"/>
                <a:gd name="connsiteY22" fmla="*/ 1280160 h 6187157"/>
                <a:gd name="connsiteX23" fmla="*/ 4495800 w 5257800"/>
                <a:gd name="connsiteY23" fmla="*/ 1287780 h 6187157"/>
                <a:gd name="connsiteX24" fmla="*/ 4678680 w 5257800"/>
                <a:gd name="connsiteY24" fmla="*/ 1463040 h 6187157"/>
                <a:gd name="connsiteX25" fmla="*/ 4663440 w 5257800"/>
                <a:gd name="connsiteY25" fmla="*/ 1524000 h 6187157"/>
                <a:gd name="connsiteX26" fmla="*/ 4914900 w 5257800"/>
                <a:gd name="connsiteY26" fmla="*/ 1821180 h 6187157"/>
                <a:gd name="connsiteX27" fmla="*/ 5105400 w 5257800"/>
                <a:gd name="connsiteY27" fmla="*/ 2217420 h 6187157"/>
                <a:gd name="connsiteX28" fmla="*/ 5227320 w 5257800"/>
                <a:gd name="connsiteY28" fmla="*/ 2636520 h 6187157"/>
                <a:gd name="connsiteX29" fmla="*/ 5257800 w 5257800"/>
                <a:gd name="connsiteY29" fmla="*/ 3086100 h 6187157"/>
                <a:gd name="connsiteX30" fmla="*/ 5204460 w 5257800"/>
                <a:gd name="connsiteY30" fmla="*/ 3611880 h 6187157"/>
                <a:gd name="connsiteX31" fmla="*/ 5002306 w 5257800"/>
                <a:gd name="connsiteY31" fmla="*/ 4363507 h 6187157"/>
                <a:gd name="connsiteX32" fmla="*/ 5132522 w 5257800"/>
                <a:gd name="connsiteY32" fmla="*/ 4429994 h 6187157"/>
                <a:gd name="connsiteX33" fmla="*/ 5063073 w 5257800"/>
                <a:gd name="connsiteY33" fmla="*/ 4847915 h 6187157"/>
                <a:gd name="connsiteX34" fmla="*/ 4905544 w 5257800"/>
                <a:gd name="connsiteY34" fmla="*/ 4785630 h 6187157"/>
                <a:gd name="connsiteX35" fmla="*/ 3743556 w 5257800"/>
                <a:gd name="connsiteY35" fmla="*/ 6187157 h 6187157"/>
                <a:gd name="connsiteX36" fmla="*/ 3595980 w 5257800"/>
                <a:gd name="connsiteY36" fmla="*/ 5588772 h 6187157"/>
                <a:gd name="connsiteX37" fmla="*/ 4382946 w 5257800"/>
                <a:gd name="connsiteY37" fmla="*/ 4574791 h 6187157"/>
                <a:gd name="connsiteX38" fmla="*/ 4693920 w 5257800"/>
                <a:gd name="connsiteY38" fmla="*/ 3261360 h 6187157"/>
                <a:gd name="connsiteX39" fmla="*/ 4701540 w 5257800"/>
                <a:gd name="connsiteY39" fmla="*/ 2834640 h 6187157"/>
                <a:gd name="connsiteX40" fmla="*/ 4579620 w 5257800"/>
                <a:gd name="connsiteY40" fmla="*/ 2415540 h 6187157"/>
                <a:gd name="connsiteX41" fmla="*/ 4373880 w 5257800"/>
                <a:gd name="connsiteY41" fmla="*/ 2057400 h 6187157"/>
                <a:gd name="connsiteX42" fmla="*/ 3429000 w 5257800"/>
                <a:gd name="connsiteY42" fmla="*/ 1013460 h 6187157"/>
                <a:gd name="connsiteX43" fmla="*/ 3192780 w 5257800"/>
                <a:gd name="connsiteY43" fmla="*/ 853440 h 6187157"/>
                <a:gd name="connsiteX44" fmla="*/ 2910840 w 5257800"/>
                <a:gd name="connsiteY44" fmla="*/ 739140 h 6187157"/>
                <a:gd name="connsiteX45" fmla="*/ 2514600 w 5257800"/>
                <a:gd name="connsiteY45" fmla="*/ 693420 h 6187157"/>
                <a:gd name="connsiteX46" fmla="*/ 2232660 w 5257800"/>
                <a:gd name="connsiteY46" fmla="*/ 739140 h 6187157"/>
                <a:gd name="connsiteX47" fmla="*/ 1234440 w 5257800"/>
                <a:gd name="connsiteY47" fmla="*/ 1059180 h 6187157"/>
                <a:gd name="connsiteX48" fmla="*/ 960120 w 5257800"/>
                <a:gd name="connsiteY48" fmla="*/ 1165860 h 6187157"/>
                <a:gd name="connsiteX49" fmla="*/ 815340 w 5257800"/>
                <a:gd name="connsiteY49" fmla="*/ 1257300 h 6187157"/>
                <a:gd name="connsiteX50" fmla="*/ 0 w 5257800"/>
                <a:gd name="connsiteY50" fmla="*/ 1234440 h 6187157"/>
                <a:gd name="connsiteX0" fmla="*/ 0 w 5257800"/>
                <a:gd name="connsiteY0" fmla="*/ 1234440 h 6187157"/>
                <a:gd name="connsiteX1" fmla="*/ 213360 w 5257800"/>
                <a:gd name="connsiteY1" fmla="*/ 990600 h 6187157"/>
                <a:gd name="connsiteX2" fmla="*/ 457200 w 5257800"/>
                <a:gd name="connsiteY2" fmla="*/ 792480 h 6187157"/>
                <a:gd name="connsiteX3" fmla="*/ 685800 w 5257800"/>
                <a:gd name="connsiteY3" fmla="*/ 624840 h 6187157"/>
                <a:gd name="connsiteX4" fmla="*/ 929640 w 5257800"/>
                <a:gd name="connsiteY4" fmla="*/ 533400 h 6187157"/>
                <a:gd name="connsiteX5" fmla="*/ 891540 w 5257800"/>
                <a:gd name="connsiteY5" fmla="*/ 426720 h 6187157"/>
                <a:gd name="connsiteX6" fmla="*/ 1074420 w 5257800"/>
                <a:gd name="connsiteY6" fmla="*/ 358140 h 6187157"/>
                <a:gd name="connsiteX7" fmla="*/ 1120140 w 5257800"/>
                <a:gd name="connsiteY7" fmla="*/ 464820 h 6187157"/>
                <a:gd name="connsiteX8" fmla="*/ 1242060 w 5257800"/>
                <a:gd name="connsiteY8" fmla="*/ 434340 h 6187157"/>
                <a:gd name="connsiteX9" fmla="*/ 1272540 w 5257800"/>
                <a:gd name="connsiteY9" fmla="*/ 365760 h 6187157"/>
                <a:gd name="connsiteX10" fmla="*/ 1531620 w 5257800"/>
                <a:gd name="connsiteY10" fmla="*/ 297180 h 6187157"/>
                <a:gd name="connsiteX11" fmla="*/ 1584960 w 5257800"/>
                <a:gd name="connsiteY11" fmla="*/ 327660 h 6187157"/>
                <a:gd name="connsiteX12" fmla="*/ 1714500 w 5257800"/>
                <a:gd name="connsiteY12" fmla="*/ 274320 h 6187157"/>
                <a:gd name="connsiteX13" fmla="*/ 1684020 w 5257800"/>
                <a:gd name="connsiteY13" fmla="*/ 114300 h 6187157"/>
                <a:gd name="connsiteX14" fmla="*/ 2087880 w 5257800"/>
                <a:gd name="connsiteY14" fmla="*/ 0 h 6187157"/>
                <a:gd name="connsiteX15" fmla="*/ 2133600 w 5257800"/>
                <a:gd name="connsiteY15" fmla="*/ 160020 h 6187157"/>
                <a:gd name="connsiteX16" fmla="*/ 2385060 w 5257800"/>
                <a:gd name="connsiteY16" fmla="*/ 106680 h 6187157"/>
                <a:gd name="connsiteX17" fmla="*/ 2644140 w 5257800"/>
                <a:gd name="connsiteY17" fmla="*/ 99060 h 6187157"/>
                <a:gd name="connsiteX18" fmla="*/ 2971800 w 5257800"/>
                <a:gd name="connsiteY18" fmla="*/ 152400 h 6187157"/>
                <a:gd name="connsiteX19" fmla="*/ 3299460 w 5257800"/>
                <a:gd name="connsiteY19" fmla="*/ 251460 h 6187157"/>
                <a:gd name="connsiteX20" fmla="*/ 3665220 w 5257800"/>
                <a:gd name="connsiteY20" fmla="*/ 464820 h 6187157"/>
                <a:gd name="connsiteX21" fmla="*/ 3954780 w 5257800"/>
                <a:gd name="connsiteY21" fmla="*/ 723900 h 6187157"/>
                <a:gd name="connsiteX22" fmla="*/ 4465320 w 5257800"/>
                <a:gd name="connsiteY22" fmla="*/ 1280160 h 6187157"/>
                <a:gd name="connsiteX23" fmla="*/ 4495800 w 5257800"/>
                <a:gd name="connsiteY23" fmla="*/ 1287780 h 6187157"/>
                <a:gd name="connsiteX24" fmla="*/ 4678680 w 5257800"/>
                <a:gd name="connsiteY24" fmla="*/ 1463040 h 6187157"/>
                <a:gd name="connsiteX25" fmla="*/ 4663440 w 5257800"/>
                <a:gd name="connsiteY25" fmla="*/ 1524000 h 6187157"/>
                <a:gd name="connsiteX26" fmla="*/ 4914900 w 5257800"/>
                <a:gd name="connsiteY26" fmla="*/ 1821180 h 6187157"/>
                <a:gd name="connsiteX27" fmla="*/ 5105400 w 5257800"/>
                <a:gd name="connsiteY27" fmla="*/ 2217420 h 6187157"/>
                <a:gd name="connsiteX28" fmla="*/ 5227320 w 5257800"/>
                <a:gd name="connsiteY28" fmla="*/ 2636520 h 6187157"/>
                <a:gd name="connsiteX29" fmla="*/ 5257800 w 5257800"/>
                <a:gd name="connsiteY29" fmla="*/ 3086100 h 6187157"/>
                <a:gd name="connsiteX30" fmla="*/ 5204460 w 5257800"/>
                <a:gd name="connsiteY30" fmla="*/ 3611880 h 6187157"/>
                <a:gd name="connsiteX31" fmla="*/ 5002306 w 5257800"/>
                <a:gd name="connsiteY31" fmla="*/ 4363507 h 6187157"/>
                <a:gd name="connsiteX32" fmla="*/ 5132522 w 5257800"/>
                <a:gd name="connsiteY32" fmla="*/ 4429994 h 6187157"/>
                <a:gd name="connsiteX33" fmla="*/ 5063073 w 5257800"/>
                <a:gd name="connsiteY33" fmla="*/ 4847915 h 6187157"/>
                <a:gd name="connsiteX34" fmla="*/ 4905544 w 5257800"/>
                <a:gd name="connsiteY34" fmla="*/ 4785630 h 6187157"/>
                <a:gd name="connsiteX35" fmla="*/ 3743556 w 5257800"/>
                <a:gd name="connsiteY35" fmla="*/ 6187157 h 6187157"/>
                <a:gd name="connsiteX36" fmla="*/ 3595980 w 5257800"/>
                <a:gd name="connsiteY36" fmla="*/ 5588772 h 6187157"/>
                <a:gd name="connsiteX37" fmla="*/ 4382946 w 5257800"/>
                <a:gd name="connsiteY37" fmla="*/ 4574791 h 6187157"/>
                <a:gd name="connsiteX38" fmla="*/ 4693920 w 5257800"/>
                <a:gd name="connsiteY38" fmla="*/ 3261360 h 6187157"/>
                <a:gd name="connsiteX39" fmla="*/ 4701540 w 5257800"/>
                <a:gd name="connsiteY39" fmla="*/ 2834640 h 6187157"/>
                <a:gd name="connsiteX40" fmla="*/ 4579620 w 5257800"/>
                <a:gd name="connsiteY40" fmla="*/ 2415540 h 6187157"/>
                <a:gd name="connsiteX41" fmla="*/ 4373880 w 5257800"/>
                <a:gd name="connsiteY41" fmla="*/ 2057400 h 6187157"/>
                <a:gd name="connsiteX42" fmla="*/ 3429000 w 5257800"/>
                <a:gd name="connsiteY42" fmla="*/ 1013460 h 6187157"/>
                <a:gd name="connsiteX43" fmla="*/ 3192780 w 5257800"/>
                <a:gd name="connsiteY43" fmla="*/ 853440 h 6187157"/>
                <a:gd name="connsiteX44" fmla="*/ 2910840 w 5257800"/>
                <a:gd name="connsiteY44" fmla="*/ 739140 h 6187157"/>
                <a:gd name="connsiteX45" fmla="*/ 2514600 w 5257800"/>
                <a:gd name="connsiteY45" fmla="*/ 693420 h 6187157"/>
                <a:gd name="connsiteX46" fmla="*/ 2232660 w 5257800"/>
                <a:gd name="connsiteY46" fmla="*/ 739140 h 6187157"/>
                <a:gd name="connsiteX47" fmla="*/ 1234440 w 5257800"/>
                <a:gd name="connsiteY47" fmla="*/ 1059180 h 6187157"/>
                <a:gd name="connsiteX48" fmla="*/ 960120 w 5257800"/>
                <a:gd name="connsiteY48" fmla="*/ 1165860 h 6187157"/>
                <a:gd name="connsiteX49" fmla="*/ 815340 w 5257800"/>
                <a:gd name="connsiteY49" fmla="*/ 1257300 h 6187157"/>
                <a:gd name="connsiteX50" fmla="*/ 0 w 5257800"/>
                <a:gd name="connsiteY50" fmla="*/ 1234440 h 6187157"/>
                <a:gd name="connsiteX0" fmla="*/ 0 w 5257800"/>
                <a:gd name="connsiteY0" fmla="*/ 1234440 h 6187157"/>
                <a:gd name="connsiteX1" fmla="*/ 213360 w 5257800"/>
                <a:gd name="connsiteY1" fmla="*/ 990600 h 6187157"/>
                <a:gd name="connsiteX2" fmla="*/ 457200 w 5257800"/>
                <a:gd name="connsiteY2" fmla="*/ 792480 h 6187157"/>
                <a:gd name="connsiteX3" fmla="*/ 685800 w 5257800"/>
                <a:gd name="connsiteY3" fmla="*/ 624840 h 6187157"/>
                <a:gd name="connsiteX4" fmla="*/ 929640 w 5257800"/>
                <a:gd name="connsiteY4" fmla="*/ 533400 h 6187157"/>
                <a:gd name="connsiteX5" fmla="*/ 891540 w 5257800"/>
                <a:gd name="connsiteY5" fmla="*/ 426720 h 6187157"/>
                <a:gd name="connsiteX6" fmla="*/ 1074420 w 5257800"/>
                <a:gd name="connsiteY6" fmla="*/ 358140 h 6187157"/>
                <a:gd name="connsiteX7" fmla="*/ 1120140 w 5257800"/>
                <a:gd name="connsiteY7" fmla="*/ 464820 h 6187157"/>
                <a:gd name="connsiteX8" fmla="*/ 1242060 w 5257800"/>
                <a:gd name="connsiteY8" fmla="*/ 434340 h 6187157"/>
                <a:gd name="connsiteX9" fmla="*/ 1272540 w 5257800"/>
                <a:gd name="connsiteY9" fmla="*/ 365760 h 6187157"/>
                <a:gd name="connsiteX10" fmla="*/ 1531620 w 5257800"/>
                <a:gd name="connsiteY10" fmla="*/ 297180 h 6187157"/>
                <a:gd name="connsiteX11" fmla="*/ 1584960 w 5257800"/>
                <a:gd name="connsiteY11" fmla="*/ 327660 h 6187157"/>
                <a:gd name="connsiteX12" fmla="*/ 1714500 w 5257800"/>
                <a:gd name="connsiteY12" fmla="*/ 274320 h 6187157"/>
                <a:gd name="connsiteX13" fmla="*/ 1684020 w 5257800"/>
                <a:gd name="connsiteY13" fmla="*/ 114300 h 6187157"/>
                <a:gd name="connsiteX14" fmla="*/ 2087880 w 5257800"/>
                <a:gd name="connsiteY14" fmla="*/ 0 h 6187157"/>
                <a:gd name="connsiteX15" fmla="*/ 2133600 w 5257800"/>
                <a:gd name="connsiteY15" fmla="*/ 160020 h 6187157"/>
                <a:gd name="connsiteX16" fmla="*/ 2385060 w 5257800"/>
                <a:gd name="connsiteY16" fmla="*/ 106680 h 6187157"/>
                <a:gd name="connsiteX17" fmla="*/ 2644140 w 5257800"/>
                <a:gd name="connsiteY17" fmla="*/ 99060 h 6187157"/>
                <a:gd name="connsiteX18" fmla="*/ 2971800 w 5257800"/>
                <a:gd name="connsiteY18" fmla="*/ 152400 h 6187157"/>
                <a:gd name="connsiteX19" fmla="*/ 3299460 w 5257800"/>
                <a:gd name="connsiteY19" fmla="*/ 251460 h 6187157"/>
                <a:gd name="connsiteX20" fmla="*/ 3665220 w 5257800"/>
                <a:gd name="connsiteY20" fmla="*/ 464820 h 6187157"/>
                <a:gd name="connsiteX21" fmla="*/ 3954780 w 5257800"/>
                <a:gd name="connsiteY21" fmla="*/ 723900 h 6187157"/>
                <a:gd name="connsiteX22" fmla="*/ 4465320 w 5257800"/>
                <a:gd name="connsiteY22" fmla="*/ 1280160 h 6187157"/>
                <a:gd name="connsiteX23" fmla="*/ 4495800 w 5257800"/>
                <a:gd name="connsiteY23" fmla="*/ 1287780 h 6187157"/>
                <a:gd name="connsiteX24" fmla="*/ 4678680 w 5257800"/>
                <a:gd name="connsiteY24" fmla="*/ 1463040 h 6187157"/>
                <a:gd name="connsiteX25" fmla="*/ 4663440 w 5257800"/>
                <a:gd name="connsiteY25" fmla="*/ 1524000 h 6187157"/>
                <a:gd name="connsiteX26" fmla="*/ 4914900 w 5257800"/>
                <a:gd name="connsiteY26" fmla="*/ 1821180 h 6187157"/>
                <a:gd name="connsiteX27" fmla="*/ 5105400 w 5257800"/>
                <a:gd name="connsiteY27" fmla="*/ 2217420 h 6187157"/>
                <a:gd name="connsiteX28" fmla="*/ 5227320 w 5257800"/>
                <a:gd name="connsiteY28" fmla="*/ 2636520 h 6187157"/>
                <a:gd name="connsiteX29" fmla="*/ 5257800 w 5257800"/>
                <a:gd name="connsiteY29" fmla="*/ 3086100 h 6187157"/>
                <a:gd name="connsiteX30" fmla="*/ 5204460 w 5257800"/>
                <a:gd name="connsiteY30" fmla="*/ 3611880 h 6187157"/>
                <a:gd name="connsiteX31" fmla="*/ 5002306 w 5257800"/>
                <a:gd name="connsiteY31" fmla="*/ 4363507 h 6187157"/>
                <a:gd name="connsiteX32" fmla="*/ 5132522 w 5257800"/>
                <a:gd name="connsiteY32" fmla="*/ 4429994 h 6187157"/>
                <a:gd name="connsiteX33" fmla="*/ 5063073 w 5257800"/>
                <a:gd name="connsiteY33" fmla="*/ 4847915 h 6187157"/>
                <a:gd name="connsiteX34" fmla="*/ 4905544 w 5257800"/>
                <a:gd name="connsiteY34" fmla="*/ 4785630 h 6187157"/>
                <a:gd name="connsiteX35" fmla="*/ 3743556 w 5257800"/>
                <a:gd name="connsiteY35" fmla="*/ 6187157 h 6187157"/>
                <a:gd name="connsiteX36" fmla="*/ 3595980 w 5257800"/>
                <a:gd name="connsiteY36" fmla="*/ 5588772 h 6187157"/>
                <a:gd name="connsiteX37" fmla="*/ 4382946 w 5257800"/>
                <a:gd name="connsiteY37" fmla="*/ 4574791 h 6187157"/>
                <a:gd name="connsiteX38" fmla="*/ 4693920 w 5257800"/>
                <a:gd name="connsiteY38" fmla="*/ 3261360 h 6187157"/>
                <a:gd name="connsiteX39" fmla="*/ 4701540 w 5257800"/>
                <a:gd name="connsiteY39" fmla="*/ 2834640 h 6187157"/>
                <a:gd name="connsiteX40" fmla="*/ 4579620 w 5257800"/>
                <a:gd name="connsiteY40" fmla="*/ 2415540 h 6187157"/>
                <a:gd name="connsiteX41" fmla="*/ 4373880 w 5257800"/>
                <a:gd name="connsiteY41" fmla="*/ 2057400 h 6187157"/>
                <a:gd name="connsiteX42" fmla="*/ 3429000 w 5257800"/>
                <a:gd name="connsiteY42" fmla="*/ 1013460 h 6187157"/>
                <a:gd name="connsiteX43" fmla="*/ 3192780 w 5257800"/>
                <a:gd name="connsiteY43" fmla="*/ 853440 h 6187157"/>
                <a:gd name="connsiteX44" fmla="*/ 2910840 w 5257800"/>
                <a:gd name="connsiteY44" fmla="*/ 739140 h 6187157"/>
                <a:gd name="connsiteX45" fmla="*/ 2514600 w 5257800"/>
                <a:gd name="connsiteY45" fmla="*/ 693420 h 6187157"/>
                <a:gd name="connsiteX46" fmla="*/ 2232660 w 5257800"/>
                <a:gd name="connsiteY46" fmla="*/ 739140 h 6187157"/>
                <a:gd name="connsiteX47" fmla="*/ 1234440 w 5257800"/>
                <a:gd name="connsiteY47" fmla="*/ 1059180 h 6187157"/>
                <a:gd name="connsiteX48" fmla="*/ 960120 w 5257800"/>
                <a:gd name="connsiteY48" fmla="*/ 1165860 h 6187157"/>
                <a:gd name="connsiteX49" fmla="*/ 815340 w 5257800"/>
                <a:gd name="connsiteY49" fmla="*/ 1257300 h 6187157"/>
                <a:gd name="connsiteX50" fmla="*/ 0 w 5257800"/>
                <a:gd name="connsiteY50" fmla="*/ 1234440 h 6187157"/>
                <a:gd name="connsiteX0" fmla="*/ 0 w 5257800"/>
                <a:gd name="connsiteY0" fmla="*/ 1234440 h 6187157"/>
                <a:gd name="connsiteX1" fmla="*/ 213360 w 5257800"/>
                <a:gd name="connsiteY1" fmla="*/ 990600 h 6187157"/>
                <a:gd name="connsiteX2" fmla="*/ 457200 w 5257800"/>
                <a:gd name="connsiteY2" fmla="*/ 792480 h 6187157"/>
                <a:gd name="connsiteX3" fmla="*/ 685800 w 5257800"/>
                <a:gd name="connsiteY3" fmla="*/ 624840 h 6187157"/>
                <a:gd name="connsiteX4" fmla="*/ 929640 w 5257800"/>
                <a:gd name="connsiteY4" fmla="*/ 533400 h 6187157"/>
                <a:gd name="connsiteX5" fmla="*/ 891540 w 5257800"/>
                <a:gd name="connsiteY5" fmla="*/ 426720 h 6187157"/>
                <a:gd name="connsiteX6" fmla="*/ 1074420 w 5257800"/>
                <a:gd name="connsiteY6" fmla="*/ 358140 h 6187157"/>
                <a:gd name="connsiteX7" fmla="*/ 1120140 w 5257800"/>
                <a:gd name="connsiteY7" fmla="*/ 464820 h 6187157"/>
                <a:gd name="connsiteX8" fmla="*/ 1242060 w 5257800"/>
                <a:gd name="connsiteY8" fmla="*/ 434340 h 6187157"/>
                <a:gd name="connsiteX9" fmla="*/ 1272540 w 5257800"/>
                <a:gd name="connsiteY9" fmla="*/ 365760 h 6187157"/>
                <a:gd name="connsiteX10" fmla="*/ 1531620 w 5257800"/>
                <a:gd name="connsiteY10" fmla="*/ 297180 h 6187157"/>
                <a:gd name="connsiteX11" fmla="*/ 1584960 w 5257800"/>
                <a:gd name="connsiteY11" fmla="*/ 327660 h 6187157"/>
                <a:gd name="connsiteX12" fmla="*/ 1714500 w 5257800"/>
                <a:gd name="connsiteY12" fmla="*/ 274320 h 6187157"/>
                <a:gd name="connsiteX13" fmla="*/ 1684020 w 5257800"/>
                <a:gd name="connsiteY13" fmla="*/ 114300 h 6187157"/>
                <a:gd name="connsiteX14" fmla="*/ 2087880 w 5257800"/>
                <a:gd name="connsiteY14" fmla="*/ 0 h 6187157"/>
                <a:gd name="connsiteX15" fmla="*/ 2133600 w 5257800"/>
                <a:gd name="connsiteY15" fmla="*/ 160020 h 6187157"/>
                <a:gd name="connsiteX16" fmla="*/ 2385060 w 5257800"/>
                <a:gd name="connsiteY16" fmla="*/ 106680 h 6187157"/>
                <a:gd name="connsiteX17" fmla="*/ 2644140 w 5257800"/>
                <a:gd name="connsiteY17" fmla="*/ 99060 h 6187157"/>
                <a:gd name="connsiteX18" fmla="*/ 2971800 w 5257800"/>
                <a:gd name="connsiteY18" fmla="*/ 152400 h 6187157"/>
                <a:gd name="connsiteX19" fmla="*/ 3299460 w 5257800"/>
                <a:gd name="connsiteY19" fmla="*/ 251460 h 6187157"/>
                <a:gd name="connsiteX20" fmla="*/ 3665220 w 5257800"/>
                <a:gd name="connsiteY20" fmla="*/ 464820 h 6187157"/>
                <a:gd name="connsiteX21" fmla="*/ 3954780 w 5257800"/>
                <a:gd name="connsiteY21" fmla="*/ 723900 h 6187157"/>
                <a:gd name="connsiteX22" fmla="*/ 4465320 w 5257800"/>
                <a:gd name="connsiteY22" fmla="*/ 1280160 h 6187157"/>
                <a:gd name="connsiteX23" fmla="*/ 4495800 w 5257800"/>
                <a:gd name="connsiteY23" fmla="*/ 1287780 h 6187157"/>
                <a:gd name="connsiteX24" fmla="*/ 4678680 w 5257800"/>
                <a:gd name="connsiteY24" fmla="*/ 1463040 h 6187157"/>
                <a:gd name="connsiteX25" fmla="*/ 4663440 w 5257800"/>
                <a:gd name="connsiteY25" fmla="*/ 1524000 h 6187157"/>
                <a:gd name="connsiteX26" fmla="*/ 4914900 w 5257800"/>
                <a:gd name="connsiteY26" fmla="*/ 1821180 h 6187157"/>
                <a:gd name="connsiteX27" fmla="*/ 5105400 w 5257800"/>
                <a:gd name="connsiteY27" fmla="*/ 2217420 h 6187157"/>
                <a:gd name="connsiteX28" fmla="*/ 5227320 w 5257800"/>
                <a:gd name="connsiteY28" fmla="*/ 2636520 h 6187157"/>
                <a:gd name="connsiteX29" fmla="*/ 5257800 w 5257800"/>
                <a:gd name="connsiteY29" fmla="*/ 3086100 h 6187157"/>
                <a:gd name="connsiteX30" fmla="*/ 5204460 w 5257800"/>
                <a:gd name="connsiteY30" fmla="*/ 3611880 h 6187157"/>
                <a:gd name="connsiteX31" fmla="*/ 5002306 w 5257800"/>
                <a:gd name="connsiteY31" fmla="*/ 4363507 h 6187157"/>
                <a:gd name="connsiteX32" fmla="*/ 5132522 w 5257800"/>
                <a:gd name="connsiteY32" fmla="*/ 4429994 h 6187157"/>
                <a:gd name="connsiteX33" fmla="*/ 5063073 w 5257800"/>
                <a:gd name="connsiteY33" fmla="*/ 4847915 h 6187157"/>
                <a:gd name="connsiteX34" fmla="*/ 4905544 w 5257800"/>
                <a:gd name="connsiteY34" fmla="*/ 4785630 h 6187157"/>
                <a:gd name="connsiteX35" fmla="*/ 3743556 w 5257800"/>
                <a:gd name="connsiteY35" fmla="*/ 6187157 h 6187157"/>
                <a:gd name="connsiteX36" fmla="*/ 3595980 w 5257800"/>
                <a:gd name="connsiteY36" fmla="*/ 5588772 h 6187157"/>
                <a:gd name="connsiteX37" fmla="*/ 4382946 w 5257800"/>
                <a:gd name="connsiteY37" fmla="*/ 4574791 h 6187157"/>
                <a:gd name="connsiteX38" fmla="*/ 4693920 w 5257800"/>
                <a:gd name="connsiteY38" fmla="*/ 3261360 h 6187157"/>
                <a:gd name="connsiteX39" fmla="*/ 4701540 w 5257800"/>
                <a:gd name="connsiteY39" fmla="*/ 2834640 h 6187157"/>
                <a:gd name="connsiteX40" fmla="*/ 4579620 w 5257800"/>
                <a:gd name="connsiteY40" fmla="*/ 2415540 h 6187157"/>
                <a:gd name="connsiteX41" fmla="*/ 4373880 w 5257800"/>
                <a:gd name="connsiteY41" fmla="*/ 2057400 h 6187157"/>
                <a:gd name="connsiteX42" fmla="*/ 3429000 w 5257800"/>
                <a:gd name="connsiteY42" fmla="*/ 1013460 h 6187157"/>
                <a:gd name="connsiteX43" fmla="*/ 3192780 w 5257800"/>
                <a:gd name="connsiteY43" fmla="*/ 853440 h 6187157"/>
                <a:gd name="connsiteX44" fmla="*/ 2910840 w 5257800"/>
                <a:gd name="connsiteY44" fmla="*/ 739140 h 6187157"/>
                <a:gd name="connsiteX45" fmla="*/ 2514600 w 5257800"/>
                <a:gd name="connsiteY45" fmla="*/ 693420 h 6187157"/>
                <a:gd name="connsiteX46" fmla="*/ 2232660 w 5257800"/>
                <a:gd name="connsiteY46" fmla="*/ 739140 h 6187157"/>
                <a:gd name="connsiteX47" fmla="*/ 1234440 w 5257800"/>
                <a:gd name="connsiteY47" fmla="*/ 1059180 h 6187157"/>
                <a:gd name="connsiteX48" fmla="*/ 960120 w 5257800"/>
                <a:gd name="connsiteY48" fmla="*/ 1165860 h 6187157"/>
                <a:gd name="connsiteX49" fmla="*/ 815340 w 5257800"/>
                <a:gd name="connsiteY49" fmla="*/ 1257300 h 6187157"/>
                <a:gd name="connsiteX50" fmla="*/ 0 w 5257800"/>
                <a:gd name="connsiteY50" fmla="*/ 1234440 h 6187157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701540 w 5257800"/>
                <a:gd name="connsiteY39" fmla="*/ 2834640 h 6177659"/>
                <a:gd name="connsiteX40" fmla="*/ 4579620 w 5257800"/>
                <a:gd name="connsiteY40" fmla="*/ 2415540 h 6177659"/>
                <a:gd name="connsiteX41" fmla="*/ 4373880 w 5257800"/>
                <a:gd name="connsiteY41" fmla="*/ 2057400 h 6177659"/>
                <a:gd name="connsiteX42" fmla="*/ 3429000 w 5257800"/>
                <a:gd name="connsiteY42" fmla="*/ 1013460 h 6177659"/>
                <a:gd name="connsiteX43" fmla="*/ 3192780 w 5257800"/>
                <a:gd name="connsiteY43" fmla="*/ 853440 h 6177659"/>
                <a:gd name="connsiteX44" fmla="*/ 2910840 w 5257800"/>
                <a:gd name="connsiteY44" fmla="*/ 739140 h 6177659"/>
                <a:gd name="connsiteX45" fmla="*/ 2514600 w 5257800"/>
                <a:gd name="connsiteY45" fmla="*/ 693420 h 6177659"/>
                <a:gd name="connsiteX46" fmla="*/ 2232660 w 5257800"/>
                <a:gd name="connsiteY46" fmla="*/ 739140 h 6177659"/>
                <a:gd name="connsiteX47" fmla="*/ 1234440 w 5257800"/>
                <a:gd name="connsiteY47" fmla="*/ 1059180 h 6177659"/>
                <a:gd name="connsiteX48" fmla="*/ 960120 w 5257800"/>
                <a:gd name="connsiteY48" fmla="*/ 1165860 h 6177659"/>
                <a:gd name="connsiteX49" fmla="*/ 815340 w 5257800"/>
                <a:gd name="connsiteY49" fmla="*/ 1257300 h 6177659"/>
                <a:gd name="connsiteX50" fmla="*/ 0 w 5257800"/>
                <a:gd name="connsiteY50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701540 w 5257800"/>
                <a:gd name="connsiteY39" fmla="*/ 2834640 h 6177659"/>
                <a:gd name="connsiteX40" fmla="*/ 4579620 w 5257800"/>
                <a:gd name="connsiteY40" fmla="*/ 2415540 h 6177659"/>
                <a:gd name="connsiteX41" fmla="*/ 4373880 w 5257800"/>
                <a:gd name="connsiteY41" fmla="*/ 2057400 h 6177659"/>
                <a:gd name="connsiteX42" fmla="*/ 3429000 w 5257800"/>
                <a:gd name="connsiteY42" fmla="*/ 1013460 h 6177659"/>
                <a:gd name="connsiteX43" fmla="*/ 3192780 w 5257800"/>
                <a:gd name="connsiteY43" fmla="*/ 853440 h 6177659"/>
                <a:gd name="connsiteX44" fmla="*/ 2910840 w 5257800"/>
                <a:gd name="connsiteY44" fmla="*/ 739140 h 6177659"/>
                <a:gd name="connsiteX45" fmla="*/ 2514600 w 5257800"/>
                <a:gd name="connsiteY45" fmla="*/ 693420 h 6177659"/>
                <a:gd name="connsiteX46" fmla="*/ 2232660 w 5257800"/>
                <a:gd name="connsiteY46" fmla="*/ 739140 h 6177659"/>
                <a:gd name="connsiteX47" fmla="*/ 1234440 w 5257800"/>
                <a:gd name="connsiteY47" fmla="*/ 1059180 h 6177659"/>
                <a:gd name="connsiteX48" fmla="*/ 960120 w 5257800"/>
                <a:gd name="connsiteY48" fmla="*/ 1165860 h 6177659"/>
                <a:gd name="connsiteX49" fmla="*/ 815340 w 5257800"/>
                <a:gd name="connsiteY49" fmla="*/ 1257300 h 6177659"/>
                <a:gd name="connsiteX50" fmla="*/ 0 w 5257800"/>
                <a:gd name="connsiteY50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701540 w 5257800"/>
                <a:gd name="connsiteY39" fmla="*/ 2834640 h 6177659"/>
                <a:gd name="connsiteX40" fmla="*/ 4579620 w 5257800"/>
                <a:gd name="connsiteY40" fmla="*/ 2415540 h 6177659"/>
                <a:gd name="connsiteX41" fmla="*/ 4373880 w 5257800"/>
                <a:gd name="connsiteY41" fmla="*/ 2057400 h 6177659"/>
                <a:gd name="connsiteX42" fmla="*/ 3429000 w 5257800"/>
                <a:gd name="connsiteY42" fmla="*/ 1013460 h 6177659"/>
                <a:gd name="connsiteX43" fmla="*/ 3192780 w 5257800"/>
                <a:gd name="connsiteY43" fmla="*/ 853440 h 6177659"/>
                <a:gd name="connsiteX44" fmla="*/ 2910840 w 5257800"/>
                <a:gd name="connsiteY44" fmla="*/ 739140 h 6177659"/>
                <a:gd name="connsiteX45" fmla="*/ 2514600 w 5257800"/>
                <a:gd name="connsiteY45" fmla="*/ 693420 h 6177659"/>
                <a:gd name="connsiteX46" fmla="*/ 2232660 w 5257800"/>
                <a:gd name="connsiteY46" fmla="*/ 739140 h 6177659"/>
                <a:gd name="connsiteX47" fmla="*/ 1234440 w 5257800"/>
                <a:gd name="connsiteY47" fmla="*/ 1059180 h 6177659"/>
                <a:gd name="connsiteX48" fmla="*/ 960120 w 5257800"/>
                <a:gd name="connsiteY48" fmla="*/ 1165860 h 6177659"/>
                <a:gd name="connsiteX49" fmla="*/ 815340 w 5257800"/>
                <a:gd name="connsiteY49" fmla="*/ 1257300 h 6177659"/>
                <a:gd name="connsiteX50" fmla="*/ 0 w 5257800"/>
                <a:gd name="connsiteY50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579620 w 5257800"/>
                <a:gd name="connsiteY39" fmla="*/ 2415540 h 6177659"/>
                <a:gd name="connsiteX40" fmla="*/ 4373880 w 5257800"/>
                <a:gd name="connsiteY40" fmla="*/ 2057400 h 6177659"/>
                <a:gd name="connsiteX41" fmla="*/ 3429000 w 5257800"/>
                <a:gd name="connsiteY41" fmla="*/ 1013460 h 6177659"/>
                <a:gd name="connsiteX42" fmla="*/ 3192780 w 5257800"/>
                <a:gd name="connsiteY42" fmla="*/ 853440 h 6177659"/>
                <a:gd name="connsiteX43" fmla="*/ 2910840 w 5257800"/>
                <a:gd name="connsiteY43" fmla="*/ 739140 h 6177659"/>
                <a:gd name="connsiteX44" fmla="*/ 2514600 w 5257800"/>
                <a:gd name="connsiteY44" fmla="*/ 693420 h 6177659"/>
                <a:gd name="connsiteX45" fmla="*/ 2232660 w 5257800"/>
                <a:gd name="connsiteY45" fmla="*/ 739140 h 6177659"/>
                <a:gd name="connsiteX46" fmla="*/ 1234440 w 5257800"/>
                <a:gd name="connsiteY46" fmla="*/ 1059180 h 6177659"/>
                <a:gd name="connsiteX47" fmla="*/ 960120 w 5257800"/>
                <a:gd name="connsiteY47" fmla="*/ 1165860 h 6177659"/>
                <a:gd name="connsiteX48" fmla="*/ 815340 w 5257800"/>
                <a:gd name="connsiteY48" fmla="*/ 1257300 h 6177659"/>
                <a:gd name="connsiteX49" fmla="*/ 0 w 5257800"/>
                <a:gd name="connsiteY49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373880 w 5257800"/>
                <a:gd name="connsiteY39" fmla="*/ 2057400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408604 w 5257800"/>
                <a:gd name="connsiteY39" fmla="*/ 2104892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408604 w 5257800"/>
                <a:gd name="connsiteY39" fmla="*/ 2104892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408604 w 5257800"/>
                <a:gd name="connsiteY39" fmla="*/ 2104892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408604 w 5257800"/>
                <a:gd name="connsiteY39" fmla="*/ 2104892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344179 w 5257800"/>
                <a:gd name="connsiteY39" fmla="*/ 2027325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344179 w 5257800"/>
                <a:gd name="connsiteY39" fmla="*/ 2027325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344179 w 5257800"/>
                <a:gd name="connsiteY39" fmla="*/ 2027325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814397 w 5257800"/>
                <a:gd name="connsiteY26" fmla="*/ 1704828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344179 w 5257800"/>
                <a:gd name="connsiteY39" fmla="*/ 2027325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814397 w 5257800"/>
                <a:gd name="connsiteY26" fmla="*/ 1704828 h 6177659"/>
                <a:gd name="connsiteX27" fmla="*/ 5227320 w 5257800"/>
                <a:gd name="connsiteY27" fmla="*/ 2636520 h 6177659"/>
                <a:gd name="connsiteX28" fmla="*/ 5257800 w 5257800"/>
                <a:gd name="connsiteY28" fmla="*/ 3086100 h 6177659"/>
                <a:gd name="connsiteX29" fmla="*/ 5204460 w 5257800"/>
                <a:gd name="connsiteY29" fmla="*/ 3611880 h 6177659"/>
                <a:gd name="connsiteX30" fmla="*/ 5002306 w 5257800"/>
                <a:gd name="connsiteY30" fmla="*/ 4363507 h 6177659"/>
                <a:gd name="connsiteX31" fmla="*/ 5132522 w 5257800"/>
                <a:gd name="connsiteY31" fmla="*/ 4429994 h 6177659"/>
                <a:gd name="connsiteX32" fmla="*/ 5063073 w 5257800"/>
                <a:gd name="connsiteY32" fmla="*/ 4847915 h 6177659"/>
                <a:gd name="connsiteX33" fmla="*/ 4905544 w 5257800"/>
                <a:gd name="connsiteY33" fmla="*/ 4785630 h 6177659"/>
                <a:gd name="connsiteX34" fmla="*/ 3778281 w 5257800"/>
                <a:gd name="connsiteY34" fmla="*/ 6177659 h 6177659"/>
                <a:gd name="connsiteX35" fmla="*/ 3595980 w 5257800"/>
                <a:gd name="connsiteY35" fmla="*/ 5588772 h 6177659"/>
                <a:gd name="connsiteX36" fmla="*/ 4382946 w 5257800"/>
                <a:gd name="connsiteY36" fmla="*/ 4574791 h 6177659"/>
                <a:gd name="connsiteX37" fmla="*/ 4662995 w 5257800"/>
                <a:gd name="connsiteY37" fmla="*/ 3330617 h 6177659"/>
                <a:gd name="connsiteX38" fmla="*/ 4344179 w 5257800"/>
                <a:gd name="connsiteY38" fmla="*/ 2027325 h 6177659"/>
                <a:gd name="connsiteX39" fmla="*/ 3429000 w 5257800"/>
                <a:gd name="connsiteY39" fmla="*/ 1013460 h 6177659"/>
                <a:gd name="connsiteX40" fmla="*/ 3192780 w 5257800"/>
                <a:gd name="connsiteY40" fmla="*/ 853440 h 6177659"/>
                <a:gd name="connsiteX41" fmla="*/ 2910840 w 5257800"/>
                <a:gd name="connsiteY41" fmla="*/ 739140 h 6177659"/>
                <a:gd name="connsiteX42" fmla="*/ 2514600 w 5257800"/>
                <a:gd name="connsiteY42" fmla="*/ 693420 h 6177659"/>
                <a:gd name="connsiteX43" fmla="*/ 2232660 w 5257800"/>
                <a:gd name="connsiteY43" fmla="*/ 739140 h 6177659"/>
                <a:gd name="connsiteX44" fmla="*/ 1234440 w 5257800"/>
                <a:gd name="connsiteY44" fmla="*/ 1059180 h 6177659"/>
                <a:gd name="connsiteX45" fmla="*/ 960120 w 5257800"/>
                <a:gd name="connsiteY45" fmla="*/ 1165860 h 6177659"/>
                <a:gd name="connsiteX46" fmla="*/ 815340 w 5257800"/>
                <a:gd name="connsiteY46" fmla="*/ 1257300 h 6177659"/>
                <a:gd name="connsiteX47" fmla="*/ 0 w 5257800"/>
                <a:gd name="connsiteY47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814397 w 5257800"/>
                <a:gd name="connsiteY26" fmla="*/ 1704828 h 6177659"/>
                <a:gd name="connsiteX27" fmla="*/ 5257800 w 5257800"/>
                <a:gd name="connsiteY27" fmla="*/ 3086100 h 6177659"/>
                <a:gd name="connsiteX28" fmla="*/ 5204460 w 5257800"/>
                <a:gd name="connsiteY28" fmla="*/ 3611880 h 6177659"/>
                <a:gd name="connsiteX29" fmla="*/ 5002306 w 5257800"/>
                <a:gd name="connsiteY29" fmla="*/ 4363507 h 6177659"/>
                <a:gd name="connsiteX30" fmla="*/ 5132522 w 5257800"/>
                <a:gd name="connsiteY30" fmla="*/ 4429994 h 6177659"/>
                <a:gd name="connsiteX31" fmla="*/ 5063073 w 5257800"/>
                <a:gd name="connsiteY31" fmla="*/ 4847915 h 6177659"/>
                <a:gd name="connsiteX32" fmla="*/ 4905544 w 5257800"/>
                <a:gd name="connsiteY32" fmla="*/ 4785630 h 6177659"/>
                <a:gd name="connsiteX33" fmla="*/ 3778281 w 5257800"/>
                <a:gd name="connsiteY33" fmla="*/ 6177659 h 6177659"/>
                <a:gd name="connsiteX34" fmla="*/ 3595980 w 5257800"/>
                <a:gd name="connsiteY34" fmla="*/ 5588772 h 6177659"/>
                <a:gd name="connsiteX35" fmla="*/ 4382946 w 5257800"/>
                <a:gd name="connsiteY35" fmla="*/ 4574791 h 6177659"/>
                <a:gd name="connsiteX36" fmla="*/ 4662995 w 5257800"/>
                <a:gd name="connsiteY36" fmla="*/ 3330617 h 6177659"/>
                <a:gd name="connsiteX37" fmla="*/ 4344179 w 5257800"/>
                <a:gd name="connsiteY37" fmla="*/ 2027325 h 6177659"/>
                <a:gd name="connsiteX38" fmla="*/ 3429000 w 5257800"/>
                <a:gd name="connsiteY38" fmla="*/ 1013460 h 6177659"/>
                <a:gd name="connsiteX39" fmla="*/ 3192780 w 5257800"/>
                <a:gd name="connsiteY39" fmla="*/ 853440 h 6177659"/>
                <a:gd name="connsiteX40" fmla="*/ 2910840 w 5257800"/>
                <a:gd name="connsiteY40" fmla="*/ 739140 h 6177659"/>
                <a:gd name="connsiteX41" fmla="*/ 2514600 w 5257800"/>
                <a:gd name="connsiteY41" fmla="*/ 693420 h 6177659"/>
                <a:gd name="connsiteX42" fmla="*/ 2232660 w 5257800"/>
                <a:gd name="connsiteY42" fmla="*/ 739140 h 6177659"/>
                <a:gd name="connsiteX43" fmla="*/ 1234440 w 5257800"/>
                <a:gd name="connsiteY43" fmla="*/ 1059180 h 6177659"/>
                <a:gd name="connsiteX44" fmla="*/ 960120 w 5257800"/>
                <a:gd name="connsiteY44" fmla="*/ 1165860 h 6177659"/>
                <a:gd name="connsiteX45" fmla="*/ 815340 w 5257800"/>
                <a:gd name="connsiteY45" fmla="*/ 1257300 h 6177659"/>
                <a:gd name="connsiteX46" fmla="*/ 0 w 5257800"/>
                <a:gd name="connsiteY46" fmla="*/ 1234440 h 6177659"/>
                <a:gd name="connsiteX0" fmla="*/ 0 w 5204460"/>
                <a:gd name="connsiteY0" fmla="*/ 1234440 h 6177659"/>
                <a:gd name="connsiteX1" fmla="*/ 213360 w 5204460"/>
                <a:gd name="connsiteY1" fmla="*/ 990600 h 6177659"/>
                <a:gd name="connsiteX2" fmla="*/ 457200 w 5204460"/>
                <a:gd name="connsiteY2" fmla="*/ 792480 h 6177659"/>
                <a:gd name="connsiteX3" fmla="*/ 685800 w 5204460"/>
                <a:gd name="connsiteY3" fmla="*/ 624840 h 6177659"/>
                <a:gd name="connsiteX4" fmla="*/ 929640 w 5204460"/>
                <a:gd name="connsiteY4" fmla="*/ 533400 h 6177659"/>
                <a:gd name="connsiteX5" fmla="*/ 891540 w 5204460"/>
                <a:gd name="connsiteY5" fmla="*/ 426720 h 6177659"/>
                <a:gd name="connsiteX6" fmla="*/ 1074420 w 5204460"/>
                <a:gd name="connsiteY6" fmla="*/ 358140 h 6177659"/>
                <a:gd name="connsiteX7" fmla="*/ 1120140 w 5204460"/>
                <a:gd name="connsiteY7" fmla="*/ 464820 h 6177659"/>
                <a:gd name="connsiteX8" fmla="*/ 1242060 w 5204460"/>
                <a:gd name="connsiteY8" fmla="*/ 434340 h 6177659"/>
                <a:gd name="connsiteX9" fmla="*/ 1272540 w 5204460"/>
                <a:gd name="connsiteY9" fmla="*/ 365760 h 6177659"/>
                <a:gd name="connsiteX10" fmla="*/ 1531620 w 5204460"/>
                <a:gd name="connsiteY10" fmla="*/ 297180 h 6177659"/>
                <a:gd name="connsiteX11" fmla="*/ 1584960 w 5204460"/>
                <a:gd name="connsiteY11" fmla="*/ 327660 h 6177659"/>
                <a:gd name="connsiteX12" fmla="*/ 1714500 w 5204460"/>
                <a:gd name="connsiteY12" fmla="*/ 274320 h 6177659"/>
                <a:gd name="connsiteX13" fmla="*/ 1684020 w 5204460"/>
                <a:gd name="connsiteY13" fmla="*/ 114300 h 6177659"/>
                <a:gd name="connsiteX14" fmla="*/ 2087880 w 5204460"/>
                <a:gd name="connsiteY14" fmla="*/ 0 h 6177659"/>
                <a:gd name="connsiteX15" fmla="*/ 2133600 w 5204460"/>
                <a:gd name="connsiteY15" fmla="*/ 160020 h 6177659"/>
                <a:gd name="connsiteX16" fmla="*/ 2385060 w 5204460"/>
                <a:gd name="connsiteY16" fmla="*/ 106680 h 6177659"/>
                <a:gd name="connsiteX17" fmla="*/ 2644140 w 5204460"/>
                <a:gd name="connsiteY17" fmla="*/ 99060 h 6177659"/>
                <a:gd name="connsiteX18" fmla="*/ 2971800 w 5204460"/>
                <a:gd name="connsiteY18" fmla="*/ 152400 h 6177659"/>
                <a:gd name="connsiteX19" fmla="*/ 3299460 w 5204460"/>
                <a:gd name="connsiteY19" fmla="*/ 251460 h 6177659"/>
                <a:gd name="connsiteX20" fmla="*/ 3665220 w 5204460"/>
                <a:gd name="connsiteY20" fmla="*/ 464820 h 6177659"/>
                <a:gd name="connsiteX21" fmla="*/ 3954780 w 5204460"/>
                <a:gd name="connsiteY21" fmla="*/ 723900 h 6177659"/>
                <a:gd name="connsiteX22" fmla="*/ 4465320 w 5204460"/>
                <a:gd name="connsiteY22" fmla="*/ 1280160 h 6177659"/>
                <a:gd name="connsiteX23" fmla="*/ 4495800 w 5204460"/>
                <a:gd name="connsiteY23" fmla="*/ 1287780 h 6177659"/>
                <a:gd name="connsiteX24" fmla="*/ 4678680 w 5204460"/>
                <a:gd name="connsiteY24" fmla="*/ 1463040 h 6177659"/>
                <a:gd name="connsiteX25" fmla="*/ 4663440 w 5204460"/>
                <a:gd name="connsiteY25" fmla="*/ 1524000 h 6177659"/>
                <a:gd name="connsiteX26" fmla="*/ 4814397 w 5204460"/>
                <a:gd name="connsiteY26" fmla="*/ 1704828 h 6177659"/>
                <a:gd name="connsiteX27" fmla="*/ 5204460 w 5204460"/>
                <a:gd name="connsiteY27" fmla="*/ 3611880 h 6177659"/>
                <a:gd name="connsiteX28" fmla="*/ 5002306 w 5204460"/>
                <a:gd name="connsiteY28" fmla="*/ 4363507 h 6177659"/>
                <a:gd name="connsiteX29" fmla="*/ 5132522 w 5204460"/>
                <a:gd name="connsiteY29" fmla="*/ 4429994 h 6177659"/>
                <a:gd name="connsiteX30" fmla="*/ 5063073 w 5204460"/>
                <a:gd name="connsiteY30" fmla="*/ 4847915 h 6177659"/>
                <a:gd name="connsiteX31" fmla="*/ 4905544 w 5204460"/>
                <a:gd name="connsiteY31" fmla="*/ 4785630 h 6177659"/>
                <a:gd name="connsiteX32" fmla="*/ 3778281 w 5204460"/>
                <a:gd name="connsiteY32" fmla="*/ 6177659 h 6177659"/>
                <a:gd name="connsiteX33" fmla="*/ 3595980 w 5204460"/>
                <a:gd name="connsiteY33" fmla="*/ 5588772 h 6177659"/>
                <a:gd name="connsiteX34" fmla="*/ 4382946 w 5204460"/>
                <a:gd name="connsiteY34" fmla="*/ 4574791 h 6177659"/>
                <a:gd name="connsiteX35" fmla="*/ 4662995 w 5204460"/>
                <a:gd name="connsiteY35" fmla="*/ 3330617 h 6177659"/>
                <a:gd name="connsiteX36" fmla="*/ 4344179 w 5204460"/>
                <a:gd name="connsiteY36" fmla="*/ 2027325 h 6177659"/>
                <a:gd name="connsiteX37" fmla="*/ 3429000 w 5204460"/>
                <a:gd name="connsiteY37" fmla="*/ 1013460 h 6177659"/>
                <a:gd name="connsiteX38" fmla="*/ 3192780 w 5204460"/>
                <a:gd name="connsiteY38" fmla="*/ 853440 h 6177659"/>
                <a:gd name="connsiteX39" fmla="*/ 2910840 w 5204460"/>
                <a:gd name="connsiteY39" fmla="*/ 739140 h 6177659"/>
                <a:gd name="connsiteX40" fmla="*/ 2514600 w 5204460"/>
                <a:gd name="connsiteY40" fmla="*/ 693420 h 6177659"/>
                <a:gd name="connsiteX41" fmla="*/ 2232660 w 5204460"/>
                <a:gd name="connsiteY41" fmla="*/ 739140 h 6177659"/>
                <a:gd name="connsiteX42" fmla="*/ 1234440 w 5204460"/>
                <a:gd name="connsiteY42" fmla="*/ 1059180 h 6177659"/>
                <a:gd name="connsiteX43" fmla="*/ 960120 w 5204460"/>
                <a:gd name="connsiteY43" fmla="*/ 1165860 h 6177659"/>
                <a:gd name="connsiteX44" fmla="*/ 815340 w 5204460"/>
                <a:gd name="connsiteY44" fmla="*/ 1257300 h 6177659"/>
                <a:gd name="connsiteX45" fmla="*/ 0 w 5204460"/>
                <a:gd name="connsiteY45" fmla="*/ 1234440 h 6177659"/>
                <a:gd name="connsiteX0" fmla="*/ 0 w 5132522"/>
                <a:gd name="connsiteY0" fmla="*/ 1234440 h 6177659"/>
                <a:gd name="connsiteX1" fmla="*/ 213360 w 5132522"/>
                <a:gd name="connsiteY1" fmla="*/ 990600 h 6177659"/>
                <a:gd name="connsiteX2" fmla="*/ 457200 w 5132522"/>
                <a:gd name="connsiteY2" fmla="*/ 792480 h 6177659"/>
                <a:gd name="connsiteX3" fmla="*/ 685800 w 5132522"/>
                <a:gd name="connsiteY3" fmla="*/ 624840 h 6177659"/>
                <a:gd name="connsiteX4" fmla="*/ 929640 w 5132522"/>
                <a:gd name="connsiteY4" fmla="*/ 533400 h 6177659"/>
                <a:gd name="connsiteX5" fmla="*/ 891540 w 5132522"/>
                <a:gd name="connsiteY5" fmla="*/ 426720 h 6177659"/>
                <a:gd name="connsiteX6" fmla="*/ 1074420 w 5132522"/>
                <a:gd name="connsiteY6" fmla="*/ 358140 h 6177659"/>
                <a:gd name="connsiteX7" fmla="*/ 1120140 w 5132522"/>
                <a:gd name="connsiteY7" fmla="*/ 464820 h 6177659"/>
                <a:gd name="connsiteX8" fmla="*/ 1242060 w 5132522"/>
                <a:gd name="connsiteY8" fmla="*/ 434340 h 6177659"/>
                <a:gd name="connsiteX9" fmla="*/ 1272540 w 5132522"/>
                <a:gd name="connsiteY9" fmla="*/ 365760 h 6177659"/>
                <a:gd name="connsiteX10" fmla="*/ 1531620 w 5132522"/>
                <a:gd name="connsiteY10" fmla="*/ 297180 h 6177659"/>
                <a:gd name="connsiteX11" fmla="*/ 1584960 w 5132522"/>
                <a:gd name="connsiteY11" fmla="*/ 327660 h 6177659"/>
                <a:gd name="connsiteX12" fmla="*/ 1714500 w 5132522"/>
                <a:gd name="connsiteY12" fmla="*/ 274320 h 6177659"/>
                <a:gd name="connsiteX13" fmla="*/ 1684020 w 5132522"/>
                <a:gd name="connsiteY13" fmla="*/ 114300 h 6177659"/>
                <a:gd name="connsiteX14" fmla="*/ 2087880 w 5132522"/>
                <a:gd name="connsiteY14" fmla="*/ 0 h 6177659"/>
                <a:gd name="connsiteX15" fmla="*/ 2133600 w 5132522"/>
                <a:gd name="connsiteY15" fmla="*/ 160020 h 6177659"/>
                <a:gd name="connsiteX16" fmla="*/ 2385060 w 5132522"/>
                <a:gd name="connsiteY16" fmla="*/ 106680 h 6177659"/>
                <a:gd name="connsiteX17" fmla="*/ 2644140 w 5132522"/>
                <a:gd name="connsiteY17" fmla="*/ 99060 h 6177659"/>
                <a:gd name="connsiteX18" fmla="*/ 2971800 w 5132522"/>
                <a:gd name="connsiteY18" fmla="*/ 152400 h 6177659"/>
                <a:gd name="connsiteX19" fmla="*/ 3299460 w 5132522"/>
                <a:gd name="connsiteY19" fmla="*/ 251460 h 6177659"/>
                <a:gd name="connsiteX20" fmla="*/ 3665220 w 5132522"/>
                <a:gd name="connsiteY20" fmla="*/ 464820 h 6177659"/>
                <a:gd name="connsiteX21" fmla="*/ 3954780 w 5132522"/>
                <a:gd name="connsiteY21" fmla="*/ 723900 h 6177659"/>
                <a:gd name="connsiteX22" fmla="*/ 4465320 w 5132522"/>
                <a:gd name="connsiteY22" fmla="*/ 1280160 h 6177659"/>
                <a:gd name="connsiteX23" fmla="*/ 4495800 w 5132522"/>
                <a:gd name="connsiteY23" fmla="*/ 1287780 h 6177659"/>
                <a:gd name="connsiteX24" fmla="*/ 4678680 w 5132522"/>
                <a:gd name="connsiteY24" fmla="*/ 1463040 h 6177659"/>
                <a:gd name="connsiteX25" fmla="*/ 4663440 w 5132522"/>
                <a:gd name="connsiteY25" fmla="*/ 1524000 h 6177659"/>
                <a:gd name="connsiteX26" fmla="*/ 4814397 w 5132522"/>
                <a:gd name="connsiteY26" fmla="*/ 1704828 h 6177659"/>
                <a:gd name="connsiteX27" fmla="*/ 5002306 w 5132522"/>
                <a:gd name="connsiteY27" fmla="*/ 4363507 h 6177659"/>
                <a:gd name="connsiteX28" fmla="*/ 5132522 w 5132522"/>
                <a:gd name="connsiteY28" fmla="*/ 4429994 h 6177659"/>
                <a:gd name="connsiteX29" fmla="*/ 5063073 w 5132522"/>
                <a:gd name="connsiteY29" fmla="*/ 4847915 h 6177659"/>
                <a:gd name="connsiteX30" fmla="*/ 4905544 w 5132522"/>
                <a:gd name="connsiteY30" fmla="*/ 4785630 h 6177659"/>
                <a:gd name="connsiteX31" fmla="*/ 3778281 w 5132522"/>
                <a:gd name="connsiteY31" fmla="*/ 6177659 h 6177659"/>
                <a:gd name="connsiteX32" fmla="*/ 3595980 w 5132522"/>
                <a:gd name="connsiteY32" fmla="*/ 5588772 h 6177659"/>
                <a:gd name="connsiteX33" fmla="*/ 4382946 w 5132522"/>
                <a:gd name="connsiteY33" fmla="*/ 4574791 h 6177659"/>
                <a:gd name="connsiteX34" fmla="*/ 4662995 w 5132522"/>
                <a:gd name="connsiteY34" fmla="*/ 3330617 h 6177659"/>
                <a:gd name="connsiteX35" fmla="*/ 4344179 w 5132522"/>
                <a:gd name="connsiteY35" fmla="*/ 2027325 h 6177659"/>
                <a:gd name="connsiteX36" fmla="*/ 3429000 w 5132522"/>
                <a:gd name="connsiteY36" fmla="*/ 1013460 h 6177659"/>
                <a:gd name="connsiteX37" fmla="*/ 3192780 w 5132522"/>
                <a:gd name="connsiteY37" fmla="*/ 853440 h 6177659"/>
                <a:gd name="connsiteX38" fmla="*/ 2910840 w 5132522"/>
                <a:gd name="connsiteY38" fmla="*/ 739140 h 6177659"/>
                <a:gd name="connsiteX39" fmla="*/ 2514600 w 5132522"/>
                <a:gd name="connsiteY39" fmla="*/ 693420 h 6177659"/>
                <a:gd name="connsiteX40" fmla="*/ 2232660 w 5132522"/>
                <a:gd name="connsiteY40" fmla="*/ 739140 h 6177659"/>
                <a:gd name="connsiteX41" fmla="*/ 1234440 w 5132522"/>
                <a:gd name="connsiteY41" fmla="*/ 1059180 h 6177659"/>
                <a:gd name="connsiteX42" fmla="*/ 960120 w 5132522"/>
                <a:gd name="connsiteY42" fmla="*/ 1165860 h 6177659"/>
                <a:gd name="connsiteX43" fmla="*/ 815340 w 5132522"/>
                <a:gd name="connsiteY43" fmla="*/ 1257300 h 6177659"/>
                <a:gd name="connsiteX44" fmla="*/ 0 w 5132522"/>
                <a:gd name="connsiteY44" fmla="*/ 1234440 h 6177659"/>
                <a:gd name="connsiteX0" fmla="*/ 0 w 5132522"/>
                <a:gd name="connsiteY0" fmla="*/ 1234440 h 6177659"/>
                <a:gd name="connsiteX1" fmla="*/ 213360 w 5132522"/>
                <a:gd name="connsiteY1" fmla="*/ 990600 h 6177659"/>
                <a:gd name="connsiteX2" fmla="*/ 457200 w 5132522"/>
                <a:gd name="connsiteY2" fmla="*/ 792480 h 6177659"/>
                <a:gd name="connsiteX3" fmla="*/ 685800 w 5132522"/>
                <a:gd name="connsiteY3" fmla="*/ 624840 h 6177659"/>
                <a:gd name="connsiteX4" fmla="*/ 929640 w 5132522"/>
                <a:gd name="connsiteY4" fmla="*/ 533400 h 6177659"/>
                <a:gd name="connsiteX5" fmla="*/ 891540 w 5132522"/>
                <a:gd name="connsiteY5" fmla="*/ 426720 h 6177659"/>
                <a:gd name="connsiteX6" fmla="*/ 1074420 w 5132522"/>
                <a:gd name="connsiteY6" fmla="*/ 358140 h 6177659"/>
                <a:gd name="connsiteX7" fmla="*/ 1120140 w 5132522"/>
                <a:gd name="connsiteY7" fmla="*/ 464820 h 6177659"/>
                <a:gd name="connsiteX8" fmla="*/ 1242060 w 5132522"/>
                <a:gd name="connsiteY8" fmla="*/ 434340 h 6177659"/>
                <a:gd name="connsiteX9" fmla="*/ 1272540 w 5132522"/>
                <a:gd name="connsiteY9" fmla="*/ 365760 h 6177659"/>
                <a:gd name="connsiteX10" fmla="*/ 1531620 w 5132522"/>
                <a:gd name="connsiteY10" fmla="*/ 297180 h 6177659"/>
                <a:gd name="connsiteX11" fmla="*/ 1584960 w 5132522"/>
                <a:gd name="connsiteY11" fmla="*/ 327660 h 6177659"/>
                <a:gd name="connsiteX12" fmla="*/ 1714500 w 5132522"/>
                <a:gd name="connsiteY12" fmla="*/ 274320 h 6177659"/>
                <a:gd name="connsiteX13" fmla="*/ 1684020 w 5132522"/>
                <a:gd name="connsiteY13" fmla="*/ 114300 h 6177659"/>
                <a:gd name="connsiteX14" fmla="*/ 2087880 w 5132522"/>
                <a:gd name="connsiteY14" fmla="*/ 0 h 6177659"/>
                <a:gd name="connsiteX15" fmla="*/ 2133600 w 5132522"/>
                <a:gd name="connsiteY15" fmla="*/ 160020 h 6177659"/>
                <a:gd name="connsiteX16" fmla="*/ 2385060 w 5132522"/>
                <a:gd name="connsiteY16" fmla="*/ 106680 h 6177659"/>
                <a:gd name="connsiteX17" fmla="*/ 2644140 w 5132522"/>
                <a:gd name="connsiteY17" fmla="*/ 99060 h 6177659"/>
                <a:gd name="connsiteX18" fmla="*/ 2971800 w 5132522"/>
                <a:gd name="connsiteY18" fmla="*/ 152400 h 6177659"/>
                <a:gd name="connsiteX19" fmla="*/ 3299460 w 5132522"/>
                <a:gd name="connsiteY19" fmla="*/ 251460 h 6177659"/>
                <a:gd name="connsiteX20" fmla="*/ 3665220 w 5132522"/>
                <a:gd name="connsiteY20" fmla="*/ 464820 h 6177659"/>
                <a:gd name="connsiteX21" fmla="*/ 3954780 w 5132522"/>
                <a:gd name="connsiteY21" fmla="*/ 723900 h 6177659"/>
                <a:gd name="connsiteX22" fmla="*/ 4465320 w 5132522"/>
                <a:gd name="connsiteY22" fmla="*/ 1280160 h 6177659"/>
                <a:gd name="connsiteX23" fmla="*/ 4495800 w 5132522"/>
                <a:gd name="connsiteY23" fmla="*/ 1287780 h 6177659"/>
                <a:gd name="connsiteX24" fmla="*/ 4678680 w 5132522"/>
                <a:gd name="connsiteY24" fmla="*/ 1463040 h 6177659"/>
                <a:gd name="connsiteX25" fmla="*/ 4663440 w 5132522"/>
                <a:gd name="connsiteY25" fmla="*/ 1524000 h 6177659"/>
                <a:gd name="connsiteX26" fmla="*/ 4814397 w 5132522"/>
                <a:gd name="connsiteY26" fmla="*/ 1704828 h 6177659"/>
                <a:gd name="connsiteX27" fmla="*/ 4965031 w 5132522"/>
                <a:gd name="connsiteY27" fmla="*/ 3813160 h 6177659"/>
                <a:gd name="connsiteX28" fmla="*/ 5002306 w 5132522"/>
                <a:gd name="connsiteY28" fmla="*/ 4363507 h 6177659"/>
                <a:gd name="connsiteX29" fmla="*/ 5132522 w 5132522"/>
                <a:gd name="connsiteY29" fmla="*/ 4429994 h 6177659"/>
                <a:gd name="connsiteX30" fmla="*/ 5063073 w 5132522"/>
                <a:gd name="connsiteY30" fmla="*/ 4847915 h 6177659"/>
                <a:gd name="connsiteX31" fmla="*/ 4905544 w 5132522"/>
                <a:gd name="connsiteY31" fmla="*/ 4785630 h 6177659"/>
                <a:gd name="connsiteX32" fmla="*/ 3778281 w 5132522"/>
                <a:gd name="connsiteY32" fmla="*/ 6177659 h 6177659"/>
                <a:gd name="connsiteX33" fmla="*/ 3595980 w 5132522"/>
                <a:gd name="connsiteY33" fmla="*/ 5588772 h 6177659"/>
                <a:gd name="connsiteX34" fmla="*/ 4382946 w 5132522"/>
                <a:gd name="connsiteY34" fmla="*/ 4574791 h 6177659"/>
                <a:gd name="connsiteX35" fmla="*/ 4662995 w 5132522"/>
                <a:gd name="connsiteY35" fmla="*/ 3330617 h 6177659"/>
                <a:gd name="connsiteX36" fmla="*/ 4344179 w 5132522"/>
                <a:gd name="connsiteY36" fmla="*/ 2027325 h 6177659"/>
                <a:gd name="connsiteX37" fmla="*/ 3429000 w 5132522"/>
                <a:gd name="connsiteY37" fmla="*/ 1013460 h 6177659"/>
                <a:gd name="connsiteX38" fmla="*/ 3192780 w 5132522"/>
                <a:gd name="connsiteY38" fmla="*/ 853440 h 6177659"/>
                <a:gd name="connsiteX39" fmla="*/ 2910840 w 5132522"/>
                <a:gd name="connsiteY39" fmla="*/ 739140 h 6177659"/>
                <a:gd name="connsiteX40" fmla="*/ 2514600 w 5132522"/>
                <a:gd name="connsiteY40" fmla="*/ 693420 h 6177659"/>
                <a:gd name="connsiteX41" fmla="*/ 2232660 w 5132522"/>
                <a:gd name="connsiteY41" fmla="*/ 739140 h 6177659"/>
                <a:gd name="connsiteX42" fmla="*/ 1234440 w 5132522"/>
                <a:gd name="connsiteY42" fmla="*/ 1059180 h 6177659"/>
                <a:gd name="connsiteX43" fmla="*/ 960120 w 5132522"/>
                <a:gd name="connsiteY43" fmla="*/ 1165860 h 6177659"/>
                <a:gd name="connsiteX44" fmla="*/ 815340 w 5132522"/>
                <a:gd name="connsiteY44" fmla="*/ 1257300 h 6177659"/>
                <a:gd name="connsiteX45" fmla="*/ 0 w 5132522"/>
                <a:gd name="connsiteY45" fmla="*/ 1234440 h 6177659"/>
                <a:gd name="connsiteX0" fmla="*/ 0 w 5194385"/>
                <a:gd name="connsiteY0" fmla="*/ 1234440 h 6177659"/>
                <a:gd name="connsiteX1" fmla="*/ 213360 w 5194385"/>
                <a:gd name="connsiteY1" fmla="*/ 990600 h 6177659"/>
                <a:gd name="connsiteX2" fmla="*/ 457200 w 5194385"/>
                <a:gd name="connsiteY2" fmla="*/ 792480 h 6177659"/>
                <a:gd name="connsiteX3" fmla="*/ 685800 w 5194385"/>
                <a:gd name="connsiteY3" fmla="*/ 624840 h 6177659"/>
                <a:gd name="connsiteX4" fmla="*/ 929640 w 5194385"/>
                <a:gd name="connsiteY4" fmla="*/ 533400 h 6177659"/>
                <a:gd name="connsiteX5" fmla="*/ 891540 w 5194385"/>
                <a:gd name="connsiteY5" fmla="*/ 426720 h 6177659"/>
                <a:gd name="connsiteX6" fmla="*/ 1074420 w 5194385"/>
                <a:gd name="connsiteY6" fmla="*/ 358140 h 6177659"/>
                <a:gd name="connsiteX7" fmla="*/ 1120140 w 5194385"/>
                <a:gd name="connsiteY7" fmla="*/ 464820 h 6177659"/>
                <a:gd name="connsiteX8" fmla="*/ 1242060 w 5194385"/>
                <a:gd name="connsiteY8" fmla="*/ 434340 h 6177659"/>
                <a:gd name="connsiteX9" fmla="*/ 1272540 w 5194385"/>
                <a:gd name="connsiteY9" fmla="*/ 365760 h 6177659"/>
                <a:gd name="connsiteX10" fmla="*/ 1531620 w 5194385"/>
                <a:gd name="connsiteY10" fmla="*/ 297180 h 6177659"/>
                <a:gd name="connsiteX11" fmla="*/ 1584960 w 5194385"/>
                <a:gd name="connsiteY11" fmla="*/ 327660 h 6177659"/>
                <a:gd name="connsiteX12" fmla="*/ 1714500 w 5194385"/>
                <a:gd name="connsiteY12" fmla="*/ 274320 h 6177659"/>
                <a:gd name="connsiteX13" fmla="*/ 1684020 w 5194385"/>
                <a:gd name="connsiteY13" fmla="*/ 114300 h 6177659"/>
                <a:gd name="connsiteX14" fmla="*/ 2087880 w 5194385"/>
                <a:gd name="connsiteY14" fmla="*/ 0 h 6177659"/>
                <a:gd name="connsiteX15" fmla="*/ 2133600 w 5194385"/>
                <a:gd name="connsiteY15" fmla="*/ 160020 h 6177659"/>
                <a:gd name="connsiteX16" fmla="*/ 2385060 w 5194385"/>
                <a:gd name="connsiteY16" fmla="*/ 106680 h 6177659"/>
                <a:gd name="connsiteX17" fmla="*/ 2644140 w 5194385"/>
                <a:gd name="connsiteY17" fmla="*/ 99060 h 6177659"/>
                <a:gd name="connsiteX18" fmla="*/ 2971800 w 5194385"/>
                <a:gd name="connsiteY18" fmla="*/ 152400 h 6177659"/>
                <a:gd name="connsiteX19" fmla="*/ 3299460 w 5194385"/>
                <a:gd name="connsiteY19" fmla="*/ 251460 h 6177659"/>
                <a:gd name="connsiteX20" fmla="*/ 3665220 w 5194385"/>
                <a:gd name="connsiteY20" fmla="*/ 464820 h 6177659"/>
                <a:gd name="connsiteX21" fmla="*/ 3954780 w 5194385"/>
                <a:gd name="connsiteY21" fmla="*/ 723900 h 6177659"/>
                <a:gd name="connsiteX22" fmla="*/ 4465320 w 5194385"/>
                <a:gd name="connsiteY22" fmla="*/ 1280160 h 6177659"/>
                <a:gd name="connsiteX23" fmla="*/ 4495800 w 5194385"/>
                <a:gd name="connsiteY23" fmla="*/ 1287780 h 6177659"/>
                <a:gd name="connsiteX24" fmla="*/ 4678680 w 5194385"/>
                <a:gd name="connsiteY24" fmla="*/ 1463040 h 6177659"/>
                <a:gd name="connsiteX25" fmla="*/ 4663440 w 5194385"/>
                <a:gd name="connsiteY25" fmla="*/ 1524000 h 6177659"/>
                <a:gd name="connsiteX26" fmla="*/ 4814397 w 5194385"/>
                <a:gd name="connsiteY26" fmla="*/ 1704828 h 6177659"/>
                <a:gd name="connsiteX27" fmla="*/ 5194385 w 5194385"/>
                <a:gd name="connsiteY27" fmla="*/ 3497350 h 6177659"/>
                <a:gd name="connsiteX28" fmla="*/ 5002306 w 5194385"/>
                <a:gd name="connsiteY28" fmla="*/ 4363507 h 6177659"/>
                <a:gd name="connsiteX29" fmla="*/ 5132522 w 5194385"/>
                <a:gd name="connsiteY29" fmla="*/ 4429994 h 6177659"/>
                <a:gd name="connsiteX30" fmla="*/ 5063073 w 5194385"/>
                <a:gd name="connsiteY30" fmla="*/ 4847915 h 6177659"/>
                <a:gd name="connsiteX31" fmla="*/ 4905544 w 5194385"/>
                <a:gd name="connsiteY31" fmla="*/ 4785630 h 6177659"/>
                <a:gd name="connsiteX32" fmla="*/ 3778281 w 5194385"/>
                <a:gd name="connsiteY32" fmla="*/ 6177659 h 6177659"/>
                <a:gd name="connsiteX33" fmla="*/ 3595980 w 5194385"/>
                <a:gd name="connsiteY33" fmla="*/ 5588772 h 6177659"/>
                <a:gd name="connsiteX34" fmla="*/ 4382946 w 5194385"/>
                <a:gd name="connsiteY34" fmla="*/ 4574791 h 6177659"/>
                <a:gd name="connsiteX35" fmla="*/ 4662995 w 5194385"/>
                <a:gd name="connsiteY35" fmla="*/ 3330617 h 6177659"/>
                <a:gd name="connsiteX36" fmla="*/ 4344179 w 5194385"/>
                <a:gd name="connsiteY36" fmla="*/ 2027325 h 6177659"/>
                <a:gd name="connsiteX37" fmla="*/ 3429000 w 5194385"/>
                <a:gd name="connsiteY37" fmla="*/ 1013460 h 6177659"/>
                <a:gd name="connsiteX38" fmla="*/ 3192780 w 5194385"/>
                <a:gd name="connsiteY38" fmla="*/ 853440 h 6177659"/>
                <a:gd name="connsiteX39" fmla="*/ 2910840 w 5194385"/>
                <a:gd name="connsiteY39" fmla="*/ 739140 h 6177659"/>
                <a:gd name="connsiteX40" fmla="*/ 2514600 w 5194385"/>
                <a:gd name="connsiteY40" fmla="*/ 693420 h 6177659"/>
                <a:gd name="connsiteX41" fmla="*/ 2232660 w 5194385"/>
                <a:gd name="connsiteY41" fmla="*/ 739140 h 6177659"/>
                <a:gd name="connsiteX42" fmla="*/ 1234440 w 5194385"/>
                <a:gd name="connsiteY42" fmla="*/ 1059180 h 6177659"/>
                <a:gd name="connsiteX43" fmla="*/ 960120 w 5194385"/>
                <a:gd name="connsiteY43" fmla="*/ 1165860 h 6177659"/>
                <a:gd name="connsiteX44" fmla="*/ 815340 w 5194385"/>
                <a:gd name="connsiteY44" fmla="*/ 1257300 h 6177659"/>
                <a:gd name="connsiteX45" fmla="*/ 0 w 5194385"/>
                <a:gd name="connsiteY45" fmla="*/ 1234440 h 6177659"/>
                <a:gd name="connsiteX0" fmla="*/ 0 w 5222873"/>
                <a:gd name="connsiteY0" fmla="*/ 1234440 h 6177659"/>
                <a:gd name="connsiteX1" fmla="*/ 213360 w 5222873"/>
                <a:gd name="connsiteY1" fmla="*/ 990600 h 6177659"/>
                <a:gd name="connsiteX2" fmla="*/ 457200 w 5222873"/>
                <a:gd name="connsiteY2" fmla="*/ 792480 h 6177659"/>
                <a:gd name="connsiteX3" fmla="*/ 685800 w 5222873"/>
                <a:gd name="connsiteY3" fmla="*/ 624840 h 6177659"/>
                <a:gd name="connsiteX4" fmla="*/ 929640 w 5222873"/>
                <a:gd name="connsiteY4" fmla="*/ 533400 h 6177659"/>
                <a:gd name="connsiteX5" fmla="*/ 891540 w 5222873"/>
                <a:gd name="connsiteY5" fmla="*/ 426720 h 6177659"/>
                <a:gd name="connsiteX6" fmla="*/ 1074420 w 5222873"/>
                <a:gd name="connsiteY6" fmla="*/ 358140 h 6177659"/>
                <a:gd name="connsiteX7" fmla="*/ 1120140 w 5222873"/>
                <a:gd name="connsiteY7" fmla="*/ 464820 h 6177659"/>
                <a:gd name="connsiteX8" fmla="*/ 1242060 w 5222873"/>
                <a:gd name="connsiteY8" fmla="*/ 434340 h 6177659"/>
                <a:gd name="connsiteX9" fmla="*/ 1272540 w 5222873"/>
                <a:gd name="connsiteY9" fmla="*/ 365760 h 6177659"/>
                <a:gd name="connsiteX10" fmla="*/ 1531620 w 5222873"/>
                <a:gd name="connsiteY10" fmla="*/ 297180 h 6177659"/>
                <a:gd name="connsiteX11" fmla="*/ 1584960 w 5222873"/>
                <a:gd name="connsiteY11" fmla="*/ 327660 h 6177659"/>
                <a:gd name="connsiteX12" fmla="*/ 1714500 w 5222873"/>
                <a:gd name="connsiteY12" fmla="*/ 274320 h 6177659"/>
                <a:gd name="connsiteX13" fmla="*/ 1684020 w 5222873"/>
                <a:gd name="connsiteY13" fmla="*/ 114300 h 6177659"/>
                <a:gd name="connsiteX14" fmla="*/ 2087880 w 5222873"/>
                <a:gd name="connsiteY14" fmla="*/ 0 h 6177659"/>
                <a:gd name="connsiteX15" fmla="*/ 2133600 w 5222873"/>
                <a:gd name="connsiteY15" fmla="*/ 160020 h 6177659"/>
                <a:gd name="connsiteX16" fmla="*/ 2385060 w 5222873"/>
                <a:gd name="connsiteY16" fmla="*/ 106680 h 6177659"/>
                <a:gd name="connsiteX17" fmla="*/ 2644140 w 5222873"/>
                <a:gd name="connsiteY17" fmla="*/ 99060 h 6177659"/>
                <a:gd name="connsiteX18" fmla="*/ 2971800 w 5222873"/>
                <a:gd name="connsiteY18" fmla="*/ 152400 h 6177659"/>
                <a:gd name="connsiteX19" fmla="*/ 3299460 w 5222873"/>
                <a:gd name="connsiteY19" fmla="*/ 251460 h 6177659"/>
                <a:gd name="connsiteX20" fmla="*/ 3665220 w 5222873"/>
                <a:gd name="connsiteY20" fmla="*/ 464820 h 6177659"/>
                <a:gd name="connsiteX21" fmla="*/ 3954780 w 5222873"/>
                <a:gd name="connsiteY21" fmla="*/ 723900 h 6177659"/>
                <a:gd name="connsiteX22" fmla="*/ 4465320 w 5222873"/>
                <a:gd name="connsiteY22" fmla="*/ 1280160 h 6177659"/>
                <a:gd name="connsiteX23" fmla="*/ 4495800 w 5222873"/>
                <a:gd name="connsiteY23" fmla="*/ 1287780 h 6177659"/>
                <a:gd name="connsiteX24" fmla="*/ 4678680 w 5222873"/>
                <a:gd name="connsiteY24" fmla="*/ 1463040 h 6177659"/>
                <a:gd name="connsiteX25" fmla="*/ 4663440 w 5222873"/>
                <a:gd name="connsiteY25" fmla="*/ 1524000 h 6177659"/>
                <a:gd name="connsiteX26" fmla="*/ 4814397 w 5222873"/>
                <a:gd name="connsiteY26" fmla="*/ 1704828 h 6177659"/>
                <a:gd name="connsiteX27" fmla="*/ 5194385 w 5222873"/>
                <a:gd name="connsiteY27" fmla="*/ 3497350 h 6177659"/>
                <a:gd name="connsiteX28" fmla="*/ 5002306 w 5222873"/>
                <a:gd name="connsiteY28" fmla="*/ 4363507 h 6177659"/>
                <a:gd name="connsiteX29" fmla="*/ 5132522 w 5222873"/>
                <a:gd name="connsiteY29" fmla="*/ 4429994 h 6177659"/>
                <a:gd name="connsiteX30" fmla="*/ 5063073 w 5222873"/>
                <a:gd name="connsiteY30" fmla="*/ 4847915 h 6177659"/>
                <a:gd name="connsiteX31" fmla="*/ 4905544 w 5222873"/>
                <a:gd name="connsiteY31" fmla="*/ 4785630 h 6177659"/>
                <a:gd name="connsiteX32" fmla="*/ 3778281 w 5222873"/>
                <a:gd name="connsiteY32" fmla="*/ 6177659 h 6177659"/>
                <a:gd name="connsiteX33" fmla="*/ 3595980 w 5222873"/>
                <a:gd name="connsiteY33" fmla="*/ 5588772 h 6177659"/>
                <a:gd name="connsiteX34" fmla="*/ 4382946 w 5222873"/>
                <a:gd name="connsiteY34" fmla="*/ 4574791 h 6177659"/>
                <a:gd name="connsiteX35" fmla="*/ 4662995 w 5222873"/>
                <a:gd name="connsiteY35" fmla="*/ 3330617 h 6177659"/>
                <a:gd name="connsiteX36" fmla="*/ 4344179 w 5222873"/>
                <a:gd name="connsiteY36" fmla="*/ 2027325 h 6177659"/>
                <a:gd name="connsiteX37" fmla="*/ 3429000 w 5222873"/>
                <a:gd name="connsiteY37" fmla="*/ 1013460 h 6177659"/>
                <a:gd name="connsiteX38" fmla="*/ 3192780 w 5222873"/>
                <a:gd name="connsiteY38" fmla="*/ 853440 h 6177659"/>
                <a:gd name="connsiteX39" fmla="*/ 2910840 w 5222873"/>
                <a:gd name="connsiteY39" fmla="*/ 739140 h 6177659"/>
                <a:gd name="connsiteX40" fmla="*/ 2514600 w 5222873"/>
                <a:gd name="connsiteY40" fmla="*/ 693420 h 6177659"/>
                <a:gd name="connsiteX41" fmla="*/ 2232660 w 5222873"/>
                <a:gd name="connsiteY41" fmla="*/ 739140 h 6177659"/>
                <a:gd name="connsiteX42" fmla="*/ 1234440 w 5222873"/>
                <a:gd name="connsiteY42" fmla="*/ 1059180 h 6177659"/>
                <a:gd name="connsiteX43" fmla="*/ 960120 w 5222873"/>
                <a:gd name="connsiteY43" fmla="*/ 1165860 h 6177659"/>
                <a:gd name="connsiteX44" fmla="*/ 815340 w 5222873"/>
                <a:gd name="connsiteY44" fmla="*/ 1257300 h 6177659"/>
                <a:gd name="connsiteX45" fmla="*/ 0 w 5222873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65320 w 5236526"/>
                <a:gd name="connsiteY22" fmla="*/ 1280160 h 6177659"/>
                <a:gd name="connsiteX23" fmla="*/ 4495800 w 5236526"/>
                <a:gd name="connsiteY23" fmla="*/ 1287780 h 6177659"/>
                <a:gd name="connsiteX24" fmla="*/ 4678680 w 5236526"/>
                <a:gd name="connsiteY24" fmla="*/ 1463040 h 6177659"/>
                <a:gd name="connsiteX25" fmla="*/ 4663440 w 5236526"/>
                <a:gd name="connsiteY25" fmla="*/ 1524000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65320 w 5236526"/>
                <a:gd name="connsiteY22" fmla="*/ 1280160 h 6177659"/>
                <a:gd name="connsiteX23" fmla="*/ 4495800 w 5236526"/>
                <a:gd name="connsiteY23" fmla="*/ 1287780 h 6177659"/>
                <a:gd name="connsiteX24" fmla="*/ 4678680 w 5236526"/>
                <a:gd name="connsiteY24" fmla="*/ 1463040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65320 w 5236526"/>
                <a:gd name="connsiteY22" fmla="*/ 1280160 h 6177659"/>
                <a:gd name="connsiteX23" fmla="*/ 4495800 w 5236526"/>
                <a:gd name="connsiteY23" fmla="*/ 1287780 h 6177659"/>
                <a:gd name="connsiteX24" fmla="*/ 4652910 w 5236526"/>
                <a:gd name="connsiteY24" fmla="*/ 1457499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26665 w 5236526"/>
                <a:gd name="connsiteY22" fmla="*/ 1269080 h 6177659"/>
                <a:gd name="connsiteX23" fmla="*/ 4495800 w 5236526"/>
                <a:gd name="connsiteY23" fmla="*/ 1287780 h 6177659"/>
                <a:gd name="connsiteX24" fmla="*/ 4652910 w 5236526"/>
                <a:gd name="connsiteY24" fmla="*/ 1457499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26665 w 5236526"/>
                <a:gd name="connsiteY22" fmla="*/ 1269080 h 6177659"/>
                <a:gd name="connsiteX23" fmla="*/ 4488069 w 5236526"/>
                <a:gd name="connsiteY23" fmla="*/ 1276698 h 6177659"/>
                <a:gd name="connsiteX24" fmla="*/ 4652910 w 5236526"/>
                <a:gd name="connsiteY24" fmla="*/ 1457499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34982 h 6177659"/>
                <a:gd name="connsiteX22" fmla="*/ 4426665 w 5236526"/>
                <a:gd name="connsiteY22" fmla="*/ 1269080 h 6177659"/>
                <a:gd name="connsiteX23" fmla="*/ 4488069 w 5236526"/>
                <a:gd name="connsiteY23" fmla="*/ 1276698 h 6177659"/>
                <a:gd name="connsiteX24" fmla="*/ 4652910 w 5236526"/>
                <a:gd name="connsiteY24" fmla="*/ 1457499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4426665 w 5236526"/>
                <a:gd name="connsiteY21" fmla="*/ 1269080 h 6177659"/>
                <a:gd name="connsiteX22" fmla="*/ 4488069 w 5236526"/>
                <a:gd name="connsiteY22" fmla="*/ 1276698 h 6177659"/>
                <a:gd name="connsiteX23" fmla="*/ 4652910 w 5236526"/>
                <a:gd name="connsiteY23" fmla="*/ 1457499 h 6177659"/>
                <a:gd name="connsiteX24" fmla="*/ 4653133 w 5236526"/>
                <a:gd name="connsiteY24" fmla="*/ 1512918 h 6177659"/>
                <a:gd name="connsiteX25" fmla="*/ 4814397 w 5236526"/>
                <a:gd name="connsiteY25" fmla="*/ 1704828 h 6177659"/>
                <a:gd name="connsiteX26" fmla="*/ 5194385 w 5236526"/>
                <a:gd name="connsiteY26" fmla="*/ 3497350 h 6177659"/>
                <a:gd name="connsiteX27" fmla="*/ 5002306 w 5236526"/>
                <a:gd name="connsiteY27" fmla="*/ 4363507 h 6177659"/>
                <a:gd name="connsiteX28" fmla="*/ 5132522 w 5236526"/>
                <a:gd name="connsiteY28" fmla="*/ 4429994 h 6177659"/>
                <a:gd name="connsiteX29" fmla="*/ 5063073 w 5236526"/>
                <a:gd name="connsiteY29" fmla="*/ 4847915 h 6177659"/>
                <a:gd name="connsiteX30" fmla="*/ 4905544 w 5236526"/>
                <a:gd name="connsiteY30" fmla="*/ 4785630 h 6177659"/>
                <a:gd name="connsiteX31" fmla="*/ 3778281 w 5236526"/>
                <a:gd name="connsiteY31" fmla="*/ 6177659 h 6177659"/>
                <a:gd name="connsiteX32" fmla="*/ 3595980 w 5236526"/>
                <a:gd name="connsiteY32" fmla="*/ 5588772 h 6177659"/>
                <a:gd name="connsiteX33" fmla="*/ 4382946 w 5236526"/>
                <a:gd name="connsiteY33" fmla="*/ 4574791 h 6177659"/>
                <a:gd name="connsiteX34" fmla="*/ 4662995 w 5236526"/>
                <a:gd name="connsiteY34" fmla="*/ 3330617 h 6177659"/>
                <a:gd name="connsiteX35" fmla="*/ 4344179 w 5236526"/>
                <a:gd name="connsiteY35" fmla="*/ 2027325 h 6177659"/>
                <a:gd name="connsiteX36" fmla="*/ 3429000 w 5236526"/>
                <a:gd name="connsiteY36" fmla="*/ 1013460 h 6177659"/>
                <a:gd name="connsiteX37" fmla="*/ 3192780 w 5236526"/>
                <a:gd name="connsiteY37" fmla="*/ 853440 h 6177659"/>
                <a:gd name="connsiteX38" fmla="*/ 2910840 w 5236526"/>
                <a:gd name="connsiteY38" fmla="*/ 739140 h 6177659"/>
                <a:gd name="connsiteX39" fmla="*/ 2514600 w 5236526"/>
                <a:gd name="connsiteY39" fmla="*/ 693420 h 6177659"/>
                <a:gd name="connsiteX40" fmla="*/ 2232660 w 5236526"/>
                <a:gd name="connsiteY40" fmla="*/ 739140 h 6177659"/>
                <a:gd name="connsiteX41" fmla="*/ 1234440 w 5236526"/>
                <a:gd name="connsiteY41" fmla="*/ 1059180 h 6177659"/>
                <a:gd name="connsiteX42" fmla="*/ 960120 w 5236526"/>
                <a:gd name="connsiteY42" fmla="*/ 1165860 h 6177659"/>
                <a:gd name="connsiteX43" fmla="*/ 815340 w 5236526"/>
                <a:gd name="connsiteY43" fmla="*/ 1257300 h 6177659"/>
                <a:gd name="connsiteX44" fmla="*/ 0 w 5236526"/>
                <a:gd name="connsiteY44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830149 w 5236526"/>
                <a:gd name="connsiteY20" fmla="*/ 619955 h 6177659"/>
                <a:gd name="connsiteX21" fmla="*/ 4426665 w 5236526"/>
                <a:gd name="connsiteY21" fmla="*/ 1269080 h 6177659"/>
                <a:gd name="connsiteX22" fmla="*/ 4488069 w 5236526"/>
                <a:gd name="connsiteY22" fmla="*/ 1276698 h 6177659"/>
                <a:gd name="connsiteX23" fmla="*/ 4652910 w 5236526"/>
                <a:gd name="connsiteY23" fmla="*/ 1457499 h 6177659"/>
                <a:gd name="connsiteX24" fmla="*/ 4653133 w 5236526"/>
                <a:gd name="connsiteY24" fmla="*/ 1512918 h 6177659"/>
                <a:gd name="connsiteX25" fmla="*/ 4814397 w 5236526"/>
                <a:gd name="connsiteY25" fmla="*/ 1704828 h 6177659"/>
                <a:gd name="connsiteX26" fmla="*/ 5194385 w 5236526"/>
                <a:gd name="connsiteY26" fmla="*/ 3497350 h 6177659"/>
                <a:gd name="connsiteX27" fmla="*/ 5002306 w 5236526"/>
                <a:gd name="connsiteY27" fmla="*/ 4363507 h 6177659"/>
                <a:gd name="connsiteX28" fmla="*/ 5132522 w 5236526"/>
                <a:gd name="connsiteY28" fmla="*/ 4429994 h 6177659"/>
                <a:gd name="connsiteX29" fmla="*/ 5063073 w 5236526"/>
                <a:gd name="connsiteY29" fmla="*/ 4847915 h 6177659"/>
                <a:gd name="connsiteX30" fmla="*/ 4905544 w 5236526"/>
                <a:gd name="connsiteY30" fmla="*/ 4785630 h 6177659"/>
                <a:gd name="connsiteX31" fmla="*/ 3778281 w 5236526"/>
                <a:gd name="connsiteY31" fmla="*/ 6177659 h 6177659"/>
                <a:gd name="connsiteX32" fmla="*/ 3595980 w 5236526"/>
                <a:gd name="connsiteY32" fmla="*/ 5588772 h 6177659"/>
                <a:gd name="connsiteX33" fmla="*/ 4382946 w 5236526"/>
                <a:gd name="connsiteY33" fmla="*/ 4574791 h 6177659"/>
                <a:gd name="connsiteX34" fmla="*/ 4662995 w 5236526"/>
                <a:gd name="connsiteY34" fmla="*/ 3330617 h 6177659"/>
                <a:gd name="connsiteX35" fmla="*/ 4344179 w 5236526"/>
                <a:gd name="connsiteY35" fmla="*/ 2027325 h 6177659"/>
                <a:gd name="connsiteX36" fmla="*/ 3429000 w 5236526"/>
                <a:gd name="connsiteY36" fmla="*/ 1013460 h 6177659"/>
                <a:gd name="connsiteX37" fmla="*/ 3192780 w 5236526"/>
                <a:gd name="connsiteY37" fmla="*/ 853440 h 6177659"/>
                <a:gd name="connsiteX38" fmla="*/ 2910840 w 5236526"/>
                <a:gd name="connsiteY38" fmla="*/ 739140 h 6177659"/>
                <a:gd name="connsiteX39" fmla="*/ 2514600 w 5236526"/>
                <a:gd name="connsiteY39" fmla="*/ 693420 h 6177659"/>
                <a:gd name="connsiteX40" fmla="*/ 2232660 w 5236526"/>
                <a:gd name="connsiteY40" fmla="*/ 739140 h 6177659"/>
                <a:gd name="connsiteX41" fmla="*/ 1234440 w 5236526"/>
                <a:gd name="connsiteY41" fmla="*/ 1059180 h 6177659"/>
                <a:gd name="connsiteX42" fmla="*/ 960120 w 5236526"/>
                <a:gd name="connsiteY42" fmla="*/ 1165860 h 6177659"/>
                <a:gd name="connsiteX43" fmla="*/ 815340 w 5236526"/>
                <a:gd name="connsiteY43" fmla="*/ 1257300 h 6177659"/>
                <a:gd name="connsiteX44" fmla="*/ 0 w 5236526"/>
                <a:gd name="connsiteY44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876535 w 5236526"/>
                <a:gd name="connsiteY20" fmla="*/ 658738 h 6177659"/>
                <a:gd name="connsiteX21" fmla="*/ 4426665 w 5236526"/>
                <a:gd name="connsiteY21" fmla="*/ 1269080 h 6177659"/>
                <a:gd name="connsiteX22" fmla="*/ 4488069 w 5236526"/>
                <a:gd name="connsiteY22" fmla="*/ 1276698 h 6177659"/>
                <a:gd name="connsiteX23" fmla="*/ 4652910 w 5236526"/>
                <a:gd name="connsiteY23" fmla="*/ 1457499 h 6177659"/>
                <a:gd name="connsiteX24" fmla="*/ 4653133 w 5236526"/>
                <a:gd name="connsiteY24" fmla="*/ 1512918 h 6177659"/>
                <a:gd name="connsiteX25" fmla="*/ 4814397 w 5236526"/>
                <a:gd name="connsiteY25" fmla="*/ 1704828 h 6177659"/>
                <a:gd name="connsiteX26" fmla="*/ 5194385 w 5236526"/>
                <a:gd name="connsiteY26" fmla="*/ 3497350 h 6177659"/>
                <a:gd name="connsiteX27" fmla="*/ 5002306 w 5236526"/>
                <a:gd name="connsiteY27" fmla="*/ 4363507 h 6177659"/>
                <a:gd name="connsiteX28" fmla="*/ 5132522 w 5236526"/>
                <a:gd name="connsiteY28" fmla="*/ 4429994 h 6177659"/>
                <a:gd name="connsiteX29" fmla="*/ 5063073 w 5236526"/>
                <a:gd name="connsiteY29" fmla="*/ 4847915 h 6177659"/>
                <a:gd name="connsiteX30" fmla="*/ 4905544 w 5236526"/>
                <a:gd name="connsiteY30" fmla="*/ 4785630 h 6177659"/>
                <a:gd name="connsiteX31" fmla="*/ 3778281 w 5236526"/>
                <a:gd name="connsiteY31" fmla="*/ 6177659 h 6177659"/>
                <a:gd name="connsiteX32" fmla="*/ 3595980 w 5236526"/>
                <a:gd name="connsiteY32" fmla="*/ 5588772 h 6177659"/>
                <a:gd name="connsiteX33" fmla="*/ 4382946 w 5236526"/>
                <a:gd name="connsiteY33" fmla="*/ 4574791 h 6177659"/>
                <a:gd name="connsiteX34" fmla="*/ 4662995 w 5236526"/>
                <a:gd name="connsiteY34" fmla="*/ 3330617 h 6177659"/>
                <a:gd name="connsiteX35" fmla="*/ 4344179 w 5236526"/>
                <a:gd name="connsiteY35" fmla="*/ 2027325 h 6177659"/>
                <a:gd name="connsiteX36" fmla="*/ 3429000 w 5236526"/>
                <a:gd name="connsiteY36" fmla="*/ 1013460 h 6177659"/>
                <a:gd name="connsiteX37" fmla="*/ 3192780 w 5236526"/>
                <a:gd name="connsiteY37" fmla="*/ 853440 h 6177659"/>
                <a:gd name="connsiteX38" fmla="*/ 2910840 w 5236526"/>
                <a:gd name="connsiteY38" fmla="*/ 739140 h 6177659"/>
                <a:gd name="connsiteX39" fmla="*/ 2514600 w 5236526"/>
                <a:gd name="connsiteY39" fmla="*/ 693420 h 6177659"/>
                <a:gd name="connsiteX40" fmla="*/ 2232660 w 5236526"/>
                <a:gd name="connsiteY40" fmla="*/ 739140 h 6177659"/>
                <a:gd name="connsiteX41" fmla="*/ 1234440 w 5236526"/>
                <a:gd name="connsiteY41" fmla="*/ 1059180 h 6177659"/>
                <a:gd name="connsiteX42" fmla="*/ 960120 w 5236526"/>
                <a:gd name="connsiteY42" fmla="*/ 1165860 h 6177659"/>
                <a:gd name="connsiteX43" fmla="*/ 815340 w 5236526"/>
                <a:gd name="connsiteY43" fmla="*/ 1257300 h 6177659"/>
                <a:gd name="connsiteX44" fmla="*/ 0 w 5236526"/>
                <a:gd name="connsiteY44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876535 w 5236526"/>
                <a:gd name="connsiteY19" fmla="*/ 658738 h 6177659"/>
                <a:gd name="connsiteX20" fmla="*/ 4426665 w 5236526"/>
                <a:gd name="connsiteY20" fmla="*/ 1269080 h 6177659"/>
                <a:gd name="connsiteX21" fmla="*/ 4488069 w 5236526"/>
                <a:gd name="connsiteY21" fmla="*/ 1276698 h 6177659"/>
                <a:gd name="connsiteX22" fmla="*/ 4652910 w 5236526"/>
                <a:gd name="connsiteY22" fmla="*/ 1457499 h 6177659"/>
                <a:gd name="connsiteX23" fmla="*/ 4653133 w 5236526"/>
                <a:gd name="connsiteY23" fmla="*/ 1512918 h 6177659"/>
                <a:gd name="connsiteX24" fmla="*/ 4814397 w 5236526"/>
                <a:gd name="connsiteY24" fmla="*/ 1704828 h 6177659"/>
                <a:gd name="connsiteX25" fmla="*/ 5194385 w 5236526"/>
                <a:gd name="connsiteY25" fmla="*/ 3497350 h 6177659"/>
                <a:gd name="connsiteX26" fmla="*/ 5002306 w 5236526"/>
                <a:gd name="connsiteY26" fmla="*/ 4363507 h 6177659"/>
                <a:gd name="connsiteX27" fmla="*/ 5132522 w 5236526"/>
                <a:gd name="connsiteY27" fmla="*/ 4429994 h 6177659"/>
                <a:gd name="connsiteX28" fmla="*/ 5063073 w 5236526"/>
                <a:gd name="connsiteY28" fmla="*/ 4847915 h 6177659"/>
                <a:gd name="connsiteX29" fmla="*/ 4905544 w 5236526"/>
                <a:gd name="connsiteY29" fmla="*/ 4785630 h 6177659"/>
                <a:gd name="connsiteX30" fmla="*/ 3778281 w 5236526"/>
                <a:gd name="connsiteY30" fmla="*/ 6177659 h 6177659"/>
                <a:gd name="connsiteX31" fmla="*/ 3595980 w 5236526"/>
                <a:gd name="connsiteY31" fmla="*/ 5588772 h 6177659"/>
                <a:gd name="connsiteX32" fmla="*/ 4382946 w 5236526"/>
                <a:gd name="connsiteY32" fmla="*/ 4574791 h 6177659"/>
                <a:gd name="connsiteX33" fmla="*/ 4662995 w 5236526"/>
                <a:gd name="connsiteY33" fmla="*/ 3330617 h 6177659"/>
                <a:gd name="connsiteX34" fmla="*/ 4344179 w 5236526"/>
                <a:gd name="connsiteY34" fmla="*/ 2027325 h 6177659"/>
                <a:gd name="connsiteX35" fmla="*/ 3429000 w 5236526"/>
                <a:gd name="connsiteY35" fmla="*/ 1013460 h 6177659"/>
                <a:gd name="connsiteX36" fmla="*/ 3192780 w 5236526"/>
                <a:gd name="connsiteY36" fmla="*/ 853440 h 6177659"/>
                <a:gd name="connsiteX37" fmla="*/ 2910840 w 5236526"/>
                <a:gd name="connsiteY37" fmla="*/ 739140 h 6177659"/>
                <a:gd name="connsiteX38" fmla="*/ 2514600 w 5236526"/>
                <a:gd name="connsiteY38" fmla="*/ 693420 h 6177659"/>
                <a:gd name="connsiteX39" fmla="*/ 2232660 w 5236526"/>
                <a:gd name="connsiteY39" fmla="*/ 739140 h 6177659"/>
                <a:gd name="connsiteX40" fmla="*/ 1234440 w 5236526"/>
                <a:gd name="connsiteY40" fmla="*/ 1059180 h 6177659"/>
                <a:gd name="connsiteX41" fmla="*/ 960120 w 5236526"/>
                <a:gd name="connsiteY41" fmla="*/ 1165860 h 6177659"/>
                <a:gd name="connsiteX42" fmla="*/ 815340 w 5236526"/>
                <a:gd name="connsiteY42" fmla="*/ 1257300 h 6177659"/>
                <a:gd name="connsiteX43" fmla="*/ 0 w 5236526"/>
                <a:gd name="connsiteY43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3876535 w 5236526"/>
                <a:gd name="connsiteY18" fmla="*/ 658738 h 6177659"/>
                <a:gd name="connsiteX19" fmla="*/ 4426665 w 5236526"/>
                <a:gd name="connsiteY19" fmla="*/ 1269080 h 6177659"/>
                <a:gd name="connsiteX20" fmla="*/ 4488069 w 5236526"/>
                <a:gd name="connsiteY20" fmla="*/ 1276698 h 6177659"/>
                <a:gd name="connsiteX21" fmla="*/ 4652910 w 5236526"/>
                <a:gd name="connsiteY21" fmla="*/ 1457499 h 6177659"/>
                <a:gd name="connsiteX22" fmla="*/ 4653133 w 5236526"/>
                <a:gd name="connsiteY22" fmla="*/ 1512918 h 6177659"/>
                <a:gd name="connsiteX23" fmla="*/ 4814397 w 5236526"/>
                <a:gd name="connsiteY23" fmla="*/ 1704828 h 6177659"/>
                <a:gd name="connsiteX24" fmla="*/ 5194385 w 5236526"/>
                <a:gd name="connsiteY24" fmla="*/ 3497350 h 6177659"/>
                <a:gd name="connsiteX25" fmla="*/ 5002306 w 5236526"/>
                <a:gd name="connsiteY25" fmla="*/ 4363507 h 6177659"/>
                <a:gd name="connsiteX26" fmla="*/ 5132522 w 5236526"/>
                <a:gd name="connsiteY26" fmla="*/ 4429994 h 6177659"/>
                <a:gd name="connsiteX27" fmla="*/ 5063073 w 5236526"/>
                <a:gd name="connsiteY27" fmla="*/ 4847915 h 6177659"/>
                <a:gd name="connsiteX28" fmla="*/ 4905544 w 5236526"/>
                <a:gd name="connsiteY28" fmla="*/ 4785630 h 6177659"/>
                <a:gd name="connsiteX29" fmla="*/ 3778281 w 5236526"/>
                <a:gd name="connsiteY29" fmla="*/ 6177659 h 6177659"/>
                <a:gd name="connsiteX30" fmla="*/ 3595980 w 5236526"/>
                <a:gd name="connsiteY30" fmla="*/ 5588772 h 6177659"/>
                <a:gd name="connsiteX31" fmla="*/ 4382946 w 5236526"/>
                <a:gd name="connsiteY31" fmla="*/ 4574791 h 6177659"/>
                <a:gd name="connsiteX32" fmla="*/ 4662995 w 5236526"/>
                <a:gd name="connsiteY32" fmla="*/ 3330617 h 6177659"/>
                <a:gd name="connsiteX33" fmla="*/ 4344179 w 5236526"/>
                <a:gd name="connsiteY33" fmla="*/ 2027325 h 6177659"/>
                <a:gd name="connsiteX34" fmla="*/ 3429000 w 5236526"/>
                <a:gd name="connsiteY34" fmla="*/ 1013460 h 6177659"/>
                <a:gd name="connsiteX35" fmla="*/ 3192780 w 5236526"/>
                <a:gd name="connsiteY35" fmla="*/ 853440 h 6177659"/>
                <a:gd name="connsiteX36" fmla="*/ 2910840 w 5236526"/>
                <a:gd name="connsiteY36" fmla="*/ 739140 h 6177659"/>
                <a:gd name="connsiteX37" fmla="*/ 2514600 w 5236526"/>
                <a:gd name="connsiteY37" fmla="*/ 693420 h 6177659"/>
                <a:gd name="connsiteX38" fmla="*/ 2232660 w 5236526"/>
                <a:gd name="connsiteY38" fmla="*/ 739140 h 6177659"/>
                <a:gd name="connsiteX39" fmla="*/ 1234440 w 5236526"/>
                <a:gd name="connsiteY39" fmla="*/ 1059180 h 6177659"/>
                <a:gd name="connsiteX40" fmla="*/ 960120 w 5236526"/>
                <a:gd name="connsiteY40" fmla="*/ 1165860 h 6177659"/>
                <a:gd name="connsiteX41" fmla="*/ 815340 w 5236526"/>
                <a:gd name="connsiteY41" fmla="*/ 1257300 h 6177659"/>
                <a:gd name="connsiteX42" fmla="*/ 0 w 5236526"/>
                <a:gd name="connsiteY42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3876535 w 5236526"/>
                <a:gd name="connsiteY17" fmla="*/ 658738 h 6177659"/>
                <a:gd name="connsiteX18" fmla="*/ 4426665 w 5236526"/>
                <a:gd name="connsiteY18" fmla="*/ 1269080 h 6177659"/>
                <a:gd name="connsiteX19" fmla="*/ 4488069 w 5236526"/>
                <a:gd name="connsiteY19" fmla="*/ 1276698 h 6177659"/>
                <a:gd name="connsiteX20" fmla="*/ 4652910 w 5236526"/>
                <a:gd name="connsiteY20" fmla="*/ 1457499 h 6177659"/>
                <a:gd name="connsiteX21" fmla="*/ 4653133 w 5236526"/>
                <a:gd name="connsiteY21" fmla="*/ 1512918 h 6177659"/>
                <a:gd name="connsiteX22" fmla="*/ 4814397 w 5236526"/>
                <a:gd name="connsiteY22" fmla="*/ 1704828 h 6177659"/>
                <a:gd name="connsiteX23" fmla="*/ 5194385 w 5236526"/>
                <a:gd name="connsiteY23" fmla="*/ 3497350 h 6177659"/>
                <a:gd name="connsiteX24" fmla="*/ 5002306 w 5236526"/>
                <a:gd name="connsiteY24" fmla="*/ 4363507 h 6177659"/>
                <a:gd name="connsiteX25" fmla="*/ 5132522 w 5236526"/>
                <a:gd name="connsiteY25" fmla="*/ 4429994 h 6177659"/>
                <a:gd name="connsiteX26" fmla="*/ 5063073 w 5236526"/>
                <a:gd name="connsiteY26" fmla="*/ 4847915 h 6177659"/>
                <a:gd name="connsiteX27" fmla="*/ 4905544 w 5236526"/>
                <a:gd name="connsiteY27" fmla="*/ 4785630 h 6177659"/>
                <a:gd name="connsiteX28" fmla="*/ 3778281 w 5236526"/>
                <a:gd name="connsiteY28" fmla="*/ 6177659 h 6177659"/>
                <a:gd name="connsiteX29" fmla="*/ 3595980 w 5236526"/>
                <a:gd name="connsiteY29" fmla="*/ 5588772 h 6177659"/>
                <a:gd name="connsiteX30" fmla="*/ 4382946 w 5236526"/>
                <a:gd name="connsiteY30" fmla="*/ 4574791 h 6177659"/>
                <a:gd name="connsiteX31" fmla="*/ 4662995 w 5236526"/>
                <a:gd name="connsiteY31" fmla="*/ 3330617 h 6177659"/>
                <a:gd name="connsiteX32" fmla="*/ 4344179 w 5236526"/>
                <a:gd name="connsiteY32" fmla="*/ 2027325 h 6177659"/>
                <a:gd name="connsiteX33" fmla="*/ 3429000 w 5236526"/>
                <a:gd name="connsiteY33" fmla="*/ 1013460 h 6177659"/>
                <a:gd name="connsiteX34" fmla="*/ 3192780 w 5236526"/>
                <a:gd name="connsiteY34" fmla="*/ 853440 h 6177659"/>
                <a:gd name="connsiteX35" fmla="*/ 2910840 w 5236526"/>
                <a:gd name="connsiteY35" fmla="*/ 739140 h 6177659"/>
                <a:gd name="connsiteX36" fmla="*/ 2514600 w 5236526"/>
                <a:gd name="connsiteY36" fmla="*/ 693420 h 6177659"/>
                <a:gd name="connsiteX37" fmla="*/ 2232660 w 5236526"/>
                <a:gd name="connsiteY37" fmla="*/ 739140 h 6177659"/>
                <a:gd name="connsiteX38" fmla="*/ 1234440 w 5236526"/>
                <a:gd name="connsiteY38" fmla="*/ 1059180 h 6177659"/>
                <a:gd name="connsiteX39" fmla="*/ 960120 w 5236526"/>
                <a:gd name="connsiteY39" fmla="*/ 1165860 h 6177659"/>
                <a:gd name="connsiteX40" fmla="*/ 815340 w 5236526"/>
                <a:gd name="connsiteY40" fmla="*/ 1257300 h 6177659"/>
                <a:gd name="connsiteX41" fmla="*/ 0 w 5236526"/>
                <a:gd name="connsiteY41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62501 w 5236526"/>
                <a:gd name="connsiteY32" fmla="*/ 1085487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62501 w 5236526"/>
                <a:gd name="connsiteY32" fmla="*/ 1085487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910840 w 5236526"/>
                <a:gd name="connsiteY33" fmla="*/ 739140 h 6177659"/>
                <a:gd name="connsiteX34" fmla="*/ 2514600 w 5236526"/>
                <a:gd name="connsiteY34" fmla="*/ 693420 h 6177659"/>
                <a:gd name="connsiteX35" fmla="*/ 2232660 w 5236526"/>
                <a:gd name="connsiteY35" fmla="*/ 739140 h 6177659"/>
                <a:gd name="connsiteX36" fmla="*/ 1234440 w 5236526"/>
                <a:gd name="connsiteY36" fmla="*/ 1059180 h 6177659"/>
                <a:gd name="connsiteX37" fmla="*/ 960120 w 5236526"/>
                <a:gd name="connsiteY37" fmla="*/ 1165860 h 6177659"/>
                <a:gd name="connsiteX38" fmla="*/ 815340 w 5236526"/>
                <a:gd name="connsiteY38" fmla="*/ 1257300 h 6177659"/>
                <a:gd name="connsiteX39" fmla="*/ 0 w 5236526"/>
                <a:gd name="connsiteY39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514600 w 5236526"/>
                <a:gd name="connsiteY33" fmla="*/ 693420 h 6177659"/>
                <a:gd name="connsiteX34" fmla="*/ 2232660 w 5236526"/>
                <a:gd name="connsiteY34" fmla="*/ 739140 h 6177659"/>
                <a:gd name="connsiteX35" fmla="*/ 1234440 w 5236526"/>
                <a:gd name="connsiteY35" fmla="*/ 1059180 h 6177659"/>
                <a:gd name="connsiteX36" fmla="*/ 960120 w 5236526"/>
                <a:gd name="connsiteY36" fmla="*/ 1165860 h 6177659"/>
                <a:gd name="connsiteX37" fmla="*/ 815340 w 5236526"/>
                <a:gd name="connsiteY37" fmla="*/ 1257300 h 6177659"/>
                <a:gd name="connsiteX38" fmla="*/ 0 w 5236526"/>
                <a:gd name="connsiteY38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232660 w 5236526"/>
                <a:gd name="connsiteY33" fmla="*/ 739140 h 6177659"/>
                <a:gd name="connsiteX34" fmla="*/ 1234440 w 5236526"/>
                <a:gd name="connsiteY34" fmla="*/ 1059180 h 6177659"/>
                <a:gd name="connsiteX35" fmla="*/ 960120 w 5236526"/>
                <a:gd name="connsiteY35" fmla="*/ 1165860 h 6177659"/>
                <a:gd name="connsiteX36" fmla="*/ 815340 w 5236526"/>
                <a:gd name="connsiteY36" fmla="*/ 1257300 h 6177659"/>
                <a:gd name="connsiteX37" fmla="*/ 0 w 5236526"/>
                <a:gd name="connsiteY37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232660 w 5236526"/>
                <a:gd name="connsiteY33" fmla="*/ 739140 h 6177659"/>
                <a:gd name="connsiteX34" fmla="*/ 1234440 w 5236526"/>
                <a:gd name="connsiteY34" fmla="*/ 1059180 h 6177659"/>
                <a:gd name="connsiteX35" fmla="*/ 960120 w 5236526"/>
                <a:gd name="connsiteY35" fmla="*/ 1165860 h 6177659"/>
                <a:gd name="connsiteX36" fmla="*/ 815340 w 5236526"/>
                <a:gd name="connsiteY36" fmla="*/ 1257300 h 6177659"/>
                <a:gd name="connsiteX37" fmla="*/ 0 w 5236526"/>
                <a:gd name="connsiteY37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232660 w 5236526"/>
                <a:gd name="connsiteY33" fmla="*/ 739140 h 6177659"/>
                <a:gd name="connsiteX34" fmla="*/ 1234440 w 5236526"/>
                <a:gd name="connsiteY34" fmla="*/ 1059180 h 6177659"/>
                <a:gd name="connsiteX35" fmla="*/ 960120 w 5236526"/>
                <a:gd name="connsiteY35" fmla="*/ 1165860 h 6177659"/>
                <a:gd name="connsiteX36" fmla="*/ 815340 w 5236526"/>
                <a:gd name="connsiteY36" fmla="*/ 1257300 h 6177659"/>
                <a:gd name="connsiteX37" fmla="*/ 0 w 5236526"/>
                <a:gd name="connsiteY37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232660 w 5236526"/>
                <a:gd name="connsiteY33" fmla="*/ 739140 h 6177659"/>
                <a:gd name="connsiteX34" fmla="*/ 1234440 w 5236526"/>
                <a:gd name="connsiteY34" fmla="*/ 1059180 h 6177659"/>
                <a:gd name="connsiteX35" fmla="*/ 960120 w 5236526"/>
                <a:gd name="connsiteY35" fmla="*/ 1165860 h 6177659"/>
                <a:gd name="connsiteX36" fmla="*/ 815340 w 5236526"/>
                <a:gd name="connsiteY36" fmla="*/ 1257300 h 6177659"/>
                <a:gd name="connsiteX37" fmla="*/ 0 w 5236526"/>
                <a:gd name="connsiteY37" fmla="*/ 1234440 h 6177659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531620 w 5236526"/>
                <a:gd name="connsiteY10" fmla="*/ 319342 h 6199821"/>
                <a:gd name="connsiteX11" fmla="*/ 1584960 w 5236526"/>
                <a:gd name="connsiteY11" fmla="*/ 349822 h 6199821"/>
                <a:gd name="connsiteX12" fmla="*/ 1714500 w 5236526"/>
                <a:gd name="connsiteY12" fmla="*/ 296482 h 6199821"/>
                <a:gd name="connsiteX13" fmla="*/ 1684020 w 5236526"/>
                <a:gd name="connsiteY13" fmla="*/ 136462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531620 w 5236526"/>
                <a:gd name="connsiteY10" fmla="*/ 319342 h 6199821"/>
                <a:gd name="connsiteX11" fmla="*/ 1584960 w 5236526"/>
                <a:gd name="connsiteY11" fmla="*/ 349822 h 6199821"/>
                <a:gd name="connsiteX12" fmla="*/ 1714500 w 5236526"/>
                <a:gd name="connsiteY12" fmla="*/ 296482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531620 w 5236526"/>
                <a:gd name="connsiteY10" fmla="*/ 319342 h 6199821"/>
                <a:gd name="connsiteX11" fmla="*/ 1584960 w 5236526"/>
                <a:gd name="connsiteY11" fmla="*/ 34982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531620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18868 w 5236526"/>
                <a:gd name="connsiteY8" fmla="*/ 442651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091793 w 5236526"/>
                <a:gd name="connsiteY7" fmla="*/ 481442 h 6199821"/>
                <a:gd name="connsiteX8" fmla="*/ 1218868 w 5236526"/>
                <a:gd name="connsiteY8" fmla="*/ 442651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78655 w 5236526"/>
                <a:gd name="connsiteY5" fmla="*/ 432260 h 6199821"/>
                <a:gd name="connsiteX6" fmla="*/ 1074420 w 5236526"/>
                <a:gd name="connsiteY6" fmla="*/ 380302 h 6199821"/>
                <a:gd name="connsiteX7" fmla="*/ 1091793 w 5236526"/>
                <a:gd name="connsiteY7" fmla="*/ 481442 h 6199821"/>
                <a:gd name="connsiteX8" fmla="*/ 1218868 w 5236526"/>
                <a:gd name="connsiteY8" fmla="*/ 442651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898716 w 5236526"/>
                <a:gd name="connsiteY4" fmla="*/ 547251 h 6199821"/>
                <a:gd name="connsiteX5" fmla="*/ 878655 w 5236526"/>
                <a:gd name="connsiteY5" fmla="*/ 432260 h 6199821"/>
                <a:gd name="connsiteX6" fmla="*/ 1074420 w 5236526"/>
                <a:gd name="connsiteY6" fmla="*/ 380302 h 6199821"/>
                <a:gd name="connsiteX7" fmla="*/ 1091793 w 5236526"/>
                <a:gd name="connsiteY7" fmla="*/ 481442 h 6199821"/>
                <a:gd name="connsiteX8" fmla="*/ 1218868 w 5236526"/>
                <a:gd name="connsiteY8" fmla="*/ 442651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75815 w 5312341"/>
                <a:gd name="connsiteY0" fmla="*/ 1256602 h 6199821"/>
                <a:gd name="connsiteX1" fmla="*/ 289175 w 5312341"/>
                <a:gd name="connsiteY1" fmla="*/ 1012762 h 6199821"/>
                <a:gd name="connsiteX2" fmla="*/ 533015 w 5312341"/>
                <a:gd name="connsiteY2" fmla="*/ 814642 h 6199821"/>
                <a:gd name="connsiteX3" fmla="*/ 761615 w 5312341"/>
                <a:gd name="connsiteY3" fmla="*/ 647002 h 6199821"/>
                <a:gd name="connsiteX4" fmla="*/ 974531 w 5312341"/>
                <a:gd name="connsiteY4" fmla="*/ 547251 h 6199821"/>
                <a:gd name="connsiteX5" fmla="*/ 954470 w 5312341"/>
                <a:gd name="connsiteY5" fmla="*/ 432260 h 6199821"/>
                <a:gd name="connsiteX6" fmla="*/ 1150235 w 5312341"/>
                <a:gd name="connsiteY6" fmla="*/ 380302 h 6199821"/>
                <a:gd name="connsiteX7" fmla="*/ 1167608 w 5312341"/>
                <a:gd name="connsiteY7" fmla="*/ 481442 h 6199821"/>
                <a:gd name="connsiteX8" fmla="*/ 1294683 w 5312341"/>
                <a:gd name="connsiteY8" fmla="*/ 442651 h 6199821"/>
                <a:gd name="connsiteX9" fmla="*/ 1325162 w 5312341"/>
                <a:gd name="connsiteY9" fmla="*/ 393463 h 6199821"/>
                <a:gd name="connsiteX10" fmla="*/ 1561049 w 5312341"/>
                <a:gd name="connsiteY10" fmla="*/ 319342 h 6199821"/>
                <a:gd name="connsiteX11" fmla="*/ 1601504 w 5312341"/>
                <a:gd name="connsiteY11" fmla="*/ 352592 h 6199821"/>
                <a:gd name="connsiteX12" fmla="*/ 1798046 w 5312341"/>
                <a:gd name="connsiteY12" fmla="*/ 288171 h 6199821"/>
                <a:gd name="connsiteX13" fmla="*/ 1757258 w 5312341"/>
                <a:gd name="connsiteY13" fmla="*/ 119840 h 6199821"/>
                <a:gd name="connsiteX14" fmla="*/ 2140501 w 5312341"/>
                <a:gd name="connsiteY14" fmla="*/ 0 h 6199821"/>
                <a:gd name="connsiteX15" fmla="*/ 2188799 w 5312341"/>
                <a:gd name="connsiteY15" fmla="*/ 165560 h 6199821"/>
                <a:gd name="connsiteX16" fmla="*/ 3952350 w 5312341"/>
                <a:gd name="connsiteY16" fmla="*/ 680900 h 6199821"/>
                <a:gd name="connsiteX17" fmla="*/ 4502480 w 5312341"/>
                <a:gd name="connsiteY17" fmla="*/ 1291242 h 6199821"/>
                <a:gd name="connsiteX18" fmla="*/ 4563884 w 5312341"/>
                <a:gd name="connsiteY18" fmla="*/ 1298860 h 6199821"/>
                <a:gd name="connsiteX19" fmla="*/ 4728725 w 5312341"/>
                <a:gd name="connsiteY19" fmla="*/ 1479661 h 6199821"/>
                <a:gd name="connsiteX20" fmla="*/ 4728948 w 5312341"/>
                <a:gd name="connsiteY20" fmla="*/ 1535080 h 6199821"/>
                <a:gd name="connsiteX21" fmla="*/ 4890212 w 5312341"/>
                <a:gd name="connsiteY21" fmla="*/ 1726990 h 6199821"/>
                <a:gd name="connsiteX22" fmla="*/ 5270200 w 5312341"/>
                <a:gd name="connsiteY22" fmla="*/ 3519512 h 6199821"/>
                <a:gd name="connsiteX23" fmla="*/ 5078121 w 5312341"/>
                <a:gd name="connsiteY23" fmla="*/ 4385669 h 6199821"/>
                <a:gd name="connsiteX24" fmla="*/ 5208337 w 5312341"/>
                <a:gd name="connsiteY24" fmla="*/ 4452156 h 6199821"/>
                <a:gd name="connsiteX25" fmla="*/ 5138888 w 5312341"/>
                <a:gd name="connsiteY25" fmla="*/ 4870077 h 6199821"/>
                <a:gd name="connsiteX26" fmla="*/ 4981359 w 5312341"/>
                <a:gd name="connsiteY26" fmla="*/ 4807792 h 6199821"/>
                <a:gd name="connsiteX27" fmla="*/ 3854096 w 5312341"/>
                <a:gd name="connsiteY27" fmla="*/ 6199821 h 6199821"/>
                <a:gd name="connsiteX28" fmla="*/ 3671795 w 5312341"/>
                <a:gd name="connsiteY28" fmla="*/ 5610934 h 6199821"/>
                <a:gd name="connsiteX29" fmla="*/ 4458761 w 5312341"/>
                <a:gd name="connsiteY29" fmla="*/ 4596953 h 6199821"/>
                <a:gd name="connsiteX30" fmla="*/ 4738810 w 5312341"/>
                <a:gd name="connsiteY30" fmla="*/ 3352779 h 6199821"/>
                <a:gd name="connsiteX31" fmla="*/ 4419994 w 5312341"/>
                <a:gd name="connsiteY31" fmla="*/ 2049487 h 6199821"/>
                <a:gd name="connsiteX32" fmla="*/ 3602741 w 5312341"/>
                <a:gd name="connsiteY32" fmla="*/ 1163055 h 6199821"/>
                <a:gd name="connsiteX33" fmla="*/ 2308475 w 5312341"/>
                <a:gd name="connsiteY33" fmla="*/ 761302 h 6199821"/>
                <a:gd name="connsiteX34" fmla="*/ 1310255 w 5312341"/>
                <a:gd name="connsiteY34" fmla="*/ 1081342 h 6199821"/>
                <a:gd name="connsiteX35" fmla="*/ 1035935 w 5312341"/>
                <a:gd name="connsiteY35" fmla="*/ 1188022 h 6199821"/>
                <a:gd name="connsiteX36" fmla="*/ 0 w 5312341"/>
                <a:gd name="connsiteY36" fmla="*/ 3464807 h 6199821"/>
                <a:gd name="connsiteX37" fmla="*/ 75815 w 5312341"/>
                <a:gd name="connsiteY37" fmla="*/ 1256602 h 6199821"/>
                <a:gd name="connsiteX0" fmla="*/ 0 w 5842672"/>
                <a:gd name="connsiteY0" fmla="*/ 3281515 h 6199821"/>
                <a:gd name="connsiteX1" fmla="*/ 819506 w 5842672"/>
                <a:gd name="connsiteY1" fmla="*/ 1012762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1566266 w 5842672"/>
                <a:gd name="connsiteY35" fmla="*/ 1188022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819506 w 5842672"/>
                <a:gd name="connsiteY1" fmla="*/ 1012762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819506 w 5842672"/>
                <a:gd name="connsiteY1" fmla="*/ 1012762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819506 w 5842672"/>
                <a:gd name="connsiteY1" fmla="*/ 1012762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84589 w 5842672"/>
                <a:gd name="connsiteY2" fmla="*/ 2050403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84589 w 5842672"/>
                <a:gd name="connsiteY2" fmla="*/ 2050403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84589 w 5842672"/>
                <a:gd name="connsiteY2" fmla="*/ 2050403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84589 w 5842672"/>
                <a:gd name="connsiteY2" fmla="*/ 2050403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24787 w 5842672"/>
                <a:gd name="connsiteY2" fmla="*/ 2266904 h 6199821"/>
                <a:gd name="connsiteX3" fmla="*/ 284589 w 5842672"/>
                <a:gd name="connsiteY3" fmla="*/ 2050403 h 6199821"/>
                <a:gd name="connsiteX4" fmla="*/ 1291946 w 5842672"/>
                <a:gd name="connsiteY4" fmla="*/ 647002 h 6199821"/>
                <a:gd name="connsiteX5" fmla="*/ 1504862 w 5842672"/>
                <a:gd name="connsiteY5" fmla="*/ 547251 h 6199821"/>
                <a:gd name="connsiteX6" fmla="*/ 1484801 w 5842672"/>
                <a:gd name="connsiteY6" fmla="*/ 432260 h 6199821"/>
                <a:gd name="connsiteX7" fmla="*/ 1680566 w 5842672"/>
                <a:gd name="connsiteY7" fmla="*/ 380302 h 6199821"/>
                <a:gd name="connsiteX8" fmla="*/ 1697939 w 5842672"/>
                <a:gd name="connsiteY8" fmla="*/ 481442 h 6199821"/>
                <a:gd name="connsiteX9" fmla="*/ 1825014 w 5842672"/>
                <a:gd name="connsiteY9" fmla="*/ 442651 h 6199821"/>
                <a:gd name="connsiteX10" fmla="*/ 1855493 w 5842672"/>
                <a:gd name="connsiteY10" fmla="*/ 393463 h 6199821"/>
                <a:gd name="connsiteX11" fmla="*/ 2091380 w 5842672"/>
                <a:gd name="connsiteY11" fmla="*/ 319342 h 6199821"/>
                <a:gd name="connsiteX12" fmla="*/ 2131835 w 5842672"/>
                <a:gd name="connsiteY12" fmla="*/ 352592 h 6199821"/>
                <a:gd name="connsiteX13" fmla="*/ 2328377 w 5842672"/>
                <a:gd name="connsiteY13" fmla="*/ 288171 h 6199821"/>
                <a:gd name="connsiteX14" fmla="*/ 2287589 w 5842672"/>
                <a:gd name="connsiteY14" fmla="*/ 119840 h 6199821"/>
                <a:gd name="connsiteX15" fmla="*/ 2670832 w 5842672"/>
                <a:gd name="connsiteY15" fmla="*/ 0 h 6199821"/>
                <a:gd name="connsiteX16" fmla="*/ 2719130 w 5842672"/>
                <a:gd name="connsiteY16" fmla="*/ 165560 h 6199821"/>
                <a:gd name="connsiteX17" fmla="*/ 4482681 w 5842672"/>
                <a:gd name="connsiteY17" fmla="*/ 680900 h 6199821"/>
                <a:gd name="connsiteX18" fmla="*/ 5032811 w 5842672"/>
                <a:gd name="connsiteY18" fmla="*/ 1291242 h 6199821"/>
                <a:gd name="connsiteX19" fmla="*/ 5094215 w 5842672"/>
                <a:gd name="connsiteY19" fmla="*/ 1298860 h 6199821"/>
                <a:gd name="connsiteX20" fmla="*/ 5259056 w 5842672"/>
                <a:gd name="connsiteY20" fmla="*/ 1479661 h 6199821"/>
                <a:gd name="connsiteX21" fmla="*/ 5259279 w 5842672"/>
                <a:gd name="connsiteY21" fmla="*/ 1535080 h 6199821"/>
                <a:gd name="connsiteX22" fmla="*/ 5420543 w 5842672"/>
                <a:gd name="connsiteY22" fmla="*/ 1726990 h 6199821"/>
                <a:gd name="connsiteX23" fmla="*/ 5800531 w 5842672"/>
                <a:gd name="connsiteY23" fmla="*/ 3519512 h 6199821"/>
                <a:gd name="connsiteX24" fmla="*/ 5608452 w 5842672"/>
                <a:gd name="connsiteY24" fmla="*/ 4385669 h 6199821"/>
                <a:gd name="connsiteX25" fmla="*/ 5738668 w 5842672"/>
                <a:gd name="connsiteY25" fmla="*/ 4452156 h 6199821"/>
                <a:gd name="connsiteX26" fmla="*/ 5669219 w 5842672"/>
                <a:gd name="connsiteY26" fmla="*/ 4870077 h 6199821"/>
                <a:gd name="connsiteX27" fmla="*/ 5511690 w 5842672"/>
                <a:gd name="connsiteY27" fmla="*/ 4807792 h 6199821"/>
                <a:gd name="connsiteX28" fmla="*/ 4384427 w 5842672"/>
                <a:gd name="connsiteY28" fmla="*/ 6199821 h 6199821"/>
                <a:gd name="connsiteX29" fmla="*/ 4202126 w 5842672"/>
                <a:gd name="connsiteY29" fmla="*/ 5610934 h 6199821"/>
                <a:gd name="connsiteX30" fmla="*/ 4989092 w 5842672"/>
                <a:gd name="connsiteY30" fmla="*/ 4596953 h 6199821"/>
                <a:gd name="connsiteX31" fmla="*/ 5269141 w 5842672"/>
                <a:gd name="connsiteY31" fmla="*/ 3352779 h 6199821"/>
                <a:gd name="connsiteX32" fmla="*/ 4950325 w 5842672"/>
                <a:gd name="connsiteY32" fmla="*/ 2049487 h 6199821"/>
                <a:gd name="connsiteX33" fmla="*/ 4133072 w 5842672"/>
                <a:gd name="connsiteY33" fmla="*/ 1163055 h 6199821"/>
                <a:gd name="connsiteX34" fmla="*/ 2838806 w 5842672"/>
                <a:gd name="connsiteY34" fmla="*/ 761302 h 6199821"/>
                <a:gd name="connsiteX35" fmla="*/ 1840586 w 5842672"/>
                <a:gd name="connsiteY35" fmla="*/ 1081342 h 6199821"/>
                <a:gd name="connsiteX36" fmla="*/ 831666 w 5842672"/>
                <a:gd name="connsiteY36" fmla="*/ 2111591 h 6199821"/>
                <a:gd name="connsiteX37" fmla="*/ 530331 w 5842672"/>
                <a:gd name="connsiteY37" fmla="*/ 3464807 h 6199821"/>
                <a:gd name="connsiteX38" fmla="*/ 0 w 5842672"/>
                <a:gd name="connsiteY38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24787 w 5842672"/>
                <a:gd name="connsiteY2" fmla="*/ 2266904 h 6199821"/>
                <a:gd name="connsiteX3" fmla="*/ 268944 w 5842672"/>
                <a:gd name="connsiteY3" fmla="*/ 2136824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0 w 5842672"/>
                <a:gd name="connsiteY39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68944 w 5842672"/>
                <a:gd name="connsiteY3" fmla="*/ 2136824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0 w 5842672"/>
                <a:gd name="connsiteY39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0 w 5842672"/>
                <a:gd name="connsiteY39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228802 w 5842672"/>
                <a:gd name="connsiteY39" fmla="*/ 3359577 h 6199821"/>
                <a:gd name="connsiteX40" fmla="*/ 0 w 5842672"/>
                <a:gd name="connsiteY40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481697 w 5842672"/>
                <a:gd name="connsiteY39" fmla="*/ 5189370 h 6199821"/>
                <a:gd name="connsiteX40" fmla="*/ 0 w 5842672"/>
                <a:gd name="connsiteY40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501767 w 5842672"/>
                <a:gd name="connsiteY39" fmla="*/ 4612682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826918 w 5842672"/>
                <a:gd name="connsiteY40" fmla="*/ 5015930 h 6199821"/>
                <a:gd name="connsiteX41" fmla="*/ 481697 w 5842672"/>
                <a:gd name="connsiteY41" fmla="*/ 5189370 h 6199821"/>
                <a:gd name="connsiteX42" fmla="*/ 0 w 5842672"/>
                <a:gd name="connsiteY42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158712 w 5842672"/>
                <a:gd name="connsiteY40" fmla="*/ 5644651 h 6199821"/>
                <a:gd name="connsiteX41" fmla="*/ 481697 w 5842672"/>
                <a:gd name="connsiteY41" fmla="*/ 5189370 h 6199821"/>
                <a:gd name="connsiteX42" fmla="*/ 0 w 5842672"/>
                <a:gd name="connsiteY42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158712 w 5842672"/>
                <a:gd name="connsiteY40" fmla="*/ 5644651 h 6199821"/>
                <a:gd name="connsiteX41" fmla="*/ 943331 w 5842672"/>
                <a:gd name="connsiteY41" fmla="*/ 5241402 h 6199821"/>
                <a:gd name="connsiteX42" fmla="*/ 481697 w 5842672"/>
                <a:gd name="connsiteY42" fmla="*/ 5189370 h 6199821"/>
                <a:gd name="connsiteX43" fmla="*/ 0 w 5842672"/>
                <a:gd name="connsiteY43" fmla="*/ 3281515 h 6199821"/>
                <a:gd name="connsiteX0" fmla="*/ 0 w 5842672"/>
                <a:gd name="connsiteY0" fmla="*/ 3281515 h 6212667"/>
                <a:gd name="connsiteX1" fmla="*/ 209347 w 5842672"/>
                <a:gd name="connsiteY1" fmla="*/ 2374266 h 6212667"/>
                <a:gd name="connsiteX2" fmla="*/ 176616 w 5842672"/>
                <a:gd name="connsiteY2" fmla="*/ 2331944 h 6212667"/>
                <a:gd name="connsiteX3" fmla="*/ 248873 w 5842672"/>
                <a:gd name="connsiteY3" fmla="*/ 2067448 h 6212667"/>
                <a:gd name="connsiteX4" fmla="*/ 284589 w 5842672"/>
                <a:gd name="connsiteY4" fmla="*/ 2050403 h 6212667"/>
                <a:gd name="connsiteX5" fmla="*/ 1291946 w 5842672"/>
                <a:gd name="connsiteY5" fmla="*/ 647002 h 6212667"/>
                <a:gd name="connsiteX6" fmla="*/ 1504862 w 5842672"/>
                <a:gd name="connsiteY6" fmla="*/ 547251 h 6212667"/>
                <a:gd name="connsiteX7" fmla="*/ 1484801 w 5842672"/>
                <a:gd name="connsiteY7" fmla="*/ 432260 h 6212667"/>
                <a:gd name="connsiteX8" fmla="*/ 1680566 w 5842672"/>
                <a:gd name="connsiteY8" fmla="*/ 380302 h 6212667"/>
                <a:gd name="connsiteX9" fmla="*/ 1697939 w 5842672"/>
                <a:gd name="connsiteY9" fmla="*/ 481442 h 6212667"/>
                <a:gd name="connsiteX10" fmla="*/ 1825014 w 5842672"/>
                <a:gd name="connsiteY10" fmla="*/ 442651 h 6212667"/>
                <a:gd name="connsiteX11" fmla="*/ 1855493 w 5842672"/>
                <a:gd name="connsiteY11" fmla="*/ 393463 h 6212667"/>
                <a:gd name="connsiteX12" fmla="*/ 2091380 w 5842672"/>
                <a:gd name="connsiteY12" fmla="*/ 319342 h 6212667"/>
                <a:gd name="connsiteX13" fmla="*/ 2131835 w 5842672"/>
                <a:gd name="connsiteY13" fmla="*/ 352592 h 6212667"/>
                <a:gd name="connsiteX14" fmla="*/ 2328377 w 5842672"/>
                <a:gd name="connsiteY14" fmla="*/ 288171 h 6212667"/>
                <a:gd name="connsiteX15" fmla="*/ 2287589 w 5842672"/>
                <a:gd name="connsiteY15" fmla="*/ 119840 h 6212667"/>
                <a:gd name="connsiteX16" fmla="*/ 2670832 w 5842672"/>
                <a:gd name="connsiteY16" fmla="*/ 0 h 6212667"/>
                <a:gd name="connsiteX17" fmla="*/ 2719130 w 5842672"/>
                <a:gd name="connsiteY17" fmla="*/ 165560 h 6212667"/>
                <a:gd name="connsiteX18" fmla="*/ 4482681 w 5842672"/>
                <a:gd name="connsiteY18" fmla="*/ 680900 h 6212667"/>
                <a:gd name="connsiteX19" fmla="*/ 5032811 w 5842672"/>
                <a:gd name="connsiteY19" fmla="*/ 1291242 h 6212667"/>
                <a:gd name="connsiteX20" fmla="*/ 5094215 w 5842672"/>
                <a:gd name="connsiteY20" fmla="*/ 1298860 h 6212667"/>
                <a:gd name="connsiteX21" fmla="*/ 5259056 w 5842672"/>
                <a:gd name="connsiteY21" fmla="*/ 1479661 h 6212667"/>
                <a:gd name="connsiteX22" fmla="*/ 5259279 w 5842672"/>
                <a:gd name="connsiteY22" fmla="*/ 1535080 h 6212667"/>
                <a:gd name="connsiteX23" fmla="*/ 5420543 w 5842672"/>
                <a:gd name="connsiteY23" fmla="*/ 1726990 h 6212667"/>
                <a:gd name="connsiteX24" fmla="*/ 5800531 w 5842672"/>
                <a:gd name="connsiteY24" fmla="*/ 3519512 h 6212667"/>
                <a:gd name="connsiteX25" fmla="*/ 5608452 w 5842672"/>
                <a:gd name="connsiteY25" fmla="*/ 4385669 h 6212667"/>
                <a:gd name="connsiteX26" fmla="*/ 5738668 w 5842672"/>
                <a:gd name="connsiteY26" fmla="*/ 4452156 h 6212667"/>
                <a:gd name="connsiteX27" fmla="*/ 5669219 w 5842672"/>
                <a:gd name="connsiteY27" fmla="*/ 4870077 h 6212667"/>
                <a:gd name="connsiteX28" fmla="*/ 5511690 w 5842672"/>
                <a:gd name="connsiteY28" fmla="*/ 4807792 h 6212667"/>
                <a:gd name="connsiteX29" fmla="*/ 4384427 w 5842672"/>
                <a:gd name="connsiteY29" fmla="*/ 6199821 h 6212667"/>
                <a:gd name="connsiteX30" fmla="*/ 4202126 w 5842672"/>
                <a:gd name="connsiteY30" fmla="*/ 5610934 h 6212667"/>
                <a:gd name="connsiteX31" fmla="*/ 4989092 w 5842672"/>
                <a:gd name="connsiteY31" fmla="*/ 4596953 h 6212667"/>
                <a:gd name="connsiteX32" fmla="*/ 5269141 w 5842672"/>
                <a:gd name="connsiteY32" fmla="*/ 3352779 h 6212667"/>
                <a:gd name="connsiteX33" fmla="*/ 4950325 w 5842672"/>
                <a:gd name="connsiteY33" fmla="*/ 2049487 h 6212667"/>
                <a:gd name="connsiteX34" fmla="*/ 4133072 w 5842672"/>
                <a:gd name="connsiteY34" fmla="*/ 1163055 h 6212667"/>
                <a:gd name="connsiteX35" fmla="*/ 2838806 w 5842672"/>
                <a:gd name="connsiteY35" fmla="*/ 761302 h 6212667"/>
                <a:gd name="connsiteX36" fmla="*/ 1840586 w 5842672"/>
                <a:gd name="connsiteY36" fmla="*/ 1081342 h 6212667"/>
                <a:gd name="connsiteX37" fmla="*/ 831666 w 5842672"/>
                <a:gd name="connsiteY37" fmla="*/ 2111591 h 6212667"/>
                <a:gd name="connsiteX38" fmla="*/ 530331 w 5842672"/>
                <a:gd name="connsiteY38" fmla="*/ 3464807 h 6212667"/>
                <a:gd name="connsiteX39" fmla="*/ 1035657 w 5842672"/>
                <a:gd name="connsiteY39" fmla="*/ 4933546 h 6212667"/>
                <a:gd name="connsiteX40" fmla="*/ 4158712 w 5842672"/>
                <a:gd name="connsiteY40" fmla="*/ 5644651 h 6212667"/>
                <a:gd name="connsiteX41" fmla="*/ 4355408 w 5842672"/>
                <a:gd name="connsiteY41" fmla="*/ 6212667 h 6212667"/>
                <a:gd name="connsiteX42" fmla="*/ 481697 w 5842672"/>
                <a:gd name="connsiteY42" fmla="*/ 5189370 h 6212667"/>
                <a:gd name="connsiteX43" fmla="*/ 0 w 5842672"/>
                <a:gd name="connsiteY43" fmla="*/ 3281515 h 6212667"/>
                <a:gd name="connsiteX0" fmla="*/ 0 w 5842672"/>
                <a:gd name="connsiteY0" fmla="*/ 3281515 h 6212667"/>
                <a:gd name="connsiteX1" fmla="*/ 209347 w 5842672"/>
                <a:gd name="connsiteY1" fmla="*/ 2374266 h 6212667"/>
                <a:gd name="connsiteX2" fmla="*/ 176616 w 5842672"/>
                <a:gd name="connsiteY2" fmla="*/ 2331944 h 6212667"/>
                <a:gd name="connsiteX3" fmla="*/ 248873 w 5842672"/>
                <a:gd name="connsiteY3" fmla="*/ 2067448 h 6212667"/>
                <a:gd name="connsiteX4" fmla="*/ 284589 w 5842672"/>
                <a:gd name="connsiteY4" fmla="*/ 2050403 h 6212667"/>
                <a:gd name="connsiteX5" fmla="*/ 1291946 w 5842672"/>
                <a:gd name="connsiteY5" fmla="*/ 647002 h 6212667"/>
                <a:gd name="connsiteX6" fmla="*/ 1504862 w 5842672"/>
                <a:gd name="connsiteY6" fmla="*/ 547251 h 6212667"/>
                <a:gd name="connsiteX7" fmla="*/ 1484801 w 5842672"/>
                <a:gd name="connsiteY7" fmla="*/ 432260 h 6212667"/>
                <a:gd name="connsiteX8" fmla="*/ 1680566 w 5842672"/>
                <a:gd name="connsiteY8" fmla="*/ 380302 h 6212667"/>
                <a:gd name="connsiteX9" fmla="*/ 1697939 w 5842672"/>
                <a:gd name="connsiteY9" fmla="*/ 481442 h 6212667"/>
                <a:gd name="connsiteX10" fmla="*/ 1825014 w 5842672"/>
                <a:gd name="connsiteY10" fmla="*/ 442651 h 6212667"/>
                <a:gd name="connsiteX11" fmla="*/ 1855493 w 5842672"/>
                <a:gd name="connsiteY11" fmla="*/ 393463 h 6212667"/>
                <a:gd name="connsiteX12" fmla="*/ 2091380 w 5842672"/>
                <a:gd name="connsiteY12" fmla="*/ 319342 h 6212667"/>
                <a:gd name="connsiteX13" fmla="*/ 2131835 w 5842672"/>
                <a:gd name="connsiteY13" fmla="*/ 352592 h 6212667"/>
                <a:gd name="connsiteX14" fmla="*/ 2328377 w 5842672"/>
                <a:gd name="connsiteY14" fmla="*/ 288171 h 6212667"/>
                <a:gd name="connsiteX15" fmla="*/ 2287589 w 5842672"/>
                <a:gd name="connsiteY15" fmla="*/ 119840 h 6212667"/>
                <a:gd name="connsiteX16" fmla="*/ 2670832 w 5842672"/>
                <a:gd name="connsiteY16" fmla="*/ 0 h 6212667"/>
                <a:gd name="connsiteX17" fmla="*/ 2719130 w 5842672"/>
                <a:gd name="connsiteY17" fmla="*/ 165560 h 6212667"/>
                <a:gd name="connsiteX18" fmla="*/ 4482681 w 5842672"/>
                <a:gd name="connsiteY18" fmla="*/ 680900 h 6212667"/>
                <a:gd name="connsiteX19" fmla="*/ 5032811 w 5842672"/>
                <a:gd name="connsiteY19" fmla="*/ 1291242 h 6212667"/>
                <a:gd name="connsiteX20" fmla="*/ 5094215 w 5842672"/>
                <a:gd name="connsiteY20" fmla="*/ 1298860 h 6212667"/>
                <a:gd name="connsiteX21" fmla="*/ 5259056 w 5842672"/>
                <a:gd name="connsiteY21" fmla="*/ 1479661 h 6212667"/>
                <a:gd name="connsiteX22" fmla="*/ 5259279 w 5842672"/>
                <a:gd name="connsiteY22" fmla="*/ 1535080 h 6212667"/>
                <a:gd name="connsiteX23" fmla="*/ 5420543 w 5842672"/>
                <a:gd name="connsiteY23" fmla="*/ 1726990 h 6212667"/>
                <a:gd name="connsiteX24" fmla="*/ 5800531 w 5842672"/>
                <a:gd name="connsiteY24" fmla="*/ 3519512 h 6212667"/>
                <a:gd name="connsiteX25" fmla="*/ 5608452 w 5842672"/>
                <a:gd name="connsiteY25" fmla="*/ 4385669 h 6212667"/>
                <a:gd name="connsiteX26" fmla="*/ 5738668 w 5842672"/>
                <a:gd name="connsiteY26" fmla="*/ 4452156 h 6212667"/>
                <a:gd name="connsiteX27" fmla="*/ 5669219 w 5842672"/>
                <a:gd name="connsiteY27" fmla="*/ 4870077 h 6212667"/>
                <a:gd name="connsiteX28" fmla="*/ 5511690 w 5842672"/>
                <a:gd name="connsiteY28" fmla="*/ 4807792 h 6212667"/>
                <a:gd name="connsiteX29" fmla="*/ 4384427 w 5842672"/>
                <a:gd name="connsiteY29" fmla="*/ 6199821 h 6212667"/>
                <a:gd name="connsiteX30" fmla="*/ 4202126 w 5842672"/>
                <a:gd name="connsiteY30" fmla="*/ 5610934 h 6212667"/>
                <a:gd name="connsiteX31" fmla="*/ 4989092 w 5842672"/>
                <a:gd name="connsiteY31" fmla="*/ 4596953 h 6212667"/>
                <a:gd name="connsiteX32" fmla="*/ 5269141 w 5842672"/>
                <a:gd name="connsiteY32" fmla="*/ 3352779 h 6212667"/>
                <a:gd name="connsiteX33" fmla="*/ 4950325 w 5842672"/>
                <a:gd name="connsiteY33" fmla="*/ 2049487 h 6212667"/>
                <a:gd name="connsiteX34" fmla="*/ 4133072 w 5842672"/>
                <a:gd name="connsiteY34" fmla="*/ 1163055 h 6212667"/>
                <a:gd name="connsiteX35" fmla="*/ 2838806 w 5842672"/>
                <a:gd name="connsiteY35" fmla="*/ 761302 h 6212667"/>
                <a:gd name="connsiteX36" fmla="*/ 1840586 w 5842672"/>
                <a:gd name="connsiteY36" fmla="*/ 1081342 h 6212667"/>
                <a:gd name="connsiteX37" fmla="*/ 831666 w 5842672"/>
                <a:gd name="connsiteY37" fmla="*/ 2111591 h 6212667"/>
                <a:gd name="connsiteX38" fmla="*/ 530331 w 5842672"/>
                <a:gd name="connsiteY38" fmla="*/ 3464807 h 6212667"/>
                <a:gd name="connsiteX39" fmla="*/ 1035657 w 5842672"/>
                <a:gd name="connsiteY39" fmla="*/ 4933546 h 6212667"/>
                <a:gd name="connsiteX40" fmla="*/ 2340275 w 5842672"/>
                <a:gd name="connsiteY40" fmla="*/ 5224058 h 6212667"/>
                <a:gd name="connsiteX41" fmla="*/ 4158712 w 5842672"/>
                <a:gd name="connsiteY41" fmla="*/ 5644651 h 6212667"/>
                <a:gd name="connsiteX42" fmla="*/ 4355408 w 5842672"/>
                <a:gd name="connsiteY42" fmla="*/ 6212667 h 6212667"/>
                <a:gd name="connsiteX43" fmla="*/ 481697 w 5842672"/>
                <a:gd name="connsiteY43" fmla="*/ 5189370 h 6212667"/>
                <a:gd name="connsiteX44" fmla="*/ 0 w 5842672"/>
                <a:gd name="connsiteY44" fmla="*/ 3281515 h 6212667"/>
                <a:gd name="connsiteX0" fmla="*/ 0 w 5842672"/>
                <a:gd name="connsiteY0" fmla="*/ 3281515 h 6212667"/>
                <a:gd name="connsiteX1" fmla="*/ 209347 w 5842672"/>
                <a:gd name="connsiteY1" fmla="*/ 2374266 h 6212667"/>
                <a:gd name="connsiteX2" fmla="*/ 176616 w 5842672"/>
                <a:gd name="connsiteY2" fmla="*/ 2331944 h 6212667"/>
                <a:gd name="connsiteX3" fmla="*/ 248873 w 5842672"/>
                <a:gd name="connsiteY3" fmla="*/ 2067448 h 6212667"/>
                <a:gd name="connsiteX4" fmla="*/ 284589 w 5842672"/>
                <a:gd name="connsiteY4" fmla="*/ 2050403 h 6212667"/>
                <a:gd name="connsiteX5" fmla="*/ 1291946 w 5842672"/>
                <a:gd name="connsiteY5" fmla="*/ 647002 h 6212667"/>
                <a:gd name="connsiteX6" fmla="*/ 1504862 w 5842672"/>
                <a:gd name="connsiteY6" fmla="*/ 547251 h 6212667"/>
                <a:gd name="connsiteX7" fmla="*/ 1484801 w 5842672"/>
                <a:gd name="connsiteY7" fmla="*/ 432260 h 6212667"/>
                <a:gd name="connsiteX8" fmla="*/ 1680566 w 5842672"/>
                <a:gd name="connsiteY8" fmla="*/ 380302 h 6212667"/>
                <a:gd name="connsiteX9" fmla="*/ 1697939 w 5842672"/>
                <a:gd name="connsiteY9" fmla="*/ 481442 h 6212667"/>
                <a:gd name="connsiteX10" fmla="*/ 1825014 w 5842672"/>
                <a:gd name="connsiteY10" fmla="*/ 442651 h 6212667"/>
                <a:gd name="connsiteX11" fmla="*/ 1855493 w 5842672"/>
                <a:gd name="connsiteY11" fmla="*/ 393463 h 6212667"/>
                <a:gd name="connsiteX12" fmla="*/ 2091380 w 5842672"/>
                <a:gd name="connsiteY12" fmla="*/ 319342 h 6212667"/>
                <a:gd name="connsiteX13" fmla="*/ 2131835 w 5842672"/>
                <a:gd name="connsiteY13" fmla="*/ 352592 h 6212667"/>
                <a:gd name="connsiteX14" fmla="*/ 2328377 w 5842672"/>
                <a:gd name="connsiteY14" fmla="*/ 288171 h 6212667"/>
                <a:gd name="connsiteX15" fmla="*/ 2287589 w 5842672"/>
                <a:gd name="connsiteY15" fmla="*/ 119840 h 6212667"/>
                <a:gd name="connsiteX16" fmla="*/ 2670832 w 5842672"/>
                <a:gd name="connsiteY16" fmla="*/ 0 h 6212667"/>
                <a:gd name="connsiteX17" fmla="*/ 2719130 w 5842672"/>
                <a:gd name="connsiteY17" fmla="*/ 165560 h 6212667"/>
                <a:gd name="connsiteX18" fmla="*/ 4482681 w 5842672"/>
                <a:gd name="connsiteY18" fmla="*/ 680900 h 6212667"/>
                <a:gd name="connsiteX19" fmla="*/ 5032811 w 5842672"/>
                <a:gd name="connsiteY19" fmla="*/ 1291242 h 6212667"/>
                <a:gd name="connsiteX20" fmla="*/ 5094215 w 5842672"/>
                <a:gd name="connsiteY20" fmla="*/ 1298860 h 6212667"/>
                <a:gd name="connsiteX21" fmla="*/ 5259056 w 5842672"/>
                <a:gd name="connsiteY21" fmla="*/ 1479661 h 6212667"/>
                <a:gd name="connsiteX22" fmla="*/ 5259279 w 5842672"/>
                <a:gd name="connsiteY22" fmla="*/ 1535080 h 6212667"/>
                <a:gd name="connsiteX23" fmla="*/ 5420543 w 5842672"/>
                <a:gd name="connsiteY23" fmla="*/ 1726990 h 6212667"/>
                <a:gd name="connsiteX24" fmla="*/ 5800531 w 5842672"/>
                <a:gd name="connsiteY24" fmla="*/ 3519512 h 6212667"/>
                <a:gd name="connsiteX25" fmla="*/ 5608452 w 5842672"/>
                <a:gd name="connsiteY25" fmla="*/ 4385669 h 6212667"/>
                <a:gd name="connsiteX26" fmla="*/ 5738668 w 5842672"/>
                <a:gd name="connsiteY26" fmla="*/ 4452156 h 6212667"/>
                <a:gd name="connsiteX27" fmla="*/ 5669219 w 5842672"/>
                <a:gd name="connsiteY27" fmla="*/ 4870077 h 6212667"/>
                <a:gd name="connsiteX28" fmla="*/ 5511690 w 5842672"/>
                <a:gd name="connsiteY28" fmla="*/ 4807792 h 6212667"/>
                <a:gd name="connsiteX29" fmla="*/ 4384427 w 5842672"/>
                <a:gd name="connsiteY29" fmla="*/ 6199821 h 6212667"/>
                <a:gd name="connsiteX30" fmla="*/ 4202126 w 5842672"/>
                <a:gd name="connsiteY30" fmla="*/ 5610934 h 6212667"/>
                <a:gd name="connsiteX31" fmla="*/ 4989092 w 5842672"/>
                <a:gd name="connsiteY31" fmla="*/ 4596953 h 6212667"/>
                <a:gd name="connsiteX32" fmla="*/ 5269141 w 5842672"/>
                <a:gd name="connsiteY32" fmla="*/ 3352779 h 6212667"/>
                <a:gd name="connsiteX33" fmla="*/ 4950325 w 5842672"/>
                <a:gd name="connsiteY33" fmla="*/ 2049487 h 6212667"/>
                <a:gd name="connsiteX34" fmla="*/ 4133072 w 5842672"/>
                <a:gd name="connsiteY34" fmla="*/ 1163055 h 6212667"/>
                <a:gd name="connsiteX35" fmla="*/ 2838806 w 5842672"/>
                <a:gd name="connsiteY35" fmla="*/ 761302 h 6212667"/>
                <a:gd name="connsiteX36" fmla="*/ 1840586 w 5842672"/>
                <a:gd name="connsiteY36" fmla="*/ 1081342 h 6212667"/>
                <a:gd name="connsiteX37" fmla="*/ 831666 w 5842672"/>
                <a:gd name="connsiteY37" fmla="*/ 2111591 h 6212667"/>
                <a:gd name="connsiteX38" fmla="*/ 530331 w 5842672"/>
                <a:gd name="connsiteY38" fmla="*/ 3464807 h 6212667"/>
                <a:gd name="connsiteX39" fmla="*/ 1035657 w 5842672"/>
                <a:gd name="connsiteY39" fmla="*/ 4933546 h 6212667"/>
                <a:gd name="connsiteX40" fmla="*/ 2340275 w 5842672"/>
                <a:gd name="connsiteY40" fmla="*/ 5224058 h 6212667"/>
                <a:gd name="connsiteX41" fmla="*/ 4158712 w 5842672"/>
                <a:gd name="connsiteY41" fmla="*/ 5644651 h 6212667"/>
                <a:gd name="connsiteX42" fmla="*/ 4355408 w 5842672"/>
                <a:gd name="connsiteY42" fmla="*/ 6212667 h 6212667"/>
                <a:gd name="connsiteX43" fmla="*/ 2135550 w 5842672"/>
                <a:gd name="connsiteY43" fmla="*/ 5618634 h 6212667"/>
                <a:gd name="connsiteX44" fmla="*/ 481697 w 5842672"/>
                <a:gd name="connsiteY44" fmla="*/ 5189370 h 6212667"/>
                <a:gd name="connsiteX45" fmla="*/ 0 w 5842672"/>
                <a:gd name="connsiteY45" fmla="*/ 3281515 h 6212667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2340275 w 5842672"/>
                <a:gd name="connsiteY40" fmla="*/ 5224058 h 6724315"/>
                <a:gd name="connsiteX41" fmla="*/ 4158712 w 5842672"/>
                <a:gd name="connsiteY41" fmla="*/ 5644651 h 6724315"/>
                <a:gd name="connsiteX42" fmla="*/ 4355408 w 5842672"/>
                <a:gd name="connsiteY42" fmla="*/ 6212667 h 6724315"/>
                <a:gd name="connsiteX43" fmla="*/ 1898712 w 5842672"/>
                <a:gd name="connsiteY43" fmla="*/ 6724315 h 6724315"/>
                <a:gd name="connsiteX44" fmla="*/ 481697 w 5842672"/>
                <a:gd name="connsiteY44" fmla="*/ 5189370 h 6724315"/>
                <a:gd name="connsiteX45" fmla="*/ 0 w 5842672"/>
                <a:gd name="connsiteY45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4158712 w 5842672"/>
                <a:gd name="connsiteY41" fmla="*/ 5644651 h 6724315"/>
                <a:gd name="connsiteX42" fmla="*/ 4355408 w 5842672"/>
                <a:gd name="connsiteY42" fmla="*/ 6212667 h 6724315"/>
                <a:gd name="connsiteX43" fmla="*/ 1898712 w 5842672"/>
                <a:gd name="connsiteY43" fmla="*/ 6724315 h 6724315"/>
                <a:gd name="connsiteX44" fmla="*/ 481697 w 5842672"/>
                <a:gd name="connsiteY44" fmla="*/ 5189370 h 6724315"/>
                <a:gd name="connsiteX45" fmla="*/ 0 w 5842672"/>
                <a:gd name="connsiteY45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2886207 w 5842672"/>
                <a:gd name="connsiteY41" fmla="*/ 5696683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42159 w 5842672"/>
                <a:gd name="connsiteY40" fmla="*/ 5692347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42159 w 5842672"/>
                <a:gd name="connsiteY40" fmla="*/ 5692347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42159 w 5842672"/>
                <a:gd name="connsiteY40" fmla="*/ 5692347 h 6724315"/>
                <a:gd name="connsiteX41" fmla="*/ 3042761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42159 w 5842672"/>
                <a:gd name="connsiteY40" fmla="*/ 5692347 h 6724315"/>
                <a:gd name="connsiteX41" fmla="*/ 3042761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26252 w 5868924"/>
                <a:gd name="connsiteY0" fmla="*/ 3281515 h 6724315"/>
                <a:gd name="connsiteX1" fmla="*/ 235599 w 5868924"/>
                <a:gd name="connsiteY1" fmla="*/ 2374266 h 6724315"/>
                <a:gd name="connsiteX2" fmla="*/ 202868 w 5868924"/>
                <a:gd name="connsiteY2" fmla="*/ 2331944 h 6724315"/>
                <a:gd name="connsiteX3" fmla="*/ 275125 w 5868924"/>
                <a:gd name="connsiteY3" fmla="*/ 2067448 h 6724315"/>
                <a:gd name="connsiteX4" fmla="*/ 310841 w 5868924"/>
                <a:gd name="connsiteY4" fmla="*/ 2050403 h 6724315"/>
                <a:gd name="connsiteX5" fmla="*/ 1318198 w 5868924"/>
                <a:gd name="connsiteY5" fmla="*/ 647002 h 6724315"/>
                <a:gd name="connsiteX6" fmla="*/ 1531114 w 5868924"/>
                <a:gd name="connsiteY6" fmla="*/ 547251 h 6724315"/>
                <a:gd name="connsiteX7" fmla="*/ 1511053 w 5868924"/>
                <a:gd name="connsiteY7" fmla="*/ 432260 h 6724315"/>
                <a:gd name="connsiteX8" fmla="*/ 1706818 w 5868924"/>
                <a:gd name="connsiteY8" fmla="*/ 380302 h 6724315"/>
                <a:gd name="connsiteX9" fmla="*/ 1724191 w 5868924"/>
                <a:gd name="connsiteY9" fmla="*/ 481442 h 6724315"/>
                <a:gd name="connsiteX10" fmla="*/ 1851266 w 5868924"/>
                <a:gd name="connsiteY10" fmla="*/ 442651 h 6724315"/>
                <a:gd name="connsiteX11" fmla="*/ 1881745 w 5868924"/>
                <a:gd name="connsiteY11" fmla="*/ 393463 h 6724315"/>
                <a:gd name="connsiteX12" fmla="*/ 2117632 w 5868924"/>
                <a:gd name="connsiteY12" fmla="*/ 319342 h 6724315"/>
                <a:gd name="connsiteX13" fmla="*/ 2158087 w 5868924"/>
                <a:gd name="connsiteY13" fmla="*/ 352592 h 6724315"/>
                <a:gd name="connsiteX14" fmla="*/ 2354629 w 5868924"/>
                <a:gd name="connsiteY14" fmla="*/ 288171 h 6724315"/>
                <a:gd name="connsiteX15" fmla="*/ 2313841 w 5868924"/>
                <a:gd name="connsiteY15" fmla="*/ 119840 h 6724315"/>
                <a:gd name="connsiteX16" fmla="*/ 2697084 w 5868924"/>
                <a:gd name="connsiteY16" fmla="*/ 0 h 6724315"/>
                <a:gd name="connsiteX17" fmla="*/ 2745382 w 5868924"/>
                <a:gd name="connsiteY17" fmla="*/ 165560 h 6724315"/>
                <a:gd name="connsiteX18" fmla="*/ 4508933 w 5868924"/>
                <a:gd name="connsiteY18" fmla="*/ 680900 h 6724315"/>
                <a:gd name="connsiteX19" fmla="*/ 5059063 w 5868924"/>
                <a:gd name="connsiteY19" fmla="*/ 1291242 h 6724315"/>
                <a:gd name="connsiteX20" fmla="*/ 5120467 w 5868924"/>
                <a:gd name="connsiteY20" fmla="*/ 1298860 h 6724315"/>
                <a:gd name="connsiteX21" fmla="*/ 5285308 w 5868924"/>
                <a:gd name="connsiteY21" fmla="*/ 1479661 h 6724315"/>
                <a:gd name="connsiteX22" fmla="*/ 5285531 w 5868924"/>
                <a:gd name="connsiteY22" fmla="*/ 1535080 h 6724315"/>
                <a:gd name="connsiteX23" fmla="*/ 5446795 w 5868924"/>
                <a:gd name="connsiteY23" fmla="*/ 1726990 h 6724315"/>
                <a:gd name="connsiteX24" fmla="*/ 5826783 w 5868924"/>
                <a:gd name="connsiteY24" fmla="*/ 3519512 h 6724315"/>
                <a:gd name="connsiteX25" fmla="*/ 5634704 w 5868924"/>
                <a:gd name="connsiteY25" fmla="*/ 4385669 h 6724315"/>
                <a:gd name="connsiteX26" fmla="*/ 5764920 w 5868924"/>
                <a:gd name="connsiteY26" fmla="*/ 4452156 h 6724315"/>
                <a:gd name="connsiteX27" fmla="*/ 5695471 w 5868924"/>
                <a:gd name="connsiteY27" fmla="*/ 4870077 h 6724315"/>
                <a:gd name="connsiteX28" fmla="*/ 5537942 w 5868924"/>
                <a:gd name="connsiteY28" fmla="*/ 4807792 h 6724315"/>
                <a:gd name="connsiteX29" fmla="*/ 4410679 w 5868924"/>
                <a:gd name="connsiteY29" fmla="*/ 6199821 h 6724315"/>
                <a:gd name="connsiteX30" fmla="*/ 4228378 w 5868924"/>
                <a:gd name="connsiteY30" fmla="*/ 5610934 h 6724315"/>
                <a:gd name="connsiteX31" fmla="*/ 5015344 w 5868924"/>
                <a:gd name="connsiteY31" fmla="*/ 4596953 h 6724315"/>
                <a:gd name="connsiteX32" fmla="*/ 5295393 w 5868924"/>
                <a:gd name="connsiteY32" fmla="*/ 3352779 h 6724315"/>
                <a:gd name="connsiteX33" fmla="*/ 4976577 w 5868924"/>
                <a:gd name="connsiteY33" fmla="*/ 2049487 h 6724315"/>
                <a:gd name="connsiteX34" fmla="*/ 4159324 w 5868924"/>
                <a:gd name="connsiteY34" fmla="*/ 1163055 h 6724315"/>
                <a:gd name="connsiteX35" fmla="*/ 2865058 w 5868924"/>
                <a:gd name="connsiteY35" fmla="*/ 761302 h 6724315"/>
                <a:gd name="connsiteX36" fmla="*/ 1866838 w 5868924"/>
                <a:gd name="connsiteY36" fmla="*/ 1081342 h 6724315"/>
                <a:gd name="connsiteX37" fmla="*/ 857918 w 5868924"/>
                <a:gd name="connsiteY37" fmla="*/ 2111591 h 6724315"/>
                <a:gd name="connsiteX38" fmla="*/ 556583 w 5868924"/>
                <a:gd name="connsiteY38" fmla="*/ 3464807 h 6724315"/>
                <a:gd name="connsiteX39" fmla="*/ 1061909 w 5868924"/>
                <a:gd name="connsiteY39" fmla="*/ 4933546 h 6724315"/>
                <a:gd name="connsiteX40" fmla="*/ 1768411 w 5868924"/>
                <a:gd name="connsiteY40" fmla="*/ 5692347 h 6724315"/>
                <a:gd name="connsiteX41" fmla="*/ 3069013 w 5868924"/>
                <a:gd name="connsiteY41" fmla="*/ 6017548 h 6724315"/>
                <a:gd name="connsiteX42" fmla="*/ 4184964 w 5868924"/>
                <a:gd name="connsiteY42" fmla="*/ 5644651 h 6724315"/>
                <a:gd name="connsiteX43" fmla="*/ 4381660 w 5868924"/>
                <a:gd name="connsiteY43" fmla="*/ 6212667 h 6724315"/>
                <a:gd name="connsiteX44" fmla="*/ 1924964 w 5868924"/>
                <a:gd name="connsiteY44" fmla="*/ 6724315 h 6724315"/>
                <a:gd name="connsiteX45" fmla="*/ 507949 w 5868924"/>
                <a:gd name="connsiteY45" fmla="*/ 5189370 h 6724315"/>
                <a:gd name="connsiteX46" fmla="*/ 26252 w 5868924"/>
                <a:gd name="connsiteY46" fmla="*/ 3281515 h 6724315"/>
                <a:gd name="connsiteX0" fmla="*/ 31901 w 5874573"/>
                <a:gd name="connsiteY0" fmla="*/ 3281515 h 6724315"/>
                <a:gd name="connsiteX1" fmla="*/ 241248 w 5874573"/>
                <a:gd name="connsiteY1" fmla="*/ 2374266 h 6724315"/>
                <a:gd name="connsiteX2" fmla="*/ 208517 w 5874573"/>
                <a:gd name="connsiteY2" fmla="*/ 2331944 h 6724315"/>
                <a:gd name="connsiteX3" fmla="*/ 280774 w 5874573"/>
                <a:gd name="connsiteY3" fmla="*/ 2067448 h 6724315"/>
                <a:gd name="connsiteX4" fmla="*/ 316490 w 5874573"/>
                <a:gd name="connsiteY4" fmla="*/ 2050403 h 6724315"/>
                <a:gd name="connsiteX5" fmla="*/ 1323847 w 5874573"/>
                <a:gd name="connsiteY5" fmla="*/ 647002 h 6724315"/>
                <a:gd name="connsiteX6" fmla="*/ 1536763 w 5874573"/>
                <a:gd name="connsiteY6" fmla="*/ 547251 h 6724315"/>
                <a:gd name="connsiteX7" fmla="*/ 1516702 w 5874573"/>
                <a:gd name="connsiteY7" fmla="*/ 432260 h 6724315"/>
                <a:gd name="connsiteX8" fmla="*/ 1712467 w 5874573"/>
                <a:gd name="connsiteY8" fmla="*/ 380302 h 6724315"/>
                <a:gd name="connsiteX9" fmla="*/ 1729840 w 5874573"/>
                <a:gd name="connsiteY9" fmla="*/ 481442 h 6724315"/>
                <a:gd name="connsiteX10" fmla="*/ 1856915 w 5874573"/>
                <a:gd name="connsiteY10" fmla="*/ 442651 h 6724315"/>
                <a:gd name="connsiteX11" fmla="*/ 1887394 w 5874573"/>
                <a:gd name="connsiteY11" fmla="*/ 393463 h 6724315"/>
                <a:gd name="connsiteX12" fmla="*/ 2123281 w 5874573"/>
                <a:gd name="connsiteY12" fmla="*/ 319342 h 6724315"/>
                <a:gd name="connsiteX13" fmla="*/ 2163736 w 5874573"/>
                <a:gd name="connsiteY13" fmla="*/ 352592 h 6724315"/>
                <a:gd name="connsiteX14" fmla="*/ 2360278 w 5874573"/>
                <a:gd name="connsiteY14" fmla="*/ 288171 h 6724315"/>
                <a:gd name="connsiteX15" fmla="*/ 2319490 w 5874573"/>
                <a:gd name="connsiteY15" fmla="*/ 119840 h 6724315"/>
                <a:gd name="connsiteX16" fmla="*/ 2702733 w 5874573"/>
                <a:gd name="connsiteY16" fmla="*/ 0 h 6724315"/>
                <a:gd name="connsiteX17" fmla="*/ 2751031 w 5874573"/>
                <a:gd name="connsiteY17" fmla="*/ 165560 h 6724315"/>
                <a:gd name="connsiteX18" fmla="*/ 4514582 w 5874573"/>
                <a:gd name="connsiteY18" fmla="*/ 680900 h 6724315"/>
                <a:gd name="connsiteX19" fmla="*/ 5064712 w 5874573"/>
                <a:gd name="connsiteY19" fmla="*/ 1291242 h 6724315"/>
                <a:gd name="connsiteX20" fmla="*/ 5126116 w 5874573"/>
                <a:gd name="connsiteY20" fmla="*/ 1298860 h 6724315"/>
                <a:gd name="connsiteX21" fmla="*/ 5290957 w 5874573"/>
                <a:gd name="connsiteY21" fmla="*/ 1479661 h 6724315"/>
                <a:gd name="connsiteX22" fmla="*/ 5291180 w 5874573"/>
                <a:gd name="connsiteY22" fmla="*/ 1535080 h 6724315"/>
                <a:gd name="connsiteX23" fmla="*/ 5452444 w 5874573"/>
                <a:gd name="connsiteY23" fmla="*/ 1726990 h 6724315"/>
                <a:gd name="connsiteX24" fmla="*/ 5832432 w 5874573"/>
                <a:gd name="connsiteY24" fmla="*/ 3519512 h 6724315"/>
                <a:gd name="connsiteX25" fmla="*/ 5640353 w 5874573"/>
                <a:gd name="connsiteY25" fmla="*/ 4385669 h 6724315"/>
                <a:gd name="connsiteX26" fmla="*/ 5770569 w 5874573"/>
                <a:gd name="connsiteY26" fmla="*/ 4452156 h 6724315"/>
                <a:gd name="connsiteX27" fmla="*/ 5701120 w 5874573"/>
                <a:gd name="connsiteY27" fmla="*/ 4870077 h 6724315"/>
                <a:gd name="connsiteX28" fmla="*/ 5543591 w 5874573"/>
                <a:gd name="connsiteY28" fmla="*/ 4807792 h 6724315"/>
                <a:gd name="connsiteX29" fmla="*/ 4416328 w 5874573"/>
                <a:gd name="connsiteY29" fmla="*/ 6199821 h 6724315"/>
                <a:gd name="connsiteX30" fmla="*/ 4234027 w 5874573"/>
                <a:gd name="connsiteY30" fmla="*/ 5610934 h 6724315"/>
                <a:gd name="connsiteX31" fmla="*/ 5020993 w 5874573"/>
                <a:gd name="connsiteY31" fmla="*/ 4596953 h 6724315"/>
                <a:gd name="connsiteX32" fmla="*/ 5301042 w 5874573"/>
                <a:gd name="connsiteY32" fmla="*/ 3352779 h 6724315"/>
                <a:gd name="connsiteX33" fmla="*/ 4982226 w 5874573"/>
                <a:gd name="connsiteY33" fmla="*/ 2049487 h 6724315"/>
                <a:gd name="connsiteX34" fmla="*/ 4164973 w 5874573"/>
                <a:gd name="connsiteY34" fmla="*/ 1163055 h 6724315"/>
                <a:gd name="connsiteX35" fmla="*/ 2870707 w 5874573"/>
                <a:gd name="connsiteY35" fmla="*/ 761302 h 6724315"/>
                <a:gd name="connsiteX36" fmla="*/ 1872487 w 5874573"/>
                <a:gd name="connsiteY36" fmla="*/ 1081342 h 6724315"/>
                <a:gd name="connsiteX37" fmla="*/ 863567 w 5874573"/>
                <a:gd name="connsiteY37" fmla="*/ 2111591 h 6724315"/>
                <a:gd name="connsiteX38" fmla="*/ 562232 w 5874573"/>
                <a:gd name="connsiteY38" fmla="*/ 3464807 h 6724315"/>
                <a:gd name="connsiteX39" fmla="*/ 1067558 w 5874573"/>
                <a:gd name="connsiteY39" fmla="*/ 4933546 h 6724315"/>
                <a:gd name="connsiteX40" fmla="*/ 1774060 w 5874573"/>
                <a:gd name="connsiteY40" fmla="*/ 5692347 h 6724315"/>
                <a:gd name="connsiteX41" fmla="*/ 3074662 w 5874573"/>
                <a:gd name="connsiteY41" fmla="*/ 6017548 h 6724315"/>
                <a:gd name="connsiteX42" fmla="*/ 4190613 w 5874573"/>
                <a:gd name="connsiteY42" fmla="*/ 5644651 h 6724315"/>
                <a:gd name="connsiteX43" fmla="*/ 4387309 w 5874573"/>
                <a:gd name="connsiteY43" fmla="*/ 6212667 h 6724315"/>
                <a:gd name="connsiteX44" fmla="*/ 1930613 w 5874573"/>
                <a:gd name="connsiteY44" fmla="*/ 6724315 h 6724315"/>
                <a:gd name="connsiteX45" fmla="*/ 513598 w 5874573"/>
                <a:gd name="connsiteY45" fmla="*/ 5189370 h 6724315"/>
                <a:gd name="connsiteX46" fmla="*/ 31901 w 5874573"/>
                <a:gd name="connsiteY46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523257 w 5884232"/>
                <a:gd name="connsiteY45" fmla="*/ 5189370 h 6724315"/>
                <a:gd name="connsiteX46" fmla="*/ 41560 w 5884232"/>
                <a:gd name="connsiteY46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559386 w 5884232"/>
                <a:gd name="connsiteY45" fmla="*/ 5224057 h 6724315"/>
                <a:gd name="connsiteX46" fmla="*/ 523257 w 5884232"/>
                <a:gd name="connsiteY46" fmla="*/ 5189370 h 6724315"/>
                <a:gd name="connsiteX47" fmla="*/ 41560 w 5884232"/>
                <a:gd name="connsiteY47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430931 w 5884232"/>
                <a:gd name="connsiteY45" fmla="*/ 5323785 h 6724315"/>
                <a:gd name="connsiteX46" fmla="*/ 523257 w 5884232"/>
                <a:gd name="connsiteY46" fmla="*/ 5189370 h 6724315"/>
                <a:gd name="connsiteX47" fmla="*/ 41560 w 5884232"/>
                <a:gd name="connsiteY47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824904 w 5884232"/>
                <a:gd name="connsiteY45" fmla="*/ 5685517 h 6724315"/>
                <a:gd name="connsiteX46" fmla="*/ 430931 w 5884232"/>
                <a:gd name="connsiteY46" fmla="*/ 5323785 h 6724315"/>
                <a:gd name="connsiteX47" fmla="*/ 523257 w 5884232"/>
                <a:gd name="connsiteY47" fmla="*/ 5189370 h 6724315"/>
                <a:gd name="connsiteX48" fmla="*/ 41560 w 5884232"/>
                <a:gd name="connsiteY4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732703 w 5884232"/>
                <a:gd name="connsiteY45" fmla="*/ 5638146 h 6724315"/>
                <a:gd name="connsiteX46" fmla="*/ 430931 w 5884232"/>
                <a:gd name="connsiteY46" fmla="*/ 5323785 h 6724315"/>
                <a:gd name="connsiteX47" fmla="*/ 523257 w 5884232"/>
                <a:gd name="connsiteY47" fmla="*/ 5189370 h 6724315"/>
                <a:gd name="connsiteX48" fmla="*/ 41560 w 5884232"/>
                <a:gd name="connsiteY4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884834 w 5884232"/>
                <a:gd name="connsiteY45" fmla="*/ 5775272 h 6724315"/>
                <a:gd name="connsiteX46" fmla="*/ 732703 w 5884232"/>
                <a:gd name="connsiteY46" fmla="*/ 5638146 h 6724315"/>
                <a:gd name="connsiteX47" fmla="*/ 430931 w 5884232"/>
                <a:gd name="connsiteY47" fmla="*/ 5323785 h 6724315"/>
                <a:gd name="connsiteX48" fmla="*/ 523257 w 5884232"/>
                <a:gd name="connsiteY48" fmla="*/ 5189370 h 6724315"/>
                <a:gd name="connsiteX49" fmla="*/ 41560 w 5884232"/>
                <a:gd name="connsiteY4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817988 w 5884232"/>
                <a:gd name="connsiteY45" fmla="*/ 5548391 h 6724315"/>
                <a:gd name="connsiteX46" fmla="*/ 732703 w 5884232"/>
                <a:gd name="connsiteY46" fmla="*/ 5638146 h 6724315"/>
                <a:gd name="connsiteX47" fmla="*/ 430931 w 5884232"/>
                <a:gd name="connsiteY47" fmla="*/ 5323785 h 6724315"/>
                <a:gd name="connsiteX48" fmla="*/ 523257 w 5884232"/>
                <a:gd name="connsiteY48" fmla="*/ 5189370 h 6724315"/>
                <a:gd name="connsiteX49" fmla="*/ 41560 w 5884232"/>
                <a:gd name="connsiteY4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283604 w 5884232"/>
                <a:gd name="connsiteY40" fmla="*/ 5151972 h 6724315"/>
                <a:gd name="connsiteX41" fmla="*/ 1783719 w 5884232"/>
                <a:gd name="connsiteY41" fmla="*/ 5692347 h 6724315"/>
                <a:gd name="connsiteX42" fmla="*/ 3084321 w 5884232"/>
                <a:gd name="connsiteY42" fmla="*/ 6017548 h 6724315"/>
                <a:gd name="connsiteX43" fmla="*/ 4200272 w 5884232"/>
                <a:gd name="connsiteY43" fmla="*/ 5644651 h 6724315"/>
                <a:gd name="connsiteX44" fmla="*/ 4396968 w 5884232"/>
                <a:gd name="connsiteY44" fmla="*/ 6212667 h 6724315"/>
                <a:gd name="connsiteX45" fmla="*/ 1940272 w 5884232"/>
                <a:gd name="connsiteY45" fmla="*/ 6724315 h 6724315"/>
                <a:gd name="connsiteX46" fmla="*/ 817988 w 5884232"/>
                <a:gd name="connsiteY46" fmla="*/ 5548391 h 6724315"/>
                <a:gd name="connsiteX47" fmla="*/ 732703 w 5884232"/>
                <a:gd name="connsiteY47" fmla="*/ 5638146 h 6724315"/>
                <a:gd name="connsiteX48" fmla="*/ 430931 w 5884232"/>
                <a:gd name="connsiteY48" fmla="*/ 5323785 h 6724315"/>
                <a:gd name="connsiteX49" fmla="*/ 523257 w 5884232"/>
                <a:gd name="connsiteY49" fmla="*/ 5189370 h 6724315"/>
                <a:gd name="connsiteX50" fmla="*/ 41560 w 5884232"/>
                <a:gd name="connsiteY50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783719 w 5884232"/>
                <a:gd name="connsiteY41" fmla="*/ 5692347 h 6724315"/>
                <a:gd name="connsiteX42" fmla="*/ 3084321 w 5884232"/>
                <a:gd name="connsiteY42" fmla="*/ 6017548 h 6724315"/>
                <a:gd name="connsiteX43" fmla="*/ 4200272 w 5884232"/>
                <a:gd name="connsiteY43" fmla="*/ 5644651 h 6724315"/>
                <a:gd name="connsiteX44" fmla="*/ 4396968 w 5884232"/>
                <a:gd name="connsiteY44" fmla="*/ 6212667 h 6724315"/>
                <a:gd name="connsiteX45" fmla="*/ 1940272 w 5884232"/>
                <a:gd name="connsiteY45" fmla="*/ 6724315 h 6724315"/>
                <a:gd name="connsiteX46" fmla="*/ 817988 w 5884232"/>
                <a:gd name="connsiteY46" fmla="*/ 5548391 h 6724315"/>
                <a:gd name="connsiteX47" fmla="*/ 732703 w 5884232"/>
                <a:gd name="connsiteY47" fmla="*/ 5638146 h 6724315"/>
                <a:gd name="connsiteX48" fmla="*/ 430931 w 5884232"/>
                <a:gd name="connsiteY48" fmla="*/ 5323785 h 6724315"/>
                <a:gd name="connsiteX49" fmla="*/ 523257 w 5884232"/>
                <a:gd name="connsiteY49" fmla="*/ 5189370 h 6724315"/>
                <a:gd name="connsiteX50" fmla="*/ 41560 w 5884232"/>
                <a:gd name="connsiteY50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86983 w 5884232"/>
                <a:gd name="connsiteY41" fmla="*/ 5580802 h 6724315"/>
                <a:gd name="connsiteX42" fmla="*/ 1783719 w 5884232"/>
                <a:gd name="connsiteY42" fmla="*/ 5692347 h 6724315"/>
                <a:gd name="connsiteX43" fmla="*/ 3084321 w 5884232"/>
                <a:gd name="connsiteY43" fmla="*/ 6017548 h 6724315"/>
                <a:gd name="connsiteX44" fmla="*/ 4200272 w 5884232"/>
                <a:gd name="connsiteY44" fmla="*/ 5644651 h 6724315"/>
                <a:gd name="connsiteX45" fmla="*/ 4396968 w 5884232"/>
                <a:gd name="connsiteY45" fmla="*/ 6212667 h 6724315"/>
                <a:gd name="connsiteX46" fmla="*/ 1940272 w 5884232"/>
                <a:gd name="connsiteY46" fmla="*/ 6724315 h 6724315"/>
                <a:gd name="connsiteX47" fmla="*/ 817988 w 5884232"/>
                <a:gd name="connsiteY47" fmla="*/ 5548391 h 6724315"/>
                <a:gd name="connsiteX48" fmla="*/ 732703 w 5884232"/>
                <a:gd name="connsiteY48" fmla="*/ 5638146 h 6724315"/>
                <a:gd name="connsiteX49" fmla="*/ 430931 w 5884232"/>
                <a:gd name="connsiteY49" fmla="*/ 5323785 h 6724315"/>
                <a:gd name="connsiteX50" fmla="*/ 523257 w 5884232"/>
                <a:gd name="connsiteY50" fmla="*/ 5189370 h 6724315"/>
                <a:gd name="connsiteX51" fmla="*/ 41560 w 5884232"/>
                <a:gd name="connsiteY5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83719 w 5884232"/>
                <a:gd name="connsiteY42" fmla="*/ 5692347 h 6724315"/>
                <a:gd name="connsiteX43" fmla="*/ 3084321 w 5884232"/>
                <a:gd name="connsiteY43" fmla="*/ 6017548 h 6724315"/>
                <a:gd name="connsiteX44" fmla="*/ 4200272 w 5884232"/>
                <a:gd name="connsiteY44" fmla="*/ 5644651 h 6724315"/>
                <a:gd name="connsiteX45" fmla="*/ 4396968 w 5884232"/>
                <a:gd name="connsiteY45" fmla="*/ 6212667 h 6724315"/>
                <a:gd name="connsiteX46" fmla="*/ 1940272 w 5884232"/>
                <a:gd name="connsiteY46" fmla="*/ 6724315 h 6724315"/>
                <a:gd name="connsiteX47" fmla="*/ 817988 w 5884232"/>
                <a:gd name="connsiteY47" fmla="*/ 5548391 h 6724315"/>
                <a:gd name="connsiteX48" fmla="*/ 732703 w 5884232"/>
                <a:gd name="connsiteY48" fmla="*/ 5638146 h 6724315"/>
                <a:gd name="connsiteX49" fmla="*/ 430931 w 5884232"/>
                <a:gd name="connsiteY49" fmla="*/ 5323785 h 6724315"/>
                <a:gd name="connsiteX50" fmla="*/ 523257 w 5884232"/>
                <a:gd name="connsiteY50" fmla="*/ 5189370 h 6724315"/>
                <a:gd name="connsiteX51" fmla="*/ 41560 w 5884232"/>
                <a:gd name="connsiteY5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35389 w 5884232"/>
                <a:gd name="connsiteY42" fmla="*/ 5605735 h 6724315"/>
                <a:gd name="connsiteX43" fmla="*/ 1783719 w 5884232"/>
                <a:gd name="connsiteY43" fmla="*/ 5692347 h 6724315"/>
                <a:gd name="connsiteX44" fmla="*/ 3084321 w 5884232"/>
                <a:gd name="connsiteY44" fmla="*/ 6017548 h 6724315"/>
                <a:gd name="connsiteX45" fmla="*/ 4200272 w 5884232"/>
                <a:gd name="connsiteY45" fmla="*/ 5644651 h 6724315"/>
                <a:gd name="connsiteX46" fmla="*/ 4396968 w 5884232"/>
                <a:gd name="connsiteY46" fmla="*/ 6212667 h 6724315"/>
                <a:gd name="connsiteX47" fmla="*/ 1940272 w 5884232"/>
                <a:gd name="connsiteY47" fmla="*/ 6724315 h 6724315"/>
                <a:gd name="connsiteX48" fmla="*/ 817988 w 5884232"/>
                <a:gd name="connsiteY48" fmla="*/ 5548391 h 6724315"/>
                <a:gd name="connsiteX49" fmla="*/ 732703 w 5884232"/>
                <a:gd name="connsiteY49" fmla="*/ 5638146 h 6724315"/>
                <a:gd name="connsiteX50" fmla="*/ 430931 w 5884232"/>
                <a:gd name="connsiteY50" fmla="*/ 5323785 h 6724315"/>
                <a:gd name="connsiteX51" fmla="*/ 523257 w 5884232"/>
                <a:gd name="connsiteY51" fmla="*/ 5189370 h 6724315"/>
                <a:gd name="connsiteX52" fmla="*/ 41560 w 5884232"/>
                <a:gd name="connsiteY52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783719 w 5884232"/>
                <a:gd name="connsiteY43" fmla="*/ 5692347 h 6724315"/>
                <a:gd name="connsiteX44" fmla="*/ 3084321 w 5884232"/>
                <a:gd name="connsiteY44" fmla="*/ 6017548 h 6724315"/>
                <a:gd name="connsiteX45" fmla="*/ 4200272 w 5884232"/>
                <a:gd name="connsiteY45" fmla="*/ 5644651 h 6724315"/>
                <a:gd name="connsiteX46" fmla="*/ 4396968 w 5884232"/>
                <a:gd name="connsiteY46" fmla="*/ 6212667 h 6724315"/>
                <a:gd name="connsiteX47" fmla="*/ 1940272 w 5884232"/>
                <a:gd name="connsiteY47" fmla="*/ 6724315 h 6724315"/>
                <a:gd name="connsiteX48" fmla="*/ 817988 w 5884232"/>
                <a:gd name="connsiteY48" fmla="*/ 5548391 h 6724315"/>
                <a:gd name="connsiteX49" fmla="*/ 732703 w 5884232"/>
                <a:gd name="connsiteY49" fmla="*/ 5638146 h 6724315"/>
                <a:gd name="connsiteX50" fmla="*/ 430931 w 5884232"/>
                <a:gd name="connsiteY50" fmla="*/ 5323785 h 6724315"/>
                <a:gd name="connsiteX51" fmla="*/ 523257 w 5884232"/>
                <a:gd name="connsiteY51" fmla="*/ 5189370 h 6724315"/>
                <a:gd name="connsiteX52" fmla="*/ 41560 w 5884232"/>
                <a:gd name="connsiteY52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744609 w 5884232"/>
                <a:gd name="connsiteY43" fmla="*/ 5618200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817988 w 5884232"/>
                <a:gd name="connsiteY49" fmla="*/ 5548391 h 6724315"/>
                <a:gd name="connsiteX50" fmla="*/ 732703 w 5884232"/>
                <a:gd name="connsiteY50" fmla="*/ 5638146 h 6724315"/>
                <a:gd name="connsiteX51" fmla="*/ 430931 w 5884232"/>
                <a:gd name="connsiteY51" fmla="*/ 5323785 h 6724315"/>
                <a:gd name="connsiteX52" fmla="*/ 523257 w 5884232"/>
                <a:gd name="connsiteY52" fmla="*/ 5189370 h 6724315"/>
                <a:gd name="connsiteX53" fmla="*/ 41560 w 5884232"/>
                <a:gd name="connsiteY53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817988 w 5884232"/>
                <a:gd name="connsiteY49" fmla="*/ 5548391 h 6724315"/>
                <a:gd name="connsiteX50" fmla="*/ 732703 w 5884232"/>
                <a:gd name="connsiteY50" fmla="*/ 5638146 h 6724315"/>
                <a:gd name="connsiteX51" fmla="*/ 430931 w 5884232"/>
                <a:gd name="connsiteY51" fmla="*/ 5323785 h 6724315"/>
                <a:gd name="connsiteX52" fmla="*/ 523257 w 5884232"/>
                <a:gd name="connsiteY52" fmla="*/ 5189370 h 6724315"/>
                <a:gd name="connsiteX53" fmla="*/ 41560 w 5884232"/>
                <a:gd name="connsiteY53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013916 w 5884232"/>
                <a:gd name="connsiteY49" fmla="*/ 5755327 h 6724315"/>
                <a:gd name="connsiteX50" fmla="*/ 817988 w 5884232"/>
                <a:gd name="connsiteY50" fmla="*/ 5548391 h 6724315"/>
                <a:gd name="connsiteX51" fmla="*/ 732703 w 5884232"/>
                <a:gd name="connsiteY51" fmla="*/ 5638146 h 6724315"/>
                <a:gd name="connsiteX52" fmla="*/ 430931 w 5884232"/>
                <a:gd name="connsiteY52" fmla="*/ 5323785 h 6724315"/>
                <a:gd name="connsiteX53" fmla="*/ 523257 w 5884232"/>
                <a:gd name="connsiteY53" fmla="*/ 5189370 h 6724315"/>
                <a:gd name="connsiteX54" fmla="*/ 41560 w 5884232"/>
                <a:gd name="connsiteY54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013916 w 5884232"/>
                <a:gd name="connsiteY50" fmla="*/ 5755327 h 6724315"/>
                <a:gd name="connsiteX51" fmla="*/ 817988 w 5884232"/>
                <a:gd name="connsiteY51" fmla="*/ 5548391 h 6724315"/>
                <a:gd name="connsiteX52" fmla="*/ 732703 w 5884232"/>
                <a:gd name="connsiteY52" fmla="*/ 5638146 h 6724315"/>
                <a:gd name="connsiteX53" fmla="*/ 430931 w 5884232"/>
                <a:gd name="connsiteY53" fmla="*/ 5323785 h 6724315"/>
                <a:gd name="connsiteX54" fmla="*/ 523257 w 5884232"/>
                <a:gd name="connsiteY54" fmla="*/ 5189370 h 6724315"/>
                <a:gd name="connsiteX55" fmla="*/ 41560 w 5884232"/>
                <a:gd name="connsiteY55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30588 w 5884232"/>
                <a:gd name="connsiteY50" fmla="*/ 5977221 h 6724315"/>
                <a:gd name="connsiteX51" fmla="*/ 1013916 w 5884232"/>
                <a:gd name="connsiteY51" fmla="*/ 5755327 h 6724315"/>
                <a:gd name="connsiteX52" fmla="*/ 817988 w 5884232"/>
                <a:gd name="connsiteY52" fmla="*/ 5548391 h 6724315"/>
                <a:gd name="connsiteX53" fmla="*/ 732703 w 5884232"/>
                <a:gd name="connsiteY53" fmla="*/ 5638146 h 6724315"/>
                <a:gd name="connsiteX54" fmla="*/ 430931 w 5884232"/>
                <a:gd name="connsiteY54" fmla="*/ 5323785 h 6724315"/>
                <a:gd name="connsiteX55" fmla="*/ 523257 w 5884232"/>
                <a:gd name="connsiteY55" fmla="*/ 5189370 h 6724315"/>
                <a:gd name="connsiteX56" fmla="*/ 41560 w 5884232"/>
                <a:gd name="connsiteY56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32893 w 5884232"/>
                <a:gd name="connsiteY50" fmla="*/ 6032071 h 6724315"/>
                <a:gd name="connsiteX51" fmla="*/ 1013916 w 5884232"/>
                <a:gd name="connsiteY51" fmla="*/ 5755327 h 6724315"/>
                <a:gd name="connsiteX52" fmla="*/ 817988 w 5884232"/>
                <a:gd name="connsiteY52" fmla="*/ 5548391 h 6724315"/>
                <a:gd name="connsiteX53" fmla="*/ 732703 w 5884232"/>
                <a:gd name="connsiteY53" fmla="*/ 5638146 h 6724315"/>
                <a:gd name="connsiteX54" fmla="*/ 430931 w 5884232"/>
                <a:gd name="connsiteY54" fmla="*/ 5323785 h 6724315"/>
                <a:gd name="connsiteX55" fmla="*/ 523257 w 5884232"/>
                <a:gd name="connsiteY55" fmla="*/ 5189370 h 6724315"/>
                <a:gd name="connsiteX56" fmla="*/ 41560 w 5884232"/>
                <a:gd name="connsiteY56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32893 w 5884232"/>
                <a:gd name="connsiteY50" fmla="*/ 6032071 h 6724315"/>
                <a:gd name="connsiteX51" fmla="*/ 1039271 w 5884232"/>
                <a:gd name="connsiteY51" fmla="*/ 5790231 h 6724315"/>
                <a:gd name="connsiteX52" fmla="*/ 1013916 w 5884232"/>
                <a:gd name="connsiteY52" fmla="*/ 5755327 h 6724315"/>
                <a:gd name="connsiteX53" fmla="*/ 817988 w 5884232"/>
                <a:gd name="connsiteY53" fmla="*/ 5548391 h 6724315"/>
                <a:gd name="connsiteX54" fmla="*/ 732703 w 5884232"/>
                <a:gd name="connsiteY54" fmla="*/ 5638146 h 6724315"/>
                <a:gd name="connsiteX55" fmla="*/ 430931 w 5884232"/>
                <a:gd name="connsiteY55" fmla="*/ 5323785 h 6724315"/>
                <a:gd name="connsiteX56" fmla="*/ 523257 w 5884232"/>
                <a:gd name="connsiteY56" fmla="*/ 5189370 h 6724315"/>
                <a:gd name="connsiteX57" fmla="*/ 41560 w 5884232"/>
                <a:gd name="connsiteY57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32893 w 5884232"/>
                <a:gd name="connsiteY50" fmla="*/ 6032071 h 6724315"/>
                <a:gd name="connsiteX51" fmla="*/ 1000086 w 5884232"/>
                <a:gd name="connsiteY51" fmla="*/ 5782751 h 6724315"/>
                <a:gd name="connsiteX52" fmla="*/ 1013916 w 5884232"/>
                <a:gd name="connsiteY52" fmla="*/ 5755327 h 6724315"/>
                <a:gd name="connsiteX53" fmla="*/ 817988 w 5884232"/>
                <a:gd name="connsiteY53" fmla="*/ 5548391 h 6724315"/>
                <a:gd name="connsiteX54" fmla="*/ 732703 w 5884232"/>
                <a:gd name="connsiteY54" fmla="*/ 5638146 h 6724315"/>
                <a:gd name="connsiteX55" fmla="*/ 430931 w 5884232"/>
                <a:gd name="connsiteY55" fmla="*/ 5323785 h 6724315"/>
                <a:gd name="connsiteX56" fmla="*/ 523257 w 5884232"/>
                <a:gd name="connsiteY56" fmla="*/ 5189370 h 6724315"/>
                <a:gd name="connsiteX57" fmla="*/ 41560 w 5884232"/>
                <a:gd name="connsiteY57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22789 w 5884232"/>
                <a:gd name="connsiteY50" fmla="*/ 6089415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66585 w 5884232"/>
                <a:gd name="connsiteY50" fmla="*/ 6176678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66585 w 5884232"/>
                <a:gd name="connsiteY50" fmla="*/ 6176678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189098 w 5884232"/>
                <a:gd name="connsiteY50" fmla="*/ 6081936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189098 w 5884232"/>
                <a:gd name="connsiteY50" fmla="*/ 6081936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81298 w 5884232"/>
                <a:gd name="connsiteY50" fmla="*/ 6114348 h 6724315"/>
                <a:gd name="connsiteX51" fmla="*/ 1189098 w 5884232"/>
                <a:gd name="connsiteY51" fmla="*/ 6081936 h 6724315"/>
                <a:gd name="connsiteX52" fmla="*/ 1232893 w 5884232"/>
                <a:gd name="connsiteY52" fmla="*/ 6032071 h 6724315"/>
                <a:gd name="connsiteX53" fmla="*/ 1000086 w 5884232"/>
                <a:gd name="connsiteY53" fmla="*/ 5782751 h 6724315"/>
                <a:gd name="connsiteX54" fmla="*/ 1013916 w 5884232"/>
                <a:gd name="connsiteY54" fmla="*/ 5755327 h 6724315"/>
                <a:gd name="connsiteX55" fmla="*/ 817988 w 5884232"/>
                <a:gd name="connsiteY55" fmla="*/ 5548391 h 6724315"/>
                <a:gd name="connsiteX56" fmla="*/ 732703 w 5884232"/>
                <a:gd name="connsiteY56" fmla="*/ 5638146 h 6724315"/>
                <a:gd name="connsiteX57" fmla="*/ 430931 w 5884232"/>
                <a:gd name="connsiteY57" fmla="*/ 5323785 h 6724315"/>
                <a:gd name="connsiteX58" fmla="*/ 523257 w 5884232"/>
                <a:gd name="connsiteY58" fmla="*/ 5189370 h 6724315"/>
                <a:gd name="connsiteX59" fmla="*/ 41560 w 5884232"/>
                <a:gd name="connsiteY5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99739 w 5884232"/>
                <a:gd name="connsiteY50" fmla="*/ 6201610 h 6724315"/>
                <a:gd name="connsiteX51" fmla="*/ 1189098 w 5884232"/>
                <a:gd name="connsiteY51" fmla="*/ 6081936 h 6724315"/>
                <a:gd name="connsiteX52" fmla="*/ 1232893 w 5884232"/>
                <a:gd name="connsiteY52" fmla="*/ 6032071 h 6724315"/>
                <a:gd name="connsiteX53" fmla="*/ 1000086 w 5884232"/>
                <a:gd name="connsiteY53" fmla="*/ 5782751 h 6724315"/>
                <a:gd name="connsiteX54" fmla="*/ 1013916 w 5884232"/>
                <a:gd name="connsiteY54" fmla="*/ 5755327 h 6724315"/>
                <a:gd name="connsiteX55" fmla="*/ 817988 w 5884232"/>
                <a:gd name="connsiteY55" fmla="*/ 5548391 h 6724315"/>
                <a:gd name="connsiteX56" fmla="*/ 732703 w 5884232"/>
                <a:gd name="connsiteY56" fmla="*/ 5638146 h 6724315"/>
                <a:gd name="connsiteX57" fmla="*/ 430931 w 5884232"/>
                <a:gd name="connsiteY57" fmla="*/ 5323785 h 6724315"/>
                <a:gd name="connsiteX58" fmla="*/ 523257 w 5884232"/>
                <a:gd name="connsiteY58" fmla="*/ 5189370 h 6724315"/>
                <a:gd name="connsiteX59" fmla="*/ 41560 w 5884232"/>
                <a:gd name="connsiteY5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99739 w 5884232"/>
                <a:gd name="connsiteY50" fmla="*/ 6201610 h 6724315"/>
                <a:gd name="connsiteX51" fmla="*/ 1189098 w 5884232"/>
                <a:gd name="connsiteY51" fmla="*/ 6081936 h 6724315"/>
                <a:gd name="connsiteX52" fmla="*/ 1232893 w 5884232"/>
                <a:gd name="connsiteY52" fmla="*/ 6032071 h 6724315"/>
                <a:gd name="connsiteX53" fmla="*/ 1000086 w 5884232"/>
                <a:gd name="connsiteY53" fmla="*/ 5782751 h 6724315"/>
                <a:gd name="connsiteX54" fmla="*/ 1013916 w 5884232"/>
                <a:gd name="connsiteY54" fmla="*/ 5755327 h 6724315"/>
                <a:gd name="connsiteX55" fmla="*/ 817988 w 5884232"/>
                <a:gd name="connsiteY55" fmla="*/ 5548391 h 6724315"/>
                <a:gd name="connsiteX56" fmla="*/ 732703 w 5884232"/>
                <a:gd name="connsiteY56" fmla="*/ 5638146 h 6724315"/>
                <a:gd name="connsiteX57" fmla="*/ 430931 w 5884232"/>
                <a:gd name="connsiteY57" fmla="*/ 5323785 h 6724315"/>
                <a:gd name="connsiteX58" fmla="*/ 523257 w 5884232"/>
                <a:gd name="connsiteY58" fmla="*/ 5189370 h 6724315"/>
                <a:gd name="connsiteX59" fmla="*/ 41560 w 5884232"/>
                <a:gd name="connsiteY5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48145 w 5884232"/>
                <a:gd name="connsiteY50" fmla="*/ 6174185 h 6724315"/>
                <a:gd name="connsiteX51" fmla="*/ 1299739 w 5884232"/>
                <a:gd name="connsiteY51" fmla="*/ 6201610 h 6724315"/>
                <a:gd name="connsiteX52" fmla="*/ 1189098 w 5884232"/>
                <a:gd name="connsiteY52" fmla="*/ 6081936 h 6724315"/>
                <a:gd name="connsiteX53" fmla="*/ 1232893 w 5884232"/>
                <a:gd name="connsiteY53" fmla="*/ 6032071 h 6724315"/>
                <a:gd name="connsiteX54" fmla="*/ 1000086 w 5884232"/>
                <a:gd name="connsiteY54" fmla="*/ 5782751 h 6724315"/>
                <a:gd name="connsiteX55" fmla="*/ 1013916 w 5884232"/>
                <a:gd name="connsiteY55" fmla="*/ 5755327 h 6724315"/>
                <a:gd name="connsiteX56" fmla="*/ 817988 w 5884232"/>
                <a:gd name="connsiteY56" fmla="*/ 5548391 h 6724315"/>
                <a:gd name="connsiteX57" fmla="*/ 732703 w 5884232"/>
                <a:gd name="connsiteY57" fmla="*/ 5638146 h 6724315"/>
                <a:gd name="connsiteX58" fmla="*/ 430931 w 5884232"/>
                <a:gd name="connsiteY58" fmla="*/ 5323785 h 6724315"/>
                <a:gd name="connsiteX59" fmla="*/ 523257 w 5884232"/>
                <a:gd name="connsiteY59" fmla="*/ 5189370 h 6724315"/>
                <a:gd name="connsiteX60" fmla="*/ 41560 w 5884232"/>
                <a:gd name="connsiteY60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45840 w 5884232"/>
                <a:gd name="connsiteY50" fmla="*/ 6151747 h 6724315"/>
                <a:gd name="connsiteX51" fmla="*/ 1299739 w 5884232"/>
                <a:gd name="connsiteY51" fmla="*/ 6201610 h 6724315"/>
                <a:gd name="connsiteX52" fmla="*/ 1189098 w 5884232"/>
                <a:gd name="connsiteY52" fmla="*/ 6081936 h 6724315"/>
                <a:gd name="connsiteX53" fmla="*/ 1232893 w 5884232"/>
                <a:gd name="connsiteY53" fmla="*/ 6032071 h 6724315"/>
                <a:gd name="connsiteX54" fmla="*/ 1000086 w 5884232"/>
                <a:gd name="connsiteY54" fmla="*/ 5782751 h 6724315"/>
                <a:gd name="connsiteX55" fmla="*/ 1013916 w 5884232"/>
                <a:gd name="connsiteY55" fmla="*/ 5755327 h 6724315"/>
                <a:gd name="connsiteX56" fmla="*/ 817988 w 5884232"/>
                <a:gd name="connsiteY56" fmla="*/ 5548391 h 6724315"/>
                <a:gd name="connsiteX57" fmla="*/ 732703 w 5884232"/>
                <a:gd name="connsiteY57" fmla="*/ 5638146 h 6724315"/>
                <a:gd name="connsiteX58" fmla="*/ 430931 w 5884232"/>
                <a:gd name="connsiteY58" fmla="*/ 5323785 h 6724315"/>
                <a:gd name="connsiteX59" fmla="*/ 523257 w 5884232"/>
                <a:gd name="connsiteY59" fmla="*/ 5189370 h 6724315"/>
                <a:gd name="connsiteX60" fmla="*/ 41560 w 5884232"/>
                <a:gd name="connsiteY60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80415 w 5884232"/>
                <a:gd name="connsiteY50" fmla="*/ 6151746 h 6724315"/>
                <a:gd name="connsiteX51" fmla="*/ 1345840 w 5884232"/>
                <a:gd name="connsiteY51" fmla="*/ 6151747 h 6724315"/>
                <a:gd name="connsiteX52" fmla="*/ 1299739 w 5884232"/>
                <a:gd name="connsiteY52" fmla="*/ 6201610 h 6724315"/>
                <a:gd name="connsiteX53" fmla="*/ 1189098 w 5884232"/>
                <a:gd name="connsiteY53" fmla="*/ 6081936 h 6724315"/>
                <a:gd name="connsiteX54" fmla="*/ 1232893 w 5884232"/>
                <a:gd name="connsiteY54" fmla="*/ 6032071 h 6724315"/>
                <a:gd name="connsiteX55" fmla="*/ 1000086 w 5884232"/>
                <a:gd name="connsiteY55" fmla="*/ 5782751 h 6724315"/>
                <a:gd name="connsiteX56" fmla="*/ 1013916 w 5884232"/>
                <a:gd name="connsiteY56" fmla="*/ 5755327 h 6724315"/>
                <a:gd name="connsiteX57" fmla="*/ 817988 w 5884232"/>
                <a:gd name="connsiteY57" fmla="*/ 5548391 h 6724315"/>
                <a:gd name="connsiteX58" fmla="*/ 732703 w 5884232"/>
                <a:gd name="connsiteY58" fmla="*/ 5638146 h 6724315"/>
                <a:gd name="connsiteX59" fmla="*/ 430931 w 5884232"/>
                <a:gd name="connsiteY59" fmla="*/ 5323785 h 6724315"/>
                <a:gd name="connsiteX60" fmla="*/ 523257 w 5884232"/>
                <a:gd name="connsiteY60" fmla="*/ 5189370 h 6724315"/>
                <a:gd name="connsiteX61" fmla="*/ 41560 w 5884232"/>
                <a:gd name="connsiteY6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71195 w 5884232"/>
                <a:gd name="connsiteY50" fmla="*/ 6184157 h 6724315"/>
                <a:gd name="connsiteX51" fmla="*/ 1345840 w 5884232"/>
                <a:gd name="connsiteY51" fmla="*/ 6151747 h 6724315"/>
                <a:gd name="connsiteX52" fmla="*/ 1299739 w 5884232"/>
                <a:gd name="connsiteY52" fmla="*/ 6201610 h 6724315"/>
                <a:gd name="connsiteX53" fmla="*/ 1189098 w 5884232"/>
                <a:gd name="connsiteY53" fmla="*/ 6081936 h 6724315"/>
                <a:gd name="connsiteX54" fmla="*/ 1232893 w 5884232"/>
                <a:gd name="connsiteY54" fmla="*/ 6032071 h 6724315"/>
                <a:gd name="connsiteX55" fmla="*/ 1000086 w 5884232"/>
                <a:gd name="connsiteY55" fmla="*/ 5782751 h 6724315"/>
                <a:gd name="connsiteX56" fmla="*/ 1013916 w 5884232"/>
                <a:gd name="connsiteY56" fmla="*/ 5755327 h 6724315"/>
                <a:gd name="connsiteX57" fmla="*/ 817988 w 5884232"/>
                <a:gd name="connsiteY57" fmla="*/ 5548391 h 6724315"/>
                <a:gd name="connsiteX58" fmla="*/ 732703 w 5884232"/>
                <a:gd name="connsiteY58" fmla="*/ 5638146 h 6724315"/>
                <a:gd name="connsiteX59" fmla="*/ 430931 w 5884232"/>
                <a:gd name="connsiteY59" fmla="*/ 5323785 h 6724315"/>
                <a:gd name="connsiteX60" fmla="*/ 523257 w 5884232"/>
                <a:gd name="connsiteY60" fmla="*/ 5189370 h 6724315"/>
                <a:gd name="connsiteX61" fmla="*/ 41560 w 5884232"/>
                <a:gd name="connsiteY6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71195 w 5884232"/>
                <a:gd name="connsiteY50" fmla="*/ 6184157 h 6724315"/>
                <a:gd name="connsiteX51" fmla="*/ 1345840 w 5884232"/>
                <a:gd name="connsiteY51" fmla="*/ 6151747 h 6724315"/>
                <a:gd name="connsiteX52" fmla="*/ 1304349 w 5884232"/>
                <a:gd name="connsiteY52" fmla="*/ 6209090 h 6724315"/>
                <a:gd name="connsiteX53" fmla="*/ 1189098 w 5884232"/>
                <a:gd name="connsiteY53" fmla="*/ 6081936 h 6724315"/>
                <a:gd name="connsiteX54" fmla="*/ 1232893 w 5884232"/>
                <a:gd name="connsiteY54" fmla="*/ 6032071 h 6724315"/>
                <a:gd name="connsiteX55" fmla="*/ 1000086 w 5884232"/>
                <a:gd name="connsiteY55" fmla="*/ 5782751 h 6724315"/>
                <a:gd name="connsiteX56" fmla="*/ 1013916 w 5884232"/>
                <a:gd name="connsiteY56" fmla="*/ 5755327 h 6724315"/>
                <a:gd name="connsiteX57" fmla="*/ 817988 w 5884232"/>
                <a:gd name="connsiteY57" fmla="*/ 5548391 h 6724315"/>
                <a:gd name="connsiteX58" fmla="*/ 732703 w 5884232"/>
                <a:gd name="connsiteY58" fmla="*/ 5638146 h 6724315"/>
                <a:gd name="connsiteX59" fmla="*/ 430931 w 5884232"/>
                <a:gd name="connsiteY59" fmla="*/ 5323785 h 6724315"/>
                <a:gd name="connsiteX60" fmla="*/ 523257 w 5884232"/>
                <a:gd name="connsiteY60" fmla="*/ 5189370 h 6724315"/>
                <a:gd name="connsiteX61" fmla="*/ 41560 w 5884232"/>
                <a:gd name="connsiteY6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85024 w 5884232"/>
                <a:gd name="connsiteY49" fmla="*/ 6164212 h 6724315"/>
                <a:gd name="connsiteX50" fmla="*/ 1371195 w 5884232"/>
                <a:gd name="connsiteY50" fmla="*/ 6184157 h 6724315"/>
                <a:gd name="connsiteX51" fmla="*/ 1345840 w 5884232"/>
                <a:gd name="connsiteY51" fmla="*/ 6151747 h 6724315"/>
                <a:gd name="connsiteX52" fmla="*/ 1304349 w 5884232"/>
                <a:gd name="connsiteY52" fmla="*/ 6209090 h 6724315"/>
                <a:gd name="connsiteX53" fmla="*/ 1189098 w 5884232"/>
                <a:gd name="connsiteY53" fmla="*/ 6081936 h 6724315"/>
                <a:gd name="connsiteX54" fmla="*/ 1232893 w 5884232"/>
                <a:gd name="connsiteY54" fmla="*/ 6032071 h 6724315"/>
                <a:gd name="connsiteX55" fmla="*/ 1000086 w 5884232"/>
                <a:gd name="connsiteY55" fmla="*/ 5782751 h 6724315"/>
                <a:gd name="connsiteX56" fmla="*/ 1013916 w 5884232"/>
                <a:gd name="connsiteY56" fmla="*/ 5755327 h 6724315"/>
                <a:gd name="connsiteX57" fmla="*/ 817988 w 5884232"/>
                <a:gd name="connsiteY57" fmla="*/ 5548391 h 6724315"/>
                <a:gd name="connsiteX58" fmla="*/ 732703 w 5884232"/>
                <a:gd name="connsiteY58" fmla="*/ 5638146 h 6724315"/>
                <a:gd name="connsiteX59" fmla="*/ 430931 w 5884232"/>
                <a:gd name="connsiteY59" fmla="*/ 5323785 h 6724315"/>
                <a:gd name="connsiteX60" fmla="*/ 523257 w 5884232"/>
                <a:gd name="connsiteY60" fmla="*/ 5189370 h 6724315"/>
                <a:gd name="connsiteX61" fmla="*/ 41560 w 5884232"/>
                <a:gd name="connsiteY6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509496 w 5884232"/>
                <a:gd name="connsiteY49" fmla="*/ 6283886 h 6724315"/>
                <a:gd name="connsiteX50" fmla="*/ 1385024 w 5884232"/>
                <a:gd name="connsiteY50" fmla="*/ 6164212 h 6724315"/>
                <a:gd name="connsiteX51" fmla="*/ 1371195 w 5884232"/>
                <a:gd name="connsiteY51" fmla="*/ 6184157 h 6724315"/>
                <a:gd name="connsiteX52" fmla="*/ 1345840 w 5884232"/>
                <a:gd name="connsiteY52" fmla="*/ 6151747 h 6724315"/>
                <a:gd name="connsiteX53" fmla="*/ 1304349 w 5884232"/>
                <a:gd name="connsiteY53" fmla="*/ 6209090 h 6724315"/>
                <a:gd name="connsiteX54" fmla="*/ 1189098 w 5884232"/>
                <a:gd name="connsiteY54" fmla="*/ 6081936 h 6724315"/>
                <a:gd name="connsiteX55" fmla="*/ 1232893 w 5884232"/>
                <a:gd name="connsiteY55" fmla="*/ 6032071 h 6724315"/>
                <a:gd name="connsiteX56" fmla="*/ 1000086 w 5884232"/>
                <a:gd name="connsiteY56" fmla="*/ 5782751 h 6724315"/>
                <a:gd name="connsiteX57" fmla="*/ 1013916 w 5884232"/>
                <a:gd name="connsiteY57" fmla="*/ 5755327 h 6724315"/>
                <a:gd name="connsiteX58" fmla="*/ 817988 w 5884232"/>
                <a:gd name="connsiteY58" fmla="*/ 5548391 h 6724315"/>
                <a:gd name="connsiteX59" fmla="*/ 732703 w 5884232"/>
                <a:gd name="connsiteY59" fmla="*/ 5638146 h 6724315"/>
                <a:gd name="connsiteX60" fmla="*/ 430931 w 5884232"/>
                <a:gd name="connsiteY60" fmla="*/ 5323785 h 6724315"/>
                <a:gd name="connsiteX61" fmla="*/ 523257 w 5884232"/>
                <a:gd name="connsiteY61" fmla="*/ 5189370 h 6724315"/>
                <a:gd name="connsiteX62" fmla="*/ 41560 w 5884232"/>
                <a:gd name="connsiteY62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541767 w 5884232"/>
                <a:gd name="connsiteY49" fmla="*/ 6338736 h 6724315"/>
                <a:gd name="connsiteX50" fmla="*/ 1385024 w 5884232"/>
                <a:gd name="connsiteY50" fmla="*/ 6164212 h 6724315"/>
                <a:gd name="connsiteX51" fmla="*/ 1371195 w 5884232"/>
                <a:gd name="connsiteY51" fmla="*/ 6184157 h 6724315"/>
                <a:gd name="connsiteX52" fmla="*/ 1345840 w 5884232"/>
                <a:gd name="connsiteY52" fmla="*/ 6151747 h 6724315"/>
                <a:gd name="connsiteX53" fmla="*/ 1304349 w 5884232"/>
                <a:gd name="connsiteY53" fmla="*/ 6209090 h 6724315"/>
                <a:gd name="connsiteX54" fmla="*/ 1189098 w 5884232"/>
                <a:gd name="connsiteY54" fmla="*/ 6081936 h 6724315"/>
                <a:gd name="connsiteX55" fmla="*/ 1232893 w 5884232"/>
                <a:gd name="connsiteY55" fmla="*/ 6032071 h 6724315"/>
                <a:gd name="connsiteX56" fmla="*/ 1000086 w 5884232"/>
                <a:gd name="connsiteY56" fmla="*/ 5782751 h 6724315"/>
                <a:gd name="connsiteX57" fmla="*/ 1013916 w 5884232"/>
                <a:gd name="connsiteY57" fmla="*/ 5755327 h 6724315"/>
                <a:gd name="connsiteX58" fmla="*/ 817988 w 5884232"/>
                <a:gd name="connsiteY58" fmla="*/ 5548391 h 6724315"/>
                <a:gd name="connsiteX59" fmla="*/ 732703 w 5884232"/>
                <a:gd name="connsiteY59" fmla="*/ 5638146 h 6724315"/>
                <a:gd name="connsiteX60" fmla="*/ 430931 w 5884232"/>
                <a:gd name="connsiteY60" fmla="*/ 5323785 h 6724315"/>
                <a:gd name="connsiteX61" fmla="*/ 523257 w 5884232"/>
                <a:gd name="connsiteY61" fmla="*/ 5189370 h 6724315"/>
                <a:gd name="connsiteX62" fmla="*/ 41560 w 5884232"/>
                <a:gd name="connsiteY62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620137 w 5884232"/>
                <a:gd name="connsiteY49" fmla="*/ 6413532 h 6724315"/>
                <a:gd name="connsiteX50" fmla="*/ 1541767 w 5884232"/>
                <a:gd name="connsiteY50" fmla="*/ 6338736 h 6724315"/>
                <a:gd name="connsiteX51" fmla="*/ 1385024 w 5884232"/>
                <a:gd name="connsiteY51" fmla="*/ 6164212 h 6724315"/>
                <a:gd name="connsiteX52" fmla="*/ 1371195 w 5884232"/>
                <a:gd name="connsiteY52" fmla="*/ 6184157 h 6724315"/>
                <a:gd name="connsiteX53" fmla="*/ 1345840 w 5884232"/>
                <a:gd name="connsiteY53" fmla="*/ 6151747 h 6724315"/>
                <a:gd name="connsiteX54" fmla="*/ 1304349 w 5884232"/>
                <a:gd name="connsiteY54" fmla="*/ 6209090 h 6724315"/>
                <a:gd name="connsiteX55" fmla="*/ 1189098 w 5884232"/>
                <a:gd name="connsiteY55" fmla="*/ 6081936 h 6724315"/>
                <a:gd name="connsiteX56" fmla="*/ 1232893 w 5884232"/>
                <a:gd name="connsiteY56" fmla="*/ 6032071 h 6724315"/>
                <a:gd name="connsiteX57" fmla="*/ 1000086 w 5884232"/>
                <a:gd name="connsiteY57" fmla="*/ 5782751 h 6724315"/>
                <a:gd name="connsiteX58" fmla="*/ 1013916 w 5884232"/>
                <a:gd name="connsiteY58" fmla="*/ 5755327 h 6724315"/>
                <a:gd name="connsiteX59" fmla="*/ 817988 w 5884232"/>
                <a:gd name="connsiteY59" fmla="*/ 5548391 h 6724315"/>
                <a:gd name="connsiteX60" fmla="*/ 732703 w 5884232"/>
                <a:gd name="connsiteY60" fmla="*/ 5638146 h 6724315"/>
                <a:gd name="connsiteX61" fmla="*/ 430931 w 5884232"/>
                <a:gd name="connsiteY61" fmla="*/ 5323785 h 6724315"/>
                <a:gd name="connsiteX62" fmla="*/ 523257 w 5884232"/>
                <a:gd name="connsiteY62" fmla="*/ 5189370 h 6724315"/>
                <a:gd name="connsiteX63" fmla="*/ 41560 w 5884232"/>
                <a:gd name="connsiteY63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578647 w 5884232"/>
                <a:gd name="connsiteY49" fmla="*/ 6346215 h 6724315"/>
                <a:gd name="connsiteX50" fmla="*/ 1541767 w 5884232"/>
                <a:gd name="connsiteY50" fmla="*/ 6338736 h 6724315"/>
                <a:gd name="connsiteX51" fmla="*/ 1385024 w 5884232"/>
                <a:gd name="connsiteY51" fmla="*/ 6164212 h 6724315"/>
                <a:gd name="connsiteX52" fmla="*/ 1371195 w 5884232"/>
                <a:gd name="connsiteY52" fmla="*/ 6184157 h 6724315"/>
                <a:gd name="connsiteX53" fmla="*/ 1345840 w 5884232"/>
                <a:gd name="connsiteY53" fmla="*/ 6151747 h 6724315"/>
                <a:gd name="connsiteX54" fmla="*/ 1304349 w 5884232"/>
                <a:gd name="connsiteY54" fmla="*/ 6209090 h 6724315"/>
                <a:gd name="connsiteX55" fmla="*/ 1189098 w 5884232"/>
                <a:gd name="connsiteY55" fmla="*/ 6081936 h 6724315"/>
                <a:gd name="connsiteX56" fmla="*/ 1232893 w 5884232"/>
                <a:gd name="connsiteY56" fmla="*/ 6032071 h 6724315"/>
                <a:gd name="connsiteX57" fmla="*/ 1000086 w 5884232"/>
                <a:gd name="connsiteY57" fmla="*/ 5782751 h 6724315"/>
                <a:gd name="connsiteX58" fmla="*/ 1013916 w 5884232"/>
                <a:gd name="connsiteY58" fmla="*/ 5755327 h 6724315"/>
                <a:gd name="connsiteX59" fmla="*/ 817988 w 5884232"/>
                <a:gd name="connsiteY59" fmla="*/ 5548391 h 6724315"/>
                <a:gd name="connsiteX60" fmla="*/ 732703 w 5884232"/>
                <a:gd name="connsiteY60" fmla="*/ 5638146 h 6724315"/>
                <a:gd name="connsiteX61" fmla="*/ 430931 w 5884232"/>
                <a:gd name="connsiteY61" fmla="*/ 5323785 h 6724315"/>
                <a:gd name="connsiteX62" fmla="*/ 523257 w 5884232"/>
                <a:gd name="connsiteY62" fmla="*/ 5189370 h 6724315"/>
                <a:gd name="connsiteX63" fmla="*/ 41560 w 5884232"/>
                <a:gd name="connsiteY63" fmla="*/ 3281515 h 6724315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1928747 w 5884232"/>
                <a:gd name="connsiteY48" fmla="*/ 6734288 h 6734288"/>
                <a:gd name="connsiteX49" fmla="*/ 1578647 w 5884232"/>
                <a:gd name="connsiteY49" fmla="*/ 6346215 h 6734288"/>
                <a:gd name="connsiteX50" fmla="*/ 1541767 w 5884232"/>
                <a:gd name="connsiteY50" fmla="*/ 6338736 h 6734288"/>
                <a:gd name="connsiteX51" fmla="*/ 1385024 w 5884232"/>
                <a:gd name="connsiteY51" fmla="*/ 6164212 h 6734288"/>
                <a:gd name="connsiteX52" fmla="*/ 1371195 w 5884232"/>
                <a:gd name="connsiteY52" fmla="*/ 6184157 h 6734288"/>
                <a:gd name="connsiteX53" fmla="*/ 1345840 w 5884232"/>
                <a:gd name="connsiteY53" fmla="*/ 6151747 h 6734288"/>
                <a:gd name="connsiteX54" fmla="*/ 1304349 w 5884232"/>
                <a:gd name="connsiteY54" fmla="*/ 6209090 h 6734288"/>
                <a:gd name="connsiteX55" fmla="*/ 1189098 w 5884232"/>
                <a:gd name="connsiteY55" fmla="*/ 6081936 h 6734288"/>
                <a:gd name="connsiteX56" fmla="*/ 1232893 w 5884232"/>
                <a:gd name="connsiteY56" fmla="*/ 6032071 h 6734288"/>
                <a:gd name="connsiteX57" fmla="*/ 1000086 w 5884232"/>
                <a:gd name="connsiteY57" fmla="*/ 5782751 h 6734288"/>
                <a:gd name="connsiteX58" fmla="*/ 1013916 w 5884232"/>
                <a:gd name="connsiteY58" fmla="*/ 5755327 h 6734288"/>
                <a:gd name="connsiteX59" fmla="*/ 817988 w 5884232"/>
                <a:gd name="connsiteY59" fmla="*/ 5548391 h 6734288"/>
                <a:gd name="connsiteX60" fmla="*/ 732703 w 5884232"/>
                <a:gd name="connsiteY60" fmla="*/ 5638146 h 6734288"/>
                <a:gd name="connsiteX61" fmla="*/ 430931 w 5884232"/>
                <a:gd name="connsiteY61" fmla="*/ 5323785 h 6734288"/>
                <a:gd name="connsiteX62" fmla="*/ 523257 w 5884232"/>
                <a:gd name="connsiteY62" fmla="*/ 5189370 h 6734288"/>
                <a:gd name="connsiteX63" fmla="*/ 41560 w 5884232"/>
                <a:gd name="connsiteY63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800310 w 5884232"/>
                <a:gd name="connsiteY48" fmla="*/ 6545671 h 6734288"/>
                <a:gd name="connsiteX49" fmla="*/ 1928747 w 5884232"/>
                <a:gd name="connsiteY49" fmla="*/ 6734288 h 6734288"/>
                <a:gd name="connsiteX50" fmla="*/ 1578647 w 5884232"/>
                <a:gd name="connsiteY50" fmla="*/ 6346215 h 6734288"/>
                <a:gd name="connsiteX51" fmla="*/ 1541767 w 5884232"/>
                <a:gd name="connsiteY51" fmla="*/ 6338736 h 6734288"/>
                <a:gd name="connsiteX52" fmla="*/ 1385024 w 5884232"/>
                <a:gd name="connsiteY52" fmla="*/ 6164212 h 6734288"/>
                <a:gd name="connsiteX53" fmla="*/ 1371195 w 5884232"/>
                <a:gd name="connsiteY53" fmla="*/ 6184157 h 6734288"/>
                <a:gd name="connsiteX54" fmla="*/ 1345840 w 5884232"/>
                <a:gd name="connsiteY54" fmla="*/ 6151747 h 6734288"/>
                <a:gd name="connsiteX55" fmla="*/ 1304349 w 5884232"/>
                <a:gd name="connsiteY55" fmla="*/ 6209090 h 6734288"/>
                <a:gd name="connsiteX56" fmla="*/ 1189098 w 5884232"/>
                <a:gd name="connsiteY56" fmla="*/ 6081936 h 6734288"/>
                <a:gd name="connsiteX57" fmla="*/ 1232893 w 5884232"/>
                <a:gd name="connsiteY57" fmla="*/ 6032071 h 6734288"/>
                <a:gd name="connsiteX58" fmla="*/ 1000086 w 5884232"/>
                <a:gd name="connsiteY58" fmla="*/ 5782751 h 6734288"/>
                <a:gd name="connsiteX59" fmla="*/ 1013916 w 5884232"/>
                <a:gd name="connsiteY59" fmla="*/ 5755327 h 6734288"/>
                <a:gd name="connsiteX60" fmla="*/ 817988 w 5884232"/>
                <a:gd name="connsiteY60" fmla="*/ 5548391 h 6734288"/>
                <a:gd name="connsiteX61" fmla="*/ 732703 w 5884232"/>
                <a:gd name="connsiteY61" fmla="*/ 5638146 h 6734288"/>
                <a:gd name="connsiteX62" fmla="*/ 430931 w 5884232"/>
                <a:gd name="connsiteY62" fmla="*/ 5323785 h 6734288"/>
                <a:gd name="connsiteX63" fmla="*/ 523257 w 5884232"/>
                <a:gd name="connsiteY63" fmla="*/ 5189370 h 6734288"/>
                <a:gd name="connsiteX64" fmla="*/ 41560 w 5884232"/>
                <a:gd name="connsiteY64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615908 w 5884232"/>
                <a:gd name="connsiteY48" fmla="*/ 6593043 h 6734288"/>
                <a:gd name="connsiteX49" fmla="*/ 1928747 w 5884232"/>
                <a:gd name="connsiteY49" fmla="*/ 6734288 h 6734288"/>
                <a:gd name="connsiteX50" fmla="*/ 1578647 w 5884232"/>
                <a:gd name="connsiteY50" fmla="*/ 6346215 h 6734288"/>
                <a:gd name="connsiteX51" fmla="*/ 1541767 w 5884232"/>
                <a:gd name="connsiteY51" fmla="*/ 6338736 h 6734288"/>
                <a:gd name="connsiteX52" fmla="*/ 1385024 w 5884232"/>
                <a:gd name="connsiteY52" fmla="*/ 6164212 h 6734288"/>
                <a:gd name="connsiteX53" fmla="*/ 1371195 w 5884232"/>
                <a:gd name="connsiteY53" fmla="*/ 6184157 h 6734288"/>
                <a:gd name="connsiteX54" fmla="*/ 1345840 w 5884232"/>
                <a:gd name="connsiteY54" fmla="*/ 6151747 h 6734288"/>
                <a:gd name="connsiteX55" fmla="*/ 1304349 w 5884232"/>
                <a:gd name="connsiteY55" fmla="*/ 6209090 h 6734288"/>
                <a:gd name="connsiteX56" fmla="*/ 1189098 w 5884232"/>
                <a:gd name="connsiteY56" fmla="*/ 6081936 h 6734288"/>
                <a:gd name="connsiteX57" fmla="*/ 1232893 w 5884232"/>
                <a:gd name="connsiteY57" fmla="*/ 6032071 h 6734288"/>
                <a:gd name="connsiteX58" fmla="*/ 1000086 w 5884232"/>
                <a:gd name="connsiteY58" fmla="*/ 5782751 h 6734288"/>
                <a:gd name="connsiteX59" fmla="*/ 1013916 w 5884232"/>
                <a:gd name="connsiteY59" fmla="*/ 5755327 h 6734288"/>
                <a:gd name="connsiteX60" fmla="*/ 817988 w 5884232"/>
                <a:gd name="connsiteY60" fmla="*/ 5548391 h 6734288"/>
                <a:gd name="connsiteX61" fmla="*/ 732703 w 5884232"/>
                <a:gd name="connsiteY61" fmla="*/ 5638146 h 6734288"/>
                <a:gd name="connsiteX62" fmla="*/ 430931 w 5884232"/>
                <a:gd name="connsiteY62" fmla="*/ 5323785 h 6734288"/>
                <a:gd name="connsiteX63" fmla="*/ 523257 w 5884232"/>
                <a:gd name="connsiteY63" fmla="*/ 5189370 h 6734288"/>
                <a:gd name="connsiteX64" fmla="*/ 41560 w 5884232"/>
                <a:gd name="connsiteY64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611297 w 5884232"/>
                <a:gd name="connsiteY48" fmla="*/ 6590550 h 6734288"/>
                <a:gd name="connsiteX49" fmla="*/ 1928747 w 5884232"/>
                <a:gd name="connsiteY49" fmla="*/ 6734288 h 6734288"/>
                <a:gd name="connsiteX50" fmla="*/ 1578647 w 5884232"/>
                <a:gd name="connsiteY50" fmla="*/ 6346215 h 6734288"/>
                <a:gd name="connsiteX51" fmla="*/ 1541767 w 5884232"/>
                <a:gd name="connsiteY51" fmla="*/ 6338736 h 6734288"/>
                <a:gd name="connsiteX52" fmla="*/ 1385024 w 5884232"/>
                <a:gd name="connsiteY52" fmla="*/ 6164212 h 6734288"/>
                <a:gd name="connsiteX53" fmla="*/ 1371195 w 5884232"/>
                <a:gd name="connsiteY53" fmla="*/ 6184157 h 6734288"/>
                <a:gd name="connsiteX54" fmla="*/ 1345840 w 5884232"/>
                <a:gd name="connsiteY54" fmla="*/ 6151747 h 6734288"/>
                <a:gd name="connsiteX55" fmla="*/ 1304349 w 5884232"/>
                <a:gd name="connsiteY55" fmla="*/ 6209090 h 6734288"/>
                <a:gd name="connsiteX56" fmla="*/ 1189098 w 5884232"/>
                <a:gd name="connsiteY56" fmla="*/ 6081936 h 6734288"/>
                <a:gd name="connsiteX57" fmla="*/ 1232893 w 5884232"/>
                <a:gd name="connsiteY57" fmla="*/ 6032071 h 6734288"/>
                <a:gd name="connsiteX58" fmla="*/ 1000086 w 5884232"/>
                <a:gd name="connsiteY58" fmla="*/ 5782751 h 6734288"/>
                <a:gd name="connsiteX59" fmla="*/ 1013916 w 5884232"/>
                <a:gd name="connsiteY59" fmla="*/ 5755327 h 6734288"/>
                <a:gd name="connsiteX60" fmla="*/ 817988 w 5884232"/>
                <a:gd name="connsiteY60" fmla="*/ 5548391 h 6734288"/>
                <a:gd name="connsiteX61" fmla="*/ 732703 w 5884232"/>
                <a:gd name="connsiteY61" fmla="*/ 5638146 h 6734288"/>
                <a:gd name="connsiteX62" fmla="*/ 430931 w 5884232"/>
                <a:gd name="connsiteY62" fmla="*/ 5323785 h 6734288"/>
                <a:gd name="connsiteX63" fmla="*/ 523257 w 5884232"/>
                <a:gd name="connsiteY63" fmla="*/ 5189370 h 6734288"/>
                <a:gd name="connsiteX64" fmla="*/ 41560 w 5884232"/>
                <a:gd name="connsiteY64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779565 w 5884232"/>
                <a:gd name="connsiteY48" fmla="*/ 6555643 h 6734288"/>
                <a:gd name="connsiteX49" fmla="*/ 2611297 w 5884232"/>
                <a:gd name="connsiteY49" fmla="*/ 6590550 h 6734288"/>
                <a:gd name="connsiteX50" fmla="*/ 1928747 w 5884232"/>
                <a:gd name="connsiteY50" fmla="*/ 6734288 h 6734288"/>
                <a:gd name="connsiteX51" fmla="*/ 1578647 w 5884232"/>
                <a:gd name="connsiteY51" fmla="*/ 6346215 h 6734288"/>
                <a:gd name="connsiteX52" fmla="*/ 1541767 w 5884232"/>
                <a:gd name="connsiteY52" fmla="*/ 6338736 h 6734288"/>
                <a:gd name="connsiteX53" fmla="*/ 1385024 w 5884232"/>
                <a:gd name="connsiteY53" fmla="*/ 6164212 h 6734288"/>
                <a:gd name="connsiteX54" fmla="*/ 1371195 w 5884232"/>
                <a:gd name="connsiteY54" fmla="*/ 6184157 h 6734288"/>
                <a:gd name="connsiteX55" fmla="*/ 1345840 w 5884232"/>
                <a:gd name="connsiteY55" fmla="*/ 6151747 h 6734288"/>
                <a:gd name="connsiteX56" fmla="*/ 1304349 w 5884232"/>
                <a:gd name="connsiteY56" fmla="*/ 6209090 h 6734288"/>
                <a:gd name="connsiteX57" fmla="*/ 1189098 w 5884232"/>
                <a:gd name="connsiteY57" fmla="*/ 6081936 h 6734288"/>
                <a:gd name="connsiteX58" fmla="*/ 1232893 w 5884232"/>
                <a:gd name="connsiteY58" fmla="*/ 6032071 h 6734288"/>
                <a:gd name="connsiteX59" fmla="*/ 1000086 w 5884232"/>
                <a:gd name="connsiteY59" fmla="*/ 5782751 h 6734288"/>
                <a:gd name="connsiteX60" fmla="*/ 1013916 w 5884232"/>
                <a:gd name="connsiteY60" fmla="*/ 5755327 h 6734288"/>
                <a:gd name="connsiteX61" fmla="*/ 817988 w 5884232"/>
                <a:gd name="connsiteY61" fmla="*/ 5548391 h 6734288"/>
                <a:gd name="connsiteX62" fmla="*/ 732703 w 5884232"/>
                <a:gd name="connsiteY62" fmla="*/ 5638146 h 6734288"/>
                <a:gd name="connsiteX63" fmla="*/ 430931 w 5884232"/>
                <a:gd name="connsiteY63" fmla="*/ 5323785 h 6734288"/>
                <a:gd name="connsiteX64" fmla="*/ 523257 w 5884232"/>
                <a:gd name="connsiteY64" fmla="*/ 5189370 h 6734288"/>
                <a:gd name="connsiteX65" fmla="*/ 41560 w 5884232"/>
                <a:gd name="connsiteY65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689669 w 5884232"/>
                <a:gd name="connsiteY48" fmla="*/ 6682796 h 6734288"/>
                <a:gd name="connsiteX49" fmla="*/ 2611297 w 5884232"/>
                <a:gd name="connsiteY49" fmla="*/ 6590550 h 6734288"/>
                <a:gd name="connsiteX50" fmla="*/ 1928747 w 5884232"/>
                <a:gd name="connsiteY50" fmla="*/ 6734288 h 6734288"/>
                <a:gd name="connsiteX51" fmla="*/ 1578647 w 5884232"/>
                <a:gd name="connsiteY51" fmla="*/ 6346215 h 6734288"/>
                <a:gd name="connsiteX52" fmla="*/ 1541767 w 5884232"/>
                <a:gd name="connsiteY52" fmla="*/ 6338736 h 6734288"/>
                <a:gd name="connsiteX53" fmla="*/ 1385024 w 5884232"/>
                <a:gd name="connsiteY53" fmla="*/ 6164212 h 6734288"/>
                <a:gd name="connsiteX54" fmla="*/ 1371195 w 5884232"/>
                <a:gd name="connsiteY54" fmla="*/ 6184157 h 6734288"/>
                <a:gd name="connsiteX55" fmla="*/ 1345840 w 5884232"/>
                <a:gd name="connsiteY55" fmla="*/ 6151747 h 6734288"/>
                <a:gd name="connsiteX56" fmla="*/ 1304349 w 5884232"/>
                <a:gd name="connsiteY56" fmla="*/ 6209090 h 6734288"/>
                <a:gd name="connsiteX57" fmla="*/ 1189098 w 5884232"/>
                <a:gd name="connsiteY57" fmla="*/ 6081936 h 6734288"/>
                <a:gd name="connsiteX58" fmla="*/ 1232893 w 5884232"/>
                <a:gd name="connsiteY58" fmla="*/ 6032071 h 6734288"/>
                <a:gd name="connsiteX59" fmla="*/ 1000086 w 5884232"/>
                <a:gd name="connsiteY59" fmla="*/ 5782751 h 6734288"/>
                <a:gd name="connsiteX60" fmla="*/ 1013916 w 5884232"/>
                <a:gd name="connsiteY60" fmla="*/ 5755327 h 6734288"/>
                <a:gd name="connsiteX61" fmla="*/ 817988 w 5884232"/>
                <a:gd name="connsiteY61" fmla="*/ 5548391 h 6734288"/>
                <a:gd name="connsiteX62" fmla="*/ 732703 w 5884232"/>
                <a:gd name="connsiteY62" fmla="*/ 5638146 h 6734288"/>
                <a:gd name="connsiteX63" fmla="*/ 430931 w 5884232"/>
                <a:gd name="connsiteY63" fmla="*/ 5323785 h 6734288"/>
                <a:gd name="connsiteX64" fmla="*/ 523257 w 5884232"/>
                <a:gd name="connsiteY64" fmla="*/ 5189370 h 6734288"/>
                <a:gd name="connsiteX65" fmla="*/ 41560 w 5884232"/>
                <a:gd name="connsiteY65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344296 w 5884232"/>
                <a:gd name="connsiteY48" fmla="*/ 6500793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76913 w 5884232"/>
                <a:gd name="connsiteY48" fmla="*/ 6657865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949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192327 w 5884232"/>
                <a:gd name="connsiteY40" fmla="*/ 5064132 h 6734288"/>
                <a:gd name="connsiteX41" fmla="*/ 1548682 w 5884232"/>
                <a:gd name="connsiteY41" fmla="*/ 5436198 h 6734288"/>
                <a:gd name="connsiteX42" fmla="*/ 1610916 w 5884232"/>
                <a:gd name="connsiteY42" fmla="*/ 5418743 h 6734288"/>
                <a:gd name="connsiteX43" fmla="*/ 1714643 w 5884232"/>
                <a:gd name="connsiteY43" fmla="*/ 5533432 h 6734288"/>
                <a:gd name="connsiteX44" fmla="*/ 1693898 w 5884232"/>
                <a:gd name="connsiteY44" fmla="*/ 5598255 h 6734288"/>
                <a:gd name="connsiteX45" fmla="*/ 1783719 w 5884232"/>
                <a:gd name="connsiteY45" fmla="*/ 5692347 h 6734288"/>
                <a:gd name="connsiteX46" fmla="*/ 3084321 w 5884232"/>
                <a:gd name="connsiteY46" fmla="*/ 6017548 h 6734288"/>
                <a:gd name="connsiteX47" fmla="*/ 4209492 w 5884232"/>
                <a:gd name="connsiteY47" fmla="*/ 5644651 h 6734288"/>
                <a:gd name="connsiteX48" fmla="*/ 4406189 w 5884232"/>
                <a:gd name="connsiteY48" fmla="*/ 6217653 h 6734288"/>
                <a:gd name="connsiteX49" fmla="*/ 3067693 w 5884232"/>
                <a:gd name="connsiteY49" fmla="*/ 6660358 h 6734288"/>
                <a:gd name="connsiteX50" fmla="*/ 2689669 w 5884232"/>
                <a:gd name="connsiteY50" fmla="*/ 6682796 h 6734288"/>
                <a:gd name="connsiteX51" fmla="*/ 2611297 w 5884232"/>
                <a:gd name="connsiteY51" fmla="*/ 6590550 h 6734288"/>
                <a:gd name="connsiteX52" fmla="*/ 1928747 w 5884232"/>
                <a:gd name="connsiteY52" fmla="*/ 6734288 h 6734288"/>
                <a:gd name="connsiteX53" fmla="*/ 1578647 w 5884232"/>
                <a:gd name="connsiteY53" fmla="*/ 6346215 h 6734288"/>
                <a:gd name="connsiteX54" fmla="*/ 1541767 w 5884232"/>
                <a:gd name="connsiteY54" fmla="*/ 6338736 h 6734288"/>
                <a:gd name="connsiteX55" fmla="*/ 1385024 w 5884232"/>
                <a:gd name="connsiteY55" fmla="*/ 6164212 h 6734288"/>
                <a:gd name="connsiteX56" fmla="*/ 1371195 w 5884232"/>
                <a:gd name="connsiteY56" fmla="*/ 6184157 h 6734288"/>
                <a:gd name="connsiteX57" fmla="*/ 1345840 w 5884232"/>
                <a:gd name="connsiteY57" fmla="*/ 6151747 h 6734288"/>
                <a:gd name="connsiteX58" fmla="*/ 1304349 w 5884232"/>
                <a:gd name="connsiteY58" fmla="*/ 6209090 h 6734288"/>
                <a:gd name="connsiteX59" fmla="*/ 1189098 w 5884232"/>
                <a:gd name="connsiteY59" fmla="*/ 6081936 h 6734288"/>
                <a:gd name="connsiteX60" fmla="*/ 1232893 w 5884232"/>
                <a:gd name="connsiteY60" fmla="*/ 6032071 h 6734288"/>
                <a:gd name="connsiteX61" fmla="*/ 1000086 w 5884232"/>
                <a:gd name="connsiteY61" fmla="*/ 5782751 h 6734288"/>
                <a:gd name="connsiteX62" fmla="*/ 1013916 w 5884232"/>
                <a:gd name="connsiteY62" fmla="*/ 5755327 h 6734288"/>
                <a:gd name="connsiteX63" fmla="*/ 817988 w 5884232"/>
                <a:gd name="connsiteY63" fmla="*/ 5548391 h 6734288"/>
                <a:gd name="connsiteX64" fmla="*/ 732703 w 5884232"/>
                <a:gd name="connsiteY64" fmla="*/ 5638146 h 6734288"/>
                <a:gd name="connsiteX65" fmla="*/ 430931 w 5884232"/>
                <a:gd name="connsiteY65" fmla="*/ 5323785 h 6734288"/>
                <a:gd name="connsiteX66" fmla="*/ 523257 w 5884232"/>
                <a:gd name="connsiteY66" fmla="*/ 5189370 h 6734288"/>
                <a:gd name="connsiteX67" fmla="*/ 41560 w 5884232"/>
                <a:gd name="connsiteY67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192327 w 5884232"/>
                <a:gd name="connsiteY39" fmla="*/ 5064132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192327 w 5884232"/>
                <a:gd name="connsiteY39" fmla="*/ 5064132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430931 w 5884232"/>
                <a:gd name="connsiteY63" fmla="*/ 5323785 h 6734288"/>
                <a:gd name="connsiteX64" fmla="*/ 523257 w 5884232"/>
                <a:gd name="connsiteY64" fmla="*/ 5189370 h 6734288"/>
                <a:gd name="connsiteX65" fmla="*/ 41560 w 5884232"/>
                <a:gd name="connsiteY65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192327 w 5884232"/>
                <a:gd name="connsiteY39" fmla="*/ 5064132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523257 w 5884232"/>
                <a:gd name="connsiteY63" fmla="*/ 5189370 h 6734288"/>
                <a:gd name="connsiteX64" fmla="*/ 41560 w 5884232"/>
                <a:gd name="connsiteY64" fmla="*/ 3281515 h 6734288"/>
                <a:gd name="connsiteX0" fmla="*/ 0 w 5842672"/>
                <a:gd name="connsiteY0" fmla="*/ 3281515 h 6734288"/>
                <a:gd name="connsiteX1" fmla="*/ 209347 w 5842672"/>
                <a:gd name="connsiteY1" fmla="*/ 2374266 h 6734288"/>
                <a:gd name="connsiteX2" fmla="*/ 176616 w 5842672"/>
                <a:gd name="connsiteY2" fmla="*/ 2331944 h 6734288"/>
                <a:gd name="connsiteX3" fmla="*/ 248873 w 5842672"/>
                <a:gd name="connsiteY3" fmla="*/ 2067448 h 6734288"/>
                <a:gd name="connsiteX4" fmla="*/ 284589 w 5842672"/>
                <a:gd name="connsiteY4" fmla="*/ 2050403 h 6734288"/>
                <a:gd name="connsiteX5" fmla="*/ 1291946 w 5842672"/>
                <a:gd name="connsiteY5" fmla="*/ 647002 h 6734288"/>
                <a:gd name="connsiteX6" fmla="*/ 1504862 w 5842672"/>
                <a:gd name="connsiteY6" fmla="*/ 547251 h 6734288"/>
                <a:gd name="connsiteX7" fmla="*/ 1484801 w 5842672"/>
                <a:gd name="connsiteY7" fmla="*/ 432260 h 6734288"/>
                <a:gd name="connsiteX8" fmla="*/ 1680566 w 5842672"/>
                <a:gd name="connsiteY8" fmla="*/ 380302 h 6734288"/>
                <a:gd name="connsiteX9" fmla="*/ 1697939 w 5842672"/>
                <a:gd name="connsiteY9" fmla="*/ 481442 h 6734288"/>
                <a:gd name="connsiteX10" fmla="*/ 1825014 w 5842672"/>
                <a:gd name="connsiteY10" fmla="*/ 442651 h 6734288"/>
                <a:gd name="connsiteX11" fmla="*/ 1855493 w 5842672"/>
                <a:gd name="connsiteY11" fmla="*/ 393463 h 6734288"/>
                <a:gd name="connsiteX12" fmla="*/ 2091380 w 5842672"/>
                <a:gd name="connsiteY12" fmla="*/ 319342 h 6734288"/>
                <a:gd name="connsiteX13" fmla="*/ 2131835 w 5842672"/>
                <a:gd name="connsiteY13" fmla="*/ 352592 h 6734288"/>
                <a:gd name="connsiteX14" fmla="*/ 2328377 w 5842672"/>
                <a:gd name="connsiteY14" fmla="*/ 288171 h 6734288"/>
                <a:gd name="connsiteX15" fmla="*/ 2287589 w 5842672"/>
                <a:gd name="connsiteY15" fmla="*/ 119840 h 6734288"/>
                <a:gd name="connsiteX16" fmla="*/ 2670832 w 5842672"/>
                <a:gd name="connsiteY16" fmla="*/ 0 h 6734288"/>
                <a:gd name="connsiteX17" fmla="*/ 2719130 w 5842672"/>
                <a:gd name="connsiteY17" fmla="*/ 165560 h 6734288"/>
                <a:gd name="connsiteX18" fmla="*/ 4482681 w 5842672"/>
                <a:gd name="connsiteY18" fmla="*/ 680900 h 6734288"/>
                <a:gd name="connsiteX19" fmla="*/ 5032811 w 5842672"/>
                <a:gd name="connsiteY19" fmla="*/ 1291242 h 6734288"/>
                <a:gd name="connsiteX20" fmla="*/ 5094215 w 5842672"/>
                <a:gd name="connsiteY20" fmla="*/ 1298860 h 6734288"/>
                <a:gd name="connsiteX21" fmla="*/ 5259056 w 5842672"/>
                <a:gd name="connsiteY21" fmla="*/ 1479661 h 6734288"/>
                <a:gd name="connsiteX22" fmla="*/ 5259279 w 5842672"/>
                <a:gd name="connsiteY22" fmla="*/ 1535080 h 6734288"/>
                <a:gd name="connsiteX23" fmla="*/ 5420543 w 5842672"/>
                <a:gd name="connsiteY23" fmla="*/ 1726990 h 6734288"/>
                <a:gd name="connsiteX24" fmla="*/ 5800531 w 5842672"/>
                <a:gd name="connsiteY24" fmla="*/ 3519512 h 6734288"/>
                <a:gd name="connsiteX25" fmla="*/ 5608452 w 5842672"/>
                <a:gd name="connsiteY25" fmla="*/ 4385669 h 6734288"/>
                <a:gd name="connsiteX26" fmla="*/ 5738668 w 5842672"/>
                <a:gd name="connsiteY26" fmla="*/ 4452156 h 6734288"/>
                <a:gd name="connsiteX27" fmla="*/ 5669219 w 5842672"/>
                <a:gd name="connsiteY27" fmla="*/ 4870077 h 6734288"/>
                <a:gd name="connsiteX28" fmla="*/ 5511690 w 5842672"/>
                <a:gd name="connsiteY28" fmla="*/ 4807792 h 6734288"/>
                <a:gd name="connsiteX29" fmla="*/ 4368292 w 5842672"/>
                <a:gd name="connsiteY29" fmla="*/ 6212288 h 6734288"/>
                <a:gd name="connsiteX30" fmla="*/ 4172161 w 5842672"/>
                <a:gd name="connsiteY30" fmla="*/ 5643346 h 6734288"/>
                <a:gd name="connsiteX31" fmla="*/ 4989092 w 5842672"/>
                <a:gd name="connsiteY31" fmla="*/ 4596953 h 6734288"/>
                <a:gd name="connsiteX32" fmla="*/ 5269141 w 5842672"/>
                <a:gd name="connsiteY32" fmla="*/ 3352779 h 6734288"/>
                <a:gd name="connsiteX33" fmla="*/ 4950325 w 5842672"/>
                <a:gd name="connsiteY33" fmla="*/ 2049487 h 6734288"/>
                <a:gd name="connsiteX34" fmla="*/ 4133072 w 5842672"/>
                <a:gd name="connsiteY34" fmla="*/ 1163055 h 6734288"/>
                <a:gd name="connsiteX35" fmla="*/ 2838806 w 5842672"/>
                <a:gd name="connsiteY35" fmla="*/ 761302 h 6734288"/>
                <a:gd name="connsiteX36" fmla="*/ 1840586 w 5842672"/>
                <a:gd name="connsiteY36" fmla="*/ 1081342 h 6734288"/>
                <a:gd name="connsiteX37" fmla="*/ 831666 w 5842672"/>
                <a:gd name="connsiteY37" fmla="*/ 2111591 h 6734288"/>
                <a:gd name="connsiteX38" fmla="*/ 530331 w 5842672"/>
                <a:gd name="connsiteY38" fmla="*/ 3464807 h 6734288"/>
                <a:gd name="connsiteX39" fmla="*/ 1150767 w 5842672"/>
                <a:gd name="connsiteY39" fmla="*/ 5064132 h 6734288"/>
                <a:gd name="connsiteX40" fmla="*/ 1507122 w 5842672"/>
                <a:gd name="connsiteY40" fmla="*/ 5436198 h 6734288"/>
                <a:gd name="connsiteX41" fmla="*/ 1569356 w 5842672"/>
                <a:gd name="connsiteY41" fmla="*/ 5418743 h 6734288"/>
                <a:gd name="connsiteX42" fmla="*/ 1673083 w 5842672"/>
                <a:gd name="connsiteY42" fmla="*/ 5533432 h 6734288"/>
                <a:gd name="connsiteX43" fmla="*/ 1652338 w 5842672"/>
                <a:gd name="connsiteY43" fmla="*/ 5598255 h 6734288"/>
                <a:gd name="connsiteX44" fmla="*/ 1742159 w 5842672"/>
                <a:gd name="connsiteY44" fmla="*/ 5692347 h 6734288"/>
                <a:gd name="connsiteX45" fmla="*/ 3042761 w 5842672"/>
                <a:gd name="connsiteY45" fmla="*/ 6017548 h 6734288"/>
                <a:gd name="connsiteX46" fmla="*/ 4167932 w 5842672"/>
                <a:gd name="connsiteY46" fmla="*/ 5644651 h 6734288"/>
                <a:gd name="connsiteX47" fmla="*/ 4364629 w 5842672"/>
                <a:gd name="connsiteY47" fmla="*/ 6217653 h 6734288"/>
                <a:gd name="connsiteX48" fmla="*/ 3026133 w 5842672"/>
                <a:gd name="connsiteY48" fmla="*/ 6660358 h 6734288"/>
                <a:gd name="connsiteX49" fmla="*/ 2648109 w 5842672"/>
                <a:gd name="connsiteY49" fmla="*/ 6682796 h 6734288"/>
                <a:gd name="connsiteX50" fmla="*/ 2569737 w 5842672"/>
                <a:gd name="connsiteY50" fmla="*/ 6590550 h 6734288"/>
                <a:gd name="connsiteX51" fmla="*/ 1887187 w 5842672"/>
                <a:gd name="connsiteY51" fmla="*/ 6734288 h 6734288"/>
                <a:gd name="connsiteX52" fmla="*/ 1537087 w 5842672"/>
                <a:gd name="connsiteY52" fmla="*/ 6346215 h 6734288"/>
                <a:gd name="connsiteX53" fmla="*/ 1500207 w 5842672"/>
                <a:gd name="connsiteY53" fmla="*/ 6338736 h 6734288"/>
                <a:gd name="connsiteX54" fmla="*/ 1343464 w 5842672"/>
                <a:gd name="connsiteY54" fmla="*/ 6164212 h 6734288"/>
                <a:gd name="connsiteX55" fmla="*/ 1329635 w 5842672"/>
                <a:gd name="connsiteY55" fmla="*/ 6184157 h 6734288"/>
                <a:gd name="connsiteX56" fmla="*/ 1304280 w 5842672"/>
                <a:gd name="connsiteY56" fmla="*/ 6151747 h 6734288"/>
                <a:gd name="connsiteX57" fmla="*/ 1262789 w 5842672"/>
                <a:gd name="connsiteY57" fmla="*/ 6209090 h 6734288"/>
                <a:gd name="connsiteX58" fmla="*/ 1147538 w 5842672"/>
                <a:gd name="connsiteY58" fmla="*/ 6081936 h 6734288"/>
                <a:gd name="connsiteX59" fmla="*/ 1191333 w 5842672"/>
                <a:gd name="connsiteY59" fmla="*/ 6032071 h 6734288"/>
                <a:gd name="connsiteX60" fmla="*/ 958526 w 5842672"/>
                <a:gd name="connsiteY60" fmla="*/ 5782751 h 6734288"/>
                <a:gd name="connsiteX61" fmla="*/ 972356 w 5842672"/>
                <a:gd name="connsiteY61" fmla="*/ 5755327 h 6734288"/>
                <a:gd name="connsiteX62" fmla="*/ 776428 w 5842672"/>
                <a:gd name="connsiteY62" fmla="*/ 5548391 h 6734288"/>
                <a:gd name="connsiteX63" fmla="*/ 0 w 5842672"/>
                <a:gd name="connsiteY63" fmla="*/ 3281515 h 6734288"/>
                <a:gd name="connsiteX0" fmla="*/ 0 w 5842672"/>
                <a:gd name="connsiteY0" fmla="*/ 3281515 h 6734288"/>
                <a:gd name="connsiteX1" fmla="*/ 209347 w 5842672"/>
                <a:gd name="connsiteY1" fmla="*/ 2374266 h 6734288"/>
                <a:gd name="connsiteX2" fmla="*/ 176616 w 5842672"/>
                <a:gd name="connsiteY2" fmla="*/ 2331944 h 6734288"/>
                <a:gd name="connsiteX3" fmla="*/ 248873 w 5842672"/>
                <a:gd name="connsiteY3" fmla="*/ 2067448 h 6734288"/>
                <a:gd name="connsiteX4" fmla="*/ 284589 w 5842672"/>
                <a:gd name="connsiteY4" fmla="*/ 2050403 h 6734288"/>
                <a:gd name="connsiteX5" fmla="*/ 1291946 w 5842672"/>
                <a:gd name="connsiteY5" fmla="*/ 647002 h 6734288"/>
                <a:gd name="connsiteX6" fmla="*/ 1504862 w 5842672"/>
                <a:gd name="connsiteY6" fmla="*/ 547251 h 6734288"/>
                <a:gd name="connsiteX7" fmla="*/ 1484801 w 5842672"/>
                <a:gd name="connsiteY7" fmla="*/ 432260 h 6734288"/>
                <a:gd name="connsiteX8" fmla="*/ 1680566 w 5842672"/>
                <a:gd name="connsiteY8" fmla="*/ 380302 h 6734288"/>
                <a:gd name="connsiteX9" fmla="*/ 1697939 w 5842672"/>
                <a:gd name="connsiteY9" fmla="*/ 481442 h 6734288"/>
                <a:gd name="connsiteX10" fmla="*/ 1825014 w 5842672"/>
                <a:gd name="connsiteY10" fmla="*/ 442651 h 6734288"/>
                <a:gd name="connsiteX11" fmla="*/ 1855493 w 5842672"/>
                <a:gd name="connsiteY11" fmla="*/ 393463 h 6734288"/>
                <a:gd name="connsiteX12" fmla="*/ 2091380 w 5842672"/>
                <a:gd name="connsiteY12" fmla="*/ 319342 h 6734288"/>
                <a:gd name="connsiteX13" fmla="*/ 2131835 w 5842672"/>
                <a:gd name="connsiteY13" fmla="*/ 352592 h 6734288"/>
                <a:gd name="connsiteX14" fmla="*/ 2328377 w 5842672"/>
                <a:gd name="connsiteY14" fmla="*/ 288171 h 6734288"/>
                <a:gd name="connsiteX15" fmla="*/ 2287589 w 5842672"/>
                <a:gd name="connsiteY15" fmla="*/ 119840 h 6734288"/>
                <a:gd name="connsiteX16" fmla="*/ 2670832 w 5842672"/>
                <a:gd name="connsiteY16" fmla="*/ 0 h 6734288"/>
                <a:gd name="connsiteX17" fmla="*/ 2719130 w 5842672"/>
                <a:gd name="connsiteY17" fmla="*/ 165560 h 6734288"/>
                <a:gd name="connsiteX18" fmla="*/ 4482681 w 5842672"/>
                <a:gd name="connsiteY18" fmla="*/ 680900 h 6734288"/>
                <a:gd name="connsiteX19" fmla="*/ 5032811 w 5842672"/>
                <a:gd name="connsiteY19" fmla="*/ 1291242 h 6734288"/>
                <a:gd name="connsiteX20" fmla="*/ 5094215 w 5842672"/>
                <a:gd name="connsiteY20" fmla="*/ 1298860 h 6734288"/>
                <a:gd name="connsiteX21" fmla="*/ 5259056 w 5842672"/>
                <a:gd name="connsiteY21" fmla="*/ 1479661 h 6734288"/>
                <a:gd name="connsiteX22" fmla="*/ 5259279 w 5842672"/>
                <a:gd name="connsiteY22" fmla="*/ 1535080 h 6734288"/>
                <a:gd name="connsiteX23" fmla="*/ 5420543 w 5842672"/>
                <a:gd name="connsiteY23" fmla="*/ 1726990 h 6734288"/>
                <a:gd name="connsiteX24" fmla="*/ 5800531 w 5842672"/>
                <a:gd name="connsiteY24" fmla="*/ 3519512 h 6734288"/>
                <a:gd name="connsiteX25" fmla="*/ 5608452 w 5842672"/>
                <a:gd name="connsiteY25" fmla="*/ 4385669 h 6734288"/>
                <a:gd name="connsiteX26" fmla="*/ 5738668 w 5842672"/>
                <a:gd name="connsiteY26" fmla="*/ 4452156 h 6734288"/>
                <a:gd name="connsiteX27" fmla="*/ 5669219 w 5842672"/>
                <a:gd name="connsiteY27" fmla="*/ 4870077 h 6734288"/>
                <a:gd name="connsiteX28" fmla="*/ 5511690 w 5842672"/>
                <a:gd name="connsiteY28" fmla="*/ 4807792 h 6734288"/>
                <a:gd name="connsiteX29" fmla="*/ 4368292 w 5842672"/>
                <a:gd name="connsiteY29" fmla="*/ 6212288 h 6734288"/>
                <a:gd name="connsiteX30" fmla="*/ 4172161 w 5842672"/>
                <a:gd name="connsiteY30" fmla="*/ 5643346 h 6734288"/>
                <a:gd name="connsiteX31" fmla="*/ 4989092 w 5842672"/>
                <a:gd name="connsiteY31" fmla="*/ 4596953 h 6734288"/>
                <a:gd name="connsiteX32" fmla="*/ 5269141 w 5842672"/>
                <a:gd name="connsiteY32" fmla="*/ 3352779 h 6734288"/>
                <a:gd name="connsiteX33" fmla="*/ 4950325 w 5842672"/>
                <a:gd name="connsiteY33" fmla="*/ 2049487 h 6734288"/>
                <a:gd name="connsiteX34" fmla="*/ 4133072 w 5842672"/>
                <a:gd name="connsiteY34" fmla="*/ 1163055 h 6734288"/>
                <a:gd name="connsiteX35" fmla="*/ 2838806 w 5842672"/>
                <a:gd name="connsiteY35" fmla="*/ 761302 h 6734288"/>
                <a:gd name="connsiteX36" fmla="*/ 1840586 w 5842672"/>
                <a:gd name="connsiteY36" fmla="*/ 1081342 h 6734288"/>
                <a:gd name="connsiteX37" fmla="*/ 831666 w 5842672"/>
                <a:gd name="connsiteY37" fmla="*/ 2111591 h 6734288"/>
                <a:gd name="connsiteX38" fmla="*/ 1150767 w 5842672"/>
                <a:gd name="connsiteY38" fmla="*/ 5064132 h 6734288"/>
                <a:gd name="connsiteX39" fmla="*/ 1507122 w 5842672"/>
                <a:gd name="connsiteY39" fmla="*/ 5436198 h 6734288"/>
                <a:gd name="connsiteX40" fmla="*/ 1569356 w 5842672"/>
                <a:gd name="connsiteY40" fmla="*/ 5418743 h 6734288"/>
                <a:gd name="connsiteX41" fmla="*/ 1673083 w 5842672"/>
                <a:gd name="connsiteY41" fmla="*/ 5533432 h 6734288"/>
                <a:gd name="connsiteX42" fmla="*/ 1652338 w 5842672"/>
                <a:gd name="connsiteY42" fmla="*/ 5598255 h 6734288"/>
                <a:gd name="connsiteX43" fmla="*/ 1742159 w 5842672"/>
                <a:gd name="connsiteY43" fmla="*/ 5692347 h 6734288"/>
                <a:gd name="connsiteX44" fmla="*/ 3042761 w 5842672"/>
                <a:gd name="connsiteY44" fmla="*/ 6017548 h 6734288"/>
                <a:gd name="connsiteX45" fmla="*/ 4167932 w 5842672"/>
                <a:gd name="connsiteY45" fmla="*/ 5644651 h 6734288"/>
                <a:gd name="connsiteX46" fmla="*/ 4364629 w 5842672"/>
                <a:gd name="connsiteY46" fmla="*/ 6217653 h 6734288"/>
                <a:gd name="connsiteX47" fmla="*/ 3026133 w 5842672"/>
                <a:gd name="connsiteY47" fmla="*/ 6660358 h 6734288"/>
                <a:gd name="connsiteX48" fmla="*/ 2648109 w 5842672"/>
                <a:gd name="connsiteY48" fmla="*/ 6682796 h 6734288"/>
                <a:gd name="connsiteX49" fmla="*/ 2569737 w 5842672"/>
                <a:gd name="connsiteY49" fmla="*/ 6590550 h 6734288"/>
                <a:gd name="connsiteX50" fmla="*/ 1887187 w 5842672"/>
                <a:gd name="connsiteY50" fmla="*/ 6734288 h 6734288"/>
                <a:gd name="connsiteX51" fmla="*/ 1537087 w 5842672"/>
                <a:gd name="connsiteY51" fmla="*/ 6346215 h 6734288"/>
                <a:gd name="connsiteX52" fmla="*/ 1500207 w 5842672"/>
                <a:gd name="connsiteY52" fmla="*/ 6338736 h 6734288"/>
                <a:gd name="connsiteX53" fmla="*/ 1343464 w 5842672"/>
                <a:gd name="connsiteY53" fmla="*/ 6164212 h 6734288"/>
                <a:gd name="connsiteX54" fmla="*/ 1329635 w 5842672"/>
                <a:gd name="connsiteY54" fmla="*/ 6184157 h 6734288"/>
                <a:gd name="connsiteX55" fmla="*/ 1304280 w 5842672"/>
                <a:gd name="connsiteY55" fmla="*/ 6151747 h 6734288"/>
                <a:gd name="connsiteX56" fmla="*/ 1262789 w 5842672"/>
                <a:gd name="connsiteY56" fmla="*/ 6209090 h 6734288"/>
                <a:gd name="connsiteX57" fmla="*/ 1147538 w 5842672"/>
                <a:gd name="connsiteY57" fmla="*/ 6081936 h 6734288"/>
                <a:gd name="connsiteX58" fmla="*/ 1191333 w 5842672"/>
                <a:gd name="connsiteY58" fmla="*/ 6032071 h 6734288"/>
                <a:gd name="connsiteX59" fmla="*/ 958526 w 5842672"/>
                <a:gd name="connsiteY59" fmla="*/ 5782751 h 6734288"/>
                <a:gd name="connsiteX60" fmla="*/ 972356 w 5842672"/>
                <a:gd name="connsiteY60" fmla="*/ 5755327 h 6734288"/>
                <a:gd name="connsiteX61" fmla="*/ 776428 w 5842672"/>
                <a:gd name="connsiteY61" fmla="*/ 5548391 h 6734288"/>
                <a:gd name="connsiteX62" fmla="*/ 0 w 5842672"/>
                <a:gd name="connsiteY62" fmla="*/ 3281515 h 6734288"/>
                <a:gd name="connsiteX0" fmla="*/ 599812 w 5666056"/>
                <a:gd name="connsiteY0" fmla="*/ 5548391 h 6734288"/>
                <a:gd name="connsiteX1" fmla="*/ 32731 w 5666056"/>
                <a:gd name="connsiteY1" fmla="*/ 2374266 h 6734288"/>
                <a:gd name="connsiteX2" fmla="*/ 0 w 5666056"/>
                <a:gd name="connsiteY2" fmla="*/ 2331944 h 6734288"/>
                <a:gd name="connsiteX3" fmla="*/ 72257 w 5666056"/>
                <a:gd name="connsiteY3" fmla="*/ 2067448 h 6734288"/>
                <a:gd name="connsiteX4" fmla="*/ 107973 w 5666056"/>
                <a:gd name="connsiteY4" fmla="*/ 2050403 h 6734288"/>
                <a:gd name="connsiteX5" fmla="*/ 1115330 w 5666056"/>
                <a:gd name="connsiteY5" fmla="*/ 647002 h 6734288"/>
                <a:gd name="connsiteX6" fmla="*/ 1328246 w 5666056"/>
                <a:gd name="connsiteY6" fmla="*/ 547251 h 6734288"/>
                <a:gd name="connsiteX7" fmla="*/ 1308185 w 5666056"/>
                <a:gd name="connsiteY7" fmla="*/ 432260 h 6734288"/>
                <a:gd name="connsiteX8" fmla="*/ 1503950 w 5666056"/>
                <a:gd name="connsiteY8" fmla="*/ 380302 h 6734288"/>
                <a:gd name="connsiteX9" fmla="*/ 1521323 w 5666056"/>
                <a:gd name="connsiteY9" fmla="*/ 481442 h 6734288"/>
                <a:gd name="connsiteX10" fmla="*/ 1648398 w 5666056"/>
                <a:gd name="connsiteY10" fmla="*/ 442651 h 6734288"/>
                <a:gd name="connsiteX11" fmla="*/ 1678877 w 5666056"/>
                <a:gd name="connsiteY11" fmla="*/ 393463 h 6734288"/>
                <a:gd name="connsiteX12" fmla="*/ 1914764 w 5666056"/>
                <a:gd name="connsiteY12" fmla="*/ 319342 h 6734288"/>
                <a:gd name="connsiteX13" fmla="*/ 1955219 w 5666056"/>
                <a:gd name="connsiteY13" fmla="*/ 352592 h 6734288"/>
                <a:gd name="connsiteX14" fmla="*/ 2151761 w 5666056"/>
                <a:gd name="connsiteY14" fmla="*/ 288171 h 6734288"/>
                <a:gd name="connsiteX15" fmla="*/ 2110973 w 5666056"/>
                <a:gd name="connsiteY15" fmla="*/ 119840 h 6734288"/>
                <a:gd name="connsiteX16" fmla="*/ 2494216 w 5666056"/>
                <a:gd name="connsiteY16" fmla="*/ 0 h 6734288"/>
                <a:gd name="connsiteX17" fmla="*/ 2542514 w 5666056"/>
                <a:gd name="connsiteY17" fmla="*/ 165560 h 6734288"/>
                <a:gd name="connsiteX18" fmla="*/ 4306065 w 5666056"/>
                <a:gd name="connsiteY18" fmla="*/ 680900 h 6734288"/>
                <a:gd name="connsiteX19" fmla="*/ 4856195 w 5666056"/>
                <a:gd name="connsiteY19" fmla="*/ 1291242 h 6734288"/>
                <a:gd name="connsiteX20" fmla="*/ 4917599 w 5666056"/>
                <a:gd name="connsiteY20" fmla="*/ 1298860 h 6734288"/>
                <a:gd name="connsiteX21" fmla="*/ 5082440 w 5666056"/>
                <a:gd name="connsiteY21" fmla="*/ 1479661 h 6734288"/>
                <a:gd name="connsiteX22" fmla="*/ 5082663 w 5666056"/>
                <a:gd name="connsiteY22" fmla="*/ 1535080 h 6734288"/>
                <a:gd name="connsiteX23" fmla="*/ 5243927 w 5666056"/>
                <a:gd name="connsiteY23" fmla="*/ 1726990 h 6734288"/>
                <a:gd name="connsiteX24" fmla="*/ 5623915 w 5666056"/>
                <a:gd name="connsiteY24" fmla="*/ 3519512 h 6734288"/>
                <a:gd name="connsiteX25" fmla="*/ 5431836 w 5666056"/>
                <a:gd name="connsiteY25" fmla="*/ 4385669 h 6734288"/>
                <a:gd name="connsiteX26" fmla="*/ 5562052 w 5666056"/>
                <a:gd name="connsiteY26" fmla="*/ 4452156 h 6734288"/>
                <a:gd name="connsiteX27" fmla="*/ 5492603 w 5666056"/>
                <a:gd name="connsiteY27" fmla="*/ 4870077 h 6734288"/>
                <a:gd name="connsiteX28" fmla="*/ 5335074 w 5666056"/>
                <a:gd name="connsiteY28" fmla="*/ 4807792 h 6734288"/>
                <a:gd name="connsiteX29" fmla="*/ 4191676 w 5666056"/>
                <a:gd name="connsiteY29" fmla="*/ 6212288 h 6734288"/>
                <a:gd name="connsiteX30" fmla="*/ 3995545 w 5666056"/>
                <a:gd name="connsiteY30" fmla="*/ 5643346 h 6734288"/>
                <a:gd name="connsiteX31" fmla="*/ 4812476 w 5666056"/>
                <a:gd name="connsiteY31" fmla="*/ 4596953 h 6734288"/>
                <a:gd name="connsiteX32" fmla="*/ 5092525 w 5666056"/>
                <a:gd name="connsiteY32" fmla="*/ 3352779 h 6734288"/>
                <a:gd name="connsiteX33" fmla="*/ 4773709 w 5666056"/>
                <a:gd name="connsiteY33" fmla="*/ 2049487 h 6734288"/>
                <a:gd name="connsiteX34" fmla="*/ 3956456 w 5666056"/>
                <a:gd name="connsiteY34" fmla="*/ 1163055 h 6734288"/>
                <a:gd name="connsiteX35" fmla="*/ 2662190 w 5666056"/>
                <a:gd name="connsiteY35" fmla="*/ 761302 h 6734288"/>
                <a:gd name="connsiteX36" fmla="*/ 1663970 w 5666056"/>
                <a:gd name="connsiteY36" fmla="*/ 1081342 h 6734288"/>
                <a:gd name="connsiteX37" fmla="*/ 655050 w 5666056"/>
                <a:gd name="connsiteY37" fmla="*/ 2111591 h 6734288"/>
                <a:gd name="connsiteX38" fmla="*/ 974151 w 5666056"/>
                <a:gd name="connsiteY38" fmla="*/ 5064132 h 6734288"/>
                <a:gd name="connsiteX39" fmla="*/ 1330506 w 5666056"/>
                <a:gd name="connsiteY39" fmla="*/ 5436198 h 6734288"/>
                <a:gd name="connsiteX40" fmla="*/ 1392740 w 5666056"/>
                <a:gd name="connsiteY40" fmla="*/ 5418743 h 6734288"/>
                <a:gd name="connsiteX41" fmla="*/ 1496467 w 5666056"/>
                <a:gd name="connsiteY41" fmla="*/ 5533432 h 6734288"/>
                <a:gd name="connsiteX42" fmla="*/ 1475722 w 5666056"/>
                <a:gd name="connsiteY42" fmla="*/ 5598255 h 6734288"/>
                <a:gd name="connsiteX43" fmla="*/ 1565543 w 5666056"/>
                <a:gd name="connsiteY43" fmla="*/ 5692347 h 6734288"/>
                <a:gd name="connsiteX44" fmla="*/ 2866145 w 5666056"/>
                <a:gd name="connsiteY44" fmla="*/ 6017548 h 6734288"/>
                <a:gd name="connsiteX45" fmla="*/ 3991316 w 5666056"/>
                <a:gd name="connsiteY45" fmla="*/ 5644651 h 6734288"/>
                <a:gd name="connsiteX46" fmla="*/ 4188013 w 5666056"/>
                <a:gd name="connsiteY46" fmla="*/ 6217653 h 6734288"/>
                <a:gd name="connsiteX47" fmla="*/ 2849517 w 5666056"/>
                <a:gd name="connsiteY47" fmla="*/ 6660358 h 6734288"/>
                <a:gd name="connsiteX48" fmla="*/ 2471493 w 5666056"/>
                <a:gd name="connsiteY48" fmla="*/ 6682796 h 6734288"/>
                <a:gd name="connsiteX49" fmla="*/ 2393121 w 5666056"/>
                <a:gd name="connsiteY49" fmla="*/ 6590550 h 6734288"/>
                <a:gd name="connsiteX50" fmla="*/ 1710571 w 5666056"/>
                <a:gd name="connsiteY50" fmla="*/ 6734288 h 6734288"/>
                <a:gd name="connsiteX51" fmla="*/ 1360471 w 5666056"/>
                <a:gd name="connsiteY51" fmla="*/ 6346215 h 6734288"/>
                <a:gd name="connsiteX52" fmla="*/ 1323591 w 5666056"/>
                <a:gd name="connsiteY52" fmla="*/ 6338736 h 6734288"/>
                <a:gd name="connsiteX53" fmla="*/ 1166848 w 5666056"/>
                <a:gd name="connsiteY53" fmla="*/ 6164212 h 6734288"/>
                <a:gd name="connsiteX54" fmla="*/ 1153019 w 5666056"/>
                <a:gd name="connsiteY54" fmla="*/ 6184157 h 6734288"/>
                <a:gd name="connsiteX55" fmla="*/ 1127664 w 5666056"/>
                <a:gd name="connsiteY55" fmla="*/ 6151747 h 6734288"/>
                <a:gd name="connsiteX56" fmla="*/ 1086173 w 5666056"/>
                <a:gd name="connsiteY56" fmla="*/ 6209090 h 6734288"/>
                <a:gd name="connsiteX57" fmla="*/ 970922 w 5666056"/>
                <a:gd name="connsiteY57" fmla="*/ 6081936 h 6734288"/>
                <a:gd name="connsiteX58" fmla="*/ 1014717 w 5666056"/>
                <a:gd name="connsiteY58" fmla="*/ 6032071 h 6734288"/>
                <a:gd name="connsiteX59" fmla="*/ 781910 w 5666056"/>
                <a:gd name="connsiteY59" fmla="*/ 5782751 h 6734288"/>
                <a:gd name="connsiteX60" fmla="*/ 795740 w 5666056"/>
                <a:gd name="connsiteY60" fmla="*/ 5755327 h 6734288"/>
                <a:gd name="connsiteX61" fmla="*/ 599812 w 5666056"/>
                <a:gd name="connsiteY61" fmla="*/ 5548391 h 6734288"/>
                <a:gd name="connsiteX0" fmla="*/ 599812 w 5666056"/>
                <a:gd name="connsiteY0" fmla="*/ 5548391 h 6734288"/>
                <a:gd name="connsiteX1" fmla="*/ 0 w 5666056"/>
                <a:gd name="connsiteY1" fmla="*/ 2331944 h 6734288"/>
                <a:gd name="connsiteX2" fmla="*/ 72257 w 5666056"/>
                <a:gd name="connsiteY2" fmla="*/ 2067448 h 6734288"/>
                <a:gd name="connsiteX3" fmla="*/ 107973 w 5666056"/>
                <a:gd name="connsiteY3" fmla="*/ 2050403 h 6734288"/>
                <a:gd name="connsiteX4" fmla="*/ 1115330 w 5666056"/>
                <a:gd name="connsiteY4" fmla="*/ 647002 h 6734288"/>
                <a:gd name="connsiteX5" fmla="*/ 1328246 w 5666056"/>
                <a:gd name="connsiteY5" fmla="*/ 547251 h 6734288"/>
                <a:gd name="connsiteX6" fmla="*/ 1308185 w 5666056"/>
                <a:gd name="connsiteY6" fmla="*/ 432260 h 6734288"/>
                <a:gd name="connsiteX7" fmla="*/ 1503950 w 5666056"/>
                <a:gd name="connsiteY7" fmla="*/ 380302 h 6734288"/>
                <a:gd name="connsiteX8" fmla="*/ 1521323 w 5666056"/>
                <a:gd name="connsiteY8" fmla="*/ 481442 h 6734288"/>
                <a:gd name="connsiteX9" fmla="*/ 1648398 w 5666056"/>
                <a:gd name="connsiteY9" fmla="*/ 442651 h 6734288"/>
                <a:gd name="connsiteX10" fmla="*/ 1678877 w 5666056"/>
                <a:gd name="connsiteY10" fmla="*/ 393463 h 6734288"/>
                <a:gd name="connsiteX11" fmla="*/ 1914764 w 5666056"/>
                <a:gd name="connsiteY11" fmla="*/ 319342 h 6734288"/>
                <a:gd name="connsiteX12" fmla="*/ 1955219 w 5666056"/>
                <a:gd name="connsiteY12" fmla="*/ 352592 h 6734288"/>
                <a:gd name="connsiteX13" fmla="*/ 2151761 w 5666056"/>
                <a:gd name="connsiteY13" fmla="*/ 288171 h 6734288"/>
                <a:gd name="connsiteX14" fmla="*/ 2110973 w 5666056"/>
                <a:gd name="connsiteY14" fmla="*/ 119840 h 6734288"/>
                <a:gd name="connsiteX15" fmla="*/ 2494216 w 5666056"/>
                <a:gd name="connsiteY15" fmla="*/ 0 h 6734288"/>
                <a:gd name="connsiteX16" fmla="*/ 2542514 w 5666056"/>
                <a:gd name="connsiteY16" fmla="*/ 165560 h 6734288"/>
                <a:gd name="connsiteX17" fmla="*/ 4306065 w 5666056"/>
                <a:gd name="connsiteY17" fmla="*/ 680900 h 6734288"/>
                <a:gd name="connsiteX18" fmla="*/ 4856195 w 5666056"/>
                <a:gd name="connsiteY18" fmla="*/ 1291242 h 6734288"/>
                <a:gd name="connsiteX19" fmla="*/ 4917599 w 5666056"/>
                <a:gd name="connsiteY19" fmla="*/ 1298860 h 6734288"/>
                <a:gd name="connsiteX20" fmla="*/ 5082440 w 5666056"/>
                <a:gd name="connsiteY20" fmla="*/ 1479661 h 6734288"/>
                <a:gd name="connsiteX21" fmla="*/ 5082663 w 5666056"/>
                <a:gd name="connsiteY21" fmla="*/ 1535080 h 6734288"/>
                <a:gd name="connsiteX22" fmla="*/ 5243927 w 5666056"/>
                <a:gd name="connsiteY22" fmla="*/ 1726990 h 6734288"/>
                <a:gd name="connsiteX23" fmla="*/ 5623915 w 5666056"/>
                <a:gd name="connsiteY23" fmla="*/ 3519512 h 6734288"/>
                <a:gd name="connsiteX24" fmla="*/ 5431836 w 5666056"/>
                <a:gd name="connsiteY24" fmla="*/ 4385669 h 6734288"/>
                <a:gd name="connsiteX25" fmla="*/ 5562052 w 5666056"/>
                <a:gd name="connsiteY25" fmla="*/ 4452156 h 6734288"/>
                <a:gd name="connsiteX26" fmla="*/ 5492603 w 5666056"/>
                <a:gd name="connsiteY26" fmla="*/ 4870077 h 6734288"/>
                <a:gd name="connsiteX27" fmla="*/ 5335074 w 5666056"/>
                <a:gd name="connsiteY27" fmla="*/ 4807792 h 6734288"/>
                <a:gd name="connsiteX28" fmla="*/ 4191676 w 5666056"/>
                <a:gd name="connsiteY28" fmla="*/ 6212288 h 6734288"/>
                <a:gd name="connsiteX29" fmla="*/ 3995545 w 5666056"/>
                <a:gd name="connsiteY29" fmla="*/ 5643346 h 6734288"/>
                <a:gd name="connsiteX30" fmla="*/ 4812476 w 5666056"/>
                <a:gd name="connsiteY30" fmla="*/ 4596953 h 6734288"/>
                <a:gd name="connsiteX31" fmla="*/ 5092525 w 5666056"/>
                <a:gd name="connsiteY31" fmla="*/ 3352779 h 6734288"/>
                <a:gd name="connsiteX32" fmla="*/ 4773709 w 5666056"/>
                <a:gd name="connsiteY32" fmla="*/ 2049487 h 6734288"/>
                <a:gd name="connsiteX33" fmla="*/ 3956456 w 5666056"/>
                <a:gd name="connsiteY33" fmla="*/ 1163055 h 6734288"/>
                <a:gd name="connsiteX34" fmla="*/ 2662190 w 5666056"/>
                <a:gd name="connsiteY34" fmla="*/ 761302 h 6734288"/>
                <a:gd name="connsiteX35" fmla="*/ 1663970 w 5666056"/>
                <a:gd name="connsiteY35" fmla="*/ 1081342 h 6734288"/>
                <a:gd name="connsiteX36" fmla="*/ 655050 w 5666056"/>
                <a:gd name="connsiteY36" fmla="*/ 2111591 h 6734288"/>
                <a:gd name="connsiteX37" fmla="*/ 974151 w 5666056"/>
                <a:gd name="connsiteY37" fmla="*/ 5064132 h 6734288"/>
                <a:gd name="connsiteX38" fmla="*/ 1330506 w 5666056"/>
                <a:gd name="connsiteY38" fmla="*/ 5436198 h 6734288"/>
                <a:gd name="connsiteX39" fmla="*/ 1392740 w 5666056"/>
                <a:gd name="connsiteY39" fmla="*/ 5418743 h 6734288"/>
                <a:gd name="connsiteX40" fmla="*/ 1496467 w 5666056"/>
                <a:gd name="connsiteY40" fmla="*/ 5533432 h 6734288"/>
                <a:gd name="connsiteX41" fmla="*/ 1475722 w 5666056"/>
                <a:gd name="connsiteY41" fmla="*/ 5598255 h 6734288"/>
                <a:gd name="connsiteX42" fmla="*/ 1565543 w 5666056"/>
                <a:gd name="connsiteY42" fmla="*/ 5692347 h 6734288"/>
                <a:gd name="connsiteX43" fmla="*/ 2866145 w 5666056"/>
                <a:gd name="connsiteY43" fmla="*/ 6017548 h 6734288"/>
                <a:gd name="connsiteX44" fmla="*/ 3991316 w 5666056"/>
                <a:gd name="connsiteY44" fmla="*/ 5644651 h 6734288"/>
                <a:gd name="connsiteX45" fmla="*/ 4188013 w 5666056"/>
                <a:gd name="connsiteY45" fmla="*/ 6217653 h 6734288"/>
                <a:gd name="connsiteX46" fmla="*/ 2849517 w 5666056"/>
                <a:gd name="connsiteY46" fmla="*/ 6660358 h 6734288"/>
                <a:gd name="connsiteX47" fmla="*/ 2471493 w 5666056"/>
                <a:gd name="connsiteY47" fmla="*/ 6682796 h 6734288"/>
                <a:gd name="connsiteX48" fmla="*/ 2393121 w 5666056"/>
                <a:gd name="connsiteY48" fmla="*/ 6590550 h 6734288"/>
                <a:gd name="connsiteX49" fmla="*/ 1710571 w 5666056"/>
                <a:gd name="connsiteY49" fmla="*/ 6734288 h 6734288"/>
                <a:gd name="connsiteX50" fmla="*/ 1360471 w 5666056"/>
                <a:gd name="connsiteY50" fmla="*/ 6346215 h 6734288"/>
                <a:gd name="connsiteX51" fmla="*/ 1323591 w 5666056"/>
                <a:gd name="connsiteY51" fmla="*/ 6338736 h 6734288"/>
                <a:gd name="connsiteX52" fmla="*/ 1166848 w 5666056"/>
                <a:gd name="connsiteY52" fmla="*/ 6164212 h 6734288"/>
                <a:gd name="connsiteX53" fmla="*/ 1153019 w 5666056"/>
                <a:gd name="connsiteY53" fmla="*/ 6184157 h 6734288"/>
                <a:gd name="connsiteX54" fmla="*/ 1127664 w 5666056"/>
                <a:gd name="connsiteY54" fmla="*/ 6151747 h 6734288"/>
                <a:gd name="connsiteX55" fmla="*/ 1086173 w 5666056"/>
                <a:gd name="connsiteY55" fmla="*/ 6209090 h 6734288"/>
                <a:gd name="connsiteX56" fmla="*/ 970922 w 5666056"/>
                <a:gd name="connsiteY56" fmla="*/ 6081936 h 6734288"/>
                <a:gd name="connsiteX57" fmla="*/ 1014717 w 5666056"/>
                <a:gd name="connsiteY57" fmla="*/ 6032071 h 6734288"/>
                <a:gd name="connsiteX58" fmla="*/ 781910 w 5666056"/>
                <a:gd name="connsiteY58" fmla="*/ 5782751 h 6734288"/>
                <a:gd name="connsiteX59" fmla="*/ 795740 w 5666056"/>
                <a:gd name="connsiteY59" fmla="*/ 5755327 h 6734288"/>
                <a:gd name="connsiteX60" fmla="*/ 599812 w 5666056"/>
                <a:gd name="connsiteY60" fmla="*/ 5548391 h 6734288"/>
                <a:gd name="connsiteX0" fmla="*/ 527555 w 5593799"/>
                <a:gd name="connsiteY0" fmla="*/ 5548391 h 6734288"/>
                <a:gd name="connsiteX1" fmla="*/ 0 w 5593799"/>
                <a:gd name="connsiteY1" fmla="*/ 2067448 h 6734288"/>
                <a:gd name="connsiteX2" fmla="*/ 35716 w 5593799"/>
                <a:gd name="connsiteY2" fmla="*/ 2050403 h 6734288"/>
                <a:gd name="connsiteX3" fmla="*/ 1043073 w 5593799"/>
                <a:gd name="connsiteY3" fmla="*/ 647002 h 6734288"/>
                <a:gd name="connsiteX4" fmla="*/ 1255989 w 5593799"/>
                <a:gd name="connsiteY4" fmla="*/ 547251 h 6734288"/>
                <a:gd name="connsiteX5" fmla="*/ 1235928 w 5593799"/>
                <a:gd name="connsiteY5" fmla="*/ 432260 h 6734288"/>
                <a:gd name="connsiteX6" fmla="*/ 1431693 w 5593799"/>
                <a:gd name="connsiteY6" fmla="*/ 380302 h 6734288"/>
                <a:gd name="connsiteX7" fmla="*/ 1449066 w 5593799"/>
                <a:gd name="connsiteY7" fmla="*/ 481442 h 6734288"/>
                <a:gd name="connsiteX8" fmla="*/ 1576141 w 5593799"/>
                <a:gd name="connsiteY8" fmla="*/ 442651 h 6734288"/>
                <a:gd name="connsiteX9" fmla="*/ 1606620 w 5593799"/>
                <a:gd name="connsiteY9" fmla="*/ 393463 h 6734288"/>
                <a:gd name="connsiteX10" fmla="*/ 1842507 w 5593799"/>
                <a:gd name="connsiteY10" fmla="*/ 319342 h 6734288"/>
                <a:gd name="connsiteX11" fmla="*/ 1882962 w 5593799"/>
                <a:gd name="connsiteY11" fmla="*/ 352592 h 6734288"/>
                <a:gd name="connsiteX12" fmla="*/ 2079504 w 5593799"/>
                <a:gd name="connsiteY12" fmla="*/ 288171 h 6734288"/>
                <a:gd name="connsiteX13" fmla="*/ 2038716 w 5593799"/>
                <a:gd name="connsiteY13" fmla="*/ 119840 h 6734288"/>
                <a:gd name="connsiteX14" fmla="*/ 2421959 w 5593799"/>
                <a:gd name="connsiteY14" fmla="*/ 0 h 6734288"/>
                <a:gd name="connsiteX15" fmla="*/ 2470257 w 5593799"/>
                <a:gd name="connsiteY15" fmla="*/ 165560 h 6734288"/>
                <a:gd name="connsiteX16" fmla="*/ 4233808 w 5593799"/>
                <a:gd name="connsiteY16" fmla="*/ 680900 h 6734288"/>
                <a:gd name="connsiteX17" fmla="*/ 4783938 w 5593799"/>
                <a:gd name="connsiteY17" fmla="*/ 1291242 h 6734288"/>
                <a:gd name="connsiteX18" fmla="*/ 4845342 w 5593799"/>
                <a:gd name="connsiteY18" fmla="*/ 1298860 h 6734288"/>
                <a:gd name="connsiteX19" fmla="*/ 5010183 w 5593799"/>
                <a:gd name="connsiteY19" fmla="*/ 1479661 h 6734288"/>
                <a:gd name="connsiteX20" fmla="*/ 5010406 w 5593799"/>
                <a:gd name="connsiteY20" fmla="*/ 1535080 h 6734288"/>
                <a:gd name="connsiteX21" fmla="*/ 5171670 w 5593799"/>
                <a:gd name="connsiteY21" fmla="*/ 1726990 h 6734288"/>
                <a:gd name="connsiteX22" fmla="*/ 5551658 w 5593799"/>
                <a:gd name="connsiteY22" fmla="*/ 3519512 h 6734288"/>
                <a:gd name="connsiteX23" fmla="*/ 5359579 w 5593799"/>
                <a:gd name="connsiteY23" fmla="*/ 4385669 h 6734288"/>
                <a:gd name="connsiteX24" fmla="*/ 5489795 w 5593799"/>
                <a:gd name="connsiteY24" fmla="*/ 4452156 h 6734288"/>
                <a:gd name="connsiteX25" fmla="*/ 5420346 w 5593799"/>
                <a:gd name="connsiteY25" fmla="*/ 4870077 h 6734288"/>
                <a:gd name="connsiteX26" fmla="*/ 5262817 w 5593799"/>
                <a:gd name="connsiteY26" fmla="*/ 4807792 h 6734288"/>
                <a:gd name="connsiteX27" fmla="*/ 4119419 w 5593799"/>
                <a:gd name="connsiteY27" fmla="*/ 6212288 h 6734288"/>
                <a:gd name="connsiteX28" fmla="*/ 3923288 w 5593799"/>
                <a:gd name="connsiteY28" fmla="*/ 5643346 h 6734288"/>
                <a:gd name="connsiteX29" fmla="*/ 4740219 w 5593799"/>
                <a:gd name="connsiteY29" fmla="*/ 4596953 h 6734288"/>
                <a:gd name="connsiteX30" fmla="*/ 5020268 w 5593799"/>
                <a:gd name="connsiteY30" fmla="*/ 3352779 h 6734288"/>
                <a:gd name="connsiteX31" fmla="*/ 4701452 w 5593799"/>
                <a:gd name="connsiteY31" fmla="*/ 2049487 h 6734288"/>
                <a:gd name="connsiteX32" fmla="*/ 3884199 w 5593799"/>
                <a:gd name="connsiteY32" fmla="*/ 1163055 h 6734288"/>
                <a:gd name="connsiteX33" fmla="*/ 2589933 w 5593799"/>
                <a:gd name="connsiteY33" fmla="*/ 761302 h 6734288"/>
                <a:gd name="connsiteX34" fmla="*/ 1591713 w 5593799"/>
                <a:gd name="connsiteY34" fmla="*/ 1081342 h 6734288"/>
                <a:gd name="connsiteX35" fmla="*/ 582793 w 5593799"/>
                <a:gd name="connsiteY35" fmla="*/ 2111591 h 6734288"/>
                <a:gd name="connsiteX36" fmla="*/ 901894 w 5593799"/>
                <a:gd name="connsiteY36" fmla="*/ 5064132 h 6734288"/>
                <a:gd name="connsiteX37" fmla="*/ 1258249 w 5593799"/>
                <a:gd name="connsiteY37" fmla="*/ 5436198 h 6734288"/>
                <a:gd name="connsiteX38" fmla="*/ 1320483 w 5593799"/>
                <a:gd name="connsiteY38" fmla="*/ 5418743 h 6734288"/>
                <a:gd name="connsiteX39" fmla="*/ 1424210 w 5593799"/>
                <a:gd name="connsiteY39" fmla="*/ 5533432 h 6734288"/>
                <a:gd name="connsiteX40" fmla="*/ 1403465 w 5593799"/>
                <a:gd name="connsiteY40" fmla="*/ 5598255 h 6734288"/>
                <a:gd name="connsiteX41" fmla="*/ 1493286 w 5593799"/>
                <a:gd name="connsiteY41" fmla="*/ 5692347 h 6734288"/>
                <a:gd name="connsiteX42" fmla="*/ 2793888 w 5593799"/>
                <a:gd name="connsiteY42" fmla="*/ 6017548 h 6734288"/>
                <a:gd name="connsiteX43" fmla="*/ 3919059 w 5593799"/>
                <a:gd name="connsiteY43" fmla="*/ 5644651 h 6734288"/>
                <a:gd name="connsiteX44" fmla="*/ 4115756 w 5593799"/>
                <a:gd name="connsiteY44" fmla="*/ 6217653 h 6734288"/>
                <a:gd name="connsiteX45" fmla="*/ 2777260 w 5593799"/>
                <a:gd name="connsiteY45" fmla="*/ 6660358 h 6734288"/>
                <a:gd name="connsiteX46" fmla="*/ 2399236 w 5593799"/>
                <a:gd name="connsiteY46" fmla="*/ 6682796 h 6734288"/>
                <a:gd name="connsiteX47" fmla="*/ 2320864 w 5593799"/>
                <a:gd name="connsiteY47" fmla="*/ 6590550 h 6734288"/>
                <a:gd name="connsiteX48" fmla="*/ 1638314 w 5593799"/>
                <a:gd name="connsiteY48" fmla="*/ 6734288 h 6734288"/>
                <a:gd name="connsiteX49" fmla="*/ 1288214 w 5593799"/>
                <a:gd name="connsiteY49" fmla="*/ 6346215 h 6734288"/>
                <a:gd name="connsiteX50" fmla="*/ 1251334 w 5593799"/>
                <a:gd name="connsiteY50" fmla="*/ 6338736 h 6734288"/>
                <a:gd name="connsiteX51" fmla="*/ 1094591 w 5593799"/>
                <a:gd name="connsiteY51" fmla="*/ 6164212 h 6734288"/>
                <a:gd name="connsiteX52" fmla="*/ 1080762 w 5593799"/>
                <a:gd name="connsiteY52" fmla="*/ 6184157 h 6734288"/>
                <a:gd name="connsiteX53" fmla="*/ 1055407 w 5593799"/>
                <a:gd name="connsiteY53" fmla="*/ 6151747 h 6734288"/>
                <a:gd name="connsiteX54" fmla="*/ 1013916 w 5593799"/>
                <a:gd name="connsiteY54" fmla="*/ 6209090 h 6734288"/>
                <a:gd name="connsiteX55" fmla="*/ 898665 w 5593799"/>
                <a:gd name="connsiteY55" fmla="*/ 6081936 h 6734288"/>
                <a:gd name="connsiteX56" fmla="*/ 942460 w 5593799"/>
                <a:gd name="connsiteY56" fmla="*/ 6032071 h 6734288"/>
                <a:gd name="connsiteX57" fmla="*/ 709653 w 5593799"/>
                <a:gd name="connsiteY57" fmla="*/ 5782751 h 6734288"/>
                <a:gd name="connsiteX58" fmla="*/ 723483 w 5593799"/>
                <a:gd name="connsiteY58" fmla="*/ 5755327 h 6734288"/>
                <a:gd name="connsiteX59" fmla="*/ 527555 w 5593799"/>
                <a:gd name="connsiteY59" fmla="*/ 5548391 h 6734288"/>
                <a:gd name="connsiteX0" fmla="*/ 527555 w 5593799"/>
                <a:gd name="connsiteY0" fmla="*/ 5548391 h 6734288"/>
                <a:gd name="connsiteX1" fmla="*/ 0 w 5593799"/>
                <a:gd name="connsiteY1" fmla="*/ 2067448 h 6734288"/>
                <a:gd name="connsiteX2" fmla="*/ 1043073 w 5593799"/>
                <a:gd name="connsiteY2" fmla="*/ 647002 h 6734288"/>
                <a:gd name="connsiteX3" fmla="*/ 1255989 w 5593799"/>
                <a:gd name="connsiteY3" fmla="*/ 547251 h 6734288"/>
                <a:gd name="connsiteX4" fmla="*/ 1235928 w 5593799"/>
                <a:gd name="connsiteY4" fmla="*/ 432260 h 6734288"/>
                <a:gd name="connsiteX5" fmla="*/ 1431693 w 5593799"/>
                <a:gd name="connsiteY5" fmla="*/ 380302 h 6734288"/>
                <a:gd name="connsiteX6" fmla="*/ 1449066 w 5593799"/>
                <a:gd name="connsiteY6" fmla="*/ 481442 h 6734288"/>
                <a:gd name="connsiteX7" fmla="*/ 1576141 w 5593799"/>
                <a:gd name="connsiteY7" fmla="*/ 442651 h 6734288"/>
                <a:gd name="connsiteX8" fmla="*/ 1606620 w 5593799"/>
                <a:gd name="connsiteY8" fmla="*/ 393463 h 6734288"/>
                <a:gd name="connsiteX9" fmla="*/ 1842507 w 5593799"/>
                <a:gd name="connsiteY9" fmla="*/ 319342 h 6734288"/>
                <a:gd name="connsiteX10" fmla="*/ 1882962 w 5593799"/>
                <a:gd name="connsiteY10" fmla="*/ 352592 h 6734288"/>
                <a:gd name="connsiteX11" fmla="*/ 2079504 w 5593799"/>
                <a:gd name="connsiteY11" fmla="*/ 288171 h 6734288"/>
                <a:gd name="connsiteX12" fmla="*/ 2038716 w 5593799"/>
                <a:gd name="connsiteY12" fmla="*/ 119840 h 6734288"/>
                <a:gd name="connsiteX13" fmla="*/ 2421959 w 5593799"/>
                <a:gd name="connsiteY13" fmla="*/ 0 h 6734288"/>
                <a:gd name="connsiteX14" fmla="*/ 2470257 w 5593799"/>
                <a:gd name="connsiteY14" fmla="*/ 165560 h 6734288"/>
                <a:gd name="connsiteX15" fmla="*/ 4233808 w 5593799"/>
                <a:gd name="connsiteY15" fmla="*/ 680900 h 6734288"/>
                <a:gd name="connsiteX16" fmla="*/ 4783938 w 5593799"/>
                <a:gd name="connsiteY16" fmla="*/ 1291242 h 6734288"/>
                <a:gd name="connsiteX17" fmla="*/ 4845342 w 5593799"/>
                <a:gd name="connsiteY17" fmla="*/ 1298860 h 6734288"/>
                <a:gd name="connsiteX18" fmla="*/ 5010183 w 5593799"/>
                <a:gd name="connsiteY18" fmla="*/ 1479661 h 6734288"/>
                <a:gd name="connsiteX19" fmla="*/ 5010406 w 5593799"/>
                <a:gd name="connsiteY19" fmla="*/ 1535080 h 6734288"/>
                <a:gd name="connsiteX20" fmla="*/ 5171670 w 5593799"/>
                <a:gd name="connsiteY20" fmla="*/ 1726990 h 6734288"/>
                <a:gd name="connsiteX21" fmla="*/ 5551658 w 5593799"/>
                <a:gd name="connsiteY21" fmla="*/ 3519512 h 6734288"/>
                <a:gd name="connsiteX22" fmla="*/ 5359579 w 5593799"/>
                <a:gd name="connsiteY22" fmla="*/ 4385669 h 6734288"/>
                <a:gd name="connsiteX23" fmla="*/ 5489795 w 5593799"/>
                <a:gd name="connsiteY23" fmla="*/ 4452156 h 6734288"/>
                <a:gd name="connsiteX24" fmla="*/ 5420346 w 5593799"/>
                <a:gd name="connsiteY24" fmla="*/ 4870077 h 6734288"/>
                <a:gd name="connsiteX25" fmla="*/ 5262817 w 5593799"/>
                <a:gd name="connsiteY25" fmla="*/ 4807792 h 6734288"/>
                <a:gd name="connsiteX26" fmla="*/ 4119419 w 5593799"/>
                <a:gd name="connsiteY26" fmla="*/ 6212288 h 6734288"/>
                <a:gd name="connsiteX27" fmla="*/ 3923288 w 5593799"/>
                <a:gd name="connsiteY27" fmla="*/ 5643346 h 6734288"/>
                <a:gd name="connsiteX28" fmla="*/ 4740219 w 5593799"/>
                <a:gd name="connsiteY28" fmla="*/ 4596953 h 6734288"/>
                <a:gd name="connsiteX29" fmla="*/ 5020268 w 5593799"/>
                <a:gd name="connsiteY29" fmla="*/ 3352779 h 6734288"/>
                <a:gd name="connsiteX30" fmla="*/ 4701452 w 5593799"/>
                <a:gd name="connsiteY30" fmla="*/ 2049487 h 6734288"/>
                <a:gd name="connsiteX31" fmla="*/ 3884199 w 5593799"/>
                <a:gd name="connsiteY31" fmla="*/ 1163055 h 6734288"/>
                <a:gd name="connsiteX32" fmla="*/ 2589933 w 5593799"/>
                <a:gd name="connsiteY32" fmla="*/ 761302 h 6734288"/>
                <a:gd name="connsiteX33" fmla="*/ 1591713 w 5593799"/>
                <a:gd name="connsiteY33" fmla="*/ 1081342 h 6734288"/>
                <a:gd name="connsiteX34" fmla="*/ 582793 w 5593799"/>
                <a:gd name="connsiteY34" fmla="*/ 2111591 h 6734288"/>
                <a:gd name="connsiteX35" fmla="*/ 901894 w 5593799"/>
                <a:gd name="connsiteY35" fmla="*/ 5064132 h 6734288"/>
                <a:gd name="connsiteX36" fmla="*/ 1258249 w 5593799"/>
                <a:gd name="connsiteY36" fmla="*/ 5436198 h 6734288"/>
                <a:gd name="connsiteX37" fmla="*/ 1320483 w 5593799"/>
                <a:gd name="connsiteY37" fmla="*/ 5418743 h 6734288"/>
                <a:gd name="connsiteX38" fmla="*/ 1424210 w 5593799"/>
                <a:gd name="connsiteY38" fmla="*/ 5533432 h 6734288"/>
                <a:gd name="connsiteX39" fmla="*/ 1403465 w 5593799"/>
                <a:gd name="connsiteY39" fmla="*/ 5598255 h 6734288"/>
                <a:gd name="connsiteX40" fmla="*/ 1493286 w 5593799"/>
                <a:gd name="connsiteY40" fmla="*/ 5692347 h 6734288"/>
                <a:gd name="connsiteX41" fmla="*/ 2793888 w 5593799"/>
                <a:gd name="connsiteY41" fmla="*/ 6017548 h 6734288"/>
                <a:gd name="connsiteX42" fmla="*/ 3919059 w 5593799"/>
                <a:gd name="connsiteY42" fmla="*/ 5644651 h 6734288"/>
                <a:gd name="connsiteX43" fmla="*/ 4115756 w 5593799"/>
                <a:gd name="connsiteY43" fmla="*/ 6217653 h 6734288"/>
                <a:gd name="connsiteX44" fmla="*/ 2777260 w 5593799"/>
                <a:gd name="connsiteY44" fmla="*/ 6660358 h 6734288"/>
                <a:gd name="connsiteX45" fmla="*/ 2399236 w 5593799"/>
                <a:gd name="connsiteY45" fmla="*/ 6682796 h 6734288"/>
                <a:gd name="connsiteX46" fmla="*/ 2320864 w 5593799"/>
                <a:gd name="connsiteY46" fmla="*/ 6590550 h 6734288"/>
                <a:gd name="connsiteX47" fmla="*/ 1638314 w 5593799"/>
                <a:gd name="connsiteY47" fmla="*/ 6734288 h 6734288"/>
                <a:gd name="connsiteX48" fmla="*/ 1288214 w 5593799"/>
                <a:gd name="connsiteY48" fmla="*/ 6346215 h 6734288"/>
                <a:gd name="connsiteX49" fmla="*/ 1251334 w 5593799"/>
                <a:gd name="connsiteY49" fmla="*/ 6338736 h 6734288"/>
                <a:gd name="connsiteX50" fmla="*/ 1094591 w 5593799"/>
                <a:gd name="connsiteY50" fmla="*/ 6164212 h 6734288"/>
                <a:gd name="connsiteX51" fmla="*/ 1080762 w 5593799"/>
                <a:gd name="connsiteY51" fmla="*/ 6184157 h 6734288"/>
                <a:gd name="connsiteX52" fmla="*/ 1055407 w 5593799"/>
                <a:gd name="connsiteY52" fmla="*/ 6151747 h 6734288"/>
                <a:gd name="connsiteX53" fmla="*/ 1013916 w 5593799"/>
                <a:gd name="connsiteY53" fmla="*/ 6209090 h 6734288"/>
                <a:gd name="connsiteX54" fmla="*/ 898665 w 5593799"/>
                <a:gd name="connsiteY54" fmla="*/ 6081936 h 6734288"/>
                <a:gd name="connsiteX55" fmla="*/ 942460 w 5593799"/>
                <a:gd name="connsiteY55" fmla="*/ 6032071 h 6734288"/>
                <a:gd name="connsiteX56" fmla="*/ 709653 w 5593799"/>
                <a:gd name="connsiteY56" fmla="*/ 5782751 h 6734288"/>
                <a:gd name="connsiteX57" fmla="*/ 723483 w 5593799"/>
                <a:gd name="connsiteY57" fmla="*/ 5755327 h 6734288"/>
                <a:gd name="connsiteX58" fmla="*/ 527555 w 5593799"/>
                <a:gd name="connsiteY58" fmla="*/ 5548391 h 6734288"/>
                <a:gd name="connsiteX0" fmla="*/ 0 w 5066244"/>
                <a:gd name="connsiteY0" fmla="*/ 5548391 h 6734288"/>
                <a:gd name="connsiteX1" fmla="*/ 515518 w 5066244"/>
                <a:gd name="connsiteY1" fmla="*/ 647002 h 6734288"/>
                <a:gd name="connsiteX2" fmla="*/ 728434 w 5066244"/>
                <a:gd name="connsiteY2" fmla="*/ 547251 h 6734288"/>
                <a:gd name="connsiteX3" fmla="*/ 708373 w 5066244"/>
                <a:gd name="connsiteY3" fmla="*/ 432260 h 6734288"/>
                <a:gd name="connsiteX4" fmla="*/ 904138 w 5066244"/>
                <a:gd name="connsiteY4" fmla="*/ 380302 h 6734288"/>
                <a:gd name="connsiteX5" fmla="*/ 921511 w 5066244"/>
                <a:gd name="connsiteY5" fmla="*/ 481442 h 6734288"/>
                <a:gd name="connsiteX6" fmla="*/ 1048586 w 5066244"/>
                <a:gd name="connsiteY6" fmla="*/ 442651 h 6734288"/>
                <a:gd name="connsiteX7" fmla="*/ 1079065 w 5066244"/>
                <a:gd name="connsiteY7" fmla="*/ 393463 h 6734288"/>
                <a:gd name="connsiteX8" fmla="*/ 1314952 w 5066244"/>
                <a:gd name="connsiteY8" fmla="*/ 319342 h 6734288"/>
                <a:gd name="connsiteX9" fmla="*/ 1355407 w 5066244"/>
                <a:gd name="connsiteY9" fmla="*/ 352592 h 6734288"/>
                <a:gd name="connsiteX10" fmla="*/ 1551949 w 5066244"/>
                <a:gd name="connsiteY10" fmla="*/ 288171 h 6734288"/>
                <a:gd name="connsiteX11" fmla="*/ 1511161 w 5066244"/>
                <a:gd name="connsiteY11" fmla="*/ 119840 h 6734288"/>
                <a:gd name="connsiteX12" fmla="*/ 1894404 w 5066244"/>
                <a:gd name="connsiteY12" fmla="*/ 0 h 6734288"/>
                <a:gd name="connsiteX13" fmla="*/ 1942702 w 5066244"/>
                <a:gd name="connsiteY13" fmla="*/ 165560 h 6734288"/>
                <a:gd name="connsiteX14" fmla="*/ 3706253 w 5066244"/>
                <a:gd name="connsiteY14" fmla="*/ 680900 h 6734288"/>
                <a:gd name="connsiteX15" fmla="*/ 4256383 w 5066244"/>
                <a:gd name="connsiteY15" fmla="*/ 1291242 h 6734288"/>
                <a:gd name="connsiteX16" fmla="*/ 4317787 w 5066244"/>
                <a:gd name="connsiteY16" fmla="*/ 1298860 h 6734288"/>
                <a:gd name="connsiteX17" fmla="*/ 4482628 w 5066244"/>
                <a:gd name="connsiteY17" fmla="*/ 1479661 h 6734288"/>
                <a:gd name="connsiteX18" fmla="*/ 4482851 w 5066244"/>
                <a:gd name="connsiteY18" fmla="*/ 1535080 h 6734288"/>
                <a:gd name="connsiteX19" fmla="*/ 4644115 w 5066244"/>
                <a:gd name="connsiteY19" fmla="*/ 1726990 h 6734288"/>
                <a:gd name="connsiteX20" fmla="*/ 5024103 w 5066244"/>
                <a:gd name="connsiteY20" fmla="*/ 3519512 h 6734288"/>
                <a:gd name="connsiteX21" fmla="*/ 4832024 w 5066244"/>
                <a:gd name="connsiteY21" fmla="*/ 4385669 h 6734288"/>
                <a:gd name="connsiteX22" fmla="*/ 4962240 w 5066244"/>
                <a:gd name="connsiteY22" fmla="*/ 4452156 h 6734288"/>
                <a:gd name="connsiteX23" fmla="*/ 4892791 w 5066244"/>
                <a:gd name="connsiteY23" fmla="*/ 4870077 h 6734288"/>
                <a:gd name="connsiteX24" fmla="*/ 4735262 w 5066244"/>
                <a:gd name="connsiteY24" fmla="*/ 4807792 h 6734288"/>
                <a:gd name="connsiteX25" fmla="*/ 3591864 w 5066244"/>
                <a:gd name="connsiteY25" fmla="*/ 6212288 h 6734288"/>
                <a:gd name="connsiteX26" fmla="*/ 3395733 w 5066244"/>
                <a:gd name="connsiteY26" fmla="*/ 5643346 h 6734288"/>
                <a:gd name="connsiteX27" fmla="*/ 4212664 w 5066244"/>
                <a:gd name="connsiteY27" fmla="*/ 4596953 h 6734288"/>
                <a:gd name="connsiteX28" fmla="*/ 4492713 w 5066244"/>
                <a:gd name="connsiteY28" fmla="*/ 3352779 h 6734288"/>
                <a:gd name="connsiteX29" fmla="*/ 4173897 w 5066244"/>
                <a:gd name="connsiteY29" fmla="*/ 2049487 h 6734288"/>
                <a:gd name="connsiteX30" fmla="*/ 3356644 w 5066244"/>
                <a:gd name="connsiteY30" fmla="*/ 1163055 h 6734288"/>
                <a:gd name="connsiteX31" fmla="*/ 2062378 w 5066244"/>
                <a:gd name="connsiteY31" fmla="*/ 761302 h 6734288"/>
                <a:gd name="connsiteX32" fmla="*/ 1064158 w 5066244"/>
                <a:gd name="connsiteY32" fmla="*/ 1081342 h 6734288"/>
                <a:gd name="connsiteX33" fmla="*/ 55238 w 5066244"/>
                <a:gd name="connsiteY33" fmla="*/ 2111591 h 6734288"/>
                <a:gd name="connsiteX34" fmla="*/ 374339 w 5066244"/>
                <a:gd name="connsiteY34" fmla="*/ 5064132 h 6734288"/>
                <a:gd name="connsiteX35" fmla="*/ 730694 w 5066244"/>
                <a:gd name="connsiteY35" fmla="*/ 5436198 h 6734288"/>
                <a:gd name="connsiteX36" fmla="*/ 792928 w 5066244"/>
                <a:gd name="connsiteY36" fmla="*/ 5418743 h 6734288"/>
                <a:gd name="connsiteX37" fmla="*/ 896655 w 5066244"/>
                <a:gd name="connsiteY37" fmla="*/ 5533432 h 6734288"/>
                <a:gd name="connsiteX38" fmla="*/ 875910 w 5066244"/>
                <a:gd name="connsiteY38" fmla="*/ 5598255 h 6734288"/>
                <a:gd name="connsiteX39" fmla="*/ 965731 w 5066244"/>
                <a:gd name="connsiteY39" fmla="*/ 5692347 h 6734288"/>
                <a:gd name="connsiteX40" fmla="*/ 2266333 w 5066244"/>
                <a:gd name="connsiteY40" fmla="*/ 6017548 h 6734288"/>
                <a:gd name="connsiteX41" fmla="*/ 3391504 w 5066244"/>
                <a:gd name="connsiteY41" fmla="*/ 5644651 h 6734288"/>
                <a:gd name="connsiteX42" fmla="*/ 3588201 w 5066244"/>
                <a:gd name="connsiteY42" fmla="*/ 6217653 h 6734288"/>
                <a:gd name="connsiteX43" fmla="*/ 2249705 w 5066244"/>
                <a:gd name="connsiteY43" fmla="*/ 6660358 h 6734288"/>
                <a:gd name="connsiteX44" fmla="*/ 1871681 w 5066244"/>
                <a:gd name="connsiteY44" fmla="*/ 6682796 h 6734288"/>
                <a:gd name="connsiteX45" fmla="*/ 1793309 w 5066244"/>
                <a:gd name="connsiteY45" fmla="*/ 6590550 h 6734288"/>
                <a:gd name="connsiteX46" fmla="*/ 1110759 w 5066244"/>
                <a:gd name="connsiteY46" fmla="*/ 6734288 h 6734288"/>
                <a:gd name="connsiteX47" fmla="*/ 760659 w 5066244"/>
                <a:gd name="connsiteY47" fmla="*/ 6346215 h 6734288"/>
                <a:gd name="connsiteX48" fmla="*/ 723779 w 5066244"/>
                <a:gd name="connsiteY48" fmla="*/ 6338736 h 6734288"/>
                <a:gd name="connsiteX49" fmla="*/ 567036 w 5066244"/>
                <a:gd name="connsiteY49" fmla="*/ 6164212 h 6734288"/>
                <a:gd name="connsiteX50" fmla="*/ 553207 w 5066244"/>
                <a:gd name="connsiteY50" fmla="*/ 6184157 h 6734288"/>
                <a:gd name="connsiteX51" fmla="*/ 527852 w 5066244"/>
                <a:gd name="connsiteY51" fmla="*/ 6151747 h 6734288"/>
                <a:gd name="connsiteX52" fmla="*/ 486361 w 5066244"/>
                <a:gd name="connsiteY52" fmla="*/ 6209090 h 6734288"/>
                <a:gd name="connsiteX53" fmla="*/ 371110 w 5066244"/>
                <a:gd name="connsiteY53" fmla="*/ 6081936 h 6734288"/>
                <a:gd name="connsiteX54" fmla="*/ 414905 w 5066244"/>
                <a:gd name="connsiteY54" fmla="*/ 6032071 h 6734288"/>
                <a:gd name="connsiteX55" fmla="*/ 182098 w 5066244"/>
                <a:gd name="connsiteY55" fmla="*/ 5782751 h 6734288"/>
                <a:gd name="connsiteX56" fmla="*/ 195928 w 5066244"/>
                <a:gd name="connsiteY56" fmla="*/ 5755327 h 6734288"/>
                <a:gd name="connsiteX57" fmla="*/ 0 w 5066244"/>
                <a:gd name="connsiteY57" fmla="*/ 5548391 h 6734288"/>
                <a:gd name="connsiteX0" fmla="*/ 0 w 5066244"/>
                <a:gd name="connsiteY0" fmla="*/ 5548391 h 6734288"/>
                <a:gd name="connsiteX1" fmla="*/ 515518 w 5066244"/>
                <a:gd name="connsiteY1" fmla="*/ 647002 h 6734288"/>
                <a:gd name="connsiteX2" fmla="*/ 728434 w 5066244"/>
                <a:gd name="connsiteY2" fmla="*/ 547251 h 6734288"/>
                <a:gd name="connsiteX3" fmla="*/ 708373 w 5066244"/>
                <a:gd name="connsiteY3" fmla="*/ 432260 h 6734288"/>
                <a:gd name="connsiteX4" fmla="*/ 904138 w 5066244"/>
                <a:gd name="connsiteY4" fmla="*/ 380302 h 6734288"/>
                <a:gd name="connsiteX5" fmla="*/ 921511 w 5066244"/>
                <a:gd name="connsiteY5" fmla="*/ 481442 h 6734288"/>
                <a:gd name="connsiteX6" fmla="*/ 1048586 w 5066244"/>
                <a:gd name="connsiteY6" fmla="*/ 442651 h 6734288"/>
                <a:gd name="connsiteX7" fmla="*/ 1079065 w 5066244"/>
                <a:gd name="connsiteY7" fmla="*/ 393463 h 6734288"/>
                <a:gd name="connsiteX8" fmla="*/ 1314952 w 5066244"/>
                <a:gd name="connsiteY8" fmla="*/ 319342 h 6734288"/>
                <a:gd name="connsiteX9" fmla="*/ 1355407 w 5066244"/>
                <a:gd name="connsiteY9" fmla="*/ 352592 h 6734288"/>
                <a:gd name="connsiteX10" fmla="*/ 1551949 w 5066244"/>
                <a:gd name="connsiteY10" fmla="*/ 288171 h 6734288"/>
                <a:gd name="connsiteX11" fmla="*/ 1511161 w 5066244"/>
                <a:gd name="connsiteY11" fmla="*/ 119840 h 6734288"/>
                <a:gd name="connsiteX12" fmla="*/ 1894404 w 5066244"/>
                <a:gd name="connsiteY12" fmla="*/ 0 h 6734288"/>
                <a:gd name="connsiteX13" fmla="*/ 1942702 w 5066244"/>
                <a:gd name="connsiteY13" fmla="*/ 165560 h 6734288"/>
                <a:gd name="connsiteX14" fmla="*/ 3706253 w 5066244"/>
                <a:gd name="connsiteY14" fmla="*/ 680900 h 6734288"/>
                <a:gd name="connsiteX15" fmla="*/ 4256383 w 5066244"/>
                <a:gd name="connsiteY15" fmla="*/ 1291242 h 6734288"/>
                <a:gd name="connsiteX16" fmla="*/ 4317787 w 5066244"/>
                <a:gd name="connsiteY16" fmla="*/ 1298860 h 6734288"/>
                <a:gd name="connsiteX17" fmla="*/ 4482628 w 5066244"/>
                <a:gd name="connsiteY17" fmla="*/ 1479661 h 6734288"/>
                <a:gd name="connsiteX18" fmla="*/ 4482851 w 5066244"/>
                <a:gd name="connsiteY18" fmla="*/ 1535080 h 6734288"/>
                <a:gd name="connsiteX19" fmla="*/ 4644115 w 5066244"/>
                <a:gd name="connsiteY19" fmla="*/ 1726990 h 6734288"/>
                <a:gd name="connsiteX20" fmla="*/ 5024103 w 5066244"/>
                <a:gd name="connsiteY20" fmla="*/ 3519512 h 6734288"/>
                <a:gd name="connsiteX21" fmla="*/ 4832024 w 5066244"/>
                <a:gd name="connsiteY21" fmla="*/ 4385669 h 6734288"/>
                <a:gd name="connsiteX22" fmla="*/ 4962240 w 5066244"/>
                <a:gd name="connsiteY22" fmla="*/ 4452156 h 6734288"/>
                <a:gd name="connsiteX23" fmla="*/ 4892791 w 5066244"/>
                <a:gd name="connsiteY23" fmla="*/ 4870077 h 6734288"/>
                <a:gd name="connsiteX24" fmla="*/ 4735262 w 5066244"/>
                <a:gd name="connsiteY24" fmla="*/ 4807792 h 6734288"/>
                <a:gd name="connsiteX25" fmla="*/ 3591864 w 5066244"/>
                <a:gd name="connsiteY25" fmla="*/ 6212288 h 6734288"/>
                <a:gd name="connsiteX26" fmla="*/ 3395733 w 5066244"/>
                <a:gd name="connsiteY26" fmla="*/ 5643346 h 6734288"/>
                <a:gd name="connsiteX27" fmla="*/ 4212664 w 5066244"/>
                <a:gd name="connsiteY27" fmla="*/ 4596953 h 6734288"/>
                <a:gd name="connsiteX28" fmla="*/ 4492713 w 5066244"/>
                <a:gd name="connsiteY28" fmla="*/ 3352779 h 6734288"/>
                <a:gd name="connsiteX29" fmla="*/ 4173897 w 5066244"/>
                <a:gd name="connsiteY29" fmla="*/ 2049487 h 6734288"/>
                <a:gd name="connsiteX30" fmla="*/ 3356644 w 5066244"/>
                <a:gd name="connsiteY30" fmla="*/ 1163055 h 6734288"/>
                <a:gd name="connsiteX31" fmla="*/ 2062378 w 5066244"/>
                <a:gd name="connsiteY31" fmla="*/ 761302 h 6734288"/>
                <a:gd name="connsiteX32" fmla="*/ 1064158 w 5066244"/>
                <a:gd name="connsiteY32" fmla="*/ 1081342 h 6734288"/>
                <a:gd name="connsiteX33" fmla="*/ 374339 w 5066244"/>
                <a:gd name="connsiteY33" fmla="*/ 5064132 h 6734288"/>
                <a:gd name="connsiteX34" fmla="*/ 730694 w 5066244"/>
                <a:gd name="connsiteY34" fmla="*/ 5436198 h 6734288"/>
                <a:gd name="connsiteX35" fmla="*/ 792928 w 5066244"/>
                <a:gd name="connsiteY35" fmla="*/ 5418743 h 6734288"/>
                <a:gd name="connsiteX36" fmla="*/ 896655 w 5066244"/>
                <a:gd name="connsiteY36" fmla="*/ 5533432 h 6734288"/>
                <a:gd name="connsiteX37" fmla="*/ 875910 w 5066244"/>
                <a:gd name="connsiteY37" fmla="*/ 5598255 h 6734288"/>
                <a:gd name="connsiteX38" fmla="*/ 965731 w 5066244"/>
                <a:gd name="connsiteY38" fmla="*/ 5692347 h 6734288"/>
                <a:gd name="connsiteX39" fmla="*/ 2266333 w 5066244"/>
                <a:gd name="connsiteY39" fmla="*/ 6017548 h 6734288"/>
                <a:gd name="connsiteX40" fmla="*/ 3391504 w 5066244"/>
                <a:gd name="connsiteY40" fmla="*/ 5644651 h 6734288"/>
                <a:gd name="connsiteX41" fmla="*/ 3588201 w 5066244"/>
                <a:gd name="connsiteY41" fmla="*/ 6217653 h 6734288"/>
                <a:gd name="connsiteX42" fmla="*/ 2249705 w 5066244"/>
                <a:gd name="connsiteY42" fmla="*/ 6660358 h 6734288"/>
                <a:gd name="connsiteX43" fmla="*/ 1871681 w 5066244"/>
                <a:gd name="connsiteY43" fmla="*/ 6682796 h 6734288"/>
                <a:gd name="connsiteX44" fmla="*/ 1793309 w 5066244"/>
                <a:gd name="connsiteY44" fmla="*/ 6590550 h 6734288"/>
                <a:gd name="connsiteX45" fmla="*/ 1110759 w 5066244"/>
                <a:gd name="connsiteY45" fmla="*/ 6734288 h 6734288"/>
                <a:gd name="connsiteX46" fmla="*/ 760659 w 5066244"/>
                <a:gd name="connsiteY46" fmla="*/ 6346215 h 6734288"/>
                <a:gd name="connsiteX47" fmla="*/ 723779 w 5066244"/>
                <a:gd name="connsiteY47" fmla="*/ 6338736 h 6734288"/>
                <a:gd name="connsiteX48" fmla="*/ 567036 w 5066244"/>
                <a:gd name="connsiteY48" fmla="*/ 6164212 h 6734288"/>
                <a:gd name="connsiteX49" fmla="*/ 553207 w 5066244"/>
                <a:gd name="connsiteY49" fmla="*/ 6184157 h 6734288"/>
                <a:gd name="connsiteX50" fmla="*/ 527852 w 5066244"/>
                <a:gd name="connsiteY50" fmla="*/ 6151747 h 6734288"/>
                <a:gd name="connsiteX51" fmla="*/ 486361 w 5066244"/>
                <a:gd name="connsiteY51" fmla="*/ 6209090 h 6734288"/>
                <a:gd name="connsiteX52" fmla="*/ 371110 w 5066244"/>
                <a:gd name="connsiteY52" fmla="*/ 6081936 h 6734288"/>
                <a:gd name="connsiteX53" fmla="*/ 414905 w 5066244"/>
                <a:gd name="connsiteY53" fmla="*/ 6032071 h 6734288"/>
                <a:gd name="connsiteX54" fmla="*/ 182098 w 5066244"/>
                <a:gd name="connsiteY54" fmla="*/ 5782751 h 6734288"/>
                <a:gd name="connsiteX55" fmla="*/ 195928 w 5066244"/>
                <a:gd name="connsiteY55" fmla="*/ 5755327 h 6734288"/>
                <a:gd name="connsiteX56" fmla="*/ 0 w 5066244"/>
                <a:gd name="connsiteY56" fmla="*/ 5548391 h 6734288"/>
                <a:gd name="connsiteX0" fmla="*/ 0 w 5066244"/>
                <a:gd name="connsiteY0" fmla="*/ 5548391 h 6734288"/>
                <a:gd name="connsiteX1" fmla="*/ 728434 w 5066244"/>
                <a:gd name="connsiteY1" fmla="*/ 547251 h 6734288"/>
                <a:gd name="connsiteX2" fmla="*/ 708373 w 5066244"/>
                <a:gd name="connsiteY2" fmla="*/ 432260 h 6734288"/>
                <a:gd name="connsiteX3" fmla="*/ 904138 w 5066244"/>
                <a:gd name="connsiteY3" fmla="*/ 380302 h 6734288"/>
                <a:gd name="connsiteX4" fmla="*/ 921511 w 5066244"/>
                <a:gd name="connsiteY4" fmla="*/ 481442 h 6734288"/>
                <a:gd name="connsiteX5" fmla="*/ 1048586 w 5066244"/>
                <a:gd name="connsiteY5" fmla="*/ 442651 h 6734288"/>
                <a:gd name="connsiteX6" fmla="*/ 1079065 w 5066244"/>
                <a:gd name="connsiteY6" fmla="*/ 393463 h 6734288"/>
                <a:gd name="connsiteX7" fmla="*/ 1314952 w 5066244"/>
                <a:gd name="connsiteY7" fmla="*/ 319342 h 6734288"/>
                <a:gd name="connsiteX8" fmla="*/ 1355407 w 5066244"/>
                <a:gd name="connsiteY8" fmla="*/ 352592 h 6734288"/>
                <a:gd name="connsiteX9" fmla="*/ 1551949 w 5066244"/>
                <a:gd name="connsiteY9" fmla="*/ 288171 h 6734288"/>
                <a:gd name="connsiteX10" fmla="*/ 1511161 w 5066244"/>
                <a:gd name="connsiteY10" fmla="*/ 119840 h 6734288"/>
                <a:gd name="connsiteX11" fmla="*/ 1894404 w 5066244"/>
                <a:gd name="connsiteY11" fmla="*/ 0 h 6734288"/>
                <a:gd name="connsiteX12" fmla="*/ 1942702 w 5066244"/>
                <a:gd name="connsiteY12" fmla="*/ 165560 h 6734288"/>
                <a:gd name="connsiteX13" fmla="*/ 3706253 w 5066244"/>
                <a:gd name="connsiteY13" fmla="*/ 680900 h 6734288"/>
                <a:gd name="connsiteX14" fmla="*/ 4256383 w 5066244"/>
                <a:gd name="connsiteY14" fmla="*/ 1291242 h 6734288"/>
                <a:gd name="connsiteX15" fmla="*/ 4317787 w 5066244"/>
                <a:gd name="connsiteY15" fmla="*/ 1298860 h 6734288"/>
                <a:gd name="connsiteX16" fmla="*/ 4482628 w 5066244"/>
                <a:gd name="connsiteY16" fmla="*/ 1479661 h 6734288"/>
                <a:gd name="connsiteX17" fmla="*/ 4482851 w 5066244"/>
                <a:gd name="connsiteY17" fmla="*/ 1535080 h 6734288"/>
                <a:gd name="connsiteX18" fmla="*/ 4644115 w 5066244"/>
                <a:gd name="connsiteY18" fmla="*/ 1726990 h 6734288"/>
                <a:gd name="connsiteX19" fmla="*/ 5024103 w 5066244"/>
                <a:gd name="connsiteY19" fmla="*/ 3519512 h 6734288"/>
                <a:gd name="connsiteX20" fmla="*/ 4832024 w 5066244"/>
                <a:gd name="connsiteY20" fmla="*/ 4385669 h 6734288"/>
                <a:gd name="connsiteX21" fmla="*/ 4962240 w 5066244"/>
                <a:gd name="connsiteY21" fmla="*/ 4452156 h 6734288"/>
                <a:gd name="connsiteX22" fmla="*/ 4892791 w 5066244"/>
                <a:gd name="connsiteY22" fmla="*/ 4870077 h 6734288"/>
                <a:gd name="connsiteX23" fmla="*/ 4735262 w 5066244"/>
                <a:gd name="connsiteY23" fmla="*/ 4807792 h 6734288"/>
                <a:gd name="connsiteX24" fmla="*/ 3591864 w 5066244"/>
                <a:gd name="connsiteY24" fmla="*/ 6212288 h 6734288"/>
                <a:gd name="connsiteX25" fmla="*/ 3395733 w 5066244"/>
                <a:gd name="connsiteY25" fmla="*/ 5643346 h 6734288"/>
                <a:gd name="connsiteX26" fmla="*/ 4212664 w 5066244"/>
                <a:gd name="connsiteY26" fmla="*/ 4596953 h 6734288"/>
                <a:gd name="connsiteX27" fmla="*/ 4492713 w 5066244"/>
                <a:gd name="connsiteY27" fmla="*/ 3352779 h 6734288"/>
                <a:gd name="connsiteX28" fmla="*/ 4173897 w 5066244"/>
                <a:gd name="connsiteY28" fmla="*/ 2049487 h 6734288"/>
                <a:gd name="connsiteX29" fmla="*/ 3356644 w 5066244"/>
                <a:gd name="connsiteY29" fmla="*/ 1163055 h 6734288"/>
                <a:gd name="connsiteX30" fmla="*/ 2062378 w 5066244"/>
                <a:gd name="connsiteY30" fmla="*/ 761302 h 6734288"/>
                <a:gd name="connsiteX31" fmla="*/ 1064158 w 5066244"/>
                <a:gd name="connsiteY31" fmla="*/ 1081342 h 6734288"/>
                <a:gd name="connsiteX32" fmla="*/ 374339 w 5066244"/>
                <a:gd name="connsiteY32" fmla="*/ 5064132 h 6734288"/>
                <a:gd name="connsiteX33" fmla="*/ 730694 w 5066244"/>
                <a:gd name="connsiteY33" fmla="*/ 5436198 h 6734288"/>
                <a:gd name="connsiteX34" fmla="*/ 792928 w 5066244"/>
                <a:gd name="connsiteY34" fmla="*/ 5418743 h 6734288"/>
                <a:gd name="connsiteX35" fmla="*/ 896655 w 5066244"/>
                <a:gd name="connsiteY35" fmla="*/ 5533432 h 6734288"/>
                <a:gd name="connsiteX36" fmla="*/ 875910 w 5066244"/>
                <a:gd name="connsiteY36" fmla="*/ 5598255 h 6734288"/>
                <a:gd name="connsiteX37" fmla="*/ 965731 w 5066244"/>
                <a:gd name="connsiteY37" fmla="*/ 5692347 h 6734288"/>
                <a:gd name="connsiteX38" fmla="*/ 2266333 w 5066244"/>
                <a:gd name="connsiteY38" fmla="*/ 6017548 h 6734288"/>
                <a:gd name="connsiteX39" fmla="*/ 3391504 w 5066244"/>
                <a:gd name="connsiteY39" fmla="*/ 5644651 h 6734288"/>
                <a:gd name="connsiteX40" fmla="*/ 3588201 w 5066244"/>
                <a:gd name="connsiteY40" fmla="*/ 6217653 h 6734288"/>
                <a:gd name="connsiteX41" fmla="*/ 2249705 w 5066244"/>
                <a:gd name="connsiteY41" fmla="*/ 6660358 h 6734288"/>
                <a:gd name="connsiteX42" fmla="*/ 1871681 w 5066244"/>
                <a:gd name="connsiteY42" fmla="*/ 6682796 h 6734288"/>
                <a:gd name="connsiteX43" fmla="*/ 1793309 w 5066244"/>
                <a:gd name="connsiteY43" fmla="*/ 6590550 h 6734288"/>
                <a:gd name="connsiteX44" fmla="*/ 1110759 w 5066244"/>
                <a:gd name="connsiteY44" fmla="*/ 6734288 h 6734288"/>
                <a:gd name="connsiteX45" fmla="*/ 760659 w 5066244"/>
                <a:gd name="connsiteY45" fmla="*/ 6346215 h 6734288"/>
                <a:gd name="connsiteX46" fmla="*/ 723779 w 5066244"/>
                <a:gd name="connsiteY46" fmla="*/ 6338736 h 6734288"/>
                <a:gd name="connsiteX47" fmla="*/ 567036 w 5066244"/>
                <a:gd name="connsiteY47" fmla="*/ 6164212 h 6734288"/>
                <a:gd name="connsiteX48" fmla="*/ 553207 w 5066244"/>
                <a:gd name="connsiteY48" fmla="*/ 6184157 h 6734288"/>
                <a:gd name="connsiteX49" fmla="*/ 527852 w 5066244"/>
                <a:gd name="connsiteY49" fmla="*/ 6151747 h 6734288"/>
                <a:gd name="connsiteX50" fmla="*/ 486361 w 5066244"/>
                <a:gd name="connsiteY50" fmla="*/ 6209090 h 6734288"/>
                <a:gd name="connsiteX51" fmla="*/ 371110 w 5066244"/>
                <a:gd name="connsiteY51" fmla="*/ 6081936 h 6734288"/>
                <a:gd name="connsiteX52" fmla="*/ 414905 w 5066244"/>
                <a:gd name="connsiteY52" fmla="*/ 6032071 h 6734288"/>
                <a:gd name="connsiteX53" fmla="*/ 182098 w 5066244"/>
                <a:gd name="connsiteY53" fmla="*/ 5782751 h 6734288"/>
                <a:gd name="connsiteX54" fmla="*/ 195928 w 5066244"/>
                <a:gd name="connsiteY54" fmla="*/ 5755327 h 6734288"/>
                <a:gd name="connsiteX55" fmla="*/ 0 w 5066244"/>
                <a:gd name="connsiteY55" fmla="*/ 5548391 h 6734288"/>
                <a:gd name="connsiteX0" fmla="*/ 0 w 5066244"/>
                <a:gd name="connsiteY0" fmla="*/ 5548391 h 6734288"/>
                <a:gd name="connsiteX1" fmla="*/ 728434 w 5066244"/>
                <a:gd name="connsiteY1" fmla="*/ 547251 h 6734288"/>
                <a:gd name="connsiteX2" fmla="*/ 904138 w 5066244"/>
                <a:gd name="connsiteY2" fmla="*/ 380302 h 6734288"/>
                <a:gd name="connsiteX3" fmla="*/ 921511 w 5066244"/>
                <a:gd name="connsiteY3" fmla="*/ 481442 h 6734288"/>
                <a:gd name="connsiteX4" fmla="*/ 1048586 w 5066244"/>
                <a:gd name="connsiteY4" fmla="*/ 442651 h 6734288"/>
                <a:gd name="connsiteX5" fmla="*/ 1079065 w 5066244"/>
                <a:gd name="connsiteY5" fmla="*/ 393463 h 6734288"/>
                <a:gd name="connsiteX6" fmla="*/ 1314952 w 5066244"/>
                <a:gd name="connsiteY6" fmla="*/ 319342 h 6734288"/>
                <a:gd name="connsiteX7" fmla="*/ 1355407 w 5066244"/>
                <a:gd name="connsiteY7" fmla="*/ 352592 h 6734288"/>
                <a:gd name="connsiteX8" fmla="*/ 1551949 w 5066244"/>
                <a:gd name="connsiteY8" fmla="*/ 288171 h 6734288"/>
                <a:gd name="connsiteX9" fmla="*/ 1511161 w 5066244"/>
                <a:gd name="connsiteY9" fmla="*/ 119840 h 6734288"/>
                <a:gd name="connsiteX10" fmla="*/ 1894404 w 5066244"/>
                <a:gd name="connsiteY10" fmla="*/ 0 h 6734288"/>
                <a:gd name="connsiteX11" fmla="*/ 1942702 w 5066244"/>
                <a:gd name="connsiteY11" fmla="*/ 165560 h 6734288"/>
                <a:gd name="connsiteX12" fmla="*/ 3706253 w 5066244"/>
                <a:gd name="connsiteY12" fmla="*/ 680900 h 6734288"/>
                <a:gd name="connsiteX13" fmla="*/ 4256383 w 5066244"/>
                <a:gd name="connsiteY13" fmla="*/ 1291242 h 6734288"/>
                <a:gd name="connsiteX14" fmla="*/ 4317787 w 5066244"/>
                <a:gd name="connsiteY14" fmla="*/ 1298860 h 6734288"/>
                <a:gd name="connsiteX15" fmla="*/ 4482628 w 5066244"/>
                <a:gd name="connsiteY15" fmla="*/ 1479661 h 6734288"/>
                <a:gd name="connsiteX16" fmla="*/ 4482851 w 5066244"/>
                <a:gd name="connsiteY16" fmla="*/ 1535080 h 6734288"/>
                <a:gd name="connsiteX17" fmla="*/ 4644115 w 5066244"/>
                <a:gd name="connsiteY17" fmla="*/ 1726990 h 6734288"/>
                <a:gd name="connsiteX18" fmla="*/ 5024103 w 5066244"/>
                <a:gd name="connsiteY18" fmla="*/ 3519512 h 6734288"/>
                <a:gd name="connsiteX19" fmla="*/ 4832024 w 5066244"/>
                <a:gd name="connsiteY19" fmla="*/ 4385669 h 6734288"/>
                <a:gd name="connsiteX20" fmla="*/ 4962240 w 5066244"/>
                <a:gd name="connsiteY20" fmla="*/ 4452156 h 6734288"/>
                <a:gd name="connsiteX21" fmla="*/ 4892791 w 5066244"/>
                <a:gd name="connsiteY21" fmla="*/ 4870077 h 6734288"/>
                <a:gd name="connsiteX22" fmla="*/ 4735262 w 5066244"/>
                <a:gd name="connsiteY22" fmla="*/ 4807792 h 6734288"/>
                <a:gd name="connsiteX23" fmla="*/ 3591864 w 5066244"/>
                <a:gd name="connsiteY23" fmla="*/ 6212288 h 6734288"/>
                <a:gd name="connsiteX24" fmla="*/ 3395733 w 5066244"/>
                <a:gd name="connsiteY24" fmla="*/ 5643346 h 6734288"/>
                <a:gd name="connsiteX25" fmla="*/ 4212664 w 5066244"/>
                <a:gd name="connsiteY25" fmla="*/ 4596953 h 6734288"/>
                <a:gd name="connsiteX26" fmla="*/ 4492713 w 5066244"/>
                <a:gd name="connsiteY26" fmla="*/ 3352779 h 6734288"/>
                <a:gd name="connsiteX27" fmla="*/ 4173897 w 5066244"/>
                <a:gd name="connsiteY27" fmla="*/ 2049487 h 6734288"/>
                <a:gd name="connsiteX28" fmla="*/ 3356644 w 5066244"/>
                <a:gd name="connsiteY28" fmla="*/ 1163055 h 6734288"/>
                <a:gd name="connsiteX29" fmla="*/ 2062378 w 5066244"/>
                <a:gd name="connsiteY29" fmla="*/ 761302 h 6734288"/>
                <a:gd name="connsiteX30" fmla="*/ 1064158 w 5066244"/>
                <a:gd name="connsiteY30" fmla="*/ 1081342 h 6734288"/>
                <a:gd name="connsiteX31" fmla="*/ 374339 w 5066244"/>
                <a:gd name="connsiteY31" fmla="*/ 5064132 h 6734288"/>
                <a:gd name="connsiteX32" fmla="*/ 730694 w 5066244"/>
                <a:gd name="connsiteY32" fmla="*/ 5436198 h 6734288"/>
                <a:gd name="connsiteX33" fmla="*/ 792928 w 5066244"/>
                <a:gd name="connsiteY33" fmla="*/ 5418743 h 6734288"/>
                <a:gd name="connsiteX34" fmla="*/ 896655 w 5066244"/>
                <a:gd name="connsiteY34" fmla="*/ 5533432 h 6734288"/>
                <a:gd name="connsiteX35" fmla="*/ 875910 w 5066244"/>
                <a:gd name="connsiteY35" fmla="*/ 5598255 h 6734288"/>
                <a:gd name="connsiteX36" fmla="*/ 965731 w 5066244"/>
                <a:gd name="connsiteY36" fmla="*/ 5692347 h 6734288"/>
                <a:gd name="connsiteX37" fmla="*/ 2266333 w 5066244"/>
                <a:gd name="connsiteY37" fmla="*/ 6017548 h 6734288"/>
                <a:gd name="connsiteX38" fmla="*/ 3391504 w 5066244"/>
                <a:gd name="connsiteY38" fmla="*/ 5644651 h 6734288"/>
                <a:gd name="connsiteX39" fmla="*/ 3588201 w 5066244"/>
                <a:gd name="connsiteY39" fmla="*/ 6217653 h 6734288"/>
                <a:gd name="connsiteX40" fmla="*/ 2249705 w 5066244"/>
                <a:gd name="connsiteY40" fmla="*/ 6660358 h 6734288"/>
                <a:gd name="connsiteX41" fmla="*/ 1871681 w 5066244"/>
                <a:gd name="connsiteY41" fmla="*/ 6682796 h 6734288"/>
                <a:gd name="connsiteX42" fmla="*/ 1793309 w 5066244"/>
                <a:gd name="connsiteY42" fmla="*/ 6590550 h 6734288"/>
                <a:gd name="connsiteX43" fmla="*/ 1110759 w 5066244"/>
                <a:gd name="connsiteY43" fmla="*/ 6734288 h 6734288"/>
                <a:gd name="connsiteX44" fmla="*/ 760659 w 5066244"/>
                <a:gd name="connsiteY44" fmla="*/ 6346215 h 6734288"/>
                <a:gd name="connsiteX45" fmla="*/ 723779 w 5066244"/>
                <a:gd name="connsiteY45" fmla="*/ 6338736 h 6734288"/>
                <a:gd name="connsiteX46" fmla="*/ 567036 w 5066244"/>
                <a:gd name="connsiteY46" fmla="*/ 6164212 h 6734288"/>
                <a:gd name="connsiteX47" fmla="*/ 553207 w 5066244"/>
                <a:gd name="connsiteY47" fmla="*/ 6184157 h 6734288"/>
                <a:gd name="connsiteX48" fmla="*/ 527852 w 5066244"/>
                <a:gd name="connsiteY48" fmla="*/ 6151747 h 6734288"/>
                <a:gd name="connsiteX49" fmla="*/ 486361 w 5066244"/>
                <a:gd name="connsiteY49" fmla="*/ 6209090 h 6734288"/>
                <a:gd name="connsiteX50" fmla="*/ 371110 w 5066244"/>
                <a:gd name="connsiteY50" fmla="*/ 6081936 h 6734288"/>
                <a:gd name="connsiteX51" fmla="*/ 414905 w 5066244"/>
                <a:gd name="connsiteY51" fmla="*/ 6032071 h 6734288"/>
                <a:gd name="connsiteX52" fmla="*/ 182098 w 5066244"/>
                <a:gd name="connsiteY52" fmla="*/ 5782751 h 6734288"/>
                <a:gd name="connsiteX53" fmla="*/ 195928 w 5066244"/>
                <a:gd name="connsiteY53" fmla="*/ 5755327 h 6734288"/>
                <a:gd name="connsiteX54" fmla="*/ 0 w 5066244"/>
                <a:gd name="connsiteY54" fmla="*/ 5548391 h 6734288"/>
                <a:gd name="connsiteX0" fmla="*/ 0 w 5066244"/>
                <a:gd name="connsiteY0" fmla="*/ 5548391 h 6734288"/>
                <a:gd name="connsiteX1" fmla="*/ 728434 w 5066244"/>
                <a:gd name="connsiteY1" fmla="*/ 547251 h 6734288"/>
                <a:gd name="connsiteX2" fmla="*/ 904138 w 5066244"/>
                <a:gd name="connsiteY2" fmla="*/ 380302 h 6734288"/>
                <a:gd name="connsiteX3" fmla="*/ 921511 w 5066244"/>
                <a:gd name="connsiteY3" fmla="*/ 481442 h 6734288"/>
                <a:gd name="connsiteX4" fmla="*/ 1048586 w 5066244"/>
                <a:gd name="connsiteY4" fmla="*/ 442651 h 6734288"/>
                <a:gd name="connsiteX5" fmla="*/ 1079065 w 5066244"/>
                <a:gd name="connsiteY5" fmla="*/ 393463 h 6734288"/>
                <a:gd name="connsiteX6" fmla="*/ 1314952 w 5066244"/>
                <a:gd name="connsiteY6" fmla="*/ 319342 h 6734288"/>
                <a:gd name="connsiteX7" fmla="*/ 1355407 w 5066244"/>
                <a:gd name="connsiteY7" fmla="*/ 352592 h 6734288"/>
                <a:gd name="connsiteX8" fmla="*/ 1551949 w 5066244"/>
                <a:gd name="connsiteY8" fmla="*/ 288171 h 6734288"/>
                <a:gd name="connsiteX9" fmla="*/ 1511161 w 5066244"/>
                <a:gd name="connsiteY9" fmla="*/ 119840 h 6734288"/>
                <a:gd name="connsiteX10" fmla="*/ 1894404 w 5066244"/>
                <a:gd name="connsiteY10" fmla="*/ 0 h 6734288"/>
                <a:gd name="connsiteX11" fmla="*/ 1942702 w 5066244"/>
                <a:gd name="connsiteY11" fmla="*/ 165560 h 6734288"/>
                <a:gd name="connsiteX12" fmla="*/ 3706253 w 5066244"/>
                <a:gd name="connsiteY12" fmla="*/ 680900 h 6734288"/>
                <a:gd name="connsiteX13" fmla="*/ 4256383 w 5066244"/>
                <a:gd name="connsiteY13" fmla="*/ 1291242 h 6734288"/>
                <a:gd name="connsiteX14" fmla="*/ 4317787 w 5066244"/>
                <a:gd name="connsiteY14" fmla="*/ 1298860 h 6734288"/>
                <a:gd name="connsiteX15" fmla="*/ 4482628 w 5066244"/>
                <a:gd name="connsiteY15" fmla="*/ 1479661 h 6734288"/>
                <a:gd name="connsiteX16" fmla="*/ 4482851 w 5066244"/>
                <a:gd name="connsiteY16" fmla="*/ 1535080 h 6734288"/>
                <a:gd name="connsiteX17" fmla="*/ 4644115 w 5066244"/>
                <a:gd name="connsiteY17" fmla="*/ 1726990 h 6734288"/>
                <a:gd name="connsiteX18" fmla="*/ 5024103 w 5066244"/>
                <a:gd name="connsiteY18" fmla="*/ 3519512 h 6734288"/>
                <a:gd name="connsiteX19" fmla="*/ 4832024 w 5066244"/>
                <a:gd name="connsiteY19" fmla="*/ 4385669 h 6734288"/>
                <a:gd name="connsiteX20" fmla="*/ 4962240 w 5066244"/>
                <a:gd name="connsiteY20" fmla="*/ 4452156 h 6734288"/>
                <a:gd name="connsiteX21" fmla="*/ 4892791 w 5066244"/>
                <a:gd name="connsiteY21" fmla="*/ 4870077 h 6734288"/>
                <a:gd name="connsiteX22" fmla="*/ 4735262 w 5066244"/>
                <a:gd name="connsiteY22" fmla="*/ 4807792 h 6734288"/>
                <a:gd name="connsiteX23" fmla="*/ 3591864 w 5066244"/>
                <a:gd name="connsiteY23" fmla="*/ 6212288 h 6734288"/>
                <a:gd name="connsiteX24" fmla="*/ 3395733 w 5066244"/>
                <a:gd name="connsiteY24" fmla="*/ 5643346 h 6734288"/>
                <a:gd name="connsiteX25" fmla="*/ 4212664 w 5066244"/>
                <a:gd name="connsiteY25" fmla="*/ 4596953 h 6734288"/>
                <a:gd name="connsiteX26" fmla="*/ 4492713 w 5066244"/>
                <a:gd name="connsiteY26" fmla="*/ 3352779 h 6734288"/>
                <a:gd name="connsiteX27" fmla="*/ 4173897 w 5066244"/>
                <a:gd name="connsiteY27" fmla="*/ 2049487 h 6734288"/>
                <a:gd name="connsiteX28" fmla="*/ 3356644 w 5066244"/>
                <a:gd name="connsiteY28" fmla="*/ 1163055 h 6734288"/>
                <a:gd name="connsiteX29" fmla="*/ 2062378 w 5066244"/>
                <a:gd name="connsiteY29" fmla="*/ 761302 h 6734288"/>
                <a:gd name="connsiteX30" fmla="*/ 374339 w 5066244"/>
                <a:gd name="connsiteY30" fmla="*/ 5064132 h 6734288"/>
                <a:gd name="connsiteX31" fmla="*/ 730694 w 5066244"/>
                <a:gd name="connsiteY31" fmla="*/ 5436198 h 6734288"/>
                <a:gd name="connsiteX32" fmla="*/ 792928 w 5066244"/>
                <a:gd name="connsiteY32" fmla="*/ 5418743 h 6734288"/>
                <a:gd name="connsiteX33" fmla="*/ 896655 w 5066244"/>
                <a:gd name="connsiteY33" fmla="*/ 5533432 h 6734288"/>
                <a:gd name="connsiteX34" fmla="*/ 875910 w 5066244"/>
                <a:gd name="connsiteY34" fmla="*/ 5598255 h 6734288"/>
                <a:gd name="connsiteX35" fmla="*/ 965731 w 5066244"/>
                <a:gd name="connsiteY35" fmla="*/ 5692347 h 6734288"/>
                <a:gd name="connsiteX36" fmla="*/ 2266333 w 5066244"/>
                <a:gd name="connsiteY36" fmla="*/ 6017548 h 6734288"/>
                <a:gd name="connsiteX37" fmla="*/ 3391504 w 5066244"/>
                <a:gd name="connsiteY37" fmla="*/ 5644651 h 6734288"/>
                <a:gd name="connsiteX38" fmla="*/ 3588201 w 5066244"/>
                <a:gd name="connsiteY38" fmla="*/ 6217653 h 6734288"/>
                <a:gd name="connsiteX39" fmla="*/ 2249705 w 5066244"/>
                <a:gd name="connsiteY39" fmla="*/ 6660358 h 6734288"/>
                <a:gd name="connsiteX40" fmla="*/ 1871681 w 5066244"/>
                <a:gd name="connsiteY40" fmla="*/ 6682796 h 6734288"/>
                <a:gd name="connsiteX41" fmla="*/ 1793309 w 5066244"/>
                <a:gd name="connsiteY41" fmla="*/ 6590550 h 6734288"/>
                <a:gd name="connsiteX42" fmla="*/ 1110759 w 5066244"/>
                <a:gd name="connsiteY42" fmla="*/ 6734288 h 6734288"/>
                <a:gd name="connsiteX43" fmla="*/ 760659 w 5066244"/>
                <a:gd name="connsiteY43" fmla="*/ 6346215 h 6734288"/>
                <a:gd name="connsiteX44" fmla="*/ 723779 w 5066244"/>
                <a:gd name="connsiteY44" fmla="*/ 6338736 h 6734288"/>
                <a:gd name="connsiteX45" fmla="*/ 567036 w 5066244"/>
                <a:gd name="connsiteY45" fmla="*/ 6164212 h 6734288"/>
                <a:gd name="connsiteX46" fmla="*/ 553207 w 5066244"/>
                <a:gd name="connsiteY46" fmla="*/ 6184157 h 6734288"/>
                <a:gd name="connsiteX47" fmla="*/ 527852 w 5066244"/>
                <a:gd name="connsiteY47" fmla="*/ 6151747 h 6734288"/>
                <a:gd name="connsiteX48" fmla="*/ 486361 w 5066244"/>
                <a:gd name="connsiteY48" fmla="*/ 6209090 h 6734288"/>
                <a:gd name="connsiteX49" fmla="*/ 371110 w 5066244"/>
                <a:gd name="connsiteY49" fmla="*/ 6081936 h 6734288"/>
                <a:gd name="connsiteX50" fmla="*/ 414905 w 5066244"/>
                <a:gd name="connsiteY50" fmla="*/ 6032071 h 6734288"/>
                <a:gd name="connsiteX51" fmla="*/ 182098 w 5066244"/>
                <a:gd name="connsiteY51" fmla="*/ 5782751 h 6734288"/>
                <a:gd name="connsiteX52" fmla="*/ 195928 w 5066244"/>
                <a:gd name="connsiteY52" fmla="*/ 5755327 h 6734288"/>
                <a:gd name="connsiteX53" fmla="*/ 0 w 5066244"/>
                <a:gd name="connsiteY53" fmla="*/ 5548391 h 6734288"/>
                <a:gd name="connsiteX0" fmla="*/ 0 w 5066244"/>
                <a:gd name="connsiteY0" fmla="*/ 5548391 h 6734288"/>
                <a:gd name="connsiteX1" fmla="*/ 728434 w 5066244"/>
                <a:gd name="connsiteY1" fmla="*/ 547251 h 6734288"/>
                <a:gd name="connsiteX2" fmla="*/ 904138 w 5066244"/>
                <a:gd name="connsiteY2" fmla="*/ 380302 h 6734288"/>
                <a:gd name="connsiteX3" fmla="*/ 1048586 w 5066244"/>
                <a:gd name="connsiteY3" fmla="*/ 442651 h 6734288"/>
                <a:gd name="connsiteX4" fmla="*/ 1079065 w 5066244"/>
                <a:gd name="connsiteY4" fmla="*/ 393463 h 6734288"/>
                <a:gd name="connsiteX5" fmla="*/ 1314952 w 5066244"/>
                <a:gd name="connsiteY5" fmla="*/ 319342 h 6734288"/>
                <a:gd name="connsiteX6" fmla="*/ 1355407 w 5066244"/>
                <a:gd name="connsiteY6" fmla="*/ 352592 h 6734288"/>
                <a:gd name="connsiteX7" fmla="*/ 1551949 w 5066244"/>
                <a:gd name="connsiteY7" fmla="*/ 288171 h 6734288"/>
                <a:gd name="connsiteX8" fmla="*/ 1511161 w 5066244"/>
                <a:gd name="connsiteY8" fmla="*/ 119840 h 6734288"/>
                <a:gd name="connsiteX9" fmla="*/ 1894404 w 5066244"/>
                <a:gd name="connsiteY9" fmla="*/ 0 h 6734288"/>
                <a:gd name="connsiteX10" fmla="*/ 1942702 w 5066244"/>
                <a:gd name="connsiteY10" fmla="*/ 165560 h 6734288"/>
                <a:gd name="connsiteX11" fmla="*/ 3706253 w 5066244"/>
                <a:gd name="connsiteY11" fmla="*/ 680900 h 6734288"/>
                <a:gd name="connsiteX12" fmla="*/ 4256383 w 5066244"/>
                <a:gd name="connsiteY12" fmla="*/ 1291242 h 6734288"/>
                <a:gd name="connsiteX13" fmla="*/ 4317787 w 5066244"/>
                <a:gd name="connsiteY13" fmla="*/ 1298860 h 6734288"/>
                <a:gd name="connsiteX14" fmla="*/ 4482628 w 5066244"/>
                <a:gd name="connsiteY14" fmla="*/ 1479661 h 6734288"/>
                <a:gd name="connsiteX15" fmla="*/ 4482851 w 5066244"/>
                <a:gd name="connsiteY15" fmla="*/ 1535080 h 6734288"/>
                <a:gd name="connsiteX16" fmla="*/ 4644115 w 5066244"/>
                <a:gd name="connsiteY16" fmla="*/ 1726990 h 6734288"/>
                <a:gd name="connsiteX17" fmla="*/ 5024103 w 5066244"/>
                <a:gd name="connsiteY17" fmla="*/ 3519512 h 6734288"/>
                <a:gd name="connsiteX18" fmla="*/ 4832024 w 5066244"/>
                <a:gd name="connsiteY18" fmla="*/ 4385669 h 6734288"/>
                <a:gd name="connsiteX19" fmla="*/ 4962240 w 5066244"/>
                <a:gd name="connsiteY19" fmla="*/ 4452156 h 6734288"/>
                <a:gd name="connsiteX20" fmla="*/ 4892791 w 5066244"/>
                <a:gd name="connsiteY20" fmla="*/ 4870077 h 6734288"/>
                <a:gd name="connsiteX21" fmla="*/ 4735262 w 5066244"/>
                <a:gd name="connsiteY21" fmla="*/ 4807792 h 6734288"/>
                <a:gd name="connsiteX22" fmla="*/ 3591864 w 5066244"/>
                <a:gd name="connsiteY22" fmla="*/ 6212288 h 6734288"/>
                <a:gd name="connsiteX23" fmla="*/ 3395733 w 5066244"/>
                <a:gd name="connsiteY23" fmla="*/ 5643346 h 6734288"/>
                <a:gd name="connsiteX24" fmla="*/ 4212664 w 5066244"/>
                <a:gd name="connsiteY24" fmla="*/ 4596953 h 6734288"/>
                <a:gd name="connsiteX25" fmla="*/ 4492713 w 5066244"/>
                <a:gd name="connsiteY25" fmla="*/ 3352779 h 6734288"/>
                <a:gd name="connsiteX26" fmla="*/ 4173897 w 5066244"/>
                <a:gd name="connsiteY26" fmla="*/ 2049487 h 6734288"/>
                <a:gd name="connsiteX27" fmla="*/ 3356644 w 5066244"/>
                <a:gd name="connsiteY27" fmla="*/ 1163055 h 6734288"/>
                <a:gd name="connsiteX28" fmla="*/ 2062378 w 5066244"/>
                <a:gd name="connsiteY28" fmla="*/ 761302 h 6734288"/>
                <a:gd name="connsiteX29" fmla="*/ 374339 w 5066244"/>
                <a:gd name="connsiteY29" fmla="*/ 5064132 h 6734288"/>
                <a:gd name="connsiteX30" fmla="*/ 730694 w 5066244"/>
                <a:gd name="connsiteY30" fmla="*/ 5436198 h 6734288"/>
                <a:gd name="connsiteX31" fmla="*/ 792928 w 5066244"/>
                <a:gd name="connsiteY31" fmla="*/ 5418743 h 6734288"/>
                <a:gd name="connsiteX32" fmla="*/ 896655 w 5066244"/>
                <a:gd name="connsiteY32" fmla="*/ 5533432 h 6734288"/>
                <a:gd name="connsiteX33" fmla="*/ 875910 w 5066244"/>
                <a:gd name="connsiteY33" fmla="*/ 5598255 h 6734288"/>
                <a:gd name="connsiteX34" fmla="*/ 965731 w 5066244"/>
                <a:gd name="connsiteY34" fmla="*/ 5692347 h 6734288"/>
                <a:gd name="connsiteX35" fmla="*/ 2266333 w 5066244"/>
                <a:gd name="connsiteY35" fmla="*/ 6017548 h 6734288"/>
                <a:gd name="connsiteX36" fmla="*/ 3391504 w 5066244"/>
                <a:gd name="connsiteY36" fmla="*/ 5644651 h 6734288"/>
                <a:gd name="connsiteX37" fmla="*/ 3588201 w 5066244"/>
                <a:gd name="connsiteY37" fmla="*/ 6217653 h 6734288"/>
                <a:gd name="connsiteX38" fmla="*/ 2249705 w 5066244"/>
                <a:gd name="connsiteY38" fmla="*/ 6660358 h 6734288"/>
                <a:gd name="connsiteX39" fmla="*/ 1871681 w 5066244"/>
                <a:gd name="connsiteY39" fmla="*/ 6682796 h 6734288"/>
                <a:gd name="connsiteX40" fmla="*/ 1793309 w 5066244"/>
                <a:gd name="connsiteY40" fmla="*/ 6590550 h 6734288"/>
                <a:gd name="connsiteX41" fmla="*/ 1110759 w 5066244"/>
                <a:gd name="connsiteY41" fmla="*/ 6734288 h 6734288"/>
                <a:gd name="connsiteX42" fmla="*/ 760659 w 5066244"/>
                <a:gd name="connsiteY42" fmla="*/ 6346215 h 6734288"/>
                <a:gd name="connsiteX43" fmla="*/ 723779 w 5066244"/>
                <a:gd name="connsiteY43" fmla="*/ 6338736 h 6734288"/>
                <a:gd name="connsiteX44" fmla="*/ 567036 w 5066244"/>
                <a:gd name="connsiteY44" fmla="*/ 6164212 h 6734288"/>
                <a:gd name="connsiteX45" fmla="*/ 553207 w 5066244"/>
                <a:gd name="connsiteY45" fmla="*/ 6184157 h 6734288"/>
                <a:gd name="connsiteX46" fmla="*/ 527852 w 5066244"/>
                <a:gd name="connsiteY46" fmla="*/ 6151747 h 6734288"/>
                <a:gd name="connsiteX47" fmla="*/ 486361 w 5066244"/>
                <a:gd name="connsiteY47" fmla="*/ 6209090 h 6734288"/>
                <a:gd name="connsiteX48" fmla="*/ 371110 w 5066244"/>
                <a:gd name="connsiteY48" fmla="*/ 6081936 h 6734288"/>
                <a:gd name="connsiteX49" fmla="*/ 414905 w 5066244"/>
                <a:gd name="connsiteY49" fmla="*/ 6032071 h 6734288"/>
                <a:gd name="connsiteX50" fmla="*/ 182098 w 5066244"/>
                <a:gd name="connsiteY50" fmla="*/ 5782751 h 6734288"/>
                <a:gd name="connsiteX51" fmla="*/ 195928 w 5066244"/>
                <a:gd name="connsiteY51" fmla="*/ 5755327 h 6734288"/>
                <a:gd name="connsiteX52" fmla="*/ 0 w 5066244"/>
                <a:gd name="connsiteY52" fmla="*/ 5548391 h 6734288"/>
                <a:gd name="connsiteX0" fmla="*/ 0 w 5066244"/>
                <a:gd name="connsiteY0" fmla="*/ 5548391 h 6734288"/>
                <a:gd name="connsiteX1" fmla="*/ 728434 w 5066244"/>
                <a:gd name="connsiteY1" fmla="*/ 547251 h 6734288"/>
                <a:gd name="connsiteX2" fmla="*/ 1048586 w 5066244"/>
                <a:gd name="connsiteY2" fmla="*/ 442651 h 6734288"/>
                <a:gd name="connsiteX3" fmla="*/ 1079065 w 5066244"/>
                <a:gd name="connsiteY3" fmla="*/ 393463 h 6734288"/>
                <a:gd name="connsiteX4" fmla="*/ 1314952 w 5066244"/>
                <a:gd name="connsiteY4" fmla="*/ 319342 h 6734288"/>
                <a:gd name="connsiteX5" fmla="*/ 1355407 w 5066244"/>
                <a:gd name="connsiteY5" fmla="*/ 352592 h 6734288"/>
                <a:gd name="connsiteX6" fmla="*/ 1551949 w 5066244"/>
                <a:gd name="connsiteY6" fmla="*/ 288171 h 6734288"/>
                <a:gd name="connsiteX7" fmla="*/ 1511161 w 5066244"/>
                <a:gd name="connsiteY7" fmla="*/ 119840 h 6734288"/>
                <a:gd name="connsiteX8" fmla="*/ 1894404 w 5066244"/>
                <a:gd name="connsiteY8" fmla="*/ 0 h 6734288"/>
                <a:gd name="connsiteX9" fmla="*/ 1942702 w 5066244"/>
                <a:gd name="connsiteY9" fmla="*/ 165560 h 6734288"/>
                <a:gd name="connsiteX10" fmla="*/ 3706253 w 5066244"/>
                <a:gd name="connsiteY10" fmla="*/ 680900 h 6734288"/>
                <a:gd name="connsiteX11" fmla="*/ 4256383 w 5066244"/>
                <a:gd name="connsiteY11" fmla="*/ 1291242 h 6734288"/>
                <a:gd name="connsiteX12" fmla="*/ 4317787 w 5066244"/>
                <a:gd name="connsiteY12" fmla="*/ 1298860 h 6734288"/>
                <a:gd name="connsiteX13" fmla="*/ 4482628 w 5066244"/>
                <a:gd name="connsiteY13" fmla="*/ 1479661 h 6734288"/>
                <a:gd name="connsiteX14" fmla="*/ 4482851 w 5066244"/>
                <a:gd name="connsiteY14" fmla="*/ 1535080 h 6734288"/>
                <a:gd name="connsiteX15" fmla="*/ 4644115 w 5066244"/>
                <a:gd name="connsiteY15" fmla="*/ 1726990 h 6734288"/>
                <a:gd name="connsiteX16" fmla="*/ 5024103 w 5066244"/>
                <a:gd name="connsiteY16" fmla="*/ 3519512 h 6734288"/>
                <a:gd name="connsiteX17" fmla="*/ 4832024 w 5066244"/>
                <a:gd name="connsiteY17" fmla="*/ 4385669 h 6734288"/>
                <a:gd name="connsiteX18" fmla="*/ 4962240 w 5066244"/>
                <a:gd name="connsiteY18" fmla="*/ 4452156 h 6734288"/>
                <a:gd name="connsiteX19" fmla="*/ 4892791 w 5066244"/>
                <a:gd name="connsiteY19" fmla="*/ 4870077 h 6734288"/>
                <a:gd name="connsiteX20" fmla="*/ 4735262 w 5066244"/>
                <a:gd name="connsiteY20" fmla="*/ 4807792 h 6734288"/>
                <a:gd name="connsiteX21" fmla="*/ 3591864 w 5066244"/>
                <a:gd name="connsiteY21" fmla="*/ 6212288 h 6734288"/>
                <a:gd name="connsiteX22" fmla="*/ 3395733 w 5066244"/>
                <a:gd name="connsiteY22" fmla="*/ 5643346 h 6734288"/>
                <a:gd name="connsiteX23" fmla="*/ 4212664 w 5066244"/>
                <a:gd name="connsiteY23" fmla="*/ 4596953 h 6734288"/>
                <a:gd name="connsiteX24" fmla="*/ 4492713 w 5066244"/>
                <a:gd name="connsiteY24" fmla="*/ 3352779 h 6734288"/>
                <a:gd name="connsiteX25" fmla="*/ 4173897 w 5066244"/>
                <a:gd name="connsiteY25" fmla="*/ 2049487 h 6734288"/>
                <a:gd name="connsiteX26" fmla="*/ 3356644 w 5066244"/>
                <a:gd name="connsiteY26" fmla="*/ 1163055 h 6734288"/>
                <a:gd name="connsiteX27" fmla="*/ 2062378 w 5066244"/>
                <a:gd name="connsiteY27" fmla="*/ 761302 h 6734288"/>
                <a:gd name="connsiteX28" fmla="*/ 374339 w 5066244"/>
                <a:gd name="connsiteY28" fmla="*/ 5064132 h 6734288"/>
                <a:gd name="connsiteX29" fmla="*/ 730694 w 5066244"/>
                <a:gd name="connsiteY29" fmla="*/ 5436198 h 6734288"/>
                <a:gd name="connsiteX30" fmla="*/ 792928 w 5066244"/>
                <a:gd name="connsiteY30" fmla="*/ 5418743 h 6734288"/>
                <a:gd name="connsiteX31" fmla="*/ 896655 w 5066244"/>
                <a:gd name="connsiteY31" fmla="*/ 5533432 h 6734288"/>
                <a:gd name="connsiteX32" fmla="*/ 875910 w 5066244"/>
                <a:gd name="connsiteY32" fmla="*/ 5598255 h 6734288"/>
                <a:gd name="connsiteX33" fmla="*/ 965731 w 5066244"/>
                <a:gd name="connsiteY33" fmla="*/ 5692347 h 6734288"/>
                <a:gd name="connsiteX34" fmla="*/ 2266333 w 5066244"/>
                <a:gd name="connsiteY34" fmla="*/ 6017548 h 6734288"/>
                <a:gd name="connsiteX35" fmla="*/ 3391504 w 5066244"/>
                <a:gd name="connsiteY35" fmla="*/ 5644651 h 6734288"/>
                <a:gd name="connsiteX36" fmla="*/ 3588201 w 5066244"/>
                <a:gd name="connsiteY36" fmla="*/ 6217653 h 6734288"/>
                <a:gd name="connsiteX37" fmla="*/ 2249705 w 5066244"/>
                <a:gd name="connsiteY37" fmla="*/ 6660358 h 6734288"/>
                <a:gd name="connsiteX38" fmla="*/ 1871681 w 5066244"/>
                <a:gd name="connsiteY38" fmla="*/ 6682796 h 6734288"/>
                <a:gd name="connsiteX39" fmla="*/ 1793309 w 5066244"/>
                <a:gd name="connsiteY39" fmla="*/ 6590550 h 6734288"/>
                <a:gd name="connsiteX40" fmla="*/ 1110759 w 5066244"/>
                <a:gd name="connsiteY40" fmla="*/ 6734288 h 6734288"/>
                <a:gd name="connsiteX41" fmla="*/ 760659 w 5066244"/>
                <a:gd name="connsiteY41" fmla="*/ 6346215 h 6734288"/>
                <a:gd name="connsiteX42" fmla="*/ 723779 w 5066244"/>
                <a:gd name="connsiteY42" fmla="*/ 6338736 h 6734288"/>
                <a:gd name="connsiteX43" fmla="*/ 567036 w 5066244"/>
                <a:gd name="connsiteY43" fmla="*/ 6164212 h 6734288"/>
                <a:gd name="connsiteX44" fmla="*/ 553207 w 5066244"/>
                <a:gd name="connsiteY44" fmla="*/ 6184157 h 6734288"/>
                <a:gd name="connsiteX45" fmla="*/ 527852 w 5066244"/>
                <a:gd name="connsiteY45" fmla="*/ 6151747 h 6734288"/>
                <a:gd name="connsiteX46" fmla="*/ 486361 w 5066244"/>
                <a:gd name="connsiteY46" fmla="*/ 6209090 h 6734288"/>
                <a:gd name="connsiteX47" fmla="*/ 371110 w 5066244"/>
                <a:gd name="connsiteY47" fmla="*/ 6081936 h 6734288"/>
                <a:gd name="connsiteX48" fmla="*/ 414905 w 5066244"/>
                <a:gd name="connsiteY48" fmla="*/ 6032071 h 6734288"/>
                <a:gd name="connsiteX49" fmla="*/ 182098 w 5066244"/>
                <a:gd name="connsiteY49" fmla="*/ 5782751 h 6734288"/>
                <a:gd name="connsiteX50" fmla="*/ 195928 w 5066244"/>
                <a:gd name="connsiteY50" fmla="*/ 5755327 h 6734288"/>
                <a:gd name="connsiteX51" fmla="*/ 0 w 5066244"/>
                <a:gd name="connsiteY51" fmla="*/ 5548391 h 6734288"/>
                <a:gd name="connsiteX0" fmla="*/ 0 w 5066244"/>
                <a:gd name="connsiteY0" fmla="*/ 5548391 h 6734288"/>
                <a:gd name="connsiteX1" fmla="*/ 728434 w 5066244"/>
                <a:gd name="connsiteY1" fmla="*/ 547251 h 6734288"/>
                <a:gd name="connsiteX2" fmla="*/ 818517 w 5066244"/>
                <a:gd name="connsiteY2" fmla="*/ 551228 h 6734288"/>
                <a:gd name="connsiteX3" fmla="*/ 1048586 w 5066244"/>
                <a:gd name="connsiteY3" fmla="*/ 442651 h 6734288"/>
                <a:gd name="connsiteX4" fmla="*/ 1079065 w 5066244"/>
                <a:gd name="connsiteY4" fmla="*/ 393463 h 6734288"/>
                <a:gd name="connsiteX5" fmla="*/ 1314952 w 5066244"/>
                <a:gd name="connsiteY5" fmla="*/ 319342 h 6734288"/>
                <a:gd name="connsiteX6" fmla="*/ 1355407 w 5066244"/>
                <a:gd name="connsiteY6" fmla="*/ 352592 h 6734288"/>
                <a:gd name="connsiteX7" fmla="*/ 1551949 w 5066244"/>
                <a:gd name="connsiteY7" fmla="*/ 288171 h 6734288"/>
                <a:gd name="connsiteX8" fmla="*/ 1511161 w 5066244"/>
                <a:gd name="connsiteY8" fmla="*/ 119840 h 6734288"/>
                <a:gd name="connsiteX9" fmla="*/ 1894404 w 5066244"/>
                <a:gd name="connsiteY9" fmla="*/ 0 h 6734288"/>
                <a:gd name="connsiteX10" fmla="*/ 1942702 w 5066244"/>
                <a:gd name="connsiteY10" fmla="*/ 165560 h 6734288"/>
                <a:gd name="connsiteX11" fmla="*/ 3706253 w 5066244"/>
                <a:gd name="connsiteY11" fmla="*/ 680900 h 6734288"/>
                <a:gd name="connsiteX12" fmla="*/ 4256383 w 5066244"/>
                <a:gd name="connsiteY12" fmla="*/ 1291242 h 6734288"/>
                <a:gd name="connsiteX13" fmla="*/ 4317787 w 5066244"/>
                <a:gd name="connsiteY13" fmla="*/ 1298860 h 6734288"/>
                <a:gd name="connsiteX14" fmla="*/ 4482628 w 5066244"/>
                <a:gd name="connsiteY14" fmla="*/ 1479661 h 6734288"/>
                <a:gd name="connsiteX15" fmla="*/ 4482851 w 5066244"/>
                <a:gd name="connsiteY15" fmla="*/ 1535080 h 6734288"/>
                <a:gd name="connsiteX16" fmla="*/ 4644115 w 5066244"/>
                <a:gd name="connsiteY16" fmla="*/ 1726990 h 6734288"/>
                <a:gd name="connsiteX17" fmla="*/ 5024103 w 5066244"/>
                <a:gd name="connsiteY17" fmla="*/ 3519512 h 6734288"/>
                <a:gd name="connsiteX18" fmla="*/ 4832024 w 5066244"/>
                <a:gd name="connsiteY18" fmla="*/ 4385669 h 6734288"/>
                <a:gd name="connsiteX19" fmla="*/ 4962240 w 5066244"/>
                <a:gd name="connsiteY19" fmla="*/ 4452156 h 6734288"/>
                <a:gd name="connsiteX20" fmla="*/ 4892791 w 5066244"/>
                <a:gd name="connsiteY20" fmla="*/ 4870077 h 6734288"/>
                <a:gd name="connsiteX21" fmla="*/ 4735262 w 5066244"/>
                <a:gd name="connsiteY21" fmla="*/ 4807792 h 6734288"/>
                <a:gd name="connsiteX22" fmla="*/ 3591864 w 5066244"/>
                <a:gd name="connsiteY22" fmla="*/ 6212288 h 6734288"/>
                <a:gd name="connsiteX23" fmla="*/ 3395733 w 5066244"/>
                <a:gd name="connsiteY23" fmla="*/ 5643346 h 6734288"/>
                <a:gd name="connsiteX24" fmla="*/ 4212664 w 5066244"/>
                <a:gd name="connsiteY24" fmla="*/ 4596953 h 6734288"/>
                <a:gd name="connsiteX25" fmla="*/ 4492713 w 5066244"/>
                <a:gd name="connsiteY25" fmla="*/ 3352779 h 6734288"/>
                <a:gd name="connsiteX26" fmla="*/ 4173897 w 5066244"/>
                <a:gd name="connsiteY26" fmla="*/ 2049487 h 6734288"/>
                <a:gd name="connsiteX27" fmla="*/ 3356644 w 5066244"/>
                <a:gd name="connsiteY27" fmla="*/ 1163055 h 6734288"/>
                <a:gd name="connsiteX28" fmla="*/ 2062378 w 5066244"/>
                <a:gd name="connsiteY28" fmla="*/ 761302 h 6734288"/>
                <a:gd name="connsiteX29" fmla="*/ 374339 w 5066244"/>
                <a:gd name="connsiteY29" fmla="*/ 5064132 h 6734288"/>
                <a:gd name="connsiteX30" fmla="*/ 730694 w 5066244"/>
                <a:gd name="connsiteY30" fmla="*/ 5436198 h 6734288"/>
                <a:gd name="connsiteX31" fmla="*/ 792928 w 5066244"/>
                <a:gd name="connsiteY31" fmla="*/ 5418743 h 6734288"/>
                <a:gd name="connsiteX32" fmla="*/ 896655 w 5066244"/>
                <a:gd name="connsiteY32" fmla="*/ 5533432 h 6734288"/>
                <a:gd name="connsiteX33" fmla="*/ 875910 w 5066244"/>
                <a:gd name="connsiteY33" fmla="*/ 5598255 h 6734288"/>
                <a:gd name="connsiteX34" fmla="*/ 965731 w 5066244"/>
                <a:gd name="connsiteY34" fmla="*/ 5692347 h 6734288"/>
                <a:gd name="connsiteX35" fmla="*/ 2266333 w 5066244"/>
                <a:gd name="connsiteY35" fmla="*/ 6017548 h 6734288"/>
                <a:gd name="connsiteX36" fmla="*/ 3391504 w 5066244"/>
                <a:gd name="connsiteY36" fmla="*/ 5644651 h 6734288"/>
                <a:gd name="connsiteX37" fmla="*/ 3588201 w 5066244"/>
                <a:gd name="connsiteY37" fmla="*/ 6217653 h 6734288"/>
                <a:gd name="connsiteX38" fmla="*/ 2249705 w 5066244"/>
                <a:gd name="connsiteY38" fmla="*/ 6660358 h 6734288"/>
                <a:gd name="connsiteX39" fmla="*/ 1871681 w 5066244"/>
                <a:gd name="connsiteY39" fmla="*/ 6682796 h 6734288"/>
                <a:gd name="connsiteX40" fmla="*/ 1793309 w 5066244"/>
                <a:gd name="connsiteY40" fmla="*/ 6590550 h 6734288"/>
                <a:gd name="connsiteX41" fmla="*/ 1110759 w 5066244"/>
                <a:gd name="connsiteY41" fmla="*/ 6734288 h 6734288"/>
                <a:gd name="connsiteX42" fmla="*/ 760659 w 5066244"/>
                <a:gd name="connsiteY42" fmla="*/ 6346215 h 6734288"/>
                <a:gd name="connsiteX43" fmla="*/ 723779 w 5066244"/>
                <a:gd name="connsiteY43" fmla="*/ 6338736 h 6734288"/>
                <a:gd name="connsiteX44" fmla="*/ 567036 w 5066244"/>
                <a:gd name="connsiteY44" fmla="*/ 6164212 h 6734288"/>
                <a:gd name="connsiteX45" fmla="*/ 553207 w 5066244"/>
                <a:gd name="connsiteY45" fmla="*/ 6184157 h 6734288"/>
                <a:gd name="connsiteX46" fmla="*/ 527852 w 5066244"/>
                <a:gd name="connsiteY46" fmla="*/ 6151747 h 6734288"/>
                <a:gd name="connsiteX47" fmla="*/ 486361 w 5066244"/>
                <a:gd name="connsiteY47" fmla="*/ 6209090 h 6734288"/>
                <a:gd name="connsiteX48" fmla="*/ 371110 w 5066244"/>
                <a:gd name="connsiteY48" fmla="*/ 6081936 h 6734288"/>
                <a:gd name="connsiteX49" fmla="*/ 414905 w 5066244"/>
                <a:gd name="connsiteY49" fmla="*/ 6032071 h 6734288"/>
                <a:gd name="connsiteX50" fmla="*/ 182098 w 5066244"/>
                <a:gd name="connsiteY50" fmla="*/ 5782751 h 6734288"/>
                <a:gd name="connsiteX51" fmla="*/ 195928 w 5066244"/>
                <a:gd name="connsiteY51" fmla="*/ 5755327 h 6734288"/>
                <a:gd name="connsiteX52" fmla="*/ 0 w 5066244"/>
                <a:gd name="connsiteY52" fmla="*/ 5548391 h 6734288"/>
                <a:gd name="connsiteX0" fmla="*/ 0 w 5066244"/>
                <a:gd name="connsiteY0" fmla="*/ 5548391 h 6734288"/>
                <a:gd name="connsiteX1" fmla="*/ 728434 w 5066244"/>
                <a:gd name="connsiteY1" fmla="*/ 547251 h 6734288"/>
                <a:gd name="connsiteX2" fmla="*/ 818517 w 5066244"/>
                <a:gd name="connsiteY2" fmla="*/ 551228 h 6734288"/>
                <a:gd name="connsiteX3" fmla="*/ 1048586 w 5066244"/>
                <a:gd name="connsiteY3" fmla="*/ 442651 h 6734288"/>
                <a:gd name="connsiteX4" fmla="*/ 1079065 w 5066244"/>
                <a:gd name="connsiteY4" fmla="*/ 393463 h 6734288"/>
                <a:gd name="connsiteX5" fmla="*/ 1314952 w 5066244"/>
                <a:gd name="connsiteY5" fmla="*/ 319342 h 6734288"/>
                <a:gd name="connsiteX6" fmla="*/ 1355407 w 5066244"/>
                <a:gd name="connsiteY6" fmla="*/ 352592 h 6734288"/>
                <a:gd name="connsiteX7" fmla="*/ 1511161 w 5066244"/>
                <a:gd name="connsiteY7" fmla="*/ 119840 h 6734288"/>
                <a:gd name="connsiteX8" fmla="*/ 1894404 w 5066244"/>
                <a:gd name="connsiteY8" fmla="*/ 0 h 6734288"/>
                <a:gd name="connsiteX9" fmla="*/ 1942702 w 5066244"/>
                <a:gd name="connsiteY9" fmla="*/ 165560 h 6734288"/>
                <a:gd name="connsiteX10" fmla="*/ 3706253 w 5066244"/>
                <a:gd name="connsiteY10" fmla="*/ 680900 h 6734288"/>
                <a:gd name="connsiteX11" fmla="*/ 4256383 w 5066244"/>
                <a:gd name="connsiteY11" fmla="*/ 1291242 h 6734288"/>
                <a:gd name="connsiteX12" fmla="*/ 4317787 w 5066244"/>
                <a:gd name="connsiteY12" fmla="*/ 1298860 h 6734288"/>
                <a:gd name="connsiteX13" fmla="*/ 4482628 w 5066244"/>
                <a:gd name="connsiteY13" fmla="*/ 1479661 h 6734288"/>
                <a:gd name="connsiteX14" fmla="*/ 4482851 w 5066244"/>
                <a:gd name="connsiteY14" fmla="*/ 1535080 h 6734288"/>
                <a:gd name="connsiteX15" fmla="*/ 4644115 w 5066244"/>
                <a:gd name="connsiteY15" fmla="*/ 1726990 h 6734288"/>
                <a:gd name="connsiteX16" fmla="*/ 5024103 w 5066244"/>
                <a:gd name="connsiteY16" fmla="*/ 3519512 h 6734288"/>
                <a:gd name="connsiteX17" fmla="*/ 4832024 w 5066244"/>
                <a:gd name="connsiteY17" fmla="*/ 4385669 h 6734288"/>
                <a:gd name="connsiteX18" fmla="*/ 4962240 w 5066244"/>
                <a:gd name="connsiteY18" fmla="*/ 4452156 h 6734288"/>
                <a:gd name="connsiteX19" fmla="*/ 4892791 w 5066244"/>
                <a:gd name="connsiteY19" fmla="*/ 4870077 h 6734288"/>
                <a:gd name="connsiteX20" fmla="*/ 4735262 w 5066244"/>
                <a:gd name="connsiteY20" fmla="*/ 4807792 h 6734288"/>
                <a:gd name="connsiteX21" fmla="*/ 3591864 w 5066244"/>
                <a:gd name="connsiteY21" fmla="*/ 6212288 h 6734288"/>
                <a:gd name="connsiteX22" fmla="*/ 3395733 w 5066244"/>
                <a:gd name="connsiteY22" fmla="*/ 5643346 h 6734288"/>
                <a:gd name="connsiteX23" fmla="*/ 4212664 w 5066244"/>
                <a:gd name="connsiteY23" fmla="*/ 4596953 h 6734288"/>
                <a:gd name="connsiteX24" fmla="*/ 4492713 w 5066244"/>
                <a:gd name="connsiteY24" fmla="*/ 3352779 h 6734288"/>
                <a:gd name="connsiteX25" fmla="*/ 4173897 w 5066244"/>
                <a:gd name="connsiteY25" fmla="*/ 2049487 h 6734288"/>
                <a:gd name="connsiteX26" fmla="*/ 3356644 w 5066244"/>
                <a:gd name="connsiteY26" fmla="*/ 1163055 h 6734288"/>
                <a:gd name="connsiteX27" fmla="*/ 2062378 w 5066244"/>
                <a:gd name="connsiteY27" fmla="*/ 761302 h 6734288"/>
                <a:gd name="connsiteX28" fmla="*/ 374339 w 5066244"/>
                <a:gd name="connsiteY28" fmla="*/ 5064132 h 6734288"/>
                <a:gd name="connsiteX29" fmla="*/ 730694 w 5066244"/>
                <a:gd name="connsiteY29" fmla="*/ 5436198 h 6734288"/>
                <a:gd name="connsiteX30" fmla="*/ 792928 w 5066244"/>
                <a:gd name="connsiteY30" fmla="*/ 5418743 h 6734288"/>
                <a:gd name="connsiteX31" fmla="*/ 896655 w 5066244"/>
                <a:gd name="connsiteY31" fmla="*/ 5533432 h 6734288"/>
                <a:gd name="connsiteX32" fmla="*/ 875910 w 5066244"/>
                <a:gd name="connsiteY32" fmla="*/ 5598255 h 6734288"/>
                <a:gd name="connsiteX33" fmla="*/ 965731 w 5066244"/>
                <a:gd name="connsiteY33" fmla="*/ 5692347 h 6734288"/>
                <a:gd name="connsiteX34" fmla="*/ 2266333 w 5066244"/>
                <a:gd name="connsiteY34" fmla="*/ 6017548 h 6734288"/>
                <a:gd name="connsiteX35" fmla="*/ 3391504 w 5066244"/>
                <a:gd name="connsiteY35" fmla="*/ 5644651 h 6734288"/>
                <a:gd name="connsiteX36" fmla="*/ 3588201 w 5066244"/>
                <a:gd name="connsiteY36" fmla="*/ 6217653 h 6734288"/>
                <a:gd name="connsiteX37" fmla="*/ 2249705 w 5066244"/>
                <a:gd name="connsiteY37" fmla="*/ 6660358 h 6734288"/>
                <a:gd name="connsiteX38" fmla="*/ 1871681 w 5066244"/>
                <a:gd name="connsiteY38" fmla="*/ 6682796 h 6734288"/>
                <a:gd name="connsiteX39" fmla="*/ 1793309 w 5066244"/>
                <a:gd name="connsiteY39" fmla="*/ 6590550 h 6734288"/>
                <a:gd name="connsiteX40" fmla="*/ 1110759 w 5066244"/>
                <a:gd name="connsiteY40" fmla="*/ 6734288 h 6734288"/>
                <a:gd name="connsiteX41" fmla="*/ 760659 w 5066244"/>
                <a:gd name="connsiteY41" fmla="*/ 6346215 h 6734288"/>
                <a:gd name="connsiteX42" fmla="*/ 723779 w 5066244"/>
                <a:gd name="connsiteY42" fmla="*/ 6338736 h 6734288"/>
                <a:gd name="connsiteX43" fmla="*/ 567036 w 5066244"/>
                <a:gd name="connsiteY43" fmla="*/ 6164212 h 6734288"/>
                <a:gd name="connsiteX44" fmla="*/ 553207 w 5066244"/>
                <a:gd name="connsiteY44" fmla="*/ 6184157 h 6734288"/>
                <a:gd name="connsiteX45" fmla="*/ 527852 w 5066244"/>
                <a:gd name="connsiteY45" fmla="*/ 6151747 h 6734288"/>
                <a:gd name="connsiteX46" fmla="*/ 486361 w 5066244"/>
                <a:gd name="connsiteY46" fmla="*/ 6209090 h 6734288"/>
                <a:gd name="connsiteX47" fmla="*/ 371110 w 5066244"/>
                <a:gd name="connsiteY47" fmla="*/ 6081936 h 6734288"/>
                <a:gd name="connsiteX48" fmla="*/ 414905 w 5066244"/>
                <a:gd name="connsiteY48" fmla="*/ 6032071 h 6734288"/>
                <a:gd name="connsiteX49" fmla="*/ 182098 w 5066244"/>
                <a:gd name="connsiteY49" fmla="*/ 5782751 h 6734288"/>
                <a:gd name="connsiteX50" fmla="*/ 195928 w 5066244"/>
                <a:gd name="connsiteY50" fmla="*/ 5755327 h 6734288"/>
                <a:gd name="connsiteX51" fmla="*/ 0 w 5066244"/>
                <a:gd name="connsiteY51" fmla="*/ 5548391 h 6734288"/>
                <a:gd name="connsiteX0" fmla="*/ 0 w 5066244"/>
                <a:gd name="connsiteY0" fmla="*/ 5548391 h 6734288"/>
                <a:gd name="connsiteX1" fmla="*/ 728434 w 5066244"/>
                <a:gd name="connsiteY1" fmla="*/ 547251 h 6734288"/>
                <a:gd name="connsiteX2" fmla="*/ 818517 w 5066244"/>
                <a:gd name="connsiteY2" fmla="*/ 551228 h 6734288"/>
                <a:gd name="connsiteX3" fmla="*/ 1048586 w 5066244"/>
                <a:gd name="connsiteY3" fmla="*/ 442651 h 6734288"/>
                <a:gd name="connsiteX4" fmla="*/ 1079065 w 5066244"/>
                <a:gd name="connsiteY4" fmla="*/ 393463 h 6734288"/>
                <a:gd name="connsiteX5" fmla="*/ 1314952 w 5066244"/>
                <a:gd name="connsiteY5" fmla="*/ 319342 h 6734288"/>
                <a:gd name="connsiteX6" fmla="*/ 1511161 w 5066244"/>
                <a:gd name="connsiteY6" fmla="*/ 119840 h 6734288"/>
                <a:gd name="connsiteX7" fmla="*/ 1894404 w 5066244"/>
                <a:gd name="connsiteY7" fmla="*/ 0 h 6734288"/>
                <a:gd name="connsiteX8" fmla="*/ 1942702 w 5066244"/>
                <a:gd name="connsiteY8" fmla="*/ 165560 h 6734288"/>
                <a:gd name="connsiteX9" fmla="*/ 3706253 w 5066244"/>
                <a:gd name="connsiteY9" fmla="*/ 680900 h 6734288"/>
                <a:gd name="connsiteX10" fmla="*/ 4256383 w 5066244"/>
                <a:gd name="connsiteY10" fmla="*/ 1291242 h 6734288"/>
                <a:gd name="connsiteX11" fmla="*/ 4317787 w 5066244"/>
                <a:gd name="connsiteY11" fmla="*/ 1298860 h 6734288"/>
                <a:gd name="connsiteX12" fmla="*/ 4482628 w 5066244"/>
                <a:gd name="connsiteY12" fmla="*/ 1479661 h 6734288"/>
                <a:gd name="connsiteX13" fmla="*/ 4482851 w 5066244"/>
                <a:gd name="connsiteY13" fmla="*/ 1535080 h 6734288"/>
                <a:gd name="connsiteX14" fmla="*/ 4644115 w 5066244"/>
                <a:gd name="connsiteY14" fmla="*/ 1726990 h 6734288"/>
                <a:gd name="connsiteX15" fmla="*/ 5024103 w 5066244"/>
                <a:gd name="connsiteY15" fmla="*/ 3519512 h 6734288"/>
                <a:gd name="connsiteX16" fmla="*/ 4832024 w 5066244"/>
                <a:gd name="connsiteY16" fmla="*/ 4385669 h 6734288"/>
                <a:gd name="connsiteX17" fmla="*/ 4962240 w 5066244"/>
                <a:gd name="connsiteY17" fmla="*/ 4452156 h 6734288"/>
                <a:gd name="connsiteX18" fmla="*/ 4892791 w 5066244"/>
                <a:gd name="connsiteY18" fmla="*/ 4870077 h 6734288"/>
                <a:gd name="connsiteX19" fmla="*/ 4735262 w 5066244"/>
                <a:gd name="connsiteY19" fmla="*/ 4807792 h 6734288"/>
                <a:gd name="connsiteX20" fmla="*/ 3591864 w 5066244"/>
                <a:gd name="connsiteY20" fmla="*/ 6212288 h 6734288"/>
                <a:gd name="connsiteX21" fmla="*/ 3395733 w 5066244"/>
                <a:gd name="connsiteY21" fmla="*/ 5643346 h 6734288"/>
                <a:gd name="connsiteX22" fmla="*/ 4212664 w 5066244"/>
                <a:gd name="connsiteY22" fmla="*/ 4596953 h 6734288"/>
                <a:gd name="connsiteX23" fmla="*/ 4492713 w 5066244"/>
                <a:gd name="connsiteY23" fmla="*/ 3352779 h 6734288"/>
                <a:gd name="connsiteX24" fmla="*/ 4173897 w 5066244"/>
                <a:gd name="connsiteY24" fmla="*/ 2049487 h 6734288"/>
                <a:gd name="connsiteX25" fmla="*/ 3356644 w 5066244"/>
                <a:gd name="connsiteY25" fmla="*/ 1163055 h 6734288"/>
                <a:gd name="connsiteX26" fmla="*/ 2062378 w 5066244"/>
                <a:gd name="connsiteY26" fmla="*/ 761302 h 6734288"/>
                <a:gd name="connsiteX27" fmla="*/ 374339 w 5066244"/>
                <a:gd name="connsiteY27" fmla="*/ 5064132 h 6734288"/>
                <a:gd name="connsiteX28" fmla="*/ 730694 w 5066244"/>
                <a:gd name="connsiteY28" fmla="*/ 5436198 h 6734288"/>
                <a:gd name="connsiteX29" fmla="*/ 792928 w 5066244"/>
                <a:gd name="connsiteY29" fmla="*/ 5418743 h 6734288"/>
                <a:gd name="connsiteX30" fmla="*/ 896655 w 5066244"/>
                <a:gd name="connsiteY30" fmla="*/ 5533432 h 6734288"/>
                <a:gd name="connsiteX31" fmla="*/ 875910 w 5066244"/>
                <a:gd name="connsiteY31" fmla="*/ 5598255 h 6734288"/>
                <a:gd name="connsiteX32" fmla="*/ 965731 w 5066244"/>
                <a:gd name="connsiteY32" fmla="*/ 5692347 h 6734288"/>
                <a:gd name="connsiteX33" fmla="*/ 2266333 w 5066244"/>
                <a:gd name="connsiteY33" fmla="*/ 6017548 h 6734288"/>
                <a:gd name="connsiteX34" fmla="*/ 3391504 w 5066244"/>
                <a:gd name="connsiteY34" fmla="*/ 5644651 h 6734288"/>
                <a:gd name="connsiteX35" fmla="*/ 3588201 w 5066244"/>
                <a:gd name="connsiteY35" fmla="*/ 6217653 h 6734288"/>
                <a:gd name="connsiteX36" fmla="*/ 2249705 w 5066244"/>
                <a:gd name="connsiteY36" fmla="*/ 6660358 h 6734288"/>
                <a:gd name="connsiteX37" fmla="*/ 1871681 w 5066244"/>
                <a:gd name="connsiteY37" fmla="*/ 6682796 h 6734288"/>
                <a:gd name="connsiteX38" fmla="*/ 1793309 w 5066244"/>
                <a:gd name="connsiteY38" fmla="*/ 6590550 h 6734288"/>
                <a:gd name="connsiteX39" fmla="*/ 1110759 w 5066244"/>
                <a:gd name="connsiteY39" fmla="*/ 6734288 h 6734288"/>
                <a:gd name="connsiteX40" fmla="*/ 760659 w 5066244"/>
                <a:gd name="connsiteY40" fmla="*/ 6346215 h 6734288"/>
                <a:gd name="connsiteX41" fmla="*/ 723779 w 5066244"/>
                <a:gd name="connsiteY41" fmla="*/ 6338736 h 6734288"/>
                <a:gd name="connsiteX42" fmla="*/ 567036 w 5066244"/>
                <a:gd name="connsiteY42" fmla="*/ 6164212 h 6734288"/>
                <a:gd name="connsiteX43" fmla="*/ 553207 w 5066244"/>
                <a:gd name="connsiteY43" fmla="*/ 6184157 h 6734288"/>
                <a:gd name="connsiteX44" fmla="*/ 527852 w 5066244"/>
                <a:gd name="connsiteY44" fmla="*/ 6151747 h 6734288"/>
                <a:gd name="connsiteX45" fmla="*/ 486361 w 5066244"/>
                <a:gd name="connsiteY45" fmla="*/ 6209090 h 6734288"/>
                <a:gd name="connsiteX46" fmla="*/ 371110 w 5066244"/>
                <a:gd name="connsiteY46" fmla="*/ 6081936 h 6734288"/>
                <a:gd name="connsiteX47" fmla="*/ 414905 w 5066244"/>
                <a:gd name="connsiteY47" fmla="*/ 6032071 h 6734288"/>
                <a:gd name="connsiteX48" fmla="*/ 182098 w 5066244"/>
                <a:gd name="connsiteY48" fmla="*/ 5782751 h 6734288"/>
                <a:gd name="connsiteX49" fmla="*/ 195928 w 5066244"/>
                <a:gd name="connsiteY49" fmla="*/ 5755327 h 6734288"/>
                <a:gd name="connsiteX50" fmla="*/ 0 w 5066244"/>
                <a:gd name="connsiteY50" fmla="*/ 5548391 h 6734288"/>
                <a:gd name="connsiteX0" fmla="*/ 0 w 5066244"/>
                <a:gd name="connsiteY0" fmla="*/ 5548391 h 6734288"/>
                <a:gd name="connsiteX1" fmla="*/ 728434 w 5066244"/>
                <a:gd name="connsiteY1" fmla="*/ 547251 h 6734288"/>
                <a:gd name="connsiteX2" fmla="*/ 818517 w 5066244"/>
                <a:gd name="connsiteY2" fmla="*/ 551228 h 6734288"/>
                <a:gd name="connsiteX3" fmla="*/ 1048586 w 5066244"/>
                <a:gd name="connsiteY3" fmla="*/ 442651 h 6734288"/>
                <a:gd name="connsiteX4" fmla="*/ 1079065 w 5066244"/>
                <a:gd name="connsiteY4" fmla="*/ 393463 h 6734288"/>
                <a:gd name="connsiteX5" fmla="*/ 1511161 w 5066244"/>
                <a:gd name="connsiteY5" fmla="*/ 119840 h 6734288"/>
                <a:gd name="connsiteX6" fmla="*/ 1894404 w 5066244"/>
                <a:gd name="connsiteY6" fmla="*/ 0 h 6734288"/>
                <a:gd name="connsiteX7" fmla="*/ 1942702 w 5066244"/>
                <a:gd name="connsiteY7" fmla="*/ 165560 h 6734288"/>
                <a:gd name="connsiteX8" fmla="*/ 3706253 w 5066244"/>
                <a:gd name="connsiteY8" fmla="*/ 680900 h 6734288"/>
                <a:gd name="connsiteX9" fmla="*/ 4256383 w 5066244"/>
                <a:gd name="connsiteY9" fmla="*/ 1291242 h 6734288"/>
                <a:gd name="connsiteX10" fmla="*/ 4317787 w 5066244"/>
                <a:gd name="connsiteY10" fmla="*/ 1298860 h 6734288"/>
                <a:gd name="connsiteX11" fmla="*/ 4482628 w 5066244"/>
                <a:gd name="connsiteY11" fmla="*/ 1479661 h 6734288"/>
                <a:gd name="connsiteX12" fmla="*/ 4482851 w 5066244"/>
                <a:gd name="connsiteY12" fmla="*/ 1535080 h 6734288"/>
                <a:gd name="connsiteX13" fmla="*/ 4644115 w 5066244"/>
                <a:gd name="connsiteY13" fmla="*/ 1726990 h 6734288"/>
                <a:gd name="connsiteX14" fmla="*/ 5024103 w 5066244"/>
                <a:gd name="connsiteY14" fmla="*/ 3519512 h 6734288"/>
                <a:gd name="connsiteX15" fmla="*/ 4832024 w 5066244"/>
                <a:gd name="connsiteY15" fmla="*/ 4385669 h 6734288"/>
                <a:gd name="connsiteX16" fmla="*/ 4962240 w 5066244"/>
                <a:gd name="connsiteY16" fmla="*/ 4452156 h 6734288"/>
                <a:gd name="connsiteX17" fmla="*/ 4892791 w 5066244"/>
                <a:gd name="connsiteY17" fmla="*/ 4870077 h 6734288"/>
                <a:gd name="connsiteX18" fmla="*/ 4735262 w 5066244"/>
                <a:gd name="connsiteY18" fmla="*/ 4807792 h 6734288"/>
                <a:gd name="connsiteX19" fmla="*/ 3591864 w 5066244"/>
                <a:gd name="connsiteY19" fmla="*/ 6212288 h 6734288"/>
                <a:gd name="connsiteX20" fmla="*/ 3395733 w 5066244"/>
                <a:gd name="connsiteY20" fmla="*/ 5643346 h 6734288"/>
                <a:gd name="connsiteX21" fmla="*/ 4212664 w 5066244"/>
                <a:gd name="connsiteY21" fmla="*/ 4596953 h 6734288"/>
                <a:gd name="connsiteX22" fmla="*/ 4492713 w 5066244"/>
                <a:gd name="connsiteY22" fmla="*/ 3352779 h 6734288"/>
                <a:gd name="connsiteX23" fmla="*/ 4173897 w 5066244"/>
                <a:gd name="connsiteY23" fmla="*/ 2049487 h 6734288"/>
                <a:gd name="connsiteX24" fmla="*/ 3356644 w 5066244"/>
                <a:gd name="connsiteY24" fmla="*/ 1163055 h 6734288"/>
                <a:gd name="connsiteX25" fmla="*/ 2062378 w 5066244"/>
                <a:gd name="connsiteY25" fmla="*/ 761302 h 6734288"/>
                <a:gd name="connsiteX26" fmla="*/ 374339 w 5066244"/>
                <a:gd name="connsiteY26" fmla="*/ 5064132 h 6734288"/>
                <a:gd name="connsiteX27" fmla="*/ 730694 w 5066244"/>
                <a:gd name="connsiteY27" fmla="*/ 5436198 h 6734288"/>
                <a:gd name="connsiteX28" fmla="*/ 792928 w 5066244"/>
                <a:gd name="connsiteY28" fmla="*/ 5418743 h 6734288"/>
                <a:gd name="connsiteX29" fmla="*/ 896655 w 5066244"/>
                <a:gd name="connsiteY29" fmla="*/ 5533432 h 6734288"/>
                <a:gd name="connsiteX30" fmla="*/ 875910 w 5066244"/>
                <a:gd name="connsiteY30" fmla="*/ 5598255 h 6734288"/>
                <a:gd name="connsiteX31" fmla="*/ 965731 w 5066244"/>
                <a:gd name="connsiteY31" fmla="*/ 5692347 h 6734288"/>
                <a:gd name="connsiteX32" fmla="*/ 2266333 w 5066244"/>
                <a:gd name="connsiteY32" fmla="*/ 6017548 h 6734288"/>
                <a:gd name="connsiteX33" fmla="*/ 3391504 w 5066244"/>
                <a:gd name="connsiteY33" fmla="*/ 5644651 h 6734288"/>
                <a:gd name="connsiteX34" fmla="*/ 3588201 w 5066244"/>
                <a:gd name="connsiteY34" fmla="*/ 6217653 h 6734288"/>
                <a:gd name="connsiteX35" fmla="*/ 2249705 w 5066244"/>
                <a:gd name="connsiteY35" fmla="*/ 6660358 h 6734288"/>
                <a:gd name="connsiteX36" fmla="*/ 1871681 w 5066244"/>
                <a:gd name="connsiteY36" fmla="*/ 6682796 h 6734288"/>
                <a:gd name="connsiteX37" fmla="*/ 1793309 w 5066244"/>
                <a:gd name="connsiteY37" fmla="*/ 6590550 h 6734288"/>
                <a:gd name="connsiteX38" fmla="*/ 1110759 w 5066244"/>
                <a:gd name="connsiteY38" fmla="*/ 6734288 h 6734288"/>
                <a:gd name="connsiteX39" fmla="*/ 760659 w 5066244"/>
                <a:gd name="connsiteY39" fmla="*/ 6346215 h 6734288"/>
                <a:gd name="connsiteX40" fmla="*/ 723779 w 5066244"/>
                <a:gd name="connsiteY40" fmla="*/ 6338736 h 6734288"/>
                <a:gd name="connsiteX41" fmla="*/ 567036 w 5066244"/>
                <a:gd name="connsiteY41" fmla="*/ 6164212 h 6734288"/>
                <a:gd name="connsiteX42" fmla="*/ 553207 w 5066244"/>
                <a:gd name="connsiteY42" fmla="*/ 6184157 h 6734288"/>
                <a:gd name="connsiteX43" fmla="*/ 527852 w 5066244"/>
                <a:gd name="connsiteY43" fmla="*/ 6151747 h 6734288"/>
                <a:gd name="connsiteX44" fmla="*/ 486361 w 5066244"/>
                <a:gd name="connsiteY44" fmla="*/ 6209090 h 6734288"/>
                <a:gd name="connsiteX45" fmla="*/ 371110 w 5066244"/>
                <a:gd name="connsiteY45" fmla="*/ 6081936 h 6734288"/>
                <a:gd name="connsiteX46" fmla="*/ 414905 w 5066244"/>
                <a:gd name="connsiteY46" fmla="*/ 6032071 h 6734288"/>
                <a:gd name="connsiteX47" fmla="*/ 182098 w 5066244"/>
                <a:gd name="connsiteY47" fmla="*/ 5782751 h 6734288"/>
                <a:gd name="connsiteX48" fmla="*/ 195928 w 5066244"/>
                <a:gd name="connsiteY48" fmla="*/ 5755327 h 6734288"/>
                <a:gd name="connsiteX49" fmla="*/ 0 w 5066244"/>
                <a:gd name="connsiteY49" fmla="*/ 5548391 h 6734288"/>
                <a:gd name="connsiteX0" fmla="*/ 0 w 5066244"/>
                <a:gd name="connsiteY0" fmla="*/ 5548391 h 6734288"/>
                <a:gd name="connsiteX1" fmla="*/ 728434 w 5066244"/>
                <a:gd name="connsiteY1" fmla="*/ 547251 h 6734288"/>
                <a:gd name="connsiteX2" fmla="*/ 818517 w 5066244"/>
                <a:gd name="connsiteY2" fmla="*/ 551228 h 6734288"/>
                <a:gd name="connsiteX3" fmla="*/ 1048586 w 5066244"/>
                <a:gd name="connsiteY3" fmla="*/ 442651 h 6734288"/>
                <a:gd name="connsiteX4" fmla="*/ 1511161 w 5066244"/>
                <a:gd name="connsiteY4" fmla="*/ 119840 h 6734288"/>
                <a:gd name="connsiteX5" fmla="*/ 1894404 w 5066244"/>
                <a:gd name="connsiteY5" fmla="*/ 0 h 6734288"/>
                <a:gd name="connsiteX6" fmla="*/ 1942702 w 5066244"/>
                <a:gd name="connsiteY6" fmla="*/ 165560 h 6734288"/>
                <a:gd name="connsiteX7" fmla="*/ 3706253 w 5066244"/>
                <a:gd name="connsiteY7" fmla="*/ 680900 h 6734288"/>
                <a:gd name="connsiteX8" fmla="*/ 4256383 w 5066244"/>
                <a:gd name="connsiteY8" fmla="*/ 1291242 h 6734288"/>
                <a:gd name="connsiteX9" fmla="*/ 4317787 w 5066244"/>
                <a:gd name="connsiteY9" fmla="*/ 1298860 h 6734288"/>
                <a:gd name="connsiteX10" fmla="*/ 4482628 w 5066244"/>
                <a:gd name="connsiteY10" fmla="*/ 1479661 h 6734288"/>
                <a:gd name="connsiteX11" fmla="*/ 4482851 w 5066244"/>
                <a:gd name="connsiteY11" fmla="*/ 1535080 h 6734288"/>
                <a:gd name="connsiteX12" fmla="*/ 4644115 w 5066244"/>
                <a:gd name="connsiteY12" fmla="*/ 1726990 h 6734288"/>
                <a:gd name="connsiteX13" fmla="*/ 5024103 w 5066244"/>
                <a:gd name="connsiteY13" fmla="*/ 3519512 h 6734288"/>
                <a:gd name="connsiteX14" fmla="*/ 4832024 w 5066244"/>
                <a:gd name="connsiteY14" fmla="*/ 4385669 h 6734288"/>
                <a:gd name="connsiteX15" fmla="*/ 4962240 w 5066244"/>
                <a:gd name="connsiteY15" fmla="*/ 4452156 h 6734288"/>
                <a:gd name="connsiteX16" fmla="*/ 4892791 w 5066244"/>
                <a:gd name="connsiteY16" fmla="*/ 4870077 h 6734288"/>
                <a:gd name="connsiteX17" fmla="*/ 4735262 w 5066244"/>
                <a:gd name="connsiteY17" fmla="*/ 4807792 h 6734288"/>
                <a:gd name="connsiteX18" fmla="*/ 3591864 w 5066244"/>
                <a:gd name="connsiteY18" fmla="*/ 6212288 h 6734288"/>
                <a:gd name="connsiteX19" fmla="*/ 3395733 w 5066244"/>
                <a:gd name="connsiteY19" fmla="*/ 5643346 h 6734288"/>
                <a:gd name="connsiteX20" fmla="*/ 4212664 w 5066244"/>
                <a:gd name="connsiteY20" fmla="*/ 4596953 h 6734288"/>
                <a:gd name="connsiteX21" fmla="*/ 4492713 w 5066244"/>
                <a:gd name="connsiteY21" fmla="*/ 3352779 h 6734288"/>
                <a:gd name="connsiteX22" fmla="*/ 4173897 w 5066244"/>
                <a:gd name="connsiteY22" fmla="*/ 2049487 h 6734288"/>
                <a:gd name="connsiteX23" fmla="*/ 3356644 w 5066244"/>
                <a:gd name="connsiteY23" fmla="*/ 1163055 h 6734288"/>
                <a:gd name="connsiteX24" fmla="*/ 2062378 w 5066244"/>
                <a:gd name="connsiteY24" fmla="*/ 761302 h 6734288"/>
                <a:gd name="connsiteX25" fmla="*/ 374339 w 5066244"/>
                <a:gd name="connsiteY25" fmla="*/ 5064132 h 6734288"/>
                <a:gd name="connsiteX26" fmla="*/ 730694 w 5066244"/>
                <a:gd name="connsiteY26" fmla="*/ 5436198 h 6734288"/>
                <a:gd name="connsiteX27" fmla="*/ 792928 w 5066244"/>
                <a:gd name="connsiteY27" fmla="*/ 5418743 h 6734288"/>
                <a:gd name="connsiteX28" fmla="*/ 896655 w 5066244"/>
                <a:gd name="connsiteY28" fmla="*/ 5533432 h 6734288"/>
                <a:gd name="connsiteX29" fmla="*/ 875910 w 5066244"/>
                <a:gd name="connsiteY29" fmla="*/ 5598255 h 6734288"/>
                <a:gd name="connsiteX30" fmla="*/ 965731 w 5066244"/>
                <a:gd name="connsiteY30" fmla="*/ 5692347 h 6734288"/>
                <a:gd name="connsiteX31" fmla="*/ 2266333 w 5066244"/>
                <a:gd name="connsiteY31" fmla="*/ 6017548 h 6734288"/>
                <a:gd name="connsiteX32" fmla="*/ 3391504 w 5066244"/>
                <a:gd name="connsiteY32" fmla="*/ 5644651 h 6734288"/>
                <a:gd name="connsiteX33" fmla="*/ 3588201 w 5066244"/>
                <a:gd name="connsiteY33" fmla="*/ 6217653 h 6734288"/>
                <a:gd name="connsiteX34" fmla="*/ 2249705 w 5066244"/>
                <a:gd name="connsiteY34" fmla="*/ 6660358 h 6734288"/>
                <a:gd name="connsiteX35" fmla="*/ 1871681 w 5066244"/>
                <a:gd name="connsiteY35" fmla="*/ 6682796 h 6734288"/>
                <a:gd name="connsiteX36" fmla="*/ 1793309 w 5066244"/>
                <a:gd name="connsiteY36" fmla="*/ 6590550 h 6734288"/>
                <a:gd name="connsiteX37" fmla="*/ 1110759 w 5066244"/>
                <a:gd name="connsiteY37" fmla="*/ 6734288 h 6734288"/>
                <a:gd name="connsiteX38" fmla="*/ 760659 w 5066244"/>
                <a:gd name="connsiteY38" fmla="*/ 6346215 h 6734288"/>
                <a:gd name="connsiteX39" fmla="*/ 723779 w 5066244"/>
                <a:gd name="connsiteY39" fmla="*/ 6338736 h 6734288"/>
                <a:gd name="connsiteX40" fmla="*/ 567036 w 5066244"/>
                <a:gd name="connsiteY40" fmla="*/ 6164212 h 6734288"/>
                <a:gd name="connsiteX41" fmla="*/ 553207 w 5066244"/>
                <a:gd name="connsiteY41" fmla="*/ 6184157 h 6734288"/>
                <a:gd name="connsiteX42" fmla="*/ 527852 w 5066244"/>
                <a:gd name="connsiteY42" fmla="*/ 6151747 h 6734288"/>
                <a:gd name="connsiteX43" fmla="*/ 486361 w 5066244"/>
                <a:gd name="connsiteY43" fmla="*/ 6209090 h 6734288"/>
                <a:gd name="connsiteX44" fmla="*/ 371110 w 5066244"/>
                <a:gd name="connsiteY44" fmla="*/ 6081936 h 6734288"/>
                <a:gd name="connsiteX45" fmla="*/ 414905 w 5066244"/>
                <a:gd name="connsiteY45" fmla="*/ 6032071 h 6734288"/>
                <a:gd name="connsiteX46" fmla="*/ 182098 w 5066244"/>
                <a:gd name="connsiteY46" fmla="*/ 5782751 h 6734288"/>
                <a:gd name="connsiteX47" fmla="*/ 195928 w 5066244"/>
                <a:gd name="connsiteY47" fmla="*/ 5755327 h 6734288"/>
                <a:gd name="connsiteX48" fmla="*/ 0 w 5066244"/>
                <a:gd name="connsiteY48" fmla="*/ 5548391 h 6734288"/>
                <a:gd name="connsiteX0" fmla="*/ 0 w 5066244"/>
                <a:gd name="connsiteY0" fmla="*/ 5548391 h 6734288"/>
                <a:gd name="connsiteX1" fmla="*/ 728434 w 5066244"/>
                <a:gd name="connsiteY1" fmla="*/ 547251 h 6734288"/>
                <a:gd name="connsiteX2" fmla="*/ 818517 w 5066244"/>
                <a:gd name="connsiteY2" fmla="*/ 551228 h 6734288"/>
                <a:gd name="connsiteX3" fmla="*/ 1511161 w 5066244"/>
                <a:gd name="connsiteY3" fmla="*/ 119840 h 6734288"/>
                <a:gd name="connsiteX4" fmla="*/ 1894404 w 5066244"/>
                <a:gd name="connsiteY4" fmla="*/ 0 h 6734288"/>
                <a:gd name="connsiteX5" fmla="*/ 1942702 w 5066244"/>
                <a:gd name="connsiteY5" fmla="*/ 165560 h 6734288"/>
                <a:gd name="connsiteX6" fmla="*/ 3706253 w 5066244"/>
                <a:gd name="connsiteY6" fmla="*/ 680900 h 6734288"/>
                <a:gd name="connsiteX7" fmla="*/ 4256383 w 5066244"/>
                <a:gd name="connsiteY7" fmla="*/ 1291242 h 6734288"/>
                <a:gd name="connsiteX8" fmla="*/ 4317787 w 5066244"/>
                <a:gd name="connsiteY8" fmla="*/ 1298860 h 6734288"/>
                <a:gd name="connsiteX9" fmla="*/ 4482628 w 5066244"/>
                <a:gd name="connsiteY9" fmla="*/ 1479661 h 6734288"/>
                <a:gd name="connsiteX10" fmla="*/ 4482851 w 5066244"/>
                <a:gd name="connsiteY10" fmla="*/ 1535080 h 6734288"/>
                <a:gd name="connsiteX11" fmla="*/ 4644115 w 5066244"/>
                <a:gd name="connsiteY11" fmla="*/ 1726990 h 6734288"/>
                <a:gd name="connsiteX12" fmla="*/ 5024103 w 5066244"/>
                <a:gd name="connsiteY12" fmla="*/ 3519512 h 6734288"/>
                <a:gd name="connsiteX13" fmla="*/ 4832024 w 5066244"/>
                <a:gd name="connsiteY13" fmla="*/ 4385669 h 6734288"/>
                <a:gd name="connsiteX14" fmla="*/ 4962240 w 5066244"/>
                <a:gd name="connsiteY14" fmla="*/ 4452156 h 6734288"/>
                <a:gd name="connsiteX15" fmla="*/ 4892791 w 5066244"/>
                <a:gd name="connsiteY15" fmla="*/ 4870077 h 6734288"/>
                <a:gd name="connsiteX16" fmla="*/ 4735262 w 5066244"/>
                <a:gd name="connsiteY16" fmla="*/ 4807792 h 6734288"/>
                <a:gd name="connsiteX17" fmla="*/ 3591864 w 5066244"/>
                <a:gd name="connsiteY17" fmla="*/ 6212288 h 6734288"/>
                <a:gd name="connsiteX18" fmla="*/ 3395733 w 5066244"/>
                <a:gd name="connsiteY18" fmla="*/ 5643346 h 6734288"/>
                <a:gd name="connsiteX19" fmla="*/ 4212664 w 5066244"/>
                <a:gd name="connsiteY19" fmla="*/ 4596953 h 6734288"/>
                <a:gd name="connsiteX20" fmla="*/ 4492713 w 5066244"/>
                <a:gd name="connsiteY20" fmla="*/ 3352779 h 6734288"/>
                <a:gd name="connsiteX21" fmla="*/ 4173897 w 5066244"/>
                <a:gd name="connsiteY21" fmla="*/ 2049487 h 6734288"/>
                <a:gd name="connsiteX22" fmla="*/ 3356644 w 5066244"/>
                <a:gd name="connsiteY22" fmla="*/ 1163055 h 6734288"/>
                <a:gd name="connsiteX23" fmla="*/ 2062378 w 5066244"/>
                <a:gd name="connsiteY23" fmla="*/ 761302 h 6734288"/>
                <a:gd name="connsiteX24" fmla="*/ 374339 w 5066244"/>
                <a:gd name="connsiteY24" fmla="*/ 5064132 h 6734288"/>
                <a:gd name="connsiteX25" fmla="*/ 730694 w 5066244"/>
                <a:gd name="connsiteY25" fmla="*/ 5436198 h 6734288"/>
                <a:gd name="connsiteX26" fmla="*/ 792928 w 5066244"/>
                <a:gd name="connsiteY26" fmla="*/ 5418743 h 6734288"/>
                <a:gd name="connsiteX27" fmla="*/ 896655 w 5066244"/>
                <a:gd name="connsiteY27" fmla="*/ 5533432 h 6734288"/>
                <a:gd name="connsiteX28" fmla="*/ 875910 w 5066244"/>
                <a:gd name="connsiteY28" fmla="*/ 5598255 h 6734288"/>
                <a:gd name="connsiteX29" fmla="*/ 965731 w 5066244"/>
                <a:gd name="connsiteY29" fmla="*/ 5692347 h 6734288"/>
                <a:gd name="connsiteX30" fmla="*/ 2266333 w 5066244"/>
                <a:gd name="connsiteY30" fmla="*/ 6017548 h 6734288"/>
                <a:gd name="connsiteX31" fmla="*/ 3391504 w 5066244"/>
                <a:gd name="connsiteY31" fmla="*/ 5644651 h 6734288"/>
                <a:gd name="connsiteX32" fmla="*/ 3588201 w 5066244"/>
                <a:gd name="connsiteY32" fmla="*/ 6217653 h 6734288"/>
                <a:gd name="connsiteX33" fmla="*/ 2249705 w 5066244"/>
                <a:gd name="connsiteY33" fmla="*/ 6660358 h 6734288"/>
                <a:gd name="connsiteX34" fmla="*/ 1871681 w 5066244"/>
                <a:gd name="connsiteY34" fmla="*/ 6682796 h 6734288"/>
                <a:gd name="connsiteX35" fmla="*/ 1793309 w 5066244"/>
                <a:gd name="connsiteY35" fmla="*/ 6590550 h 6734288"/>
                <a:gd name="connsiteX36" fmla="*/ 1110759 w 5066244"/>
                <a:gd name="connsiteY36" fmla="*/ 6734288 h 6734288"/>
                <a:gd name="connsiteX37" fmla="*/ 760659 w 5066244"/>
                <a:gd name="connsiteY37" fmla="*/ 6346215 h 6734288"/>
                <a:gd name="connsiteX38" fmla="*/ 723779 w 5066244"/>
                <a:gd name="connsiteY38" fmla="*/ 6338736 h 6734288"/>
                <a:gd name="connsiteX39" fmla="*/ 567036 w 5066244"/>
                <a:gd name="connsiteY39" fmla="*/ 6164212 h 6734288"/>
                <a:gd name="connsiteX40" fmla="*/ 553207 w 5066244"/>
                <a:gd name="connsiteY40" fmla="*/ 6184157 h 6734288"/>
                <a:gd name="connsiteX41" fmla="*/ 527852 w 5066244"/>
                <a:gd name="connsiteY41" fmla="*/ 6151747 h 6734288"/>
                <a:gd name="connsiteX42" fmla="*/ 486361 w 5066244"/>
                <a:gd name="connsiteY42" fmla="*/ 6209090 h 6734288"/>
                <a:gd name="connsiteX43" fmla="*/ 371110 w 5066244"/>
                <a:gd name="connsiteY43" fmla="*/ 6081936 h 6734288"/>
                <a:gd name="connsiteX44" fmla="*/ 414905 w 5066244"/>
                <a:gd name="connsiteY44" fmla="*/ 6032071 h 6734288"/>
                <a:gd name="connsiteX45" fmla="*/ 182098 w 5066244"/>
                <a:gd name="connsiteY45" fmla="*/ 5782751 h 6734288"/>
                <a:gd name="connsiteX46" fmla="*/ 195928 w 5066244"/>
                <a:gd name="connsiteY46" fmla="*/ 5755327 h 6734288"/>
                <a:gd name="connsiteX47" fmla="*/ 0 w 5066244"/>
                <a:gd name="connsiteY47" fmla="*/ 5548391 h 6734288"/>
                <a:gd name="connsiteX0" fmla="*/ 0 w 5066244"/>
                <a:gd name="connsiteY0" fmla="*/ 5548391 h 6734288"/>
                <a:gd name="connsiteX1" fmla="*/ 728434 w 5066244"/>
                <a:gd name="connsiteY1" fmla="*/ 547251 h 6734288"/>
                <a:gd name="connsiteX2" fmla="*/ 1511161 w 5066244"/>
                <a:gd name="connsiteY2" fmla="*/ 119840 h 6734288"/>
                <a:gd name="connsiteX3" fmla="*/ 1894404 w 5066244"/>
                <a:gd name="connsiteY3" fmla="*/ 0 h 6734288"/>
                <a:gd name="connsiteX4" fmla="*/ 1942702 w 5066244"/>
                <a:gd name="connsiteY4" fmla="*/ 165560 h 6734288"/>
                <a:gd name="connsiteX5" fmla="*/ 3706253 w 5066244"/>
                <a:gd name="connsiteY5" fmla="*/ 680900 h 6734288"/>
                <a:gd name="connsiteX6" fmla="*/ 4256383 w 5066244"/>
                <a:gd name="connsiteY6" fmla="*/ 1291242 h 6734288"/>
                <a:gd name="connsiteX7" fmla="*/ 4317787 w 5066244"/>
                <a:gd name="connsiteY7" fmla="*/ 1298860 h 6734288"/>
                <a:gd name="connsiteX8" fmla="*/ 4482628 w 5066244"/>
                <a:gd name="connsiteY8" fmla="*/ 1479661 h 6734288"/>
                <a:gd name="connsiteX9" fmla="*/ 4482851 w 5066244"/>
                <a:gd name="connsiteY9" fmla="*/ 1535080 h 6734288"/>
                <a:gd name="connsiteX10" fmla="*/ 4644115 w 5066244"/>
                <a:gd name="connsiteY10" fmla="*/ 1726990 h 6734288"/>
                <a:gd name="connsiteX11" fmla="*/ 5024103 w 5066244"/>
                <a:gd name="connsiteY11" fmla="*/ 3519512 h 6734288"/>
                <a:gd name="connsiteX12" fmla="*/ 4832024 w 5066244"/>
                <a:gd name="connsiteY12" fmla="*/ 4385669 h 6734288"/>
                <a:gd name="connsiteX13" fmla="*/ 4962240 w 5066244"/>
                <a:gd name="connsiteY13" fmla="*/ 4452156 h 6734288"/>
                <a:gd name="connsiteX14" fmla="*/ 4892791 w 5066244"/>
                <a:gd name="connsiteY14" fmla="*/ 4870077 h 6734288"/>
                <a:gd name="connsiteX15" fmla="*/ 4735262 w 5066244"/>
                <a:gd name="connsiteY15" fmla="*/ 4807792 h 6734288"/>
                <a:gd name="connsiteX16" fmla="*/ 3591864 w 5066244"/>
                <a:gd name="connsiteY16" fmla="*/ 6212288 h 6734288"/>
                <a:gd name="connsiteX17" fmla="*/ 3395733 w 5066244"/>
                <a:gd name="connsiteY17" fmla="*/ 5643346 h 6734288"/>
                <a:gd name="connsiteX18" fmla="*/ 4212664 w 5066244"/>
                <a:gd name="connsiteY18" fmla="*/ 4596953 h 6734288"/>
                <a:gd name="connsiteX19" fmla="*/ 4492713 w 5066244"/>
                <a:gd name="connsiteY19" fmla="*/ 3352779 h 6734288"/>
                <a:gd name="connsiteX20" fmla="*/ 4173897 w 5066244"/>
                <a:gd name="connsiteY20" fmla="*/ 2049487 h 6734288"/>
                <a:gd name="connsiteX21" fmla="*/ 3356644 w 5066244"/>
                <a:gd name="connsiteY21" fmla="*/ 1163055 h 6734288"/>
                <a:gd name="connsiteX22" fmla="*/ 2062378 w 5066244"/>
                <a:gd name="connsiteY22" fmla="*/ 761302 h 6734288"/>
                <a:gd name="connsiteX23" fmla="*/ 374339 w 5066244"/>
                <a:gd name="connsiteY23" fmla="*/ 5064132 h 6734288"/>
                <a:gd name="connsiteX24" fmla="*/ 730694 w 5066244"/>
                <a:gd name="connsiteY24" fmla="*/ 5436198 h 6734288"/>
                <a:gd name="connsiteX25" fmla="*/ 792928 w 5066244"/>
                <a:gd name="connsiteY25" fmla="*/ 5418743 h 6734288"/>
                <a:gd name="connsiteX26" fmla="*/ 896655 w 5066244"/>
                <a:gd name="connsiteY26" fmla="*/ 5533432 h 6734288"/>
                <a:gd name="connsiteX27" fmla="*/ 875910 w 5066244"/>
                <a:gd name="connsiteY27" fmla="*/ 5598255 h 6734288"/>
                <a:gd name="connsiteX28" fmla="*/ 965731 w 5066244"/>
                <a:gd name="connsiteY28" fmla="*/ 5692347 h 6734288"/>
                <a:gd name="connsiteX29" fmla="*/ 2266333 w 5066244"/>
                <a:gd name="connsiteY29" fmla="*/ 6017548 h 6734288"/>
                <a:gd name="connsiteX30" fmla="*/ 3391504 w 5066244"/>
                <a:gd name="connsiteY30" fmla="*/ 5644651 h 6734288"/>
                <a:gd name="connsiteX31" fmla="*/ 3588201 w 5066244"/>
                <a:gd name="connsiteY31" fmla="*/ 6217653 h 6734288"/>
                <a:gd name="connsiteX32" fmla="*/ 2249705 w 5066244"/>
                <a:gd name="connsiteY32" fmla="*/ 6660358 h 6734288"/>
                <a:gd name="connsiteX33" fmla="*/ 1871681 w 5066244"/>
                <a:gd name="connsiteY33" fmla="*/ 6682796 h 6734288"/>
                <a:gd name="connsiteX34" fmla="*/ 1793309 w 5066244"/>
                <a:gd name="connsiteY34" fmla="*/ 6590550 h 6734288"/>
                <a:gd name="connsiteX35" fmla="*/ 1110759 w 5066244"/>
                <a:gd name="connsiteY35" fmla="*/ 6734288 h 6734288"/>
                <a:gd name="connsiteX36" fmla="*/ 760659 w 5066244"/>
                <a:gd name="connsiteY36" fmla="*/ 6346215 h 6734288"/>
                <a:gd name="connsiteX37" fmla="*/ 723779 w 5066244"/>
                <a:gd name="connsiteY37" fmla="*/ 6338736 h 6734288"/>
                <a:gd name="connsiteX38" fmla="*/ 567036 w 5066244"/>
                <a:gd name="connsiteY38" fmla="*/ 6164212 h 6734288"/>
                <a:gd name="connsiteX39" fmla="*/ 553207 w 5066244"/>
                <a:gd name="connsiteY39" fmla="*/ 6184157 h 6734288"/>
                <a:gd name="connsiteX40" fmla="*/ 527852 w 5066244"/>
                <a:gd name="connsiteY40" fmla="*/ 6151747 h 6734288"/>
                <a:gd name="connsiteX41" fmla="*/ 486361 w 5066244"/>
                <a:gd name="connsiteY41" fmla="*/ 6209090 h 6734288"/>
                <a:gd name="connsiteX42" fmla="*/ 371110 w 5066244"/>
                <a:gd name="connsiteY42" fmla="*/ 6081936 h 6734288"/>
                <a:gd name="connsiteX43" fmla="*/ 414905 w 5066244"/>
                <a:gd name="connsiteY43" fmla="*/ 6032071 h 6734288"/>
                <a:gd name="connsiteX44" fmla="*/ 182098 w 5066244"/>
                <a:gd name="connsiteY44" fmla="*/ 5782751 h 6734288"/>
                <a:gd name="connsiteX45" fmla="*/ 195928 w 5066244"/>
                <a:gd name="connsiteY45" fmla="*/ 5755327 h 6734288"/>
                <a:gd name="connsiteX46" fmla="*/ 0 w 5066244"/>
                <a:gd name="connsiteY46" fmla="*/ 5548391 h 6734288"/>
                <a:gd name="connsiteX0" fmla="*/ 0 w 5066244"/>
                <a:gd name="connsiteY0" fmla="*/ 5548391 h 6734288"/>
                <a:gd name="connsiteX1" fmla="*/ 1511161 w 5066244"/>
                <a:gd name="connsiteY1" fmla="*/ 119840 h 6734288"/>
                <a:gd name="connsiteX2" fmla="*/ 1894404 w 5066244"/>
                <a:gd name="connsiteY2" fmla="*/ 0 h 6734288"/>
                <a:gd name="connsiteX3" fmla="*/ 1942702 w 5066244"/>
                <a:gd name="connsiteY3" fmla="*/ 165560 h 6734288"/>
                <a:gd name="connsiteX4" fmla="*/ 3706253 w 5066244"/>
                <a:gd name="connsiteY4" fmla="*/ 680900 h 6734288"/>
                <a:gd name="connsiteX5" fmla="*/ 4256383 w 5066244"/>
                <a:gd name="connsiteY5" fmla="*/ 1291242 h 6734288"/>
                <a:gd name="connsiteX6" fmla="*/ 4317787 w 5066244"/>
                <a:gd name="connsiteY6" fmla="*/ 1298860 h 6734288"/>
                <a:gd name="connsiteX7" fmla="*/ 4482628 w 5066244"/>
                <a:gd name="connsiteY7" fmla="*/ 1479661 h 6734288"/>
                <a:gd name="connsiteX8" fmla="*/ 4482851 w 5066244"/>
                <a:gd name="connsiteY8" fmla="*/ 1535080 h 6734288"/>
                <a:gd name="connsiteX9" fmla="*/ 4644115 w 5066244"/>
                <a:gd name="connsiteY9" fmla="*/ 1726990 h 6734288"/>
                <a:gd name="connsiteX10" fmla="*/ 5024103 w 5066244"/>
                <a:gd name="connsiteY10" fmla="*/ 3519512 h 6734288"/>
                <a:gd name="connsiteX11" fmla="*/ 4832024 w 5066244"/>
                <a:gd name="connsiteY11" fmla="*/ 4385669 h 6734288"/>
                <a:gd name="connsiteX12" fmla="*/ 4962240 w 5066244"/>
                <a:gd name="connsiteY12" fmla="*/ 4452156 h 6734288"/>
                <a:gd name="connsiteX13" fmla="*/ 4892791 w 5066244"/>
                <a:gd name="connsiteY13" fmla="*/ 4870077 h 6734288"/>
                <a:gd name="connsiteX14" fmla="*/ 4735262 w 5066244"/>
                <a:gd name="connsiteY14" fmla="*/ 4807792 h 6734288"/>
                <a:gd name="connsiteX15" fmla="*/ 3591864 w 5066244"/>
                <a:gd name="connsiteY15" fmla="*/ 6212288 h 6734288"/>
                <a:gd name="connsiteX16" fmla="*/ 3395733 w 5066244"/>
                <a:gd name="connsiteY16" fmla="*/ 5643346 h 6734288"/>
                <a:gd name="connsiteX17" fmla="*/ 4212664 w 5066244"/>
                <a:gd name="connsiteY17" fmla="*/ 4596953 h 6734288"/>
                <a:gd name="connsiteX18" fmla="*/ 4492713 w 5066244"/>
                <a:gd name="connsiteY18" fmla="*/ 3352779 h 6734288"/>
                <a:gd name="connsiteX19" fmla="*/ 4173897 w 5066244"/>
                <a:gd name="connsiteY19" fmla="*/ 2049487 h 6734288"/>
                <a:gd name="connsiteX20" fmla="*/ 3356644 w 5066244"/>
                <a:gd name="connsiteY20" fmla="*/ 1163055 h 6734288"/>
                <a:gd name="connsiteX21" fmla="*/ 2062378 w 5066244"/>
                <a:gd name="connsiteY21" fmla="*/ 761302 h 6734288"/>
                <a:gd name="connsiteX22" fmla="*/ 374339 w 5066244"/>
                <a:gd name="connsiteY22" fmla="*/ 5064132 h 6734288"/>
                <a:gd name="connsiteX23" fmla="*/ 730694 w 5066244"/>
                <a:gd name="connsiteY23" fmla="*/ 5436198 h 6734288"/>
                <a:gd name="connsiteX24" fmla="*/ 792928 w 5066244"/>
                <a:gd name="connsiteY24" fmla="*/ 5418743 h 6734288"/>
                <a:gd name="connsiteX25" fmla="*/ 896655 w 5066244"/>
                <a:gd name="connsiteY25" fmla="*/ 5533432 h 6734288"/>
                <a:gd name="connsiteX26" fmla="*/ 875910 w 5066244"/>
                <a:gd name="connsiteY26" fmla="*/ 5598255 h 6734288"/>
                <a:gd name="connsiteX27" fmla="*/ 965731 w 5066244"/>
                <a:gd name="connsiteY27" fmla="*/ 5692347 h 6734288"/>
                <a:gd name="connsiteX28" fmla="*/ 2266333 w 5066244"/>
                <a:gd name="connsiteY28" fmla="*/ 6017548 h 6734288"/>
                <a:gd name="connsiteX29" fmla="*/ 3391504 w 5066244"/>
                <a:gd name="connsiteY29" fmla="*/ 5644651 h 6734288"/>
                <a:gd name="connsiteX30" fmla="*/ 3588201 w 5066244"/>
                <a:gd name="connsiteY30" fmla="*/ 6217653 h 6734288"/>
                <a:gd name="connsiteX31" fmla="*/ 2249705 w 5066244"/>
                <a:gd name="connsiteY31" fmla="*/ 6660358 h 6734288"/>
                <a:gd name="connsiteX32" fmla="*/ 1871681 w 5066244"/>
                <a:gd name="connsiteY32" fmla="*/ 6682796 h 6734288"/>
                <a:gd name="connsiteX33" fmla="*/ 1793309 w 5066244"/>
                <a:gd name="connsiteY33" fmla="*/ 6590550 h 6734288"/>
                <a:gd name="connsiteX34" fmla="*/ 1110759 w 5066244"/>
                <a:gd name="connsiteY34" fmla="*/ 6734288 h 6734288"/>
                <a:gd name="connsiteX35" fmla="*/ 760659 w 5066244"/>
                <a:gd name="connsiteY35" fmla="*/ 6346215 h 6734288"/>
                <a:gd name="connsiteX36" fmla="*/ 723779 w 5066244"/>
                <a:gd name="connsiteY36" fmla="*/ 6338736 h 6734288"/>
                <a:gd name="connsiteX37" fmla="*/ 567036 w 5066244"/>
                <a:gd name="connsiteY37" fmla="*/ 6164212 h 6734288"/>
                <a:gd name="connsiteX38" fmla="*/ 553207 w 5066244"/>
                <a:gd name="connsiteY38" fmla="*/ 6184157 h 6734288"/>
                <a:gd name="connsiteX39" fmla="*/ 527852 w 5066244"/>
                <a:gd name="connsiteY39" fmla="*/ 6151747 h 6734288"/>
                <a:gd name="connsiteX40" fmla="*/ 486361 w 5066244"/>
                <a:gd name="connsiteY40" fmla="*/ 6209090 h 6734288"/>
                <a:gd name="connsiteX41" fmla="*/ 371110 w 5066244"/>
                <a:gd name="connsiteY41" fmla="*/ 6081936 h 6734288"/>
                <a:gd name="connsiteX42" fmla="*/ 414905 w 5066244"/>
                <a:gd name="connsiteY42" fmla="*/ 6032071 h 6734288"/>
                <a:gd name="connsiteX43" fmla="*/ 182098 w 5066244"/>
                <a:gd name="connsiteY43" fmla="*/ 5782751 h 6734288"/>
                <a:gd name="connsiteX44" fmla="*/ 195928 w 5066244"/>
                <a:gd name="connsiteY44" fmla="*/ 5755327 h 6734288"/>
                <a:gd name="connsiteX45" fmla="*/ 0 w 5066244"/>
                <a:gd name="connsiteY45" fmla="*/ 5548391 h 6734288"/>
                <a:gd name="connsiteX0" fmla="*/ 0 w 5066244"/>
                <a:gd name="connsiteY0" fmla="*/ 5548391 h 6734288"/>
                <a:gd name="connsiteX1" fmla="*/ 1894404 w 5066244"/>
                <a:gd name="connsiteY1" fmla="*/ 0 h 6734288"/>
                <a:gd name="connsiteX2" fmla="*/ 1942702 w 5066244"/>
                <a:gd name="connsiteY2" fmla="*/ 165560 h 6734288"/>
                <a:gd name="connsiteX3" fmla="*/ 3706253 w 5066244"/>
                <a:gd name="connsiteY3" fmla="*/ 680900 h 6734288"/>
                <a:gd name="connsiteX4" fmla="*/ 4256383 w 5066244"/>
                <a:gd name="connsiteY4" fmla="*/ 1291242 h 6734288"/>
                <a:gd name="connsiteX5" fmla="*/ 4317787 w 5066244"/>
                <a:gd name="connsiteY5" fmla="*/ 1298860 h 6734288"/>
                <a:gd name="connsiteX6" fmla="*/ 4482628 w 5066244"/>
                <a:gd name="connsiteY6" fmla="*/ 1479661 h 6734288"/>
                <a:gd name="connsiteX7" fmla="*/ 4482851 w 5066244"/>
                <a:gd name="connsiteY7" fmla="*/ 1535080 h 6734288"/>
                <a:gd name="connsiteX8" fmla="*/ 4644115 w 5066244"/>
                <a:gd name="connsiteY8" fmla="*/ 1726990 h 6734288"/>
                <a:gd name="connsiteX9" fmla="*/ 5024103 w 5066244"/>
                <a:gd name="connsiteY9" fmla="*/ 3519512 h 6734288"/>
                <a:gd name="connsiteX10" fmla="*/ 4832024 w 5066244"/>
                <a:gd name="connsiteY10" fmla="*/ 4385669 h 6734288"/>
                <a:gd name="connsiteX11" fmla="*/ 4962240 w 5066244"/>
                <a:gd name="connsiteY11" fmla="*/ 4452156 h 6734288"/>
                <a:gd name="connsiteX12" fmla="*/ 4892791 w 5066244"/>
                <a:gd name="connsiteY12" fmla="*/ 4870077 h 6734288"/>
                <a:gd name="connsiteX13" fmla="*/ 4735262 w 5066244"/>
                <a:gd name="connsiteY13" fmla="*/ 4807792 h 6734288"/>
                <a:gd name="connsiteX14" fmla="*/ 3591864 w 5066244"/>
                <a:gd name="connsiteY14" fmla="*/ 6212288 h 6734288"/>
                <a:gd name="connsiteX15" fmla="*/ 3395733 w 5066244"/>
                <a:gd name="connsiteY15" fmla="*/ 5643346 h 6734288"/>
                <a:gd name="connsiteX16" fmla="*/ 4212664 w 5066244"/>
                <a:gd name="connsiteY16" fmla="*/ 4596953 h 6734288"/>
                <a:gd name="connsiteX17" fmla="*/ 4492713 w 5066244"/>
                <a:gd name="connsiteY17" fmla="*/ 3352779 h 6734288"/>
                <a:gd name="connsiteX18" fmla="*/ 4173897 w 5066244"/>
                <a:gd name="connsiteY18" fmla="*/ 2049487 h 6734288"/>
                <a:gd name="connsiteX19" fmla="*/ 3356644 w 5066244"/>
                <a:gd name="connsiteY19" fmla="*/ 1163055 h 6734288"/>
                <a:gd name="connsiteX20" fmla="*/ 2062378 w 5066244"/>
                <a:gd name="connsiteY20" fmla="*/ 761302 h 6734288"/>
                <a:gd name="connsiteX21" fmla="*/ 374339 w 5066244"/>
                <a:gd name="connsiteY21" fmla="*/ 5064132 h 6734288"/>
                <a:gd name="connsiteX22" fmla="*/ 730694 w 5066244"/>
                <a:gd name="connsiteY22" fmla="*/ 5436198 h 6734288"/>
                <a:gd name="connsiteX23" fmla="*/ 792928 w 5066244"/>
                <a:gd name="connsiteY23" fmla="*/ 5418743 h 6734288"/>
                <a:gd name="connsiteX24" fmla="*/ 896655 w 5066244"/>
                <a:gd name="connsiteY24" fmla="*/ 5533432 h 6734288"/>
                <a:gd name="connsiteX25" fmla="*/ 875910 w 5066244"/>
                <a:gd name="connsiteY25" fmla="*/ 5598255 h 6734288"/>
                <a:gd name="connsiteX26" fmla="*/ 965731 w 5066244"/>
                <a:gd name="connsiteY26" fmla="*/ 5692347 h 6734288"/>
                <a:gd name="connsiteX27" fmla="*/ 2266333 w 5066244"/>
                <a:gd name="connsiteY27" fmla="*/ 6017548 h 6734288"/>
                <a:gd name="connsiteX28" fmla="*/ 3391504 w 5066244"/>
                <a:gd name="connsiteY28" fmla="*/ 5644651 h 6734288"/>
                <a:gd name="connsiteX29" fmla="*/ 3588201 w 5066244"/>
                <a:gd name="connsiteY29" fmla="*/ 6217653 h 6734288"/>
                <a:gd name="connsiteX30" fmla="*/ 2249705 w 5066244"/>
                <a:gd name="connsiteY30" fmla="*/ 6660358 h 6734288"/>
                <a:gd name="connsiteX31" fmla="*/ 1871681 w 5066244"/>
                <a:gd name="connsiteY31" fmla="*/ 6682796 h 6734288"/>
                <a:gd name="connsiteX32" fmla="*/ 1793309 w 5066244"/>
                <a:gd name="connsiteY32" fmla="*/ 6590550 h 6734288"/>
                <a:gd name="connsiteX33" fmla="*/ 1110759 w 5066244"/>
                <a:gd name="connsiteY33" fmla="*/ 6734288 h 6734288"/>
                <a:gd name="connsiteX34" fmla="*/ 760659 w 5066244"/>
                <a:gd name="connsiteY34" fmla="*/ 6346215 h 6734288"/>
                <a:gd name="connsiteX35" fmla="*/ 723779 w 5066244"/>
                <a:gd name="connsiteY35" fmla="*/ 6338736 h 6734288"/>
                <a:gd name="connsiteX36" fmla="*/ 567036 w 5066244"/>
                <a:gd name="connsiteY36" fmla="*/ 6164212 h 6734288"/>
                <a:gd name="connsiteX37" fmla="*/ 553207 w 5066244"/>
                <a:gd name="connsiteY37" fmla="*/ 6184157 h 6734288"/>
                <a:gd name="connsiteX38" fmla="*/ 527852 w 5066244"/>
                <a:gd name="connsiteY38" fmla="*/ 6151747 h 6734288"/>
                <a:gd name="connsiteX39" fmla="*/ 486361 w 5066244"/>
                <a:gd name="connsiteY39" fmla="*/ 6209090 h 6734288"/>
                <a:gd name="connsiteX40" fmla="*/ 371110 w 5066244"/>
                <a:gd name="connsiteY40" fmla="*/ 6081936 h 6734288"/>
                <a:gd name="connsiteX41" fmla="*/ 414905 w 5066244"/>
                <a:gd name="connsiteY41" fmla="*/ 6032071 h 6734288"/>
                <a:gd name="connsiteX42" fmla="*/ 182098 w 5066244"/>
                <a:gd name="connsiteY42" fmla="*/ 5782751 h 6734288"/>
                <a:gd name="connsiteX43" fmla="*/ 195928 w 5066244"/>
                <a:gd name="connsiteY43" fmla="*/ 5755327 h 6734288"/>
                <a:gd name="connsiteX44" fmla="*/ 0 w 5066244"/>
                <a:gd name="connsiteY44" fmla="*/ 5548391 h 6734288"/>
                <a:gd name="connsiteX0" fmla="*/ 0 w 5066244"/>
                <a:gd name="connsiteY0" fmla="*/ 5435762 h 6621659"/>
                <a:gd name="connsiteX1" fmla="*/ 1942702 w 5066244"/>
                <a:gd name="connsiteY1" fmla="*/ 52931 h 6621659"/>
                <a:gd name="connsiteX2" fmla="*/ 3706253 w 5066244"/>
                <a:gd name="connsiteY2" fmla="*/ 568271 h 6621659"/>
                <a:gd name="connsiteX3" fmla="*/ 4256383 w 5066244"/>
                <a:gd name="connsiteY3" fmla="*/ 1178613 h 6621659"/>
                <a:gd name="connsiteX4" fmla="*/ 4317787 w 5066244"/>
                <a:gd name="connsiteY4" fmla="*/ 1186231 h 6621659"/>
                <a:gd name="connsiteX5" fmla="*/ 4482628 w 5066244"/>
                <a:gd name="connsiteY5" fmla="*/ 1367032 h 6621659"/>
                <a:gd name="connsiteX6" fmla="*/ 4482851 w 5066244"/>
                <a:gd name="connsiteY6" fmla="*/ 1422451 h 6621659"/>
                <a:gd name="connsiteX7" fmla="*/ 4644115 w 5066244"/>
                <a:gd name="connsiteY7" fmla="*/ 1614361 h 6621659"/>
                <a:gd name="connsiteX8" fmla="*/ 5024103 w 5066244"/>
                <a:gd name="connsiteY8" fmla="*/ 3406883 h 6621659"/>
                <a:gd name="connsiteX9" fmla="*/ 4832024 w 5066244"/>
                <a:gd name="connsiteY9" fmla="*/ 4273040 h 6621659"/>
                <a:gd name="connsiteX10" fmla="*/ 4962240 w 5066244"/>
                <a:gd name="connsiteY10" fmla="*/ 4339527 h 6621659"/>
                <a:gd name="connsiteX11" fmla="*/ 4892791 w 5066244"/>
                <a:gd name="connsiteY11" fmla="*/ 4757448 h 6621659"/>
                <a:gd name="connsiteX12" fmla="*/ 4735262 w 5066244"/>
                <a:gd name="connsiteY12" fmla="*/ 4695163 h 6621659"/>
                <a:gd name="connsiteX13" fmla="*/ 3591864 w 5066244"/>
                <a:gd name="connsiteY13" fmla="*/ 6099659 h 6621659"/>
                <a:gd name="connsiteX14" fmla="*/ 3395733 w 5066244"/>
                <a:gd name="connsiteY14" fmla="*/ 5530717 h 6621659"/>
                <a:gd name="connsiteX15" fmla="*/ 4212664 w 5066244"/>
                <a:gd name="connsiteY15" fmla="*/ 4484324 h 6621659"/>
                <a:gd name="connsiteX16" fmla="*/ 4492713 w 5066244"/>
                <a:gd name="connsiteY16" fmla="*/ 3240150 h 6621659"/>
                <a:gd name="connsiteX17" fmla="*/ 4173897 w 5066244"/>
                <a:gd name="connsiteY17" fmla="*/ 1936858 h 6621659"/>
                <a:gd name="connsiteX18" fmla="*/ 3356644 w 5066244"/>
                <a:gd name="connsiteY18" fmla="*/ 1050426 h 6621659"/>
                <a:gd name="connsiteX19" fmla="*/ 2062378 w 5066244"/>
                <a:gd name="connsiteY19" fmla="*/ 648673 h 6621659"/>
                <a:gd name="connsiteX20" fmla="*/ 374339 w 5066244"/>
                <a:gd name="connsiteY20" fmla="*/ 4951503 h 6621659"/>
                <a:gd name="connsiteX21" fmla="*/ 730694 w 5066244"/>
                <a:gd name="connsiteY21" fmla="*/ 5323569 h 6621659"/>
                <a:gd name="connsiteX22" fmla="*/ 792928 w 5066244"/>
                <a:gd name="connsiteY22" fmla="*/ 5306114 h 6621659"/>
                <a:gd name="connsiteX23" fmla="*/ 896655 w 5066244"/>
                <a:gd name="connsiteY23" fmla="*/ 5420803 h 6621659"/>
                <a:gd name="connsiteX24" fmla="*/ 875910 w 5066244"/>
                <a:gd name="connsiteY24" fmla="*/ 5485626 h 6621659"/>
                <a:gd name="connsiteX25" fmla="*/ 965731 w 5066244"/>
                <a:gd name="connsiteY25" fmla="*/ 5579718 h 6621659"/>
                <a:gd name="connsiteX26" fmla="*/ 2266333 w 5066244"/>
                <a:gd name="connsiteY26" fmla="*/ 5904919 h 6621659"/>
                <a:gd name="connsiteX27" fmla="*/ 3391504 w 5066244"/>
                <a:gd name="connsiteY27" fmla="*/ 5532022 h 6621659"/>
                <a:gd name="connsiteX28" fmla="*/ 3588201 w 5066244"/>
                <a:gd name="connsiteY28" fmla="*/ 6105024 h 6621659"/>
                <a:gd name="connsiteX29" fmla="*/ 2249705 w 5066244"/>
                <a:gd name="connsiteY29" fmla="*/ 6547729 h 6621659"/>
                <a:gd name="connsiteX30" fmla="*/ 1871681 w 5066244"/>
                <a:gd name="connsiteY30" fmla="*/ 6570167 h 6621659"/>
                <a:gd name="connsiteX31" fmla="*/ 1793309 w 5066244"/>
                <a:gd name="connsiteY31" fmla="*/ 6477921 h 6621659"/>
                <a:gd name="connsiteX32" fmla="*/ 1110759 w 5066244"/>
                <a:gd name="connsiteY32" fmla="*/ 6621659 h 6621659"/>
                <a:gd name="connsiteX33" fmla="*/ 760659 w 5066244"/>
                <a:gd name="connsiteY33" fmla="*/ 6233586 h 6621659"/>
                <a:gd name="connsiteX34" fmla="*/ 723779 w 5066244"/>
                <a:gd name="connsiteY34" fmla="*/ 6226107 h 6621659"/>
                <a:gd name="connsiteX35" fmla="*/ 567036 w 5066244"/>
                <a:gd name="connsiteY35" fmla="*/ 6051583 h 6621659"/>
                <a:gd name="connsiteX36" fmla="*/ 553207 w 5066244"/>
                <a:gd name="connsiteY36" fmla="*/ 6071528 h 6621659"/>
                <a:gd name="connsiteX37" fmla="*/ 527852 w 5066244"/>
                <a:gd name="connsiteY37" fmla="*/ 6039118 h 6621659"/>
                <a:gd name="connsiteX38" fmla="*/ 486361 w 5066244"/>
                <a:gd name="connsiteY38" fmla="*/ 6096461 h 6621659"/>
                <a:gd name="connsiteX39" fmla="*/ 371110 w 5066244"/>
                <a:gd name="connsiteY39" fmla="*/ 5969307 h 6621659"/>
                <a:gd name="connsiteX40" fmla="*/ 414905 w 5066244"/>
                <a:gd name="connsiteY40" fmla="*/ 5919442 h 6621659"/>
                <a:gd name="connsiteX41" fmla="*/ 182098 w 5066244"/>
                <a:gd name="connsiteY41" fmla="*/ 5670122 h 6621659"/>
                <a:gd name="connsiteX42" fmla="*/ 195928 w 5066244"/>
                <a:gd name="connsiteY42" fmla="*/ 5642698 h 6621659"/>
                <a:gd name="connsiteX43" fmla="*/ 0 w 5066244"/>
                <a:gd name="connsiteY43" fmla="*/ 5435762 h 6621659"/>
                <a:gd name="connsiteX0" fmla="*/ 0 w 5066244"/>
                <a:gd name="connsiteY0" fmla="*/ 4867491 h 6053388"/>
                <a:gd name="connsiteX1" fmla="*/ 3706253 w 5066244"/>
                <a:gd name="connsiteY1" fmla="*/ 0 h 6053388"/>
                <a:gd name="connsiteX2" fmla="*/ 4256383 w 5066244"/>
                <a:gd name="connsiteY2" fmla="*/ 610342 h 6053388"/>
                <a:gd name="connsiteX3" fmla="*/ 4317787 w 5066244"/>
                <a:gd name="connsiteY3" fmla="*/ 617960 h 6053388"/>
                <a:gd name="connsiteX4" fmla="*/ 4482628 w 5066244"/>
                <a:gd name="connsiteY4" fmla="*/ 798761 h 6053388"/>
                <a:gd name="connsiteX5" fmla="*/ 4482851 w 5066244"/>
                <a:gd name="connsiteY5" fmla="*/ 854180 h 6053388"/>
                <a:gd name="connsiteX6" fmla="*/ 4644115 w 5066244"/>
                <a:gd name="connsiteY6" fmla="*/ 1046090 h 6053388"/>
                <a:gd name="connsiteX7" fmla="*/ 5024103 w 5066244"/>
                <a:gd name="connsiteY7" fmla="*/ 2838612 h 6053388"/>
                <a:gd name="connsiteX8" fmla="*/ 4832024 w 5066244"/>
                <a:gd name="connsiteY8" fmla="*/ 3704769 h 6053388"/>
                <a:gd name="connsiteX9" fmla="*/ 4962240 w 5066244"/>
                <a:gd name="connsiteY9" fmla="*/ 3771256 h 6053388"/>
                <a:gd name="connsiteX10" fmla="*/ 4892791 w 5066244"/>
                <a:gd name="connsiteY10" fmla="*/ 4189177 h 6053388"/>
                <a:gd name="connsiteX11" fmla="*/ 4735262 w 5066244"/>
                <a:gd name="connsiteY11" fmla="*/ 4126892 h 6053388"/>
                <a:gd name="connsiteX12" fmla="*/ 3591864 w 5066244"/>
                <a:gd name="connsiteY12" fmla="*/ 5531388 h 6053388"/>
                <a:gd name="connsiteX13" fmla="*/ 3395733 w 5066244"/>
                <a:gd name="connsiteY13" fmla="*/ 4962446 h 6053388"/>
                <a:gd name="connsiteX14" fmla="*/ 4212664 w 5066244"/>
                <a:gd name="connsiteY14" fmla="*/ 3916053 h 6053388"/>
                <a:gd name="connsiteX15" fmla="*/ 4492713 w 5066244"/>
                <a:gd name="connsiteY15" fmla="*/ 2671879 h 6053388"/>
                <a:gd name="connsiteX16" fmla="*/ 4173897 w 5066244"/>
                <a:gd name="connsiteY16" fmla="*/ 1368587 h 6053388"/>
                <a:gd name="connsiteX17" fmla="*/ 3356644 w 5066244"/>
                <a:gd name="connsiteY17" fmla="*/ 482155 h 6053388"/>
                <a:gd name="connsiteX18" fmla="*/ 2062378 w 5066244"/>
                <a:gd name="connsiteY18" fmla="*/ 80402 h 6053388"/>
                <a:gd name="connsiteX19" fmla="*/ 374339 w 5066244"/>
                <a:gd name="connsiteY19" fmla="*/ 4383232 h 6053388"/>
                <a:gd name="connsiteX20" fmla="*/ 730694 w 5066244"/>
                <a:gd name="connsiteY20" fmla="*/ 4755298 h 6053388"/>
                <a:gd name="connsiteX21" fmla="*/ 792928 w 5066244"/>
                <a:gd name="connsiteY21" fmla="*/ 4737843 h 6053388"/>
                <a:gd name="connsiteX22" fmla="*/ 896655 w 5066244"/>
                <a:gd name="connsiteY22" fmla="*/ 4852532 h 6053388"/>
                <a:gd name="connsiteX23" fmla="*/ 875910 w 5066244"/>
                <a:gd name="connsiteY23" fmla="*/ 4917355 h 6053388"/>
                <a:gd name="connsiteX24" fmla="*/ 965731 w 5066244"/>
                <a:gd name="connsiteY24" fmla="*/ 5011447 h 6053388"/>
                <a:gd name="connsiteX25" fmla="*/ 2266333 w 5066244"/>
                <a:gd name="connsiteY25" fmla="*/ 5336648 h 6053388"/>
                <a:gd name="connsiteX26" fmla="*/ 3391504 w 5066244"/>
                <a:gd name="connsiteY26" fmla="*/ 4963751 h 6053388"/>
                <a:gd name="connsiteX27" fmla="*/ 3588201 w 5066244"/>
                <a:gd name="connsiteY27" fmla="*/ 5536753 h 6053388"/>
                <a:gd name="connsiteX28" fmla="*/ 2249705 w 5066244"/>
                <a:gd name="connsiteY28" fmla="*/ 5979458 h 6053388"/>
                <a:gd name="connsiteX29" fmla="*/ 1871681 w 5066244"/>
                <a:gd name="connsiteY29" fmla="*/ 6001896 h 6053388"/>
                <a:gd name="connsiteX30" fmla="*/ 1793309 w 5066244"/>
                <a:gd name="connsiteY30" fmla="*/ 5909650 h 6053388"/>
                <a:gd name="connsiteX31" fmla="*/ 1110759 w 5066244"/>
                <a:gd name="connsiteY31" fmla="*/ 6053388 h 6053388"/>
                <a:gd name="connsiteX32" fmla="*/ 760659 w 5066244"/>
                <a:gd name="connsiteY32" fmla="*/ 5665315 h 6053388"/>
                <a:gd name="connsiteX33" fmla="*/ 723779 w 5066244"/>
                <a:gd name="connsiteY33" fmla="*/ 5657836 h 6053388"/>
                <a:gd name="connsiteX34" fmla="*/ 567036 w 5066244"/>
                <a:gd name="connsiteY34" fmla="*/ 5483312 h 6053388"/>
                <a:gd name="connsiteX35" fmla="*/ 553207 w 5066244"/>
                <a:gd name="connsiteY35" fmla="*/ 5503257 h 6053388"/>
                <a:gd name="connsiteX36" fmla="*/ 527852 w 5066244"/>
                <a:gd name="connsiteY36" fmla="*/ 5470847 h 6053388"/>
                <a:gd name="connsiteX37" fmla="*/ 486361 w 5066244"/>
                <a:gd name="connsiteY37" fmla="*/ 5528190 h 6053388"/>
                <a:gd name="connsiteX38" fmla="*/ 371110 w 5066244"/>
                <a:gd name="connsiteY38" fmla="*/ 5401036 h 6053388"/>
                <a:gd name="connsiteX39" fmla="*/ 414905 w 5066244"/>
                <a:gd name="connsiteY39" fmla="*/ 5351171 h 6053388"/>
                <a:gd name="connsiteX40" fmla="*/ 182098 w 5066244"/>
                <a:gd name="connsiteY40" fmla="*/ 5101851 h 6053388"/>
                <a:gd name="connsiteX41" fmla="*/ 195928 w 5066244"/>
                <a:gd name="connsiteY41" fmla="*/ 5074427 h 6053388"/>
                <a:gd name="connsiteX42" fmla="*/ 0 w 5066244"/>
                <a:gd name="connsiteY42" fmla="*/ 4867491 h 6053388"/>
                <a:gd name="connsiteX0" fmla="*/ 0 w 5066244"/>
                <a:gd name="connsiteY0" fmla="*/ 4867491 h 6053388"/>
                <a:gd name="connsiteX1" fmla="*/ 3706253 w 5066244"/>
                <a:gd name="connsiteY1" fmla="*/ 0 h 6053388"/>
                <a:gd name="connsiteX2" fmla="*/ 4256383 w 5066244"/>
                <a:gd name="connsiteY2" fmla="*/ 610342 h 6053388"/>
                <a:gd name="connsiteX3" fmla="*/ 4317787 w 5066244"/>
                <a:gd name="connsiteY3" fmla="*/ 617960 h 6053388"/>
                <a:gd name="connsiteX4" fmla="*/ 4482628 w 5066244"/>
                <a:gd name="connsiteY4" fmla="*/ 798761 h 6053388"/>
                <a:gd name="connsiteX5" fmla="*/ 4482851 w 5066244"/>
                <a:gd name="connsiteY5" fmla="*/ 854180 h 6053388"/>
                <a:gd name="connsiteX6" fmla="*/ 4644115 w 5066244"/>
                <a:gd name="connsiteY6" fmla="*/ 1046090 h 6053388"/>
                <a:gd name="connsiteX7" fmla="*/ 5024103 w 5066244"/>
                <a:gd name="connsiteY7" fmla="*/ 2838612 h 6053388"/>
                <a:gd name="connsiteX8" fmla="*/ 4832024 w 5066244"/>
                <a:gd name="connsiteY8" fmla="*/ 3704769 h 6053388"/>
                <a:gd name="connsiteX9" fmla="*/ 4962240 w 5066244"/>
                <a:gd name="connsiteY9" fmla="*/ 3771256 h 6053388"/>
                <a:gd name="connsiteX10" fmla="*/ 4892791 w 5066244"/>
                <a:gd name="connsiteY10" fmla="*/ 4189177 h 6053388"/>
                <a:gd name="connsiteX11" fmla="*/ 4735262 w 5066244"/>
                <a:gd name="connsiteY11" fmla="*/ 4126892 h 6053388"/>
                <a:gd name="connsiteX12" fmla="*/ 3591864 w 5066244"/>
                <a:gd name="connsiteY12" fmla="*/ 5531388 h 6053388"/>
                <a:gd name="connsiteX13" fmla="*/ 3395733 w 5066244"/>
                <a:gd name="connsiteY13" fmla="*/ 4962446 h 6053388"/>
                <a:gd name="connsiteX14" fmla="*/ 4212664 w 5066244"/>
                <a:gd name="connsiteY14" fmla="*/ 3916053 h 6053388"/>
                <a:gd name="connsiteX15" fmla="*/ 4492713 w 5066244"/>
                <a:gd name="connsiteY15" fmla="*/ 2671879 h 6053388"/>
                <a:gd name="connsiteX16" fmla="*/ 4173897 w 5066244"/>
                <a:gd name="connsiteY16" fmla="*/ 1368587 h 6053388"/>
                <a:gd name="connsiteX17" fmla="*/ 3356644 w 5066244"/>
                <a:gd name="connsiteY17" fmla="*/ 482155 h 6053388"/>
                <a:gd name="connsiteX18" fmla="*/ 374339 w 5066244"/>
                <a:gd name="connsiteY18" fmla="*/ 4383232 h 6053388"/>
                <a:gd name="connsiteX19" fmla="*/ 730694 w 5066244"/>
                <a:gd name="connsiteY19" fmla="*/ 4755298 h 6053388"/>
                <a:gd name="connsiteX20" fmla="*/ 792928 w 5066244"/>
                <a:gd name="connsiteY20" fmla="*/ 4737843 h 6053388"/>
                <a:gd name="connsiteX21" fmla="*/ 896655 w 5066244"/>
                <a:gd name="connsiteY21" fmla="*/ 4852532 h 6053388"/>
                <a:gd name="connsiteX22" fmla="*/ 875910 w 5066244"/>
                <a:gd name="connsiteY22" fmla="*/ 4917355 h 6053388"/>
                <a:gd name="connsiteX23" fmla="*/ 965731 w 5066244"/>
                <a:gd name="connsiteY23" fmla="*/ 5011447 h 6053388"/>
                <a:gd name="connsiteX24" fmla="*/ 2266333 w 5066244"/>
                <a:gd name="connsiteY24" fmla="*/ 5336648 h 6053388"/>
                <a:gd name="connsiteX25" fmla="*/ 3391504 w 5066244"/>
                <a:gd name="connsiteY25" fmla="*/ 4963751 h 6053388"/>
                <a:gd name="connsiteX26" fmla="*/ 3588201 w 5066244"/>
                <a:gd name="connsiteY26" fmla="*/ 5536753 h 6053388"/>
                <a:gd name="connsiteX27" fmla="*/ 2249705 w 5066244"/>
                <a:gd name="connsiteY27" fmla="*/ 5979458 h 6053388"/>
                <a:gd name="connsiteX28" fmla="*/ 1871681 w 5066244"/>
                <a:gd name="connsiteY28" fmla="*/ 6001896 h 6053388"/>
                <a:gd name="connsiteX29" fmla="*/ 1793309 w 5066244"/>
                <a:gd name="connsiteY29" fmla="*/ 5909650 h 6053388"/>
                <a:gd name="connsiteX30" fmla="*/ 1110759 w 5066244"/>
                <a:gd name="connsiteY30" fmla="*/ 6053388 h 6053388"/>
                <a:gd name="connsiteX31" fmla="*/ 760659 w 5066244"/>
                <a:gd name="connsiteY31" fmla="*/ 5665315 h 6053388"/>
                <a:gd name="connsiteX32" fmla="*/ 723779 w 5066244"/>
                <a:gd name="connsiteY32" fmla="*/ 5657836 h 6053388"/>
                <a:gd name="connsiteX33" fmla="*/ 567036 w 5066244"/>
                <a:gd name="connsiteY33" fmla="*/ 5483312 h 6053388"/>
                <a:gd name="connsiteX34" fmla="*/ 553207 w 5066244"/>
                <a:gd name="connsiteY34" fmla="*/ 5503257 h 6053388"/>
                <a:gd name="connsiteX35" fmla="*/ 527852 w 5066244"/>
                <a:gd name="connsiteY35" fmla="*/ 5470847 h 6053388"/>
                <a:gd name="connsiteX36" fmla="*/ 486361 w 5066244"/>
                <a:gd name="connsiteY36" fmla="*/ 5528190 h 6053388"/>
                <a:gd name="connsiteX37" fmla="*/ 371110 w 5066244"/>
                <a:gd name="connsiteY37" fmla="*/ 5401036 h 6053388"/>
                <a:gd name="connsiteX38" fmla="*/ 414905 w 5066244"/>
                <a:gd name="connsiteY38" fmla="*/ 5351171 h 6053388"/>
                <a:gd name="connsiteX39" fmla="*/ 182098 w 5066244"/>
                <a:gd name="connsiteY39" fmla="*/ 5101851 h 6053388"/>
                <a:gd name="connsiteX40" fmla="*/ 195928 w 5066244"/>
                <a:gd name="connsiteY40" fmla="*/ 5074427 h 6053388"/>
                <a:gd name="connsiteX41" fmla="*/ 0 w 5066244"/>
                <a:gd name="connsiteY41" fmla="*/ 4867491 h 6053388"/>
                <a:gd name="connsiteX0" fmla="*/ 0 w 5066244"/>
                <a:gd name="connsiteY0" fmla="*/ 4867491 h 6053388"/>
                <a:gd name="connsiteX1" fmla="*/ 3706253 w 5066244"/>
                <a:gd name="connsiteY1" fmla="*/ 0 h 6053388"/>
                <a:gd name="connsiteX2" fmla="*/ 4256383 w 5066244"/>
                <a:gd name="connsiteY2" fmla="*/ 610342 h 6053388"/>
                <a:gd name="connsiteX3" fmla="*/ 4317787 w 5066244"/>
                <a:gd name="connsiteY3" fmla="*/ 617960 h 6053388"/>
                <a:gd name="connsiteX4" fmla="*/ 4482628 w 5066244"/>
                <a:gd name="connsiteY4" fmla="*/ 798761 h 6053388"/>
                <a:gd name="connsiteX5" fmla="*/ 4482851 w 5066244"/>
                <a:gd name="connsiteY5" fmla="*/ 854180 h 6053388"/>
                <a:gd name="connsiteX6" fmla="*/ 4644115 w 5066244"/>
                <a:gd name="connsiteY6" fmla="*/ 1046090 h 6053388"/>
                <a:gd name="connsiteX7" fmla="*/ 5024103 w 5066244"/>
                <a:gd name="connsiteY7" fmla="*/ 2838612 h 6053388"/>
                <a:gd name="connsiteX8" fmla="*/ 4832024 w 5066244"/>
                <a:gd name="connsiteY8" fmla="*/ 3704769 h 6053388"/>
                <a:gd name="connsiteX9" fmla="*/ 4962240 w 5066244"/>
                <a:gd name="connsiteY9" fmla="*/ 3771256 h 6053388"/>
                <a:gd name="connsiteX10" fmla="*/ 4892791 w 5066244"/>
                <a:gd name="connsiteY10" fmla="*/ 4189177 h 6053388"/>
                <a:gd name="connsiteX11" fmla="*/ 4735262 w 5066244"/>
                <a:gd name="connsiteY11" fmla="*/ 4126892 h 6053388"/>
                <a:gd name="connsiteX12" fmla="*/ 3591864 w 5066244"/>
                <a:gd name="connsiteY12" fmla="*/ 5531388 h 6053388"/>
                <a:gd name="connsiteX13" fmla="*/ 3395733 w 5066244"/>
                <a:gd name="connsiteY13" fmla="*/ 4962446 h 6053388"/>
                <a:gd name="connsiteX14" fmla="*/ 4212664 w 5066244"/>
                <a:gd name="connsiteY14" fmla="*/ 3916053 h 6053388"/>
                <a:gd name="connsiteX15" fmla="*/ 4492713 w 5066244"/>
                <a:gd name="connsiteY15" fmla="*/ 2671879 h 6053388"/>
                <a:gd name="connsiteX16" fmla="*/ 4173897 w 5066244"/>
                <a:gd name="connsiteY16" fmla="*/ 1368587 h 6053388"/>
                <a:gd name="connsiteX17" fmla="*/ 374339 w 5066244"/>
                <a:gd name="connsiteY17" fmla="*/ 4383232 h 6053388"/>
                <a:gd name="connsiteX18" fmla="*/ 730694 w 5066244"/>
                <a:gd name="connsiteY18" fmla="*/ 4755298 h 6053388"/>
                <a:gd name="connsiteX19" fmla="*/ 792928 w 5066244"/>
                <a:gd name="connsiteY19" fmla="*/ 4737843 h 6053388"/>
                <a:gd name="connsiteX20" fmla="*/ 896655 w 5066244"/>
                <a:gd name="connsiteY20" fmla="*/ 4852532 h 6053388"/>
                <a:gd name="connsiteX21" fmla="*/ 875910 w 5066244"/>
                <a:gd name="connsiteY21" fmla="*/ 4917355 h 6053388"/>
                <a:gd name="connsiteX22" fmla="*/ 965731 w 5066244"/>
                <a:gd name="connsiteY22" fmla="*/ 5011447 h 6053388"/>
                <a:gd name="connsiteX23" fmla="*/ 2266333 w 5066244"/>
                <a:gd name="connsiteY23" fmla="*/ 5336648 h 6053388"/>
                <a:gd name="connsiteX24" fmla="*/ 3391504 w 5066244"/>
                <a:gd name="connsiteY24" fmla="*/ 4963751 h 6053388"/>
                <a:gd name="connsiteX25" fmla="*/ 3588201 w 5066244"/>
                <a:gd name="connsiteY25" fmla="*/ 5536753 h 6053388"/>
                <a:gd name="connsiteX26" fmla="*/ 2249705 w 5066244"/>
                <a:gd name="connsiteY26" fmla="*/ 5979458 h 6053388"/>
                <a:gd name="connsiteX27" fmla="*/ 1871681 w 5066244"/>
                <a:gd name="connsiteY27" fmla="*/ 6001896 h 6053388"/>
                <a:gd name="connsiteX28" fmla="*/ 1793309 w 5066244"/>
                <a:gd name="connsiteY28" fmla="*/ 5909650 h 6053388"/>
                <a:gd name="connsiteX29" fmla="*/ 1110759 w 5066244"/>
                <a:gd name="connsiteY29" fmla="*/ 6053388 h 6053388"/>
                <a:gd name="connsiteX30" fmla="*/ 760659 w 5066244"/>
                <a:gd name="connsiteY30" fmla="*/ 5665315 h 6053388"/>
                <a:gd name="connsiteX31" fmla="*/ 723779 w 5066244"/>
                <a:gd name="connsiteY31" fmla="*/ 5657836 h 6053388"/>
                <a:gd name="connsiteX32" fmla="*/ 567036 w 5066244"/>
                <a:gd name="connsiteY32" fmla="*/ 5483312 h 6053388"/>
                <a:gd name="connsiteX33" fmla="*/ 553207 w 5066244"/>
                <a:gd name="connsiteY33" fmla="*/ 5503257 h 6053388"/>
                <a:gd name="connsiteX34" fmla="*/ 527852 w 5066244"/>
                <a:gd name="connsiteY34" fmla="*/ 5470847 h 6053388"/>
                <a:gd name="connsiteX35" fmla="*/ 486361 w 5066244"/>
                <a:gd name="connsiteY35" fmla="*/ 5528190 h 6053388"/>
                <a:gd name="connsiteX36" fmla="*/ 371110 w 5066244"/>
                <a:gd name="connsiteY36" fmla="*/ 5401036 h 6053388"/>
                <a:gd name="connsiteX37" fmla="*/ 414905 w 5066244"/>
                <a:gd name="connsiteY37" fmla="*/ 5351171 h 6053388"/>
                <a:gd name="connsiteX38" fmla="*/ 182098 w 5066244"/>
                <a:gd name="connsiteY38" fmla="*/ 5101851 h 6053388"/>
                <a:gd name="connsiteX39" fmla="*/ 195928 w 5066244"/>
                <a:gd name="connsiteY39" fmla="*/ 5074427 h 6053388"/>
                <a:gd name="connsiteX40" fmla="*/ 0 w 5066244"/>
                <a:gd name="connsiteY40" fmla="*/ 4867491 h 6053388"/>
                <a:gd name="connsiteX0" fmla="*/ 0 w 5066244"/>
                <a:gd name="connsiteY0" fmla="*/ 4257148 h 5443045"/>
                <a:gd name="connsiteX1" fmla="*/ 4256383 w 5066244"/>
                <a:gd name="connsiteY1" fmla="*/ -1 h 5443045"/>
                <a:gd name="connsiteX2" fmla="*/ 4317787 w 5066244"/>
                <a:gd name="connsiteY2" fmla="*/ 7617 h 5443045"/>
                <a:gd name="connsiteX3" fmla="*/ 4482628 w 5066244"/>
                <a:gd name="connsiteY3" fmla="*/ 188418 h 5443045"/>
                <a:gd name="connsiteX4" fmla="*/ 4482851 w 5066244"/>
                <a:gd name="connsiteY4" fmla="*/ 243837 h 5443045"/>
                <a:gd name="connsiteX5" fmla="*/ 4644115 w 5066244"/>
                <a:gd name="connsiteY5" fmla="*/ 435747 h 5443045"/>
                <a:gd name="connsiteX6" fmla="*/ 5024103 w 5066244"/>
                <a:gd name="connsiteY6" fmla="*/ 2228269 h 5443045"/>
                <a:gd name="connsiteX7" fmla="*/ 4832024 w 5066244"/>
                <a:gd name="connsiteY7" fmla="*/ 3094426 h 5443045"/>
                <a:gd name="connsiteX8" fmla="*/ 4962240 w 5066244"/>
                <a:gd name="connsiteY8" fmla="*/ 3160913 h 5443045"/>
                <a:gd name="connsiteX9" fmla="*/ 4892791 w 5066244"/>
                <a:gd name="connsiteY9" fmla="*/ 3578834 h 5443045"/>
                <a:gd name="connsiteX10" fmla="*/ 4735262 w 5066244"/>
                <a:gd name="connsiteY10" fmla="*/ 3516549 h 5443045"/>
                <a:gd name="connsiteX11" fmla="*/ 3591864 w 5066244"/>
                <a:gd name="connsiteY11" fmla="*/ 4921045 h 5443045"/>
                <a:gd name="connsiteX12" fmla="*/ 3395733 w 5066244"/>
                <a:gd name="connsiteY12" fmla="*/ 4352103 h 5443045"/>
                <a:gd name="connsiteX13" fmla="*/ 4212664 w 5066244"/>
                <a:gd name="connsiteY13" fmla="*/ 3305710 h 5443045"/>
                <a:gd name="connsiteX14" fmla="*/ 4492713 w 5066244"/>
                <a:gd name="connsiteY14" fmla="*/ 2061536 h 5443045"/>
                <a:gd name="connsiteX15" fmla="*/ 4173897 w 5066244"/>
                <a:gd name="connsiteY15" fmla="*/ 758244 h 5443045"/>
                <a:gd name="connsiteX16" fmla="*/ 374339 w 5066244"/>
                <a:gd name="connsiteY16" fmla="*/ 3772889 h 5443045"/>
                <a:gd name="connsiteX17" fmla="*/ 730694 w 5066244"/>
                <a:gd name="connsiteY17" fmla="*/ 4144955 h 5443045"/>
                <a:gd name="connsiteX18" fmla="*/ 792928 w 5066244"/>
                <a:gd name="connsiteY18" fmla="*/ 4127500 h 5443045"/>
                <a:gd name="connsiteX19" fmla="*/ 896655 w 5066244"/>
                <a:gd name="connsiteY19" fmla="*/ 4242189 h 5443045"/>
                <a:gd name="connsiteX20" fmla="*/ 875910 w 5066244"/>
                <a:gd name="connsiteY20" fmla="*/ 4307012 h 5443045"/>
                <a:gd name="connsiteX21" fmla="*/ 965731 w 5066244"/>
                <a:gd name="connsiteY21" fmla="*/ 4401104 h 5443045"/>
                <a:gd name="connsiteX22" fmla="*/ 2266333 w 5066244"/>
                <a:gd name="connsiteY22" fmla="*/ 4726305 h 5443045"/>
                <a:gd name="connsiteX23" fmla="*/ 3391504 w 5066244"/>
                <a:gd name="connsiteY23" fmla="*/ 4353408 h 5443045"/>
                <a:gd name="connsiteX24" fmla="*/ 3588201 w 5066244"/>
                <a:gd name="connsiteY24" fmla="*/ 4926410 h 5443045"/>
                <a:gd name="connsiteX25" fmla="*/ 2249705 w 5066244"/>
                <a:gd name="connsiteY25" fmla="*/ 5369115 h 5443045"/>
                <a:gd name="connsiteX26" fmla="*/ 1871681 w 5066244"/>
                <a:gd name="connsiteY26" fmla="*/ 5391553 h 5443045"/>
                <a:gd name="connsiteX27" fmla="*/ 1793309 w 5066244"/>
                <a:gd name="connsiteY27" fmla="*/ 5299307 h 5443045"/>
                <a:gd name="connsiteX28" fmla="*/ 1110759 w 5066244"/>
                <a:gd name="connsiteY28" fmla="*/ 5443045 h 5443045"/>
                <a:gd name="connsiteX29" fmla="*/ 760659 w 5066244"/>
                <a:gd name="connsiteY29" fmla="*/ 5054972 h 5443045"/>
                <a:gd name="connsiteX30" fmla="*/ 723779 w 5066244"/>
                <a:gd name="connsiteY30" fmla="*/ 5047493 h 5443045"/>
                <a:gd name="connsiteX31" fmla="*/ 567036 w 5066244"/>
                <a:gd name="connsiteY31" fmla="*/ 4872969 h 5443045"/>
                <a:gd name="connsiteX32" fmla="*/ 553207 w 5066244"/>
                <a:gd name="connsiteY32" fmla="*/ 4892914 h 5443045"/>
                <a:gd name="connsiteX33" fmla="*/ 527852 w 5066244"/>
                <a:gd name="connsiteY33" fmla="*/ 4860504 h 5443045"/>
                <a:gd name="connsiteX34" fmla="*/ 486361 w 5066244"/>
                <a:gd name="connsiteY34" fmla="*/ 4917847 h 5443045"/>
                <a:gd name="connsiteX35" fmla="*/ 371110 w 5066244"/>
                <a:gd name="connsiteY35" fmla="*/ 4790693 h 5443045"/>
                <a:gd name="connsiteX36" fmla="*/ 414905 w 5066244"/>
                <a:gd name="connsiteY36" fmla="*/ 4740828 h 5443045"/>
                <a:gd name="connsiteX37" fmla="*/ 182098 w 5066244"/>
                <a:gd name="connsiteY37" fmla="*/ 4491508 h 5443045"/>
                <a:gd name="connsiteX38" fmla="*/ 195928 w 5066244"/>
                <a:gd name="connsiteY38" fmla="*/ 4464084 h 5443045"/>
                <a:gd name="connsiteX39" fmla="*/ 0 w 5066244"/>
                <a:gd name="connsiteY39" fmla="*/ 4257148 h 5443045"/>
                <a:gd name="connsiteX0" fmla="*/ 0 w 5066244"/>
                <a:gd name="connsiteY0" fmla="*/ 4257149 h 5443046"/>
                <a:gd name="connsiteX1" fmla="*/ 4256383 w 5066244"/>
                <a:gd name="connsiteY1" fmla="*/ 0 h 5443046"/>
                <a:gd name="connsiteX2" fmla="*/ 4317787 w 5066244"/>
                <a:gd name="connsiteY2" fmla="*/ 7618 h 5443046"/>
                <a:gd name="connsiteX3" fmla="*/ 4482628 w 5066244"/>
                <a:gd name="connsiteY3" fmla="*/ 188419 h 5443046"/>
                <a:gd name="connsiteX4" fmla="*/ 4482851 w 5066244"/>
                <a:gd name="connsiteY4" fmla="*/ 243838 h 5443046"/>
                <a:gd name="connsiteX5" fmla="*/ 4644115 w 5066244"/>
                <a:gd name="connsiteY5" fmla="*/ 435748 h 5443046"/>
                <a:gd name="connsiteX6" fmla="*/ 5024103 w 5066244"/>
                <a:gd name="connsiteY6" fmla="*/ 2228270 h 5443046"/>
                <a:gd name="connsiteX7" fmla="*/ 4832024 w 5066244"/>
                <a:gd name="connsiteY7" fmla="*/ 3094427 h 5443046"/>
                <a:gd name="connsiteX8" fmla="*/ 4962240 w 5066244"/>
                <a:gd name="connsiteY8" fmla="*/ 3160914 h 5443046"/>
                <a:gd name="connsiteX9" fmla="*/ 4892791 w 5066244"/>
                <a:gd name="connsiteY9" fmla="*/ 3578835 h 5443046"/>
                <a:gd name="connsiteX10" fmla="*/ 4735262 w 5066244"/>
                <a:gd name="connsiteY10" fmla="*/ 3516550 h 5443046"/>
                <a:gd name="connsiteX11" fmla="*/ 3591864 w 5066244"/>
                <a:gd name="connsiteY11" fmla="*/ 4921046 h 5443046"/>
                <a:gd name="connsiteX12" fmla="*/ 3395733 w 5066244"/>
                <a:gd name="connsiteY12" fmla="*/ 4352104 h 5443046"/>
                <a:gd name="connsiteX13" fmla="*/ 4212664 w 5066244"/>
                <a:gd name="connsiteY13" fmla="*/ 3305711 h 5443046"/>
                <a:gd name="connsiteX14" fmla="*/ 4492713 w 5066244"/>
                <a:gd name="connsiteY14" fmla="*/ 2061537 h 5443046"/>
                <a:gd name="connsiteX15" fmla="*/ 374339 w 5066244"/>
                <a:gd name="connsiteY15" fmla="*/ 3772890 h 5443046"/>
                <a:gd name="connsiteX16" fmla="*/ 730694 w 5066244"/>
                <a:gd name="connsiteY16" fmla="*/ 4144956 h 5443046"/>
                <a:gd name="connsiteX17" fmla="*/ 792928 w 5066244"/>
                <a:gd name="connsiteY17" fmla="*/ 4127501 h 5443046"/>
                <a:gd name="connsiteX18" fmla="*/ 896655 w 5066244"/>
                <a:gd name="connsiteY18" fmla="*/ 4242190 h 5443046"/>
                <a:gd name="connsiteX19" fmla="*/ 875910 w 5066244"/>
                <a:gd name="connsiteY19" fmla="*/ 4307013 h 5443046"/>
                <a:gd name="connsiteX20" fmla="*/ 965731 w 5066244"/>
                <a:gd name="connsiteY20" fmla="*/ 4401105 h 5443046"/>
                <a:gd name="connsiteX21" fmla="*/ 2266333 w 5066244"/>
                <a:gd name="connsiteY21" fmla="*/ 4726306 h 5443046"/>
                <a:gd name="connsiteX22" fmla="*/ 3391504 w 5066244"/>
                <a:gd name="connsiteY22" fmla="*/ 4353409 h 5443046"/>
                <a:gd name="connsiteX23" fmla="*/ 3588201 w 5066244"/>
                <a:gd name="connsiteY23" fmla="*/ 4926411 h 5443046"/>
                <a:gd name="connsiteX24" fmla="*/ 2249705 w 5066244"/>
                <a:gd name="connsiteY24" fmla="*/ 5369116 h 5443046"/>
                <a:gd name="connsiteX25" fmla="*/ 1871681 w 5066244"/>
                <a:gd name="connsiteY25" fmla="*/ 5391554 h 5443046"/>
                <a:gd name="connsiteX26" fmla="*/ 1793309 w 5066244"/>
                <a:gd name="connsiteY26" fmla="*/ 5299308 h 5443046"/>
                <a:gd name="connsiteX27" fmla="*/ 1110759 w 5066244"/>
                <a:gd name="connsiteY27" fmla="*/ 5443046 h 5443046"/>
                <a:gd name="connsiteX28" fmla="*/ 760659 w 5066244"/>
                <a:gd name="connsiteY28" fmla="*/ 5054973 h 5443046"/>
                <a:gd name="connsiteX29" fmla="*/ 723779 w 5066244"/>
                <a:gd name="connsiteY29" fmla="*/ 5047494 h 5443046"/>
                <a:gd name="connsiteX30" fmla="*/ 567036 w 5066244"/>
                <a:gd name="connsiteY30" fmla="*/ 4872970 h 5443046"/>
                <a:gd name="connsiteX31" fmla="*/ 553207 w 5066244"/>
                <a:gd name="connsiteY31" fmla="*/ 4892915 h 5443046"/>
                <a:gd name="connsiteX32" fmla="*/ 527852 w 5066244"/>
                <a:gd name="connsiteY32" fmla="*/ 4860505 h 5443046"/>
                <a:gd name="connsiteX33" fmla="*/ 486361 w 5066244"/>
                <a:gd name="connsiteY33" fmla="*/ 4917848 h 5443046"/>
                <a:gd name="connsiteX34" fmla="*/ 371110 w 5066244"/>
                <a:gd name="connsiteY34" fmla="*/ 4790694 h 5443046"/>
                <a:gd name="connsiteX35" fmla="*/ 414905 w 5066244"/>
                <a:gd name="connsiteY35" fmla="*/ 4740829 h 5443046"/>
                <a:gd name="connsiteX36" fmla="*/ 182098 w 5066244"/>
                <a:gd name="connsiteY36" fmla="*/ 4491509 h 5443046"/>
                <a:gd name="connsiteX37" fmla="*/ 195928 w 5066244"/>
                <a:gd name="connsiteY37" fmla="*/ 4464085 h 5443046"/>
                <a:gd name="connsiteX38" fmla="*/ 0 w 5066244"/>
                <a:gd name="connsiteY38" fmla="*/ 4257149 h 5443046"/>
                <a:gd name="connsiteX0" fmla="*/ 0 w 5066244"/>
                <a:gd name="connsiteY0" fmla="*/ 4257149 h 5443046"/>
                <a:gd name="connsiteX1" fmla="*/ 4256383 w 5066244"/>
                <a:gd name="connsiteY1" fmla="*/ 0 h 5443046"/>
                <a:gd name="connsiteX2" fmla="*/ 4482628 w 5066244"/>
                <a:gd name="connsiteY2" fmla="*/ 188419 h 5443046"/>
                <a:gd name="connsiteX3" fmla="*/ 4482851 w 5066244"/>
                <a:gd name="connsiteY3" fmla="*/ 243838 h 5443046"/>
                <a:gd name="connsiteX4" fmla="*/ 4644115 w 5066244"/>
                <a:gd name="connsiteY4" fmla="*/ 435748 h 5443046"/>
                <a:gd name="connsiteX5" fmla="*/ 5024103 w 5066244"/>
                <a:gd name="connsiteY5" fmla="*/ 2228270 h 5443046"/>
                <a:gd name="connsiteX6" fmla="*/ 4832024 w 5066244"/>
                <a:gd name="connsiteY6" fmla="*/ 3094427 h 5443046"/>
                <a:gd name="connsiteX7" fmla="*/ 4962240 w 5066244"/>
                <a:gd name="connsiteY7" fmla="*/ 3160914 h 5443046"/>
                <a:gd name="connsiteX8" fmla="*/ 4892791 w 5066244"/>
                <a:gd name="connsiteY8" fmla="*/ 3578835 h 5443046"/>
                <a:gd name="connsiteX9" fmla="*/ 4735262 w 5066244"/>
                <a:gd name="connsiteY9" fmla="*/ 3516550 h 5443046"/>
                <a:gd name="connsiteX10" fmla="*/ 3591864 w 5066244"/>
                <a:gd name="connsiteY10" fmla="*/ 4921046 h 5443046"/>
                <a:gd name="connsiteX11" fmla="*/ 3395733 w 5066244"/>
                <a:gd name="connsiteY11" fmla="*/ 4352104 h 5443046"/>
                <a:gd name="connsiteX12" fmla="*/ 4212664 w 5066244"/>
                <a:gd name="connsiteY12" fmla="*/ 3305711 h 5443046"/>
                <a:gd name="connsiteX13" fmla="*/ 4492713 w 5066244"/>
                <a:gd name="connsiteY13" fmla="*/ 2061537 h 5443046"/>
                <a:gd name="connsiteX14" fmla="*/ 374339 w 5066244"/>
                <a:gd name="connsiteY14" fmla="*/ 3772890 h 5443046"/>
                <a:gd name="connsiteX15" fmla="*/ 730694 w 5066244"/>
                <a:gd name="connsiteY15" fmla="*/ 4144956 h 5443046"/>
                <a:gd name="connsiteX16" fmla="*/ 792928 w 5066244"/>
                <a:gd name="connsiteY16" fmla="*/ 4127501 h 5443046"/>
                <a:gd name="connsiteX17" fmla="*/ 896655 w 5066244"/>
                <a:gd name="connsiteY17" fmla="*/ 4242190 h 5443046"/>
                <a:gd name="connsiteX18" fmla="*/ 875910 w 5066244"/>
                <a:gd name="connsiteY18" fmla="*/ 4307013 h 5443046"/>
                <a:gd name="connsiteX19" fmla="*/ 965731 w 5066244"/>
                <a:gd name="connsiteY19" fmla="*/ 4401105 h 5443046"/>
                <a:gd name="connsiteX20" fmla="*/ 2266333 w 5066244"/>
                <a:gd name="connsiteY20" fmla="*/ 4726306 h 5443046"/>
                <a:gd name="connsiteX21" fmla="*/ 3391504 w 5066244"/>
                <a:gd name="connsiteY21" fmla="*/ 4353409 h 5443046"/>
                <a:gd name="connsiteX22" fmla="*/ 3588201 w 5066244"/>
                <a:gd name="connsiteY22" fmla="*/ 4926411 h 5443046"/>
                <a:gd name="connsiteX23" fmla="*/ 2249705 w 5066244"/>
                <a:gd name="connsiteY23" fmla="*/ 5369116 h 5443046"/>
                <a:gd name="connsiteX24" fmla="*/ 1871681 w 5066244"/>
                <a:gd name="connsiteY24" fmla="*/ 5391554 h 5443046"/>
                <a:gd name="connsiteX25" fmla="*/ 1793309 w 5066244"/>
                <a:gd name="connsiteY25" fmla="*/ 5299308 h 5443046"/>
                <a:gd name="connsiteX26" fmla="*/ 1110759 w 5066244"/>
                <a:gd name="connsiteY26" fmla="*/ 5443046 h 5443046"/>
                <a:gd name="connsiteX27" fmla="*/ 760659 w 5066244"/>
                <a:gd name="connsiteY27" fmla="*/ 5054973 h 5443046"/>
                <a:gd name="connsiteX28" fmla="*/ 723779 w 5066244"/>
                <a:gd name="connsiteY28" fmla="*/ 5047494 h 5443046"/>
                <a:gd name="connsiteX29" fmla="*/ 567036 w 5066244"/>
                <a:gd name="connsiteY29" fmla="*/ 4872970 h 5443046"/>
                <a:gd name="connsiteX30" fmla="*/ 553207 w 5066244"/>
                <a:gd name="connsiteY30" fmla="*/ 4892915 h 5443046"/>
                <a:gd name="connsiteX31" fmla="*/ 527852 w 5066244"/>
                <a:gd name="connsiteY31" fmla="*/ 4860505 h 5443046"/>
                <a:gd name="connsiteX32" fmla="*/ 486361 w 5066244"/>
                <a:gd name="connsiteY32" fmla="*/ 4917848 h 5443046"/>
                <a:gd name="connsiteX33" fmla="*/ 371110 w 5066244"/>
                <a:gd name="connsiteY33" fmla="*/ 4790694 h 5443046"/>
                <a:gd name="connsiteX34" fmla="*/ 414905 w 5066244"/>
                <a:gd name="connsiteY34" fmla="*/ 4740829 h 5443046"/>
                <a:gd name="connsiteX35" fmla="*/ 182098 w 5066244"/>
                <a:gd name="connsiteY35" fmla="*/ 4491509 h 5443046"/>
                <a:gd name="connsiteX36" fmla="*/ 195928 w 5066244"/>
                <a:gd name="connsiteY36" fmla="*/ 4464085 h 5443046"/>
                <a:gd name="connsiteX37" fmla="*/ 0 w 5066244"/>
                <a:gd name="connsiteY37" fmla="*/ 4257149 h 5443046"/>
                <a:gd name="connsiteX0" fmla="*/ 0 w 5066244"/>
                <a:gd name="connsiteY0" fmla="*/ 4257149 h 5443046"/>
                <a:gd name="connsiteX1" fmla="*/ 4256383 w 5066244"/>
                <a:gd name="connsiteY1" fmla="*/ 0 h 5443046"/>
                <a:gd name="connsiteX2" fmla="*/ 4482628 w 5066244"/>
                <a:gd name="connsiteY2" fmla="*/ 188419 h 5443046"/>
                <a:gd name="connsiteX3" fmla="*/ 4482851 w 5066244"/>
                <a:gd name="connsiteY3" fmla="*/ 243838 h 5443046"/>
                <a:gd name="connsiteX4" fmla="*/ 4644115 w 5066244"/>
                <a:gd name="connsiteY4" fmla="*/ 435748 h 5443046"/>
                <a:gd name="connsiteX5" fmla="*/ 5024103 w 5066244"/>
                <a:gd name="connsiteY5" fmla="*/ 2228270 h 5443046"/>
                <a:gd name="connsiteX6" fmla="*/ 4832024 w 5066244"/>
                <a:gd name="connsiteY6" fmla="*/ 3094427 h 5443046"/>
                <a:gd name="connsiteX7" fmla="*/ 4962240 w 5066244"/>
                <a:gd name="connsiteY7" fmla="*/ 3160914 h 5443046"/>
                <a:gd name="connsiteX8" fmla="*/ 4892791 w 5066244"/>
                <a:gd name="connsiteY8" fmla="*/ 3578835 h 5443046"/>
                <a:gd name="connsiteX9" fmla="*/ 4735262 w 5066244"/>
                <a:gd name="connsiteY9" fmla="*/ 3516550 h 5443046"/>
                <a:gd name="connsiteX10" fmla="*/ 3591864 w 5066244"/>
                <a:gd name="connsiteY10" fmla="*/ 4921046 h 5443046"/>
                <a:gd name="connsiteX11" fmla="*/ 3395733 w 5066244"/>
                <a:gd name="connsiteY11" fmla="*/ 4352104 h 5443046"/>
                <a:gd name="connsiteX12" fmla="*/ 4492713 w 5066244"/>
                <a:gd name="connsiteY12" fmla="*/ 2061537 h 5443046"/>
                <a:gd name="connsiteX13" fmla="*/ 374339 w 5066244"/>
                <a:gd name="connsiteY13" fmla="*/ 3772890 h 5443046"/>
                <a:gd name="connsiteX14" fmla="*/ 730694 w 5066244"/>
                <a:gd name="connsiteY14" fmla="*/ 4144956 h 5443046"/>
                <a:gd name="connsiteX15" fmla="*/ 792928 w 5066244"/>
                <a:gd name="connsiteY15" fmla="*/ 4127501 h 5443046"/>
                <a:gd name="connsiteX16" fmla="*/ 896655 w 5066244"/>
                <a:gd name="connsiteY16" fmla="*/ 4242190 h 5443046"/>
                <a:gd name="connsiteX17" fmla="*/ 875910 w 5066244"/>
                <a:gd name="connsiteY17" fmla="*/ 4307013 h 5443046"/>
                <a:gd name="connsiteX18" fmla="*/ 965731 w 5066244"/>
                <a:gd name="connsiteY18" fmla="*/ 4401105 h 5443046"/>
                <a:gd name="connsiteX19" fmla="*/ 2266333 w 5066244"/>
                <a:gd name="connsiteY19" fmla="*/ 4726306 h 5443046"/>
                <a:gd name="connsiteX20" fmla="*/ 3391504 w 5066244"/>
                <a:gd name="connsiteY20" fmla="*/ 4353409 h 5443046"/>
                <a:gd name="connsiteX21" fmla="*/ 3588201 w 5066244"/>
                <a:gd name="connsiteY21" fmla="*/ 4926411 h 5443046"/>
                <a:gd name="connsiteX22" fmla="*/ 2249705 w 5066244"/>
                <a:gd name="connsiteY22" fmla="*/ 5369116 h 5443046"/>
                <a:gd name="connsiteX23" fmla="*/ 1871681 w 5066244"/>
                <a:gd name="connsiteY23" fmla="*/ 5391554 h 5443046"/>
                <a:gd name="connsiteX24" fmla="*/ 1793309 w 5066244"/>
                <a:gd name="connsiteY24" fmla="*/ 5299308 h 5443046"/>
                <a:gd name="connsiteX25" fmla="*/ 1110759 w 5066244"/>
                <a:gd name="connsiteY25" fmla="*/ 5443046 h 5443046"/>
                <a:gd name="connsiteX26" fmla="*/ 760659 w 5066244"/>
                <a:gd name="connsiteY26" fmla="*/ 5054973 h 5443046"/>
                <a:gd name="connsiteX27" fmla="*/ 723779 w 5066244"/>
                <a:gd name="connsiteY27" fmla="*/ 5047494 h 5443046"/>
                <a:gd name="connsiteX28" fmla="*/ 567036 w 5066244"/>
                <a:gd name="connsiteY28" fmla="*/ 4872970 h 5443046"/>
                <a:gd name="connsiteX29" fmla="*/ 553207 w 5066244"/>
                <a:gd name="connsiteY29" fmla="*/ 4892915 h 5443046"/>
                <a:gd name="connsiteX30" fmla="*/ 527852 w 5066244"/>
                <a:gd name="connsiteY30" fmla="*/ 4860505 h 5443046"/>
                <a:gd name="connsiteX31" fmla="*/ 486361 w 5066244"/>
                <a:gd name="connsiteY31" fmla="*/ 4917848 h 5443046"/>
                <a:gd name="connsiteX32" fmla="*/ 371110 w 5066244"/>
                <a:gd name="connsiteY32" fmla="*/ 4790694 h 5443046"/>
                <a:gd name="connsiteX33" fmla="*/ 414905 w 5066244"/>
                <a:gd name="connsiteY33" fmla="*/ 4740829 h 5443046"/>
                <a:gd name="connsiteX34" fmla="*/ 182098 w 5066244"/>
                <a:gd name="connsiteY34" fmla="*/ 4491509 h 5443046"/>
                <a:gd name="connsiteX35" fmla="*/ 195928 w 5066244"/>
                <a:gd name="connsiteY35" fmla="*/ 4464085 h 5443046"/>
                <a:gd name="connsiteX36" fmla="*/ 0 w 5066244"/>
                <a:gd name="connsiteY36" fmla="*/ 4257149 h 5443046"/>
                <a:gd name="connsiteX0" fmla="*/ 0 w 5066244"/>
                <a:gd name="connsiteY0" fmla="*/ 4257149 h 5443046"/>
                <a:gd name="connsiteX1" fmla="*/ 4256383 w 5066244"/>
                <a:gd name="connsiteY1" fmla="*/ 0 h 5443046"/>
                <a:gd name="connsiteX2" fmla="*/ 4482628 w 5066244"/>
                <a:gd name="connsiteY2" fmla="*/ 188419 h 5443046"/>
                <a:gd name="connsiteX3" fmla="*/ 4482851 w 5066244"/>
                <a:gd name="connsiteY3" fmla="*/ 243838 h 5443046"/>
                <a:gd name="connsiteX4" fmla="*/ 4644115 w 5066244"/>
                <a:gd name="connsiteY4" fmla="*/ 435748 h 5443046"/>
                <a:gd name="connsiteX5" fmla="*/ 5024103 w 5066244"/>
                <a:gd name="connsiteY5" fmla="*/ 2228270 h 5443046"/>
                <a:gd name="connsiteX6" fmla="*/ 4832024 w 5066244"/>
                <a:gd name="connsiteY6" fmla="*/ 3094427 h 5443046"/>
                <a:gd name="connsiteX7" fmla="*/ 4962240 w 5066244"/>
                <a:gd name="connsiteY7" fmla="*/ 3160914 h 5443046"/>
                <a:gd name="connsiteX8" fmla="*/ 4892791 w 5066244"/>
                <a:gd name="connsiteY8" fmla="*/ 3578835 h 5443046"/>
                <a:gd name="connsiteX9" fmla="*/ 3591864 w 5066244"/>
                <a:gd name="connsiteY9" fmla="*/ 4921046 h 5443046"/>
                <a:gd name="connsiteX10" fmla="*/ 3395733 w 5066244"/>
                <a:gd name="connsiteY10" fmla="*/ 4352104 h 5443046"/>
                <a:gd name="connsiteX11" fmla="*/ 4492713 w 5066244"/>
                <a:gd name="connsiteY11" fmla="*/ 2061537 h 5443046"/>
                <a:gd name="connsiteX12" fmla="*/ 374339 w 5066244"/>
                <a:gd name="connsiteY12" fmla="*/ 3772890 h 5443046"/>
                <a:gd name="connsiteX13" fmla="*/ 730694 w 5066244"/>
                <a:gd name="connsiteY13" fmla="*/ 4144956 h 5443046"/>
                <a:gd name="connsiteX14" fmla="*/ 792928 w 5066244"/>
                <a:gd name="connsiteY14" fmla="*/ 4127501 h 5443046"/>
                <a:gd name="connsiteX15" fmla="*/ 896655 w 5066244"/>
                <a:gd name="connsiteY15" fmla="*/ 4242190 h 5443046"/>
                <a:gd name="connsiteX16" fmla="*/ 875910 w 5066244"/>
                <a:gd name="connsiteY16" fmla="*/ 4307013 h 5443046"/>
                <a:gd name="connsiteX17" fmla="*/ 965731 w 5066244"/>
                <a:gd name="connsiteY17" fmla="*/ 4401105 h 5443046"/>
                <a:gd name="connsiteX18" fmla="*/ 2266333 w 5066244"/>
                <a:gd name="connsiteY18" fmla="*/ 4726306 h 5443046"/>
                <a:gd name="connsiteX19" fmla="*/ 3391504 w 5066244"/>
                <a:gd name="connsiteY19" fmla="*/ 4353409 h 5443046"/>
                <a:gd name="connsiteX20" fmla="*/ 3588201 w 5066244"/>
                <a:gd name="connsiteY20" fmla="*/ 4926411 h 5443046"/>
                <a:gd name="connsiteX21" fmla="*/ 2249705 w 5066244"/>
                <a:gd name="connsiteY21" fmla="*/ 5369116 h 5443046"/>
                <a:gd name="connsiteX22" fmla="*/ 1871681 w 5066244"/>
                <a:gd name="connsiteY22" fmla="*/ 5391554 h 5443046"/>
                <a:gd name="connsiteX23" fmla="*/ 1793309 w 5066244"/>
                <a:gd name="connsiteY23" fmla="*/ 5299308 h 5443046"/>
                <a:gd name="connsiteX24" fmla="*/ 1110759 w 5066244"/>
                <a:gd name="connsiteY24" fmla="*/ 5443046 h 5443046"/>
                <a:gd name="connsiteX25" fmla="*/ 760659 w 5066244"/>
                <a:gd name="connsiteY25" fmla="*/ 5054973 h 5443046"/>
                <a:gd name="connsiteX26" fmla="*/ 723779 w 5066244"/>
                <a:gd name="connsiteY26" fmla="*/ 5047494 h 5443046"/>
                <a:gd name="connsiteX27" fmla="*/ 567036 w 5066244"/>
                <a:gd name="connsiteY27" fmla="*/ 4872970 h 5443046"/>
                <a:gd name="connsiteX28" fmla="*/ 553207 w 5066244"/>
                <a:gd name="connsiteY28" fmla="*/ 4892915 h 5443046"/>
                <a:gd name="connsiteX29" fmla="*/ 527852 w 5066244"/>
                <a:gd name="connsiteY29" fmla="*/ 4860505 h 5443046"/>
                <a:gd name="connsiteX30" fmla="*/ 486361 w 5066244"/>
                <a:gd name="connsiteY30" fmla="*/ 4917848 h 5443046"/>
                <a:gd name="connsiteX31" fmla="*/ 371110 w 5066244"/>
                <a:gd name="connsiteY31" fmla="*/ 4790694 h 5443046"/>
                <a:gd name="connsiteX32" fmla="*/ 414905 w 5066244"/>
                <a:gd name="connsiteY32" fmla="*/ 4740829 h 5443046"/>
                <a:gd name="connsiteX33" fmla="*/ 182098 w 5066244"/>
                <a:gd name="connsiteY33" fmla="*/ 4491509 h 5443046"/>
                <a:gd name="connsiteX34" fmla="*/ 195928 w 5066244"/>
                <a:gd name="connsiteY34" fmla="*/ 4464085 h 5443046"/>
                <a:gd name="connsiteX35" fmla="*/ 0 w 5066244"/>
                <a:gd name="connsiteY35" fmla="*/ 4257149 h 5443046"/>
                <a:gd name="connsiteX0" fmla="*/ 0 w 5066244"/>
                <a:gd name="connsiteY0" fmla="*/ 4257149 h 5443046"/>
                <a:gd name="connsiteX1" fmla="*/ 4256383 w 5066244"/>
                <a:gd name="connsiteY1" fmla="*/ 0 h 5443046"/>
                <a:gd name="connsiteX2" fmla="*/ 4482628 w 5066244"/>
                <a:gd name="connsiteY2" fmla="*/ 188419 h 5443046"/>
                <a:gd name="connsiteX3" fmla="*/ 4482851 w 5066244"/>
                <a:gd name="connsiteY3" fmla="*/ 243838 h 5443046"/>
                <a:gd name="connsiteX4" fmla="*/ 4644115 w 5066244"/>
                <a:gd name="connsiteY4" fmla="*/ 435748 h 5443046"/>
                <a:gd name="connsiteX5" fmla="*/ 5024103 w 5066244"/>
                <a:gd name="connsiteY5" fmla="*/ 2228270 h 5443046"/>
                <a:gd name="connsiteX6" fmla="*/ 4832024 w 5066244"/>
                <a:gd name="connsiteY6" fmla="*/ 3094427 h 5443046"/>
                <a:gd name="connsiteX7" fmla="*/ 4962240 w 5066244"/>
                <a:gd name="connsiteY7" fmla="*/ 3160914 h 5443046"/>
                <a:gd name="connsiteX8" fmla="*/ 3591864 w 5066244"/>
                <a:gd name="connsiteY8" fmla="*/ 4921046 h 5443046"/>
                <a:gd name="connsiteX9" fmla="*/ 3395733 w 5066244"/>
                <a:gd name="connsiteY9" fmla="*/ 4352104 h 5443046"/>
                <a:gd name="connsiteX10" fmla="*/ 4492713 w 5066244"/>
                <a:gd name="connsiteY10" fmla="*/ 2061537 h 5443046"/>
                <a:gd name="connsiteX11" fmla="*/ 374339 w 5066244"/>
                <a:gd name="connsiteY11" fmla="*/ 3772890 h 5443046"/>
                <a:gd name="connsiteX12" fmla="*/ 730694 w 5066244"/>
                <a:gd name="connsiteY12" fmla="*/ 4144956 h 5443046"/>
                <a:gd name="connsiteX13" fmla="*/ 792928 w 5066244"/>
                <a:gd name="connsiteY13" fmla="*/ 4127501 h 5443046"/>
                <a:gd name="connsiteX14" fmla="*/ 896655 w 5066244"/>
                <a:gd name="connsiteY14" fmla="*/ 4242190 h 5443046"/>
                <a:gd name="connsiteX15" fmla="*/ 875910 w 5066244"/>
                <a:gd name="connsiteY15" fmla="*/ 4307013 h 5443046"/>
                <a:gd name="connsiteX16" fmla="*/ 965731 w 5066244"/>
                <a:gd name="connsiteY16" fmla="*/ 4401105 h 5443046"/>
                <a:gd name="connsiteX17" fmla="*/ 2266333 w 5066244"/>
                <a:gd name="connsiteY17" fmla="*/ 4726306 h 5443046"/>
                <a:gd name="connsiteX18" fmla="*/ 3391504 w 5066244"/>
                <a:gd name="connsiteY18" fmla="*/ 4353409 h 5443046"/>
                <a:gd name="connsiteX19" fmla="*/ 3588201 w 5066244"/>
                <a:gd name="connsiteY19" fmla="*/ 4926411 h 5443046"/>
                <a:gd name="connsiteX20" fmla="*/ 2249705 w 5066244"/>
                <a:gd name="connsiteY20" fmla="*/ 5369116 h 5443046"/>
                <a:gd name="connsiteX21" fmla="*/ 1871681 w 5066244"/>
                <a:gd name="connsiteY21" fmla="*/ 5391554 h 5443046"/>
                <a:gd name="connsiteX22" fmla="*/ 1793309 w 5066244"/>
                <a:gd name="connsiteY22" fmla="*/ 5299308 h 5443046"/>
                <a:gd name="connsiteX23" fmla="*/ 1110759 w 5066244"/>
                <a:gd name="connsiteY23" fmla="*/ 5443046 h 5443046"/>
                <a:gd name="connsiteX24" fmla="*/ 760659 w 5066244"/>
                <a:gd name="connsiteY24" fmla="*/ 5054973 h 5443046"/>
                <a:gd name="connsiteX25" fmla="*/ 723779 w 5066244"/>
                <a:gd name="connsiteY25" fmla="*/ 5047494 h 5443046"/>
                <a:gd name="connsiteX26" fmla="*/ 567036 w 5066244"/>
                <a:gd name="connsiteY26" fmla="*/ 4872970 h 5443046"/>
                <a:gd name="connsiteX27" fmla="*/ 553207 w 5066244"/>
                <a:gd name="connsiteY27" fmla="*/ 4892915 h 5443046"/>
                <a:gd name="connsiteX28" fmla="*/ 527852 w 5066244"/>
                <a:gd name="connsiteY28" fmla="*/ 4860505 h 5443046"/>
                <a:gd name="connsiteX29" fmla="*/ 486361 w 5066244"/>
                <a:gd name="connsiteY29" fmla="*/ 4917848 h 5443046"/>
                <a:gd name="connsiteX30" fmla="*/ 371110 w 5066244"/>
                <a:gd name="connsiteY30" fmla="*/ 4790694 h 5443046"/>
                <a:gd name="connsiteX31" fmla="*/ 414905 w 5066244"/>
                <a:gd name="connsiteY31" fmla="*/ 4740829 h 5443046"/>
                <a:gd name="connsiteX32" fmla="*/ 182098 w 5066244"/>
                <a:gd name="connsiteY32" fmla="*/ 4491509 h 5443046"/>
                <a:gd name="connsiteX33" fmla="*/ 195928 w 5066244"/>
                <a:gd name="connsiteY33" fmla="*/ 4464085 h 5443046"/>
                <a:gd name="connsiteX34" fmla="*/ 0 w 5066244"/>
                <a:gd name="connsiteY34" fmla="*/ 4257149 h 5443046"/>
                <a:gd name="connsiteX0" fmla="*/ 0 w 5066244"/>
                <a:gd name="connsiteY0" fmla="*/ 4257149 h 5443046"/>
                <a:gd name="connsiteX1" fmla="*/ 4256383 w 5066244"/>
                <a:gd name="connsiteY1" fmla="*/ 0 h 5443046"/>
                <a:gd name="connsiteX2" fmla="*/ 4482628 w 5066244"/>
                <a:gd name="connsiteY2" fmla="*/ 188419 h 5443046"/>
                <a:gd name="connsiteX3" fmla="*/ 4482851 w 5066244"/>
                <a:gd name="connsiteY3" fmla="*/ 243838 h 5443046"/>
                <a:gd name="connsiteX4" fmla="*/ 4644115 w 5066244"/>
                <a:gd name="connsiteY4" fmla="*/ 435748 h 5443046"/>
                <a:gd name="connsiteX5" fmla="*/ 5024103 w 5066244"/>
                <a:gd name="connsiteY5" fmla="*/ 2228270 h 5443046"/>
                <a:gd name="connsiteX6" fmla="*/ 4832024 w 5066244"/>
                <a:gd name="connsiteY6" fmla="*/ 3094427 h 5443046"/>
                <a:gd name="connsiteX7" fmla="*/ 3591864 w 5066244"/>
                <a:gd name="connsiteY7" fmla="*/ 4921046 h 5443046"/>
                <a:gd name="connsiteX8" fmla="*/ 3395733 w 5066244"/>
                <a:gd name="connsiteY8" fmla="*/ 4352104 h 5443046"/>
                <a:gd name="connsiteX9" fmla="*/ 4492713 w 5066244"/>
                <a:gd name="connsiteY9" fmla="*/ 2061537 h 5443046"/>
                <a:gd name="connsiteX10" fmla="*/ 374339 w 5066244"/>
                <a:gd name="connsiteY10" fmla="*/ 3772890 h 5443046"/>
                <a:gd name="connsiteX11" fmla="*/ 730694 w 5066244"/>
                <a:gd name="connsiteY11" fmla="*/ 4144956 h 5443046"/>
                <a:gd name="connsiteX12" fmla="*/ 792928 w 5066244"/>
                <a:gd name="connsiteY12" fmla="*/ 4127501 h 5443046"/>
                <a:gd name="connsiteX13" fmla="*/ 896655 w 5066244"/>
                <a:gd name="connsiteY13" fmla="*/ 4242190 h 5443046"/>
                <a:gd name="connsiteX14" fmla="*/ 875910 w 5066244"/>
                <a:gd name="connsiteY14" fmla="*/ 4307013 h 5443046"/>
                <a:gd name="connsiteX15" fmla="*/ 965731 w 5066244"/>
                <a:gd name="connsiteY15" fmla="*/ 4401105 h 5443046"/>
                <a:gd name="connsiteX16" fmla="*/ 2266333 w 5066244"/>
                <a:gd name="connsiteY16" fmla="*/ 4726306 h 5443046"/>
                <a:gd name="connsiteX17" fmla="*/ 3391504 w 5066244"/>
                <a:gd name="connsiteY17" fmla="*/ 4353409 h 5443046"/>
                <a:gd name="connsiteX18" fmla="*/ 3588201 w 5066244"/>
                <a:gd name="connsiteY18" fmla="*/ 4926411 h 5443046"/>
                <a:gd name="connsiteX19" fmla="*/ 2249705 w 5066244"/>
                <a:gd name="connsiteY19" fmla="*/ 5369116 h 5443046"/>
                <a:gd name="connsiteX20" fmla="*/ 1871681 w 5066244"/>
                <a:gd name="connsiteY20" fmla="*/ 5391554 h 5443046"/>
                <a:gd name="connsiteX21" fmla="*/ 1793309 w 5066244"/>
                <a:gd name="connsiteY21" fmla="*/ 5299308 h 5443046"/>
                <a:gd name="connsiteX22" fmla="*/ 1110759 w 5066244"/>
                <a:gd name="connsiteY22" fmla="*/ 5443046 h 5443046"/>
                <a:gd name="connsiteX23" fmla="*/ 760659 w 5066244"/>
                <a:gd name="connsiteY23" fmla="*/ 5054973 h 5443046"/>
                <a:gd name="connsiteX24" fmla="*/ 723779 w 5066244"/>
                <a:gd name="connsiteY24" fmla="*/ 5047494 h 5443046"/>
                <a:gd name="connsiteX25" fmla="*/ 567036 w 5066244"/>
                <a:gd name="connsiteY25" fmla="*/ 4872970 h 5443046"/>
                <a:gd name="connsiteX26" fmla="*/ 553207 w 5066244"/>
                <a:gd name="connsiteY26" fmla="*/ 4892915 h 5443046"/>
                <a:gd name="connsiteX27" fmla="*/ 527852 w 5066244"/>
                <a:gd name="connsiteY27" fmla="*/ 4860505 h 5443046"/>
                <a:gd name="connsiteX28" fmla="*/ 486361 w 5066244"/>
                <a:gd name="connsiteY28" fmla="*/ 4917848 h 5443046"/>
                <a:gd name="connsiteX29" fmla="*/ 371110 w 5066244"/>
                <a:gd name="connsiteY29" fmla="*/ 4790694 h 5443046"/>
                <a:gd name="connsiteX30" fmla="*/ 414905 w 5066244"/>
                <a:gd name="connsiteY30" fmla="*/ 4740829 h 5443046"/>
                <a:gd name="connsiteX31" fmla="*/ 182098 w 5066244"/>
                <a:gd name="connsiteY31" fmla="*/ 4491509 h 5443046"/>
                <a:gd name="connsiteX32" fmla="*/ 195928 w 5066244"/>
                <a:gd name="connsiteY32" fmla="*/ 4464085 h 5443046"/>
                <a:gd name="connsiteX33" fmla="*/ 0 w 5066244"/>
                <a:gd name="connsiteY33" fmla="*/ 4257149 h 5443046"/>
                <a:gd name="connsiteX0" fmla="*/ 0 w 5066244"/>
                <a:gd name="connsiteY0" fmla="*/ 4257149 h 5443046"/>
                <a:gd name="connsiteX1" fmla="*/ 4256383 w 5066244"/>
                <a:gd name="connsiteY1" fmla="*/ 0 h 5443046"/>
                <a:gd name="connsiteX2" fmla="*/ 4482628 w 5066244"/>
                <a:gd name="connsiteY2" fmla="*/ 188419 h 5443046"/>
                <a:gd name="connsiteX3" fmla="*/ 4482851 w 5066244"/>
                <a:gd name="connsiteY3" fmla="*/ 243838 h 5443046"/>
                <a:gd name="connsiteX4" fmla="*/ 4644115 w 5066244"/>
                <a:gd name="connsiteY4" fmla="*/ 435748 h 5443046"/>
                <a:gd name="connsiteX5" fmla="*/ 5024103 w 5066244"/>
                <a:gd name="connsiteY5" fmla="*/ 2228270 h 5443046"/>
                <a:gd name="connsiteX6" fmla="*/ 3591864 w 5066244"/>
                <a:gd name="connsiteY6" fmla="*/ 4921046 h 5443046"/>
                <a:gd name="connsiteX7" fmla="*/ 3395733 w 5066244"/>
                <a:gd name="connsiteY7" fmla="*/ 4352104 h 5443046"/>
                <a:gd name="connsiteX8" fmla="*/ 4492713 w 5066244"/>
                <a:gd name="connsiteY8" fmla="*/ 2061537 h 5443046"/>
                <a:gd name="connsiteX9" fmla="*/ 374339 w 5066244"/>
                <a:gd name="connsiteY9" fmla="*/ 3772890 h 5443046"/>
                <a:gd name="connsiteX10" fmla="*/ 730694 w 5066244"/>
                <a:gd name="connsiteY10" fmla="*/ 4144956 h 5443046"/>
                <a:gd name="connsiteX11" fmla="*/ 792928 w 5066244"/>
                <a:gd name="connsiteY11" fmla="*/ 4127501 h 5443046"/>
                <a:gd name="connsiteX12" fmla="*/ 896655 w 5066244"/>
                <a:gd name="connsiteY12" fmla="*/ 4242190 h 5443046"/>
                <a:gd name="connsiteX13" fmla="*/ 875910 w 5066244"/>
                <a:gd name="connsiteY13" fmla="*/ 4307013 h 5443046"/>
                <a:gd name="connsiteX14" fmla="*/ 965731 w 5066244"/>
                <a:gd name="connsiteY14" fmla="*/ 4401105 h 5443046"/>
                <a:gd name="connsiteX15" fmla="*/ 2266333 w 5066244"/>
                <a:gd name="connsiteY15" fmla="*/ 4726306 h 5443046"/>
                <a:gd name="connsiteX16" fmla="*/ 3391504 w 5066244"/>
                <a:gd name="connsiteY16" fmla="*/ 4353409 h 5443046"/>
                <a:gd name="connsiteX17" fmla="*/ 3588201 w 5066244"/>
                <a:gd name="connsiteY17" fmla="*/ 4926411 h 5443046"/>
                <a:gd name="connsiteX18" fmla="*/ 2249705 w 5066244"/>
                <a:gd name="connsiteY18" fmla="*/ 5369116 h 5443046"/>
                <a:gd name="connsiteX19" fmla="*/ 1871681 w 5066244"/>
                <a:gd name="connsiteY19" fmla="*/ 5391554 h 5443046"/>
                <a:gd name="connsiteX20" fmla="*/ 1793309 w 5066244"/>
                <a:gd name="connsiteY20" fmla="*/ 5299308 h 5443046"/>
                <a:gd name="connsiteX21" fmla="*/ 1110759 w 5066244"/>
                <a:gd name="connsiteY21" fmla="*/ 5443046 h 5443046"/>
                <a:gd name="connsiteX22" fmla="*/ 760659 w 5066244"/>
                <a:gd name="connsiteY22" fmla="*/ 5054973 h 5443046"/>
                <a:gd name="connsiteX23" fmla="*/ 723779 w 5066244"/>
                <a:gd name="connsiteY23" fmla="*/ 5047494 h 5443046"/>
                <a:gd name="connsiteX24" fmla="*/ 567036 w 5066244"/>
                <a:gd name="connsiteY24" fmla="*/ 4872970 h 5443046"/>
                <a:gd name="connsiteX25" fmla="*/ 553207 w 5066244"/>
                <a:gd name="connsiteY25" fmla="*/ 4892915 h 5443046"/>
                <a:gd name="connsiteX26" fmla="*/ 527852 w 5066244"/>
                <a:gd name="connsiteY26" fmla="*/ 4860505 h 5443046"/>
                <a:gd name="connsiteX27" fmla="*/ 486361 w 5066244"/>
                <a:gd name="connsiteY27" fmla="*/ 4917848 h 5443046"/>
                <a:gd name="connsiteX28" fmla="*/ 371110 w 5066244"/>
                <a:gd name="connsiteY28" fmla="*/ 4790694 h 5443046"/>
                <a:gd name="connsiteX29" fmla="*/ 414905 w 5066244"/>
                <a:gd name="connsiteY29" fmla="*/ 4740829 h 5443046"/>
                <a:gd name="connsiteX30" fmla="*/ 182098 w 5066244"/>
                <a:gd name="connsiteY30" fmla="*/ 4491509 h 5443046"/>
                <a:gd name="connsiteX31" fmla="*/ 195928 w 5066244"/>
                <a:gd name="connsiteY31" fmla="*/ 4464085 h 5443046"/>
                <a:gd name="connsiteX32" fmla="*/ 0 w 5066244"/>
                <a:gd name="connsiteY32" fmla="*/ 4257149 h 5443046"/>
                <a:gd name="connsiteX0" fmla="*/ 0 w 4644115"/>
                <a:gd name="connsiteY0" fmla="*/ 4257149 h 5443046"/>
                <a:gd name="connsiteX1" fmla="*/ 4256383 w 4644115"/>
                <a:gd name="connsiteY1" fmla="*/ 0 h 5443046"/>
                <a:gd name="connsiteX2" fmla="*/ 4482628 w 4644115"/>
                <a:gd name="connsiteY2" fmla="*/ 188419 h 5443046"/>
                <a:gd name="connsiteX3" fmla="*/ 4482851 w 4644115"/>
                <a:gd name="connsiteY3" fmla="*/ 243838 h 5443046"/>
                <a:gd name="connsiteX4" fmla="*/ 4644115 w 4644115"/>
                <a:gd name="connsiteY4" fmla="*/ 435748 h 5443046"/>
                <a:gd name="connsiteX5" fmla="*/ 3591864 w 4644115"/>
                <a:gd name="connsiteY5" fmla="*/ 4921046 h 5443046"/>
                <a:gd name="connsiteX6" fmla="*/ 3395733 w 4644115"/>
                <a:gd name="connsiteY6" fmla="*/ 4352104 h 5443046"/>
                <a:gd name="connsiteX7" fmla="*/ 4492713 w 4644115"/>
                <a:gd name="connsiteY7" fmla="*/ 2061537 h 5443046"/>
                <a:gd name="connsiteX8" fmla="*/ 374339 w 4644115"/>
                <a:gd name="connsiteY8" fmla="*/ 3772890 h 5443046"/>
                <a:gd name="connsiteX9" fmla="*/ 730694 w 4644115"/>
                <a:gd name="connsiteY9" fmla="*/ 4144956 h 5443046"/>
                <a:gd name="connsiteX10" fmla="*/ 792928 w 4644115"/>
                <a:gd name="connsiteY10" fmla="*/ 4127501 h 5443046"/>
                <a:gd name="connsiteX11" fmla="*/ 896655 w 4644115"/>
                <a:gd name="connsiteY11" fmla="*/ 4242190 h 5443046"/>
                <a:gd name="connsiteX12" fmla="*/ 875910 w 4644115"/>
                <a:gd name="connsiteY12" fmla="*/ 4307013 h 5443046"/>
                <a:gd name="connsiteX13" fmla="*/ 965731 w 4644115"/>
                <a:gd name="connsiteY13" fmla="*/ 4401105 h 5443046"/>
                <a:gd name="connsiteX14" fmla="*/ 2266333 w 4644115"/>
                <a:gd name="connsiteY14" fmla="*/ 4726306 h 5443046"/>
                <a:gd name="connsiteX15" fmla="*/ 3391504 w 4644115"/>
                <a:gd name="connsiteY15" fmla="*/ 4353409 h 5443046"/>
                <a:gd name="connsiteX16" fmla="*/ 3588201 w 4644115"/>
                <a:gd name="connsiteY16" fmla="*/ 4926411 h 5443046"/>
                <a:gd name="connsiteX17" fmla="*/ 2249705 w 4644115"/>
                <a:gd name="connsiteY17" fmla="*/ 5369116 h 5443046"/>
                <a:gd name="connsiteX18" fmla="*/ 1871681 w 4644115"/>
                <a:gd name="connsiteY18" fmla="*/ 5391554 h 5443046"/>
                <a:gd name="connsiteX19" fmla="*/ 1793309 w 4644115"/>
                <a:gd name="connsiteY19" fmla="*/ 5299308 h 5443046"/>
                <a:gd name="connsiteX20" fmla="*/ 1110759 w 4644115"/>
                <a:gd name="connsiteY20" fmla="*/ 5443046 h 5443046"/>
                <a:gd name="connsiteX21" fmla="*/ 760659 w 4644115"/>
                <a:gd name="connsiteY21" fmla="*/ 5054973 h 5443046"/>
                <a:gd name="connsiteX22" fmla="*/ 723779 w 4644115"/>
                <a:gd name="connsiteY22" fmla="*/ 5047494 h 5443046"/>
                <a:gd name="connsiteX23" fmla="*/ 567036 w 4644115"/>
                <a:gd name="connsiteY23" fmla="*/ 4872970 h 5443046"/>
                <a:gd name="connsiteX24" fmla="*/ 553207 w 4644115"/>
                <a:gd name="connsiteY24" fmla="*/ 4892915 h 5443046"/>
                <a:gd name="connsiteX25" fmla="*/ 527852 w 4644115"/>
                <a:gd name="connsiteY25" fmla="*/ 4860505 h 5443046"/>
                <a:gd name="connsiteX26" fmla="*/ 486361 w 4644115"/>
                <a:gd name="connsiteY26" fmla="*/ 4917848 h 5443046"/>
                <a:gd name="connsiteX27" fmla="*/ 371110 w 4644115"/>
                <a:gd name="connsiteY27" fmla="*/ 4790694 h 5443046"/>
                <a:gd name="connsiteX28" fmla="*/ 414905 w 4644115"/>
                <a:gd name="connsiteY28" fmla="*/ 4740829 h 5443046"/>
                <a:gd name="connsiteX29" fmla="*/ 182098 w 4644115"/>
                <a:gd name="connsiteY29" fmla="*/ 4491509 h 5443046"/>
                <a:gd name="connsiteX30" fmla="*/ 195928 w 4644115"/>
                <a:gd name="connsiteY30" fmla="*/ 4464085 h 5443046"/>
                <a:gd name="connsiteX31" fmla="*/ 0 w 4644115"/>
                <a:gd name="connsiteY31" fmla="*/ 4257149 h 5443046"/>
                <a:gd name="connsiteX0" fmla="*/ 0 w 4598452"/>
                <a:gd name="connsiteY0" fmla="*/ 4257149 h 5443046"/>
                <a:gd name="connsiteX1" fmla="*/ 4256383 w 4598452"/>
                <a:gd name="connsiteY1" fmla="*/ 0 h 5443046"/>
                <a:gd name="connsiteX2" fmla="*/ 4482628 w 4598452"/>
                <a:gd name="connsiteY2" fmla="*/ 188419 h 5443046"/>
                <a:gd name="connsiteX3" fmla="*/ 4482851 w 4598452"/>
                <a:gd name="connsiteY3" fmla="*/ 243838 h 5443046"/>
                <a:gd name="connsiteX4" fmla="*/ 3591864 w 4598452"/>
                <a:gd name="connsiteY4" fmla="*/ 4921046 h 5443046"/>
                <a:gd name="connsiteX5" fmla="*/ 3395733 w 4598452"/>
                <a:gd name="connsiteY5" fmla="*/ 4352104 h 5443046"/>
                <a:gd name="connsiteX6" fmla="*/ 4492713 w 4598452"/>
                <a:gd name="connsiteY6" fmla="*/ 2061537 h 5443046"/>
                <a:gd name="connsiteX7" fmla="*/ 374339 w 4598452"/>
                <a:gd name="connsiteY7" fmla="*/ 3772890 h 5443046"/>
                <a:gd name="connsiteX8" fmla="*/ 730694 w 4598452"/>
                <a:gd name="connsiteY8" fmla="*/ 4144956 h 5443046"/>
                <a:gd name="connsiteX9" fmla="*/ 792928 w 4598452"/>
                <a:gd name="connsiteY9" fmla="*/ 4127501 h 5443046"/>
                <a:gd name="connsiteX10" fmla="*/ 896655 w 4598452"/>
                <a:gd name="connsiteY10" fmla="*/ 4242190 h 5443046"/>
                <a:gd name="connsiteX11" fmla="*/ 875910 w 4598452"/>
                <a:gd name="connsiteY11" fmla="*/ 4307013 h 5443046"/>
                <a:gd name="connsiteX12" fmla="*/ 965731 w 4598452"/>
                <a:gd name="connsiteY12" fmla="*/ 4401105 h 5443046"/>
                <a:gd name="connsiteX13" fmla="*/ 2266333 w 4598452"/>
                <a:gd name="connsiteY13" fmla="*/ 4726306 h 5443046"/>
                <a:gd name="connsiteX14" fmla="*/ 3391504 w 4598452"/>
                <a:gd name="connsiteY14" fmla="*/ 4353409 h 5443046"/>
                <a:gd name="connsiteX15" fmla="*/ 3588201 w 4598452"/>
                <a:gd name="connsiteY15" fmla="*/ 4926411 h 5443046"/>
                <a:gd name="connsiteX16" fmla="*/ 2249705 w 4598452"/>
                <a:gd name="connsiteY16" fmla="*/ 5369116 h 5443046"/>
                <a:gd name="connsiteX17" fmla="*/ 1871681 w 4598452"/>
                <a:gd name="connsiteY17" fmla="*/ 5391554 h 5443046"/>
                <a:gd name="connsiteX18" fmla="*/ 1793309 w 4598452"/>
                <a:gd name="connsiteY18" fmla="*/ 5299308 h 5443046"/>
                <a:gd name="connsiteX19" fmla="*/ 1110759 w 4598452"/>
                <a:gd name="connsiteY19" fmla="*/ 5443046 h 5443046"/>
                <a:gd name="connsiteX20" fmla="*/ 760659 w 4598452"/>
                <a:gd name="connsiteY20" fmla="*/ 5054973 h 5443046"/>
                <a:gd name="connsiteX21" fmla="*/ 723779 w 4598452"/>
                <a:gd name="connsiteY21" fmla="*/ 5047494 h 5443046"/>
                <a:gd name="connsiteX22" fmla="*/ 567036 w 4598452"/>
                <a:gd name="connsiteY22" fmla="*/ 4872970 h 5443046"/>
                <a:gd name="connsiteX23" fmla="*/ 553207 w 4598452"/>
                <a:gd name="connsiteY23" fmla="*/ 4892915 h 5443046"/>
                <a:gd name="connsiteX24" fmla="*/ 527852 w 4598452"/>
                <a:gd name="connsiteY24" fmla="*/ 4860505 h 5443046"/>
                <a:gd name="connsiteX25" fmla="*/ 486361 w 4598452"/>
                <a:gd name="connsiteY25" fmla="*/ 4917848 h 5443046"/>
                <a:gd name="connsiteX26" fmla="*/ 371110 w 4598452"/>
                <a:gd name="connsiteY26" fmla="*/ 4790694 h 5443046"/>
                <a:gd name="connsiteX27" fmla="*/ 414905 w 4598452"/>
                <a:gd name="connsiteY27" fmla="*/ 4740829 h 5443046"/>
                <a:gd name="connsiteX28" fmla="*/ 182098 w 4598452"/>
                <a:gd name="connsiteY28" fmla="*/ 4491509 h 5443046"/>
                <a:gd name="connsiteX29" fmla="*/ 195928 w 4598452"/>
                <a:gd name="connsiteY29" fmla="*/ 4464085 h 5443046"/>
                <a:gd name="connsiteX30" fmla="*/ 0 w 4598452"/>
                <a:gd name="connsiteY30" fmla="*/ 4257149 h 5443046"/>
                <a:gd name="connsiteX0" fmla="*/ 0 w 4598452"/>
                <a:gd name="connsiteY0" fmla="*/ 4257149 h 5443046"/>
                <a:gd name="connsiteX1" fmla="*/ 4256383 w 4598452"/>
                <a:gd name="connsiteY1" fmla="*/ 0 h 5443046"/>
                <a:gd name="connsiteX2" fmla="*/ 4482628 w 4598452"/>
                <a:gd name="connsiteY2" fmla="*/ 188419 h 5443046"/>
                <a:gd name="connsiteX3" fmla="*/ 3591864 w 4598452"/>
                <a:gd name="connsiteY3" fmla="*/ 4921046 h 5443046"/>
                <a:gd name="connsiteX4" fmla="*/ 3395733 w 4598452"/>
                <a:gd name="connsiteY4" fmla="*/ 4352104 h 5443046"/>
                <a:gd name="connsiteX5" fmla="*/ 4492713 w 4598452"/>
                <a:gd name="connsiteY5" fmla="*/ 2061537 h 5443046"/>
                <a:gd name="connsiteX6" fmla="*/ 374339 w 4598452"/>
                <a:gd name="connsiteY6" fmla="*/ 3772890 h 5443046"/>
                <a:gd name="connsiteX7" fmla="*/ 730694 w 4598452"/>
                <a:gd name="connsiteY7" fmla="*/ 4144956 h 5443046"/>
                <a:gd name="connsiteX8" fmla="*/ 792928 w 4598452"/>
                <a:gd name="connsiteY8" fmla="*/ 4127501 h 5443046"/>
                <a:gd name="connsiteX9" fmla="*/ 896655 w 4598452"/>
                <a:gd name="connsiteY9" fmla="*/ 4242190 h 5443046"/>
                <a:gd name="connsiteX10" fmla="*/ 875910 w 4598452"/>
                <a:gd name="connsiteY10" fmla="*/ 4307013 h 5443046"/>
                <a:gd name="connsiteX11" fmla="*/ 965731 w 4598452"/>
                <a:gd name="connsiteY11" fmla="*/ 4401105 h 5443046"/>
                <a:gd name="connsiteX12" fmla="*/ 2266333 w 4598452"/>
                <a:gd name="connsiteY12" fmla="*/ 4726306 h 5443046"/>
                <a:gd name="connsiteX13" fmla="*/ 3391504 w 4598452"/>
                <a:gd name="connsiteY13" fmla="*/ 4353409 h 5443046"/>
                <a:gd name="connsiteX14" fmla="*/ 3588201 w 4598452"/>
                <a:gd name="connsiteY14" fmla="*/ 4926411 h 5443046"/>
                <a:gd name="connsiteX15" fmla="*/ 2249705 w 4598452"/>
                <a:gd name="connsiteY15" fmla="*/ 5369116 h 5443046"/>
                <a:gd name="connsiteX16" fmla="*/ 1871681 w 4598452"/>
                <a:gd name="connsiteY16" fmla="*/ 5391554 h 5443046"/>
                <a:gd name="connsiteX17" fmla="*/ 1793309 w 4598452"/>
                <a:gd name="connsiteY17" fmla="*/ 5299308 h 5443046"/>
                <a:gd name="connsiteX18" fmla="*/ 1110759 w 4598452"/>
                <a:gd name="connsiteY18" fmla="*/ 5443046 h 5443046"/>
                <a:gd name="connsiteX19" fmla="*/ 760659 w 4598452"/>
                <a:gd name="connsiteY19" fmla="*/ 5054973 h 5443046"/>
                <a:gd name="connsiteX20" fmla="*/ 723779 w 4598452"/>
                <a:gd name="connsiteY20" fmla="*/ 5047494 h 5443046"/>
                <a:gd name="connsiteX21" fmla="*/ 567036 w 4598452"/>
                <a:gd name="connsiteY21" fmla="*/ 4872970 h 5443046"/>
                <a:gd name="connsiteX22" fmla="*/ 553207 w 4598452"/>
                <a:gd name="connsiteY22" fmla="*/ 4892915 h 5443046"/>
                <a:gd name="connsiteX23" fmla="*/ 527852 w 4598452"/>
                <a:gd name="connsiteY23" fmla="*/ 4860505 h 5443046"/>
                <a:gd name="connsiteX24" fmla="*/ 486361 w 4598452"/>
                <a:gd name="connsiteY24" fmla="*/ 4917848 h 5443046"/>
                <a:gd name="connsiteX25" fmla="*/ 371110 w 4598452"/>
                <a:gd name="connsiteY25" fmla="*/ 4790694 h 5443046"/>
                <a:gd name="connsiteX26" fmla="*/ 414905 w 4598452"/>
                <a:gd name="connsiteY26" fmla="*/ 4740829 h 5443046"/>
                <a:gd name="connsiteX27" fmla="*/ 182098 w 4598452"/>
                <a:gd name="connsiteY27" fmla="*/ 4491509 h 5443046"/>
                <a:gd name="connsiteX28" fmla="*/ 195928 w 4598452"/>
                <a:gd name="connsiteY28" fmla="*/ 4464085 h 5443046"/>
                <a:gd name="connsiteX29" fmla="*/ 0 w 4598452"/>
                <a:gd name="connsiteY29" fmla="*/ 4257149 h 5443046"/>
                <a:gd name="connsiteX0" fmla="*/ 0 w 4598452"/>
                <a:gd name="connsiteY0" fmla="*/ 4257149 h 5443046"/>
                <a:gd name="connsiteX1" fmla="*/ 4256383 w 4598452"/>
                <a:gd name="connsiteY1" fmla="*/ 0 h 5443046"/>
                <a:gd name="connsiteX2" fmla="*/ 3591864 w 4598452"/>
                <a:gd name="connsiteY2" fmla="*/ 4921046 h 5443046"/>
                <a:gd name="connsiteX3" fmla="*/ 3395733 w 4598452"/>
                <a:gd name="connsiteY3" fmla="*/ 4352104 h 5443046"/>
                <a:gd name="connsiteX4" fmla="*/ 4492713 w 4598452"/>
                <a:gd name="connsiteY4" fmla="*/ 2061537 h 5443046"/>
                <a:gd name="connsiteX5" fmla="*/ 374339 w 4598452"/>
                <a:gd name="connsiteY5" fmla="*/ 3772890 h 5443046"/>
                <a:gd name="connsiteX6" fmla="*/ 730694 w 4598452"/>
                <a:gd name="connsiteY6" fmla="*/ 4144956 h 5443046"/>
                <a:gd name="connsiteX7" fmla="*/ 792928 w 4598452"/>
                <a:gd name="connsiteY7" fmla="*/ 4127501 h 5443046"/>
                <a:gd name="connsiteX8" fmla="*/ 896655 w 4598452"/>
                <a:gd name="connsiteY8" fmla="*/ 4242190 h 5443046"/>
                <a:gd name="connsiteX9" fmla="*/ 875910 w 4598452"/>
                <a:gd name="connsiteY9" fmla="*/ 4307013 h 5443046"/>
                <a:gd name="connsiteX10" fmla="*/ 965731 w 4598452"/>
                <a:gd name="connsiteY10" fmla="*/ 4401105 h 5443046"/>
                <a:gd name="connsiteX11" fmla="*/ 2266333 w 4598452"/>
                <a:gd name="connsiteY11" fmla="*/ 4726306 h 5443046"/>
                <a:gd name="connsiteX12" fmla="*/ 3391504 w 4598452"/>
                <a:gd name="connsiteY12" fmla="*/ 4353409 h 5443046"/>
                <a:gd name="connsiteX13" fmla="*/ 3588201 w 4598452"/>
                <a:gd name="connsiteY13" fmla="*/ 4926411 h 5443046"/>
                <a:gd name="connsiteX14" fmla="*/ 2249705 w 4598452"/>
                <a:gd name="connsiteY14" fmla="*/ 5369116 h 5443046"/>
                <a:gd name="connsiteX15" fmla="*/ 1871681 w 4598452"/>
                <a:gd name="connsiteY15" fmla="*/ 5391554 h 5443046"/>
                <a:gd name="connsiteX16" fmla="*/ 1793309 w 4598452"/>
                <a:gd name="connsiteY16" fmla="*/ 5299308 h 5443046"/>
                <a:gd name="connsiteX17" fmla="*/ 1110759 w 4598452"/>
                <a:gd name="connsiteY17" fmla="*/ 5443046 h 5443046"/>
                <a:gd name="connsiteX18" fmla="*/ 760659 w 4598452"/>
                <a:gd name="connsiteY18" fmla="*/ 5054973 h 5443046"/>
                <a:gd name="connsiteX19" fmla="*/ 723779 w 4598452"/>
                <a:gd name="connsiteY19" fmla="*/ 5047494 h 5443046"/>
                <a:gd name="connsiteX20" fmla="*/ 567036 w 4598452"/>
                <a:gd name="connsiteY20" fmla="*/ 4872970 h 5443046"/>
                <a:gd name="connsiteX21" fmla="*/ 553207 w 4598452"/>
                <a:gd name="connsiteY21" fmla="*/ 4892915 h 5443046"/>
                <a:gd name="connsiteX22" fmla="*/ 527852 w 4598452"/>
                <a:gd name="connsiteY22" fmla="*/ 4860505 h 5443046"/>
                <a:gd name="connsiteX23" fmla="*/ 486361 w 4598452"/>
                <a:gd name="connsiteY23" fmla="*/ 4917848 h 5443046"/>
                <a:gd name="connsiteX24" fmla="*/ 371110 w 4598452"/>
                <a:gd name="connsiteY24" fmla="*/ 4790694 h 5443046"/>
                <a:gd name="connsiteX25" fmla="*/ 414905 w 4598452"/>
                <a:gd name="connsiteY25" fmla="*/ 4740829 h 5443046"/>
                <a:gd name="connsiteX26" fmla="*/ 182098 w 4598452"/>
                <a:gd name="connsiteY26" fmla="*/ 4491509 h 5443046"/>
                <a:gd name="connsiteX27" fmla="*/ 195928 w 4598452"/>
                <a:gd name="connsiteY27" fmla="*/ 4464085 h 5443046"/>
                <a:gd name="connsiteX28" fmla="*/ 0 w 4598452"/>
                <a:gd name="connsiteY28" fmla="*/ 4257149 h 5443046"/>
                <a:gd name="connsiteX0" fmla="*/ 0 w 4598452"/>
                <a:gd name="connsiteY0" fmla="*/ 2195612 h 3381509"/>
                <a:gd name="connsiteX1" fmla="*/ 3591864 w 4598452"/>
                <a:gd name="connsiteY1" fmla="*/ 2859509 h 3381509"/>
                <a:gd name="connsiteX2" fmla="*/ 3395733 w 4598452"/>
                <a:gd name="connsiteY2" fmla="*/ 2290567 h 3381509"/>
                <a:gd name="connsiteX3" fmla="*/ 4492713 w 4598452"/>
                <a:gd name="connsiteY3" fmla="*/ 0 h 3381509"/>
                <a:gd name="connsiteX4" fmla="*/ 374339 w 4598452"/>
                <a:gd name="connsiteY4" fmla="*/ 1711353 h 3381509"/>
                <a:gd name="connsiteX5" fmla="*/ 730694 w 4598452"/>
                <a:gd name="connsiteY5" fmla="*/ 2083419 h 3381509"/>
                <a:gd name="connsiteX6" fmla="*/ 792928 w 4598452"/>
                <a:gd name="connsiteY6" fmla="*/ 2065964 h 3381509"/>
                <a:gd name="connsiteX7" fmla="*/ 896655 w 4598452"/>
                <a:gd name="connsiteY7" fmla="*/ 2180653 h 3381509"/>
                <a:gd name="connsiteX8" fmla="*/ 875910 w 4598452"/>
                <a:gd name="connsiteY8" fmla="*/ 2245476 h 3381509"/>
                <a:gd name="connsiteX9" fmla="*/ 965731 w 4598452"/>
                <a:gd name="connsiteY9" fmla="*/ 2339568 h 3381509"/>
                <a:gd name="connsiteX10" fmla="*/ 2266333 w 4598452"/>
                <a:gd name="connsiteY10" fmla="*/ 2664769 h 3381509"/>
                <a:gd name="connsiteX11" fmla="*/ 3391504 w 4598452"/>
                <a:gd name="connsiteY11" fmla="*/ 2291872 h 3381509"/>
                <a:gd name="connsiteX12" fmla="*/ 3588201 w 4598452"/>
                <a:gd name="connsiteY12" fmla="*/ 2864874 h 3381509"/>
                <a:gd name="connsiteX13" fmla="*/ 2249705 w 4598452"/>
                <a:gd name="connsiteY13" fmla="*/ 3307579 h 3381509"/>
                <a:gd name="connsiteX14" fmla="*/ 1871681 w 4598452"/>
                <a:gd name="connsiteY14" fmla="*/ 3330017 h 3381509"/>
                <a:gd name="connsiteX15" fmla="*/ 1793309 w 4598452"/>
                <a:gd name="connsiteY15" fmla="*/ 3237771 h 3381509"/>
                <a:gd name="connsiteX16" fmla="*/ 1110759 w 4598452"/>
                <a:gd name="connsiteY16" fmla="*/ 3381509 h 3381509"/>
                <a:gd name="connsiteX17" fmla="*/ 760659 w 4598452"/>
                <a:gd name="connsiteY17" fmla="*/ 2993436 h 3381509"/>
                <a:gd name="connsiteX18" fmla="*/ 723779 w 4598452"/>
                <a:gd name="connsiteY18" fmla="*/ 2985957 h 3381509"/>
                <a:gd name="connsiteX19" fmla="*/ 567036 w 4598452"/>
                <a:gd name="connsiteY19" fmla="*/ 2811433 h 3381509"/>
                <a:gd name="connsiteX20" fmla="*/ 553207 w 4598452"/>
                <a:gd name="connsiteY20" fmla="*/ 2831378 h 3381509"/>
                <a:gd name="connsiteX21" fmla="*/ 527852 w 4598452"/>
                <a:gd name="connsiteY21" fmla="*/ 2798968 h 3381509"/>
                <a:gd name="connsiteX22" fmla="*/ 486361 w 4598452"/>
                <a:gd name="connsiteY22" fmla="*/ 2856311 h 3381509"/>
                <a:gd name="connsiteX23" fmla="*/ 371110 w 4598452"/>
                <a:gd name="connsiteY23" fmla="*/ 2729157 h 3381509"/>
                <a:gd name="connsiteX24" fmla="*/ 414905 w 4598452"/>
                <a:gd name="connsiteY24" fmla="*/ 2679292 h 3381509"/>
                <a:gd name="connsiteX25" fmla="*/ 182098 w 4598452"/>
                <a:gd name="connsiteY25" fmla="*/ 2429972 h 3381509"/>
                <a:gd name="connsiteX26" fmla="*/ 195928 w 4598452"/>
                <a:gd name="connsiteY26" fmla="*/ 2402548 h 3381509"/>
                <a:gd name="connsiteX27" fmla="*/ 0 w 4598452"/>
                <a:gd name="connsiteY27" fmla="*/ 2195612 h 3381509"/>
                <a:gd name="connsiteX0" fmla="*/ 0 w 4598452"/>
                <a:gd name="connsiteY0" fmla="*/ 2195612 h 3381509"/>
                <a:gd name="connsiteX1" fmla="*/ 3591864 w 4598452"/>
                <a:gd name="connsiteY1" fmla="*/ 2859509 h 3381509"/>
                <a:gd name="connsiteX2" fmla="*/ 3395733 w 4598452"/>
                <a:gd name="connsiteY2" fmla="*/ 2290567 h 3381509"/>
                <a:gd name="connsiteX3" fmla="*/ 4492713 w 4598452"/>
                <a:gd name="connsiteY3" fmla="*/ 0 h 3381509"/>
                <a:gd name="connsiteX4" fmla="*/ 374339 w 4598452"/>
                <a:gd name="connsiteY4" fmla="*/ 1711353 h 3381509"/>
                <a:gd name="connsiteX5" fmla="*/ 730694 w 4598452"/>
                <a:gd name="connsiteY5" fmla="*/ 2083419 h 3381509"/>
                <a:gd name="connsiteX6" fmla="*/ 792928 w 4598452"/>
                <a:gd name="connsiteY6" fmla="*/ 2065964 h 3381509"/>
                <a:gd name="connsiteX7" fmla="*/ 896655 w 4598452"/>
                <a:gd name="connsiteY7" fmla="*/ 2180653 h 3381509"/>
                <a:gd name="connsiteX8" fmla="*/ 875910 w 4598452"/>
                <a:gd name="connsiteY8" fmla="*/ 2245476 h 3381509"/>
                <a:gd name="connsiteX9" fmla="*/ 965731 w 4598452"/>
                <a:gd name="connsiteY9" fmla="*/ 2339568 h 3381509"/>
                <a:gd name="connsiteX10" fmla="*/ 2266333 w 4598452"/>
                <a:gd name="connsiteY10" fmla="*/ 2664769 h 3381509"/>
                <a:gd name="connsiteX11" fmla="*/ 3400660 w 4598452"/>
                <a:gd name="connsiteY11" fmla="*/ 2331761 h 3381509"/>
                <a:gd name="connsiteX12" fmla="*/ 3588201 w 4598452"/>
                <a:gd name="connsiteY12" fmla="*/ 2864874 h 3381509"/>
                <a:gd name="connsiteX13" fmla="*/ 2249705 w 4598452"/>
                <a:gd name="connsiteY13" fmla="*/ 3307579 h 3381509"/>
                <a:gd name="connsiteX14" fmla="*/ 1871681 w 4598452"/>
                <a:gd name="connsiteY14" fmla="*/ 3330017 h 3381509"/>
                <a:gd name="connsiteX15" fmla="*/ 1793309 w 4598452"/>
                <a:gd name="connsiteY15" fmla="*/ 3237771 h 3381509"/>
                <a:gd name="connsiteX16" fmla="*/ 1110759 w 4598452"/>
                <a:gd name="connsiteY16" fmla="*/ 3381509 h 3381509"/>
                <a:gd name="connsiteX17" fmla="*/ 760659 w 4598452"/>
                <a:gd name="connsiteY17" fmla="*/ 2993436 h 3381509"/>
                <a:gd name="connsiteX18" fmla="*/ 723779 w 4598452"/>
                <a:gd name="connsiteY18" fmla="*/ 2985957 h 3381509"/>
                <a:gd name="connsiteX19" fmla="*/ 567036 w 4598452"/>
                <a:gd name="connsiteY19" fmla="*/ 2811433 h 3381509"/>
                <a:gd name="connsiteX20" fmla="*/ 553207 w 4598452"/>
                <a:gd name="connsiteY20" fmla="*/ 2831378 h 3381509"/>
                <a:gd name="connsiteX21" fmla="*/ 527852 w 4598452"/>
                <a:gd name="connsiteY21" fmla="*/ 2798968 h 3381509"/>
                <a:gd name="connsiteX22" fmla="*/ 486361 w 4598452"/>
                <a:gd name="connsiteY22" fmla="*/ 2856311 h 3381509"/>
                <a:gd name="connsiteX23" fmla="*/ 371110 w 4598452"/>
                <a:gd name="connsiteY23" fmla="*/ 2729157 h 3381509"/>
                <a:gd name="connsiteX24" fmla="*/ 414905 w 4598452"/>
                <a:gd name="connsiteY24" fmla="*/ 2679292 h 3381509"/>
                <a:gd name="connsiteX25" fmla="*/ 182098 w 4598452"/>
                <a:gd name="connsiteY25" fmla="*/ 2429972 h 3381509"/>
                <a:gd name="connsiteX26" fmla="*/ 195928 w 4598452"/>
                <a:gd name="connsiteY26" fmla="*/ 2402548 h 3381509"/>
                <a:gd name="connsiteX27" fmla="*/ 0 w 4598452"/>
                <a:gd name="connsiteY27" fmla="*/ 2195612 h 3381509"/>
                <a:gd name="connsiteX0" fmla="*/ 0 w 4492713"/>
                <a:gd name="connsiteY0" fmla="*/ 2195612 h 3381509"/>
                <a:gd name="connsiteX1" fmla="*/ 3591864 w 4492713"/>
                <a:gd name="connsiteY1" fmla="*/ 2859509 h 3381509"/>
                <a:gd name="connsiteX2" fmla="*/ 4492713 w 4492713"/>
                <a:gd name="connsiteY2" fmla="*/ 0 h 3381509"/>
                <a:gd name="connsiteX3" fmla="*/ 374339 w 4492713"/>
                <a:gd name="connsiteY3" fmla="*/ 1711353 h 3381509"/>
                <a:gd name="connsiteX4" fmla="*/ 730694 w 4492713"/>
                <a:gd name="connsiteY4" fmla="*/ 2083419 h 3381509"/>
                <a:gd name="connsiteX5" fmla="*/ 792928 w 4492713"/>
                <a:gd name="connsiteY5" fmla="*/ 2065964 h 3381509"/>
                <a:gd name="connsiteX6" fmla="*/ 896655 w 4492713"/>
                <a:gd name="connsiteY6" fmla="*/ 2180653 h 3381509"/>
                <a:gd name="connsiteX7" fmla="*/ 875910 w 4492713"/>
                <a:gd name="connsiteY7" fmla="*/ 2245476 h 3381509"/>
                <a:gd name="connsiteX8" fmla="*/ 965731 w 4492713"/>
                <a:gd name="connsiteY8" fmla="*/ 2339568 h 3381509"/>
                <a:gd name="connsiteX9" fmla="*/ 2266333 w 4492713"/>
                <a:gd name="connsiteY9" fmla="*/ 2664769 h 3381509"/>
                <a:gd name="connsiteX10" fmla="*/ 3400660 w 4492713"/>
                <a:gd name="connsiteY10" fmla="*/ 2331761 h 3381509"/>
                <a:gd name="connsiteX11" fmla="*/ 3588201 w 4492713"/>
                <a:gd name="connsiteY11" fmla="*/ 2864874 h 3381509"/>
                <a:gd name="connsiteX12" fmla="*/ 2249705 w 4492713"/>
                <a:gd name="connsiteY12" fmla="*/ 3307579 h 3381509"/>
                <a:gd name="connsiteX13" fmla="*/ 1871681 w 4492713"/>
                <a:gd name="connsiteY13" fmla="*/ 3330017 h 3381509"/>
                <a:gd name="connsiteX14" fmla="*/ 1793309 w 4492713"/>
                <a:gd name="connsiteY14" fmla="*/ 3237771 h 3381509"/>
                <a:gd name="connsiteX15" fmla="*/ 1110759 w 4492713"/>
                <a:gd name="connsiteY15" fmla="*/ 3381509 h 3381509"/>
                <a:gd name="connsiteX16" fmla="*/ 760659 w 4492713"/>
                <a:gd name="connsiteY16" fmla="*/ 2993436 h 3381509"/>
                <a:gd name="connsiteX17" fmla="*/ 723779 w 4492713"/>
                <a:gd name="connsiteY17" fmla="*/ 2985957 h 3381509"/>
                <a:gd name="connsiteX18" fmla="*/ 567036 w 4492713"/>
                <a:gd name="connsiteY18" fmla="*/ 2811433 h 3381509"/>
                <a:gd name="connsiteX19" fmla="*/ 553207 w 4492713"/>
                <a:gd name="connsiteY19" fmla="*/ 2831378 h 3381509"/>
                <a:gd name="connsiteX20" fmla="*/ 527852 w 4492713"/>
                <a:gd name="connsiteY20" fmla="*/ 2798968 h 3381509"/>
                <a:gd name="connsiteX21" fmla="*/ 486361 w 4492713"/>
                <a:gd name="connsiteY21" fmla="*/ 2856311 h 3381509"/>
                <a:gd name="connsiteX22" fmla="*/ 371110 w 4492713"/>
                <a:gd name="connsiteY22" fmla="*/ 2729157 h 3381509"/>
                <a:gd name="connsiteX23" fmla="*/ 414905 w 4492713"/>
                <a:gd name="connsiteY23" fmla="*/ 2679292 h 3381509"/>
                <a:gd name="connsiteX24" fmla="*/ 182098 w 4492713"/>
                <a:gd name="connsiteY24" fmla="*/ 2429972 h 3381509"/>
                <a:gd name="connsiteX25" fmla="*/ 195928 w 4492713"/>
                <a:gd name="connsiteY25" fmla="*/ 2402548 h 3381509"/>
                <a:gd name="connsiteX26" fmla="*/ 0 w 4492713"/>
                <a:gd name="connsiteY26" fmla="*/ 2195612 h 3381509"/>
                <a:gd name="connsiteX0" fmla="*/ 0 w 3591864"/>
                <a:gd name="connsiteY0" fmla="*/ 484259 h 1670156"/>
                <a:gd name="connsiteX1" fmla="*/ 3591864 w 3591864"/>
                <a:gd name="connsiteY1" fmla="*/ 1148156 h 1670156"/>
                <a:gd name="connsiteX2" fmla="*/ 374339 w 3591864"/>
                <a:gd name="connsiteY2" fmla="*/ 0 h 1670156"/>
                <a:gd name="connsiteX3" fmla="*/ 730694 w 3591864"/>
                <a:gd name="connsiteY3" fmla="*/ 372066 h 1670156"/>
                <a:gd name="connsiteX4" fmla="*/ 792928 w 3591864"/>
                <a:gd name="connsiteY4" fmla="*/ 354611 h 1670156"/>
                <a:gd name="connsiteX5" fmla="*/ 896655 w 3591864"/>
                <a:gd name="connsiteY5" fmla="*/ 469300 h 1670156"/>
                <a:gd name="connsiteX6" fmla="*/ 875910 w 3591864"/>
                <a:gd name="connsiteY6" fmla="*/ 534123 h 1670156"/>
                <a:gd name="connsiteX7" fmla="*/ 965731 w 3591864"/>
                <a:gd name="connsiteY7" fmla="*/ 628215 h 1670156"/>
                <a:gd name="connsiteX8" fmla="*/ 2266333 w 3591864"/>
                <a:gd name="connsiteY8" fmla="*/ 953416 h 1670156"/>
                <a:gd name="connsiteX9" fmla="*/ 3400660 w 3591864"/>
                <a:gd name="connsiteY9" fmla="*/ 620408 h 1670156"/>
                <a:gd name="connsiteX10" fmla="*/ 3588201 w 3591864"/>
                <a:gd name="connsiteY10" fmla="*/ 1153521 h 1670156"/>
                <a:gd name="connsiteX11" fmla="*/ 2249705 w 3591864"/>
                <a:gd name="connsiteY11" fmla="*/ 1596226 h 1670156"/>
                <a:gd name="connsiteX12" fmla="*/ 1871681 w 3591864"/>
                <a:gd name="connsiteY12" fmla="*/ 1618664 h 1670156"/>
                <a:gd name="connsiteX13" fmla="*/ 1793309 w 3591864"/>
                <a:gd name="connsiteY13" fmla="*/ 1526418 h 1670156"/>
                <a:gd name="connsiteX14" fmla="*/ 1110759 w 3591864"/>
                <a:gd name="connsiteY14" fmla="*/ 1670156 h 1670156"/>
                <a:gd name="connsiteX15" fmla="*/ 760659 w 3591864"/>
                <a:gd name="connsiteY15" fmla="*/ 1282083 h 1670156"/>
                <a:gd name="connsiteX16" fmla="*/ 723779 w 3591864"/>
                <a:gd name="connsiteY16" fmla="*/ 1274604 h 1670156"/>
                <a:gd name="connsiteX17" fmla="*/ 567036 w 3591864"/>
                <a:gd name="connsiteY17" fmla="*/ 1100080 h 1670156"/>
                <a:gd name="connsiteX18" fmla="*/ 553207 w 3591864"/>
                <a:gd name="connsiteY18" fmla="*/ 1120025 h 1670156"/>
                <a:gd name="connsiteX19" fmla="*/ 527852 w 3591864"/>
                <a:gd name="connsiteY19" fmla="*/ 1087615 h 1670156"/>
                <a:gd name="connsiteX20" fmla="*/ 486361 w 3591864"/>
                <a:gd name="connsiteY20" fmla="*/ 1144958 h 1670156"/>
                <a:gd name="connsiteX21" fmla="*/ 371110 w 3591864"/>
                <a:gd name="connsiteY21" fmla="*/ 1017804 h 1670156"/>
                <a:gd name="connsiteX22" fmla="*/ 414905 w 3591864"/>
                <a:gd name="connsiteY22" fmla="*/ 967939 h 1670156"/>
                <a:gd name="connsiteX23" fmla="*/ 182098 w 3591864"/>
                <a:gd name="connsiteY23" fmla="*/ 718619 h 1670156"/>
                <a:gd name="connsiteX24" fmla="*/ 195928 w 3591864"/>
                <a:gd name="connsiteY24" fmla="*/ 691195 h 1670156"/>
                <a:gd name="connsiteX25" fmla="*/ 0 w 3591864"/>
                <a:gd name="connsiteY25" fmla="*/ 484259 h 1670156"/>
                <a:gd name="connsiteX0" fmla="*/ 0 w 3591864"/>
                <a:gd name="connsiteY0" fmla="*/ 484259 h 1670156"/>
                <a:gd name="connsiteX1" fmla="*/ 3591864 w 3591864"/>
                <a:gd name="connsiteY1" fmla="*/ 1148156 h 1670156"/>
                <a:gd name="connsiteX2" fmla="*/ 374339 w 3591864"/>
                <a:gd name="connsiteY2" fmla="*/ 0 h 1670156"/>
                <a:gd name="connsiteX3" fmla="*/ 730694 w 3591864"/>
                <a:gd name="connsiteY3" fmla="*/ 372066 h 1670156"/>
                <a:gd name="connsiteX4" fmla="*/ 792928 w 3591864"/>
                <a:gd name="connsiteY4" fmla="*/ 354611 h 1670156"/>
                <a:gd name="connsiteX5" fmla="*/ 896655 w 3591864"/>
                <a:gd name="connsiteY5" fmla="*/ 469300 h 1670156"/>
                <a:gd name="connsiteX6" fmla="*/ 875910 w 3591864"/>
                <a:gd name="connsiteY6" fmla="*/ 534123 h 1670156"/>
                <a:gd name="connsiteX7" fmla="*/ 965731 w 3591864"/>
                <a:gd name="connsiteY7" fmla="*/ 628215 h 1670156"/>
                <a:gd name="connsiteX8" fmla="*/ 2266333 w 3591864"/>
                <a:gd name="connsiteY8" fmla="*/ 953416 h 1670156"/>
                <a:gd name="connsiteX9" fmla="*/ 3400660 w 3591864"/>
                <a:gd name="connsiteY9" fmla="*/ 620408 h 1670156"/>
                <a:gd name="connsiteX10" fmla="*/ 3537844 w 3591864"/>
                <a:gd name="connsiteY10" fmla="*/ 1288149 h 1670156"/>
                <a:gd name="connsiteX11" fmla="*/ 2249705 w 3591864"/>
                <a:gd name="connsiteY11" fmla="*/ 1596226 h 1670156"/>
                <a:gd name="connsiteX12" fmla="*/ 1871681 w 3591864"/>
                <a:gd name="connsiteY12" fmla="*/ 1618664 h 1670156"/>
                <a:gd name="connsiteX13" fmla="*/ 1793309 w 3591864"/>
                <a:gd name="connsiteY13" fmla="*/ 1526418 h 1670156"/>
                <a:gd name="connsiteX14" fmla="*/ 1110759 w 3591864"/>
                <a:gd name="connsiteY14" fmla="*/ 1670156 h 1670156"/>
                <a:gd name="connsiteX15" fmla="*/ 760659 w 3591864"/>
                <a:gd name="connsiteY15" fmla="*/ 1282083 h 1670156"/>
                <a:gd name="connsiteX16" fmla="*/ 723779 w 3591864"/>
                <a:gd name="connsiteY16" fmla="*/ 1274604 h 1670156"/>
                <a:gd name="connsiteX17" fmla="*/ 567036 w 3591864"/>
                <a:gd name="connsiteY17" fmla="*/ 1100080 h 1670156"/>
                <a:gd name="connsiteX18" fmla="*/ 553207 w 3591864"/>
                <a:gd name="connsiteY18" fmla="*/ 1120025 h 1670156"/>
                <a:gd name="connsiteX19" fmla="*/ 527852 w 3591864"/>
                <a:gd name="connsiteY19" fmla="*/ 1087615 h 1670156"/>
                <a:gd name="connsiteX20" fmla="*/ 486361 w 3591864"/>
                <a:gd name="connsiteY20" fmla="*/ 1144958 h 1670156"/>
                <a:gd name="connsiteX21" fmla="*/ 371110 w 3591864"/>
                <a:gd name="connsiteY21" fmla="*/ 1017804 h 1670156"/>
                <a:gd name="connsiteX22" fmla="*/ 414905 w 3591864"/>
                <a:gd name="connsiteY22" fmla="*/ 967939 h 1670156"/>
                <a:gd name="connsiteX23" fmla="*/ 182098 w 3591864"/>
                <a:gd name="connsiteY23" fmla="*/ 718619 h 1670156"/>
                <a:gd name="connsiteX24" fmla="*/ 195928 w 3591864"/>
                <a:gd name="connsiteY24" fmla="*/ 691195 h 1670156"/>
                <a:gd name="connsiteX25" fmla="*/ 0 w 3591864"/>
                <a:gd name="connsiteY25" fmla="*/ 484259 h 1670156"/>
                <a:gd name="connsiteX0" fmla="*/ 0 w 3537844"/>
                <a:gd name="connsiteY0" fmla="*/ 484259 h 1670156"/>
                <a:gd name="connsiteX1" fmla="*/ 374339 w 3537844"/>
                <a:gd name="connsiteY1" fmla="*/ 0 h 1670156"/>
                <a:gd name="connsiteX2" fmla="*/ 730694 w 3537844"/>
                <a:gd name="connsiteY2" fmla="*/ 372066 h 1670156"/>
                <a:gd name="connsiteX3" fmla="*/ 792928 w 3537844"/>
                <a:gd name="connsiteY3" fmla="*/ 354611 h 1670156"/>
                <a:gd name="connsiteX4" fmla="*/ 896655 w 3537844"/>
                <a:gd name="connsiteY4" fmla="*/ 469300 h 1670156"/>
                <a:gd name="connsiteX5" fmla="*/ 875910 w 3537844"/>
                <a:gd name="connsiteY5" fmla="*/ 534123 h 1670156"/>
                <a:gd name="connsiteX6" fmla="*/ 965731 w 3537844"/>
                <a:gd name="connsiteY6" fmla="*/ 628215 h 1670156"/>
                <a:gd name="connsiteX7" fmla="*/ 2266333 w 3537844"/>
                <a:gd name="connsiteY7" fmla="*/ 953416 h 1670156"/>
                <a:gd name="connsiteX8" fmla="*/ 3400660 w 3537844"/>
                <a:gd name="connsiteY8" fmla="*/ 620408 h 1670156"/>
                <a:gd name="connsiteX9" fmla="*/ 3537844 w 3537844"/>
                <a:gd name="connsiteY9" fmla="*/ 1288149 h 1670156"/>
                <a:gd name="connsiteX10" fmla="*/ 2249705 w 3537844"/>
                <a:gd name="connsiteY10" fmla="*/ 1596226 h 1670156"/>
                <a:gd name="connsiteX11" fmla="*/ 1871681 w 3537844"/>
                <a:gd name="connsiteY11" fmla="*/ 1618664 h 1670156"/>
                <a:gd name="connsiteX12" fmla="*/ 1793309 w 3537844"/>
                <a:gd name="connsiteY12" fmla="*/ 1526418 h 1670156"/>
                <a:gd name="connsiteX13" fmla="*/ 1110759 w 3537844"/>
                <a:gd name="connsiteY13" fmla="*/ 1670156 h 1670156"/>
                <a:gd name="connsiteX14" fmla="*/ 760659 w 3537844"/>
                <a:gd name="connsiteY14" fmla="*/ 1282083 h 1670156"/>
                <a:gd name="connsiteX15" fmla="*/ 723779 w 3537844"/>
                <a:gd name="connsiteY15" fmla="*/ 1274604 h 1670156"/>
                <a:gd name="connsiteX16" fmla="*/ 567036 w 3537844"/>
                <a:gd name="connsiteY16" fmla="*/ 1100080 h 1670156"/>
                <a:gd name="connsiteX17" fmla="*/ 553207 w 3537844"/>
                <a:gd name="connsiteY17" fmla="*/ 1120025 h 1670156"/>
                <a:gd name="connsiteX18" fmla="*/ 527852 w 3537844"/>
                <a:gd name="connsiteY18" fmla="*/ 1087615 h 1670156"/>
                <a:gd name="connsiteX19" fmla="*/ 486361 w 3537844"/>
                <a:gd name="connsiteY19" fmla="*/ 1144958 h 1670156"/>
                <a:gd name="connsiteX20" fmla="*/ 371110 w 3537844"/>
                <a:gd name="connsiteY20" fmla="*/ 1017804 h 1670156"/>
                <a:gd name="connsiteX21" fmla="*/ 414905 w 3537844"/>
                <a:gd name="connsiteY21" fmla="*/ 967939 h 1670156"/>
                <a:gd name="connsiteX22" fmla="*/ 182098 w 3537844"/>
                <a:gd name="connsiteY22" fmla="*/ 718619 h 1670156"/>
                <a:gd name="connsiteX23" fmla="*/ 195928 w 3537844"/>
                <a:gd name="connsiteY23" fmla="*/ 691195 h 1670156"/>
                <a:gd name="connsiteX24" fmla="*/ 0 w 3537844"/>
                <a:gd name="connsiteY24" fmla="*/ 484259 h 1670156"/>
                <a:gd name="connsiteX0" fmla="*/ 0 w 3592779"/>
                <a:gd name="connsiteY0" fmla="*/ 484259 h 1670156"/>
                <a:gd name="connsiteX1" fmla="*/ 374339 w 3592779"/>
                <a:gd name="connsiteY1" fmla="*/ 0 h 1670156"/>
                <a:gd name="connsiteX2" fmla="*/ 730694 w 3592779"/>
                <a:gd name="connsiteY2" fmla="*/ 372066 h 1670156"/>
                <a:gd name="connsiteX3" fmla="*/ 792928 w 3592779"/>
                <a:gd name="connsiteY3" fmla="*/ 354611 h 1670156"/>
                <a:gd name="connsiteX4" fmla="*/ 896655 w 3592779"/>
                <a:gd name="connsiteY4" fmla="*/ 469300 h 1670156"/>
                <a:gd name="connsiteX5" fmla="*/ 875910 w 3592779"/>
                <a:gd name="connsiteY5" fmla="*/ 534123 h 1670156"/>
                <a:gd name="connsiteX6" fmla="*/ 965731 w 3592779"/>
                <a:gd name="connsiteY6" fmla="*/ 628215 h 1670156"/>
                <a:gd name="connsiteX7" fmla="*/ 2266333 w 3592779"/>
                <a:gd name="connsiteY7" fmla="*/ 953416 h 1670156"/>
                <a:gd name="connsiteX8" fmla="*/ 3400660 w 3592779"/>
                <a:gd name="connsiteY8" fmla="*/ 620408 h 1670156"/>
                <a:gd name="connsiteX9" fmla="*/ 3592779 w 3592779"/>
                <a:gd name="connsiteY9" fmla="*/ 1148536 h 1670156"/>
                <a:gd name="connsiteX10" fmla="*/ 2249705 w 3592779"/>
                <a:gd name="connsiteY10" fmla="*/ 1596226 h 1670156"/>
                <a:gd name="connsiteX11" fmla="*/ 1871681 w 3592779"/>
                <a:gd name="connsiteY11" fmla="*/ 1618664 h 1670156"/>
                <a:gd name="connsiteX12" fmla="*/ 1793309 w 3592779"/>
                <a:gd name="connsiteY12" fmla="*/ 1526418 h 1670156"/>
                <a:gd name="connsiteX13" fmla="*/ 1110759 w 3592779"/>
                <a:gd name="connsiteY13" fmla="*/ 1670156 h 1670156"/>
                <a:gd name="connsiteX14" fmla="*/ 760659 w 3592779"/>
                <a:gd name="connsiteY14" fmla="*/ 1282083 h 1670156"/>
                <a:gd name="connsiteX15" fmla="*/ 723779 w 3592779"/>
                <a:gd name="connsiteY15" fmla="*/ 1274604 h 1670156"/>
                <a:gd name="connsiteX16" fmla="*/ 567036 w 3592779"/>
                <a:gd name="connsiteY16" fmla="*/ 1100080 h 1670156"/>
                <a:gd name="connsiteX17" fmla="*/ 553207 w 3592779"/>
                <a:gd name="connsiteY17" fmla="*/ 1120025 h 1670156"/>
                <a:gd name="connsiteX18" fmla="*/ 527852 w 3592779"/>
                <a:gd name="connsiteY18" fmla="*/ 1087615 h 1670156"/>
                <a:gd name="connsiteX19" fmla="*/ 486361 w 3592779"/>
                <a:gd name="connsiteY19" fmla="*/ 1144958 h 1670156"/>
                <a:gd name="connsiteX20" fmla="*/ 371110 w 3592779"/>
                <a:gd name="connsiteY20" fmla="*/ 1017804 h 1670156"/>
                <a:gd name="connsiteX21" fmla="*/ 414905 w 3592779"/>
                <a:gd name="connsiteY21" fmla="*/ 967939 h 1670156"/>
                <a:gd name="connsiteX22" fmla="*/ 182098 w 3592779"/>
                <a:gd name="connsiteY22" fmla="*/ 718619 h 1670156"/>
                <a:gd name="connsiteX23" fmla="*/ 195928 w 3592779"/>
                <a:gd name="connsiteY23" fmla="*/ 691195 h 1670156"/>
                <a:gd name="connsiteX24" fmla="*/ 0 w 3592779"/>
                <a:gd name="connsiteY24" fmla="*/ 484259 h 1670156"/>
                <a:gd name="connsiteX0" fmla="*/ 0 w 3592779"/>
                <a:gd name="connsiteY0" fmla="*/ 484259 h 1670156"/>
                <a:gd name="connsiteX1" fmla="*/ 374339 w 3592779"/>
                <a:gd name="connsiteY1" fmla="*/ 0 h 1670156"/>
                <a:gd name="connsiteX2" fmla="*/ 730694 w 3592779"/>
                <a:gd name="connsiteY2" fmla="*/ 372066 h 1670156"/>
                <a:gd name="connsiteX3" fmla="*/ 792928 w 3592779"/>
                <a:gd name="connsiteY3" fmla="*/ 354611 h 1670156"/>
                <a:gd name="connsiteX4" fmla="*/ 896655 w 3592779"/>
                <a:gd name="connsiteY4" fmla="*/ 469300 h 1670156"/>
                <a:gd name="connsiteX5" fmla="*/ 875910 w 3592779"/>
                <a:gd name="connsiteY5" fmla="*/ 534123 h 1670156"/>
                <a:gd name="connsiteX6" fmla="*/ 965731 w 3592779"/>
                <a:gd name="connsiteY6" fmla="*/ 628215 h 1670156"/>
                <a:gd name="connsiteX7" fmla="*/ 2266333 w 3592779"/>
                <a:gd name="connsiteY7" fmla="*/ 953416 h 1670156"/>
                <a:gd name="connsiteX8" fmla="*/ 3430834 w 3592779"/>
                <a:gd name="connsiteY8" fmla="*/ 574076 h 1670156"/>
                <a:gd name="connsiteX9" fmla="*/ 3592779 w 3592779"/>
                <a:gd name="connsiteY9" fmla="*/ 1148536 h 1670156"/>
                <a:gd name="connsiteX10" fmla="*/ 2249705 w 3592779"/>
                <a:gd name="connsiteY10" fmla="*/ 1596226 h 1670156"/>
                <a:gd name="connsiteX11" fmla="*/ 1871681 w 3592779"/>
                <a:gd name="connsiteY11" fmla="*/ 1618664 h 1670156"/>
                <a:gd name="connsiteX12" fmla="*/ 1793309 w 3592779"/>
                <a:gd name="connsiteY12" fmla="*/ 1526418 h 1670156"/>
                <a:gd name="connsiteX13" fmla="*/ 1110759 w 3592779"/>
                <a:gd name="connsiteY13" fmla="*/ 1670156 h 1670156"/>
                <a:gd name="connsiteX14" fmla="*/ 760659 w 3592779"/>
                <a:gd name="connsiteY14" fmla="*/ 1282083 h 1670156"/>
                <a:gd name="connsiteX15" fmla="*/ 723779 w 3592779"/>
                <a:gd name="connsiteY15" fmla="*/ 1274604 h 1670156"/>
                <a:gd name="connsiteX16" fmla="*/ 567036 w 3592779"/>
                <a:gd name="connsiteY16" fmla="*/ 1100080 h 1670156"/>
                <a:gd name="connsiteX17" fmla="*/ 553207 w 3592779"/>
                <a:gd name="connsiteY17" fmla="*/ 1120025 h 1670156"/>
                <a:gd name="connsiteX18" fmla="*/ 527852 w 3592779"/>
                <a:gd name="connsiteY18" fmla="*/ 1087615 h 1670156"/>
                <a:gd name="connsiteX19" fmla="*/ 486361 w 3592779"/>
                <a:gd name="connsiteY19" fmla="*/ 1144958 h 1670156"/>
                <a:gd name="connsiteX20" fmla="*/ 371110 w 3592779"/>
                <a:gd name="connsiteY20" fmla="*/ 1017804 h 1670156"/>
                <a:gd name="connsiteX21" fmla="*/ 414905 w 3592779"/>
                <a:gd name="connsiteY21" fmla="*/ 967939 h 1670156"/>
                <a:gd name="connsiteX22" fmla="*/ 182098 w 3592779"/>
                <a:gd name="connsiteY22" fmla="*/ 718619 h 1670156"/>
                <a:gd name="connsiteX23" fmla="*/ 195928 w 3592779"/>
                <a:gd name="connsiteY23" fmla="*/ 691195 h 1670156"/>
                <a:gd name="connsiteX24" fmla="*/ 0 w 3592779"/>
                <a:gd name="connsiteY24" fmla="*/ 484259 h 1670156"/>
                <a:gd name="connsiteX0" fmla="*/ 0 w 3618643"/>
                <a:gd name="connsiteY0" fmla="*/ 484259 h 1670156"/>
                <a:gd name="connsiteX1" fmla="*/ 374339 w 3618643"/>
                <a:gd name="connsiteY1" fmla="*/ 0 h 1670156"/>
                <a:gd name="connsiteX2" fmla="*/ 730694 w 3618643"/>
                <a:gd name="connsiteY2" fmla="*/ 372066 h 1670156"/>
                <a:gd name="connsiteX3" fmla="*/ 792928 w 3618643"/>
                <a:gd name="connsiteY3" fmla="*/ 354611 h 1670156"/>
                <a:gd name="connsiteX4" fmla="*/ 896655 w 3618643"/>
                <a:gd name="connsiteY4" fmla="*/ 469300 h 1670156"/>
                <a:gd name="connsiteX5" fmla="*/ 875910 w 3618643"/>
                <a:gd name="connsiteY5" fmla="*/ 534123 h 1670156"/>
                <a:gd name="connsiteX6" fmla="*/ 965731 w 3618643"/>
                <a:gd name="connsiteY6" fmla="*/ 628215 h 1670156"/>
                <a:gd name="connsiteX7" fmla="*/ 2266333 w 3618643"/>
                <a:gd name="connsiteY7" fmla="*/ 953416 h 1670156"/>
                <a:gd name="connsiteX8" fmla="*/ 3430834 w 3618643"/>
                <a:gd name="connsiteY8" fmla="*/ 574076 h 1670156"/>
                <a:gd name="connsiteX9" fmla="*/ 3618643 w 3618643"/>
                <a:gd name="connsiteY9" fmla="*/ 1134636 h 1670156"/>
                <a:gd name="connsiteX10" fmla="*/ 2249705 w 3618643"/>
                <a:gd name="connsiteY10" fmla="*/ 1596226 h 1670156"/>
                <a:gd name="connsiteX11" fmla="*/ 1871681 w 3618643"/>
                <a:gd name="connsiteY11" fmla="*/ 1618664 h 1670156"/>
                <a:gd name="connsiteX12" fmla="*/ 1793309 w 3618643"/>
                <a:gd name="connsiteY12" fmla="*/ 1526418 h 1670156"/>
                <a:gd name="connsiteX13" fmla="*/ 1110759 w 3618643"/>
                <a:gd name="connsiteY13" fmla="*/ 1670156 h 1670156"/>
                <a:gd name="connsiteX14" fmla="*/ 760659 w 3618643"/>
                <a:gd name="connsiteY14" fmla="*/ 1282083 h 1670156"/>
                <a:gd name="connsiteX15" fmla="*/ 723779 w 3618643"/>
                <a:gd name="connsiteY15" fmla="*/ 1274604 h 1670156"/>
                <a:gd name="connsiteX16" fmla="*/ 567036 w 3618643"/>
                <a:gd name="connsiteY16" fmla="*/ 1100080 h 1670156"/>
                <a:gd name="connsiteX17" fmla="*/ 553207 w 3618643"/>
                <a:gd name="connsiteY17" fmla="*/ 1120025 h 1670156"/>
                <a:gd name="connsiteX18" fmla="*/ 527852 w 3618643"/>
                <a:gd name="connsiteY18" fmla="*/ 1087615 h 1670156"/>
                <a:gd name="connsiteX19" fmla="*/ 486361 w 3618643"/>
                <a:gd name="connsiteY19" fmla="*/ 1144958 h 1670156"/>
                <a:gd name="connsiteX20" fmla="*/ 371110 w 3618643"/>
                <a:gd name="connsiteY20" fmla="*/ 1017804 h 1670156"/>
                <a:gd name="connsiteX21" fmla="*/ 414905 w 3618643"/>
                <a:gd name="connsiteY21" fmla="*/ 967939 h 1670156"/>
                <a:gd name="connsiteX22" fmla="*/ 182098 w 3618643"/>
                <a:gd name="connsiteY22" fmla="*/ 718619 h 1670156"/>
                <a:gd name="connsiteX23" fmla="*/ 195928 w 3618643"/>
                <a:gd name="connsiteY23" fmla="*/ 691195 h 1670156"/>
                <a:gd name="connsiteX24" fmla="*/ 0 w 3618643"/>
                <a:gd name="connsiteY24" fmla="*/ 484259 h 1670156"/>
                <a:gd name="connsiteX0" fmla="*/ 0 w 3618643"/>
                <a:gd name="connsiteY0" fmla="*/ 770751 h 1956648"/>
                <a:gd name="connsiteX1" fmla="*/ 108027 w 3618643"/>
                <a:gd name="connsiteY1" fmla="*/ 0 h 1956648"/>
                <a:gd name="connsiteX2" fmla="*/ 730694 w 3618643"/>
                <a:gd name="connsiteY2" fmla="*/ 658558 h 1956648"/>
                <a:gd name="connsiteX3" fmla="*/ 792928 w 3618643"/>
                <a:gd name="connsiteY3" fmla="*/ 641103 h 1956648"/>
                <a:gd name="connsiteX4" fmla="*/ 896655 w 3618643"/>
                <a:gd name="connsiteY4" fmla="*/ 755792 h 1956648"/>
                <a:gd name="connsiteX5" fmla="*/ 875910 w 3618643"/>
                <a:gd name="connsiteY5" fmla="*/ 820615 h 1956648"/>
                <a:gd name="connsiteX6" fmla="*/ 965731 w 3618643"/>
                <a:gd name="connsiteY6" fmla="*/ 914707 h 1956648"/>
                <a:gd name="connsiteX7" fmla="*/ 2266333 w 3618643"/>
                <a:gd name="connsiteY7" fmla="*/ 1239908 h 1956648"/>
                <a:gd name="connsiteX8" fmla="*/ 3430834 w 3618643"/>
                <a:gd name="connsiteY8" fmla="*/ 860568 h 1956648"/>
                <a:gd name="connsiteX9" fmla="*/ 3618643 w 3618643"/>
                <a:gd name="connsiteY9" fmla="*/ 1421128 h 1956648"/>
                <a:gd name="connsiteX10" fmla="*/ 2249705 w 3618643"/>
                <a:gd name="connsiteY10" fmla="*/ 1882718 h 1956648"/>
                <a:gd name="connsiteX11" fmla="*/ 1871681 w 3618643"/>
                <a:gd name="connsiteY11" fmla="*/ 1905156 h 1956648"/>
                <a:gd name="connsiteX12" fmla="*/ 1793309 w 3618643"/>
                <a:gd name="connsiteY12" fmla="*/ 1812910 h 1956648"/>
                <a:gd name="connsiteX13" fmla="*/ 1110759 w 3618643"/>
                <a:gd name="connsiteY13" fmla="*/ 1956648 h 1956648"/>
                <a:gd name="connsiteX14" fmla="*/ 760659 w 3618643"/>
                <a:gd name="connsiteY14" fmla="*/ 1568575 h 1956648"/>
                <a:gd name="connsiteX15" fmla="*/ 723779 w 3618643"/>
                <a:gd name="connsiteY15" fmla="*/ 1561096 h 1956648"/>
                <a:gd name="connsiteX16" fmla="*/ 567036 w 3618643"/>
                <a:gd name="connsiteY16" fmla="*/ 1386572 h 1956648"/>
                <a:gd name="connsiteX17" fmla="*/ 553207 w 3618643"/>
                <a:gd name="connsiteY17" fmla="*/ 1406517 h 1956648"/>
                <a:gd name="connsiteX18" fmla="*/ 527852 w 3618643"/>
                <a:gd name="connsiteY18" fmla="*/ 1374107 h 1956648"/>
                <a:gd name="connsiteX19" fmla="*/ 486361 w 3618643"/>
                <a:gd name="connsiteY19" fmla="*/ 1431450 h 1956648"/>
                <a:gd name="connsiteX20" fmla="*/ 371110 w 3618643"/>
                <a:gd name="connsiteY20" fmla="*/ 1304296 h 1956648"/>
                <a:gd name="connsiteX21" fmla="*/ 414905 w 3618643"/>
                <a:gd name="connsiteY21" fmla="*/ 1254431 h 1956648"/>
                <a:gd name="connsiteX22" fmla="*/ 182098 w 3618643"/>
                <a:gd name="connsiteY22" fmla="*/ 1005111 h 1956648"/>
                <a:gd name="connsiteX23" fmla="*/ 195928 w 3618643"/>
                <a:gd name="connsiteY23" fmla="*/ 977687 h 1956648"/>
                <a:gd name="connsiteX24" fmla="*/ 0 w 3618643"/>
                <a:gd name="connsiteY24" fmla="*/ 770751 h 1956648"/>
                <a:gd name="connsiteX0" fmla="*/ 0 w 3618643"/>
                <a:gd name="connsiteY0" fmla="*/ 770751 h 1956648"/>
                <a:gd name="connsiteX1" fmla="*/ 57310 w 3618643"/>
                <a:gd name="connsiteY1" fmla="*/ 437046 h 1956648"/>
                <a:gd name="connsiteX2" fmla="*/ 108027 w 3618643"/>
                <a:gd name="connsiteY2" fmla="*/ 0 h 1956648"/>
                <a:gd name="connsiteX3" fmla="*/ 730694 w 3618643"/>
                <a:gd name="connsiteY3" fmla="*/ 658558 h 1956648"/>
                <a:gd name="connsiteX4" fmla="*/ 792928 w 3618643"/>
                <a:gd name="connsiteY4" fmla="*/ 641103 h 1956648"/>
                <a:gd name="connsiteX5" fmla="*/ 896655 w 3618643"/>
                <a:gd name="connsiteY5" fmla="*/ 755792 h 1956648"/>
                <a:gd name="connsiteX6" fmla="*/ 875910 w 3618643"/>
                <a:gd name="connsiteY6" fmla="*/ 820615 h 1956648"/>
                <a:gd name="connsiteX7" fmla="*/ 965731 w 3618643"/>
                <a:gd name="connsiteY7" fmla="*/ 914707 h 1956648"/>
                <a:gd name="connsiteX8" fmla="*/ 2266333 w 3618643"/>
                <a:gd name="connsiteY8" fmla="*/ 1239908 h 1956648"/>
                <a:gd name="connsiteX9" fmla="*/ 3430834 w 3618643"/>
                <a:gd name="connsiteY9" fmla="*/ 860568 h 1956648"/>
                <a:gd name="connsiteX10" fmla="*/ 3618643 w 3618643"/>
                <a:gd name="connsiteY10" fmla="*/ 1421128 h 1956648"/>
                <a:gd name="connsiteX11" fmla="*/ 2249705 w 3618643"/>
                <a:gd name="connsiteY11" fmla="*/ 1882718 h 1956648"/>
                <a:gd name="connsiteX12" fmla="*/ 1871681 w 3618643"/>
                <a:gd name="connsiteY12" fmla="*/ 1905156 h 1956648"/>
                <a:gd name="connsiteX13" fmla="*/ 1793309 w 3618643"/>
                <a:gd name="connsiteY13" fmla="*/ 1812910 h 1956648"/>
                <a:gd name="connsiteX14" fmla="*/ 1110759 w 3618643"/>
                <a:gd name="connsiteY14" fmla="*/ 1956648 h 1956648"/>
                <a:gd name="connsiteX15" fmla="*/ 760659 w 3618643"/>
                <a:gd name="connsiteY15" fmla="*/ 1568575 h 1956648"/>
                <a:gd name="connsiteX16" fmla="*/ 723779 w 3618643"/>
                <a:gd name="connsiteY16" fmla="*/ 1561096 h 1956648"/>
                <a:gd name="connsiteX17" fmla="*/ 567036 w 3618643"/>
                <a:gd name="connsiteY17" fmla="*/ 1386572 h 1956648"/>
                <a:gd name="connsiteX18" fmla="*/ 553207 w 3618643"/>
                <a:gd name="connsiteY18" fmla="*/ 1406517 h 1956648"/>
                <a:gd name="connsiteX19" fmla="*/ 527852 w 3618643"/>
                <a:gd name="connsiteY19" fmla="*/ 1374107 h 1956648"/>
                <a:gd name="connsiteX20" fmla="*/ 486361 w 3618643"/>
                <a:gd name="connsiteY20" fmla="*/ 1431450 h 1956648"/>
                <a:gd name="connsiteX21" fmla="*/ 371110 w 3618643"/>
                <a:gd name="connsiteY21" fmla="*/ 1304296 h 1956648"/>
                <a:gd name="connsiteX22" fmla="*/ 414905 w 3618643"/>
                <a:gd name="connsiteY22" fmla="*/ 1254431 h 1956648"/>
                <a:gd name="connsiteX23" fmla="*/ 182098 w 3618643"/>
                <a:gd name="connsiteY23" fmla="*/ 1005111 h 1956648"/>
                <a:gd name="connsiteX24" fmla="*/ 195928 w 3618643"/>
                <a:gd name="connsiteY24" fmla="*/ 977687 h 1956648"/>
                <a:gd name="connsiteX25" fmla="*/ 0 w 3618643"/>
                <a:gd name="connsiteY25" fmla="*/ 770751 h 1956648"/>
                <a:gd name="connsiteX0" fmla="*/ 405841 w 4024484"/>
                <a:gd name="connsiteY0" fmla="*/ 770751 h 1956648"/>
                <a:gd name="connsiteX1" fmla="*/ 0 w 4024484"/>
                <a:gd name="connsiteY1" fmla="*/ 542925 h 1956648"/>
                <a:gd name="connsiteX2" fmla="*/ 513868 w 4024484"/>
                <a:gd name="connsiteY2" fmla="*/ 0 h 1956648"/>
                <a:gd name="connsiteX3" fmla="*/ 1136535 w 4024484"/>
                <a:gd name="connsiteY3" fmla="*/ 658558 h 1956648"/>
                <a:gd name="connsiteX4" fmla="*/ 1198769 w 4024484"/>
                <a:gd name="connsiteY4" fmla="*/ 641103 h 1956648"/>
                <a:gd name="connsiteX5" fmla="*/ 1302496 w 4024484"/>
                <a:gd name="connsiteY5" fmla="*/ 755792 h 1956648"/>
                <a:gd name="connsiteX6" fmla="*/ 1281751 w 4024484"/>
                <a:gd name="connsiteY6" fmla="*/ 820615 h 1956648"/>
                <a:gd name="connsiteX7" fmla="*/ 1371572 w 4024484"/>
                <a:gd name="connsiteY7" fmla="*/ 914707 h 1956648"/>
                <a:gd name="connsiteX8" fmla="*/ 2672174 w 4024484"/>
                <a:gd name="connsiteY8" fmla="*/ 1239908 h 1956648"/>
                <a:gd name="connsiteX9" fmla="*/ 3836675 w 4024484"/>
                <a:gd name="connsiteY9" fmla="*/ 860568 h 1956648"/>
                <a:gd name="connsiteX10" fmla="*/ 4024484 w 4024484"/>
                <a:gd name="connsiteY10" fmla="*/ 1421128 h 1956648"/>
                <a:gd name="connsiteX11" fmla="*/ 2655546 w 4024484"/>
                <a:gd name="connsiteY11" fmla="*/ 1882718 h 1956648"/>
                <a:gd name="connsiteX12" fmla="*/ 2277522 w 4024484"/>
                <a:gd name="connsiteY12" fmla="*/ 1905156 h 1956648"/>
                <a:gd name="connsiteX13" fmla="*/ 2199150 w 4024484"/>
                <a:gd name="connsiteY13" fmla="*/ 1812910 h 1956648"/>
                <a:gd name="connsiteX14" fmla="*/ 1516600 w 4024484"/>
                <a:gd name="connsiteY14" fmla="*/ 1956648 h 1956648"/>
                <a:gd name="connsiteX15" fmla="*/ 1166500 w 4024484"/>
                <a:gd name="connsiteY15" fmla="*/ 1568575 h 1956648"/>
                <a:gd name="connsiteX16" fmla="*/ 1129620 w 4024484"/>
                <a:gd name="connsiteY16" fmla="*/ 1561096 h 1956648"/>
                <a:gd name="connsiteX17" fmla="*/ 972877 w 4024484"/>
                <a:gd name="connsiteY17" fmla="*/ 1386572 h 1956648"/>
                <a:gd name="connsiteX18" fmla="*/ 959048 w 4024484"/>
                <a:gd name="connsiteY18" fmla="*/ 1406517 h 1956648"/>
                <a:gd name="connsiteX19" fmla="*/ 933693 w 4024484"/>
                <a:gd name="connsiteY19" fmla="*/ 1374107 h 1956648"/>
                <a:gd name="connsiteX20" fmla="*/ 892202 w 4024484"/>
                <a:gd name="connsiteY20" fmla="*/ 1431450 h 1956648"/>
                <a:gd name="connsiteX21" fmla="*/ 776951 w 4024484"/>
                <a:gd name="connsiteY21" fmla="*/ 1304296 h 1956648"/>
                <a:gd name="connsiteX22" fmla="*/ 820746 w 4024484"/>
                <a:gd name="connsiteY22" fmla="*/ 1254431 h 1956648"/>
                <a:gd name="connsiteX23" fmla="*/ 587939 w 4024484"/>
                <a:gd name="connsiteY23" fmla="*/ 1005111 h 1956648"/>
                <a:gd name="connsiteX24" fmla="*/ 601769 w 4024484"/>
                <a:gd name="connsiteY24" fmla="*/ 977687 h 1956648"/>
                <a:gd name="connsiteX25" fmla="*/ 405841 w 4024484"/>
                <a:gd name="connsiteY25" fmla="*/ 770751 h 1956648"/>
                <a:gd name="connsiteX0" fmla="*/ 405841 w 4024484"/>
                <a:gd name="connsiteY0" fmla="*/ 770751 h 1956648"/>
                <a:gd name="connsiteX1" fmla="*/ 237365 w 4024484"/>
                <a:gd name="connsiteY1" fmla="*/ 679943 h 1956648"/>
                <a:gd name="connsiteX2" fmla="*/ 0 w 4024484"/>
                <a:gd name="connsiteY2" fmla="*/ 542925 h 1956648"/>
                <a:gd name="connsiteX3" fmla="*/ 513868 w 4024484"/>
                <a:gd name="connsiteY3" fmla="*/ 0 h 1956648"/>
                <a:gd name="connsiteX4" fmla="*/ 1136535 w 4024484"/>
                <a:gd name="connsiteY4" fmla="*/ 658558 h 1956648"/>
                <a:gd name="connsiteX5" fmla="*/ 1198769 w 4024484"/>
                <a:gd name="connsiteY5" fmla="*/ 641103 h 1956648"/>
                <a:gd name="connsiteX6" fmla="*/ 1302496 w 4024484"/>
                <a:gd name="connsiteY6" fmla="*/ 755792 h 1956648"/>
                <a:gd name="connsiteX7" fmla="*/ 1281751 w 4024484"/>
                <a:gd name="connsiteY7" fmla="*/ 820615 h 1956648"/>
                <a:gd name="connsiteX8" fmla="*/ 1371572 w 4024484"/>
                <a:gd name="connsiteY8" fmla="*/ 914707 h 1956648"/>
                <a:gd name="connsiteX9" fmla="*/ 2672174 w 4024484"/>
                <a:gd name="connsiteY9" fmla="*/ 1239908 h 1956648"/>
                <a:gd name="connsiteX10" fmla="*/ 3836675 w 4024484"/>
                <a:gd name="connsiteY10" fmla="*/ 860568 h 1956648"/>
                <a:gd name="connsiteX11" fmla="*/ 4024484 w 4024484"/>
                <a:gd name="connsiteY11" fmla="*/ 1421128 h 1956648"/>
                <a:gd name="connsiteX12" fmla="*/ 2655546 w 4024484"/>
                <a:gd name="connsiteY12" fmla="*/ 1882718 h 1956648"/>
                <a:gd name="connsiteX13" fmla="*/ 2277522 w 4024484"/>
                <a:gd name="connsiteY13" fmla="*/ 1905156 h 1956648"/>
                <a:gd name="connsiteX14" fmla="*/ 2199150 w 4024484"/>
                <a:gd name="connsiteY14" fmla="*/ 1812910 h 1956648"/>
                <a:gd name="connsiteX15" fmla="*/ 1516600 w 4024484"/>
                <a:gd name="connsiteY15" fmla="*/ 1956648 h 1956648"/>
                <a:gd name="connsiteX16" fmla="*/ 1166500 w 4024484"/>
                <a:gd name="connsiteY16" fmla="*/ 1568575 h 1956648"/>
                <a:gd name="connsiteX17" fmla="*/ 1129620 w 4024484"/>
                <a:gd name="connsiteY17" fmla="*/ 1561096 h 1956648"/>
                <a:gd name="connsiteX18" fmla="*/ 972877 w 4024484"/>
                <a:gd name="connsiteY18" fmla="*/ 1386572 h 1956648"/>
                <a:gd name="connsiteX19" fmla="*/ 959048 w 4024484"/>
                <a:gd name="connsiteY19" fmla="*/ 1406517 h 1956648"/>
                <a:gd name="connsiteX20" fmla="*/ 933693 w 4024484"/>
                <a:gd name="connsiteY20" fmla="*/ 1374107 h 1956648"/>
                <a:gd name="connsiteX21" fmla="*/ 892202 w 4024484"/>
                <a:gd name="connsiteY21" fmla="*/ 1431450 h 1956648"/>
                <a:gd name="connsiteX22" fmla="*/ 776951 w 4024484"/>
                <a:gd name="connsiteY22" fmla="*/ 1304296 h 1956648"/>
                <a:gd name="connsiteX23" fmla="*/ 820746 w 4024484"/>
                <a:gd name="connsiteY23" fmla="*/ 1254431 h 1956648"/>
                <a:gd name="connsiteX24" fmla="*/ 587939 w 4024484"/>
                <a:gd name="connsiteY24" fmla="*/ 1005111 h 1956648"/>
                <a:gd name="connsiteX25" fmla="*/ 601769 w 4024484"/>
                <a:gd name="connsiteY25" fmla="*/ 977687 h 1956648"/>
                <a:gd name="connsiteX26" fmla="*/ 405841 w 4024484"/>
                <a:gd name="connsiteY26" fmla="*/ 770751 h 1956648"/>
                <a:gd name="connsiteX0" fmla="*/ 405841 w 4024484"/>
                <a:gd name="connsiteY0" fmla="*/ 770751 h 1956648"/>
                <a:gd name="connsiteX1" fmla="*/ 312627 w 4024484"/>
                <a:gd name="connsiteY1" fmla="*/ 866787 h 1956648"/>
                <a:gd name="connsiteX2" fmla="*/ 0 w 4024484"/>
                <a:gd name="connsiteY2" fmla="*/ 542925 h 1956648"/>
                <a:gd name="connsiteX3" fmla="*/ 513868 w 4024484"/>
                <a:gd name="connsiteY3" fmla="*/ 0 h 1956648"/>
                <a:gd name="connsiteX4" fmla="*/ 1136535 w 4024484"/>
                <a:gd name="connsiteY4" fmla="*/ 658558 h 1956648"/>
                <a:gd name="connsiteX5" fmla="*/ 1198769 w 4024484"/>
                <a:gd name="connsiteY5" fmla="*/ 641103 h 1956648"/>
                <a:gd name="connsiteX6" fmla="*/ 1302496 w 4024484"/>
                <a:gd name="connsiteY6" fmla="*/ 755792 h 1956648"/>
                <a:gd name="connsiteX7" fmla="*/ 1281751 w 4024484"/>
                <a:gd name="connsiteY7" fmla="*/ 820615 h 1956648"/>
                <a:gd name="connsiteX8" fmla="*/ 1371572 w 4024484"/>
                <a:gd name="connsiteY8" fmla="*/ 914707 h 1956648"/>
                <a:gd name="connsiteX9" fmla="*/ 2672174 w 4024484"/>
                <a:gd name="connsiteY9" fmla="*/ 1239908 h 1956648"/>
                <a:gd name="connsiteX10" fmla="*/ 3836675 w 4024484"/>
                <a:gd name="connsiteY10" fmla="*/ 860568 h 1956648"/>
                <a:gd name="connsiteX11" fmla="*/ 4024484 w 4024484"/>
                <a:gd name="connsiteY11" fmla="*/ 1421128 h 1956648"/>
                <a:gd name="connsiteX12" fmla="*/ 2655546 w 4024484"/>
                <a:gd name="connsiteY12" fmla="*/ 1882718 h 1956648"/>
                <a:gd name="connsiteX13" fmla="*/ 2277522 w 4024484"/>
                <a:gd name="connsiteY13" fmla="*/ 1905156 h 1956648"/>
                <a:gd name="connsiteX14" fmla="*/ 2199150 w 4024484"/>
                <a:gd name="connsiteY14" fmla="*/ 1812910 h 1956648"/>
                <a:gd name="connsiteX15" fmla="*/ 1516600 w 4024484"/>
                <a:gd name="connsiteY15" fmla="*/ 1956648 h 1956648"/>
                <a:gd name="connsiteX16" fmla="*/ 1166500 w 4024484"/>
                <a:gd name="connsiteY16" fmla="*/ 1568575 h 1956648"/>
                <a:gd name="connsiteX17" fmla="*/ 1129620 w 4024484"/>
                <a:gd name="connsiteY17" fmla="*/ 1561096 h 1956648"/>
                <a:gd name="connsiteX18" fmla="*/ 972877 w 4024484"/>
                <a:gd name="connsiteY18" fmla="*/ 1386572 h 1956648"/>
                <a:gd name="connsiteX19" fmla="*/ 959048 w 4024484"/>
                <a:gd name="connsiteY19" fmla="*/ 1406517 h 1956648"/>
                <a:gd name="connsiteX20" fmla="*/ 933693 w 4024484"/>
                <a:gd name="connsiteY20" fmla="*/ 1374107 h 1956648"/>
                <a:gd name="connsiteX21" fmla="*/ 892202 w 4024484"/>
                <a:gd name="connsiteY21" fmla="*/ 1431450 h 1956648"/>
                <a:gd name="connsiteX22" fmla="*/ 776951 w 4024484"/>
                <a:gd name="connsiteY22" fmla="*/ 1304296 h 1956648"/>
                <a:gd name="connsiteX23" fmla="*/ 820746 w 4024484"/>
                <a:gd name="connsiteY23" fmla="*/ 1254431 h 1956648"/>
                <a:gd name="connsiteX24" fmla="*/ 587939 w 4024484"/>
                <a:gd name="connsiteY24" fmla="*/ 1005111 h 1956648"/>
                <a:gd name="connsiteX25" fmla="*/ 601769 w 4024484"/>
                <a:gd name="connsiteY25" fmla="*/ 977687 h 1956648"/>
                <a:gd name="connsiteX26" fmla="*/ 405841 w 4024484"/>
                <a:gd name="connsiteY26" fmla="*/ 770751 h 1956648"/>
                <a:gd name="connsiteX0" fmla="*/ 405841 w 4024484"/>
                <a:gd name="connsiteY0" fmla="*/ 770751 h 1986798"/>
                <a:gd name="connsiteX1" fmla="*/ 312627 w 4024484"/>
                <a:gd name="connsiteY1" fmla="*/ 866787 h 1986798"/>
                <a:gd name="connsiteX2" fmla="*/ 0 w 4024484"/>
                <a:gd name="connsiteY2" fmla="*/ 542925 h 1986798"/>
                <a:gd name="connsiteX3" fmla="*/ 513868 w 4024484"/>
                <a:gd name="connsiteY3" fmla="*/ 0 h 1986798"/>
                <a:gd name="connsiteX4" fmla="*/ 1136535 w 4024484"/>
                <a:gd name="connsiteY4" fmla="*/ 658558 h 1986798"/>
                <a:gd name="connsiteX5" fmla="*/ 1198769 w 4024484"/>
                <a:gd name="connsiteY5" fmla="*/ 641103 h 1986798"/>
                <a:gd name="connsiteX6" fmla="*/ 1302496 w 4024484"/>
                <a:gd name="connsiteY6" fmla="*/ 755792 h 1986798"/>
                <a:gd name="connsiteX7" fmla="*/ 1281751 w 4024484"/>
                <a:gd name="connsiteY7" fmla="*/ 820615 h 1986798"/>
                <a:gd name="connsiteX8" fmla="*/ 1371572 w 4024484"/>
                <a:gd name="connsiteY8" fmla="*/ 914707 h 1986798"/>
                <a:gd name="connsiteX9" fmla="*/ 2672174 w 4024484"/>
                <a:gd name="connsiteY9" fmla="*/ 1239908 h 1986798"/>
                <a:gd name="connsiteX10" fmla="*/ 3836675 w 4024484"/>
                <a:gd name="connsiteY10" fmla="*/ 860568 h 1986798"/>
                <a:gd name="connsiteX11" fmla="*/ 4024484 w 4024484"/>
                <a:gd name="connsiteY11" fmla="*/ 1421128 h 1986798"/>
                <a:gd name="connsiteX12" fmla="*/ 2655546 w 4024484"/>
                <a:gd name="connsiteY12" fmla="*/ 1882718 h 1986798"/>
                <a:gd name="connsiteX13" fmla="*/ 2277522 w 4024484"/>
                <a:gd name="connsiteY13" fmla="*/ 1905156 h 1986798"/>
                <a:gd name="connsiteX14" fmla="*/ 2199150 w 4024484"/>
                <a:gd name="connsiteY14" fmla="*/ 1812910 h 1986798"/>
                <a:gd name="connsiteX15" fmla="*/ 1526018 w 4024484"/>
                <a:gd name="connsiteY15" fmla="*/ 1986798 h 1986798"/>
                <a:gd name="connsiteX16" fmla="*/ 1166500 w 4024484"/>
                <a:gd name="connsiteY16" fmla="*/ 1568575 h 1986798"/>
                <a:gd name="connsiteX17" fmla="*/ 1129620 w 4024484"/>
                <a:gd name="connsiteY17" fmla="*/ 1561096 h 1986798"/>
                <a:gd name="connsiteX18" fmla="*/ 972877 w 4024484"/>
                <a:gd name="connsiteY18" fmla="*/ 1386572 h 1986798"/>
                <a:gd name="connsiteX19" fmla="*/ 959048 w 4024484"/>
                <a:gd name="connsiteY19" fmla="*/ 1406517 h 1986798"/>
                <a:gd name="connsiteX20" fmla="*/ 933693 w 4024484"/>
                <a:gd name="connsiteY20" fmla="*/ 1374107 h 1986798"/>
                <a:gd name="connsiteX21" fmla="*/ 892202 w 4024484"/>
                <a:gd name="connsiteY21" fmla="*/ 1431450 h 1986798"/>
                <a:gd name="connsiteX22" fmla="*/ 776951 w 4024484"/>
                <a:gd name="connsiteY22" fmla="*/ 1304296 h 1986798"/>
                <a:gd name="connsiteX23" fmla="*/ 820746 w 4024484"/>
                <a:gd name="connsiteY23" fmla="*/ 1254431 h 1986798"/>
                <a:gd name="connsiteX24" fmla="*/ 587939 w 4024484"/>
                <a:gd name="connsiteY24" fmla="*/ 1005111 h 1986798"/>
                <a:gd name="connsiteX25" fmla="*/ 601769 w 4024484"/>
                <a:gd name="connsiteY25" fmla="*/ 977687 h 1986798"/>
                <a:gd name="connsiteX26" fmla="*/ 405841 w 4024484"/>
                <a:gd name="connsiteY26" fmla="*/ 770751 h 1986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024484" h="1986798">
                  <a:moveTo>
                    <a:pt x="405841" y="770751"/>
                  </a:moveTo>
                  <a:lnTo>
                    <a:pt x="312627" y="866787"/>
                  </a:lnTo>
                  <a:lnTo>
                    <a:pt x="0" y="542925"/>
                  </a:lnTo>
                  <a:lnTo>
                    <a:pt x="513868" y="0"/>
                  </a:lnTo>
                  <a:lnTo>
                    <a:pt x="1136535" y="658558"/>
                  </a:lnTo>
                  <a:lnTo>
                    <a:pt x="1198769" y="641103"/>
                  </a:lnTo>
                  <a:lnTo>
                    <a:pt x="1302496" y="755792"/>
                  </a:lnTo>
                  <a:lnTo>
                    <a:pt x="1281751" y="820615"/>
                  </a:lnTo>
                  <a:lnTo>
                    <a:pt x="1371572" y="914707"/>
                  </a:lnTo>
                  <a:cubicBezTo>
                    <a:pt x="1648551" y="1218229"/>
                    <a:pt x="2098143" y="1361316"/>
                    <a:pt x="2672174" y="1239908"/>
                  </a:cubicBezTo>
                  <a:lnTo>
                    <a:pt x="3836675" y="860568"/>
                  </a:lnTo>
                  <a:lnTo>
                    <a:pt x="4024484" y="1421128"/>
                  </a:lnTo>
                  <a:lnTo>
                    <a:pt x="2655546" y="1882718"/>
                  </a:lnTo>
                  <a:lnTo>
                    <a:pt x="2277522" y="1905156"/>
                  </a:lnTo>
                  <a:lnTo>
                    <a:pt x="2199150" y="1812910"/>
                  </a:lnTo>
                  <a:lnTo>
                    <a:pt x="1526018" y="1986798"/>
                  </a:lnTo>
                  <a:lnTo>
                    <a:pt x="1166500" y="1568575"/>
                  </a:lnTo>
                  <a:lnTo>
                    <a:pt x="1129620" y="1561096"/>
                  </a:lnTo>
                  <a:lnTo>
                    <a:pt x="972877" y="1386572"/>
                  </a:lnTo>
                  <a:lnTo>
                    <a:pt x="959048" y="1406517"/>
                  </a:lnTo>
                  <a:lnTo>
                    <a:pt x="933693" y="1374107"/>
                  </a:lnTo>
                  <a:lnTo>
                    <a:pt x="892202" y="1431450"/>
                  </a:lnTo>
                  <a:lnTo>
                    <a:pt x="776951" y="1304296"/>
                  </a:lnTo>
                  <a:cubicBezTo>
                    <a:pt x="794622" y="1276040"/>
                    <a:pt x="807685" y="1270221"/>
                    <a:pt x="820746" y="1254431"/>
                  </a:cubicBezTo>
                  <a:lnTo>
                    <a:pt x="587939" y="1005111"/>
                  </a:lnTo>
                  <a:lnTo>
                    <a:pt x="601769" y="977687"/>
                  </a:lnTo>
                  <a:lnTo>
                    <a:pt x="405841" y="770751"/>
                  </a:lnTo>
                  <a:close/>
                </a:path>
              </a:pathLst>
            </a:custGeom>
            <a:solidFill>
              <a:srgbClr val="008000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DE" sz="6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6" name="G004">
              <a:extLst>
                <a:ext uri="{FF2B5EF4-FFF2-40B4-BE49-F238E27FC236}">
                  <a16:creationId xmlns:a16="http://schemas.microsoft.com/office/drawing/2014/main" id="{3A11D778-4709-4868-A8A8-01F304EE171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438615" y="4866494"/>
              <a:ext cx="1205697" cy="417207"/>
            </a:xfrm>
            <a:custGeom>
              <a:avLst/>
              <a:gdLst>
                <a:gd name="connsiteX0" fmla="*/ 45720 w 1333500"/>
                <a:gd name="connsiteY0" fmla="*/ 419100 h 632460"/>
                <a:gd name="connsiteX1" fmla="*/ 281940 w 1333500"/>
                <a:gd name="connsiteY1" fmla="*/ 350520 h 632460"/>
                <a:gd name="connsiteX2" fmla="*/ 358140 w 1333500"/>
                <a:gd name="connsiteY2" fmla="*/ 388620 h 632460"/>
                <a:gd name="connsiteX3" fmla="*/ 708660 w 1333500"/>
                <a:gd name="connsiteY3" fmla="*/ 297180 h 632460"/>
                <a:gd name="connsiteX4" fmla="*/ 868680 w 1333500"/>
                <a:gd name="connsiteY4" fmla="*/ 327660 h 632460"/>
                <a:gd name="connsiteX5" fmla="*/ 891540 w 1333500"/>
                <a:gd name="connsiteY5" fmla="*/ 388620 h 632460"/>
                <a:gd name="connsiteX6" fmla="*/ 304800 w 1333500"/>
                <a:gd name="connsiteY6" fmla="*/ 502920 h 632460"/>
                <a:gd name="connsiteX7" fmla="*/ 434340 w 1333500"/>
                <a:gd name="connsiteY7" fmla="*/ 632460 h 632460"/>
                <a:gd name="connsiteX8" fmla="*/ 1333500 w 1333500"/>
                <a:gd name="connsiteY8" fmla="*/ 403860 h 632460"/>
                <a:gd name="connsiteX9" fmla="*/ 982980 w 1333500"/>
                <a:gd name="connsiteY9" fmla="*/ 0 h 632460"/>
                <a:gd name="connsiteX10" fmla="*/ 266700 w 1333500"/>
                <a:gd name="connsiteY10" fmla="*/ 175260 h 632460"/>
                <a:gd name="connsiteX11" fmla="*/ 213360 w 1333500"/>
                <a:gd name="connsiteY11" fmla="*/ 251460 h 632460"/>
                <a:gd name="connsiteX12" fmla="*/ 0 w 1333500"/>
                <a:gd name="connsiteY12" fmla="*/ 289560 h 632460"/>
                <a:gd name="connsiteX13" fmla="*/ 45720 w 1333500"/>
                <a:gd name="connsiteY13" fmla="*/ 419100 h 632460"/>
                <a:gd name="connsiteX0" fmla="*/ 45720 w 1333500"/>
                <a:gd name="connsiteY0" fmla="*/ 419100 h 632460"/>
                <a:gd name="connsiteX1" fmla="*/ 281940 w 1333500"/>
                <a:gd name="connsiteY1" fmla="*/ 350520 h 632460"/>
                <a:gd name="connsiteX2" fmla="*/ 358140 w 1333500"/>
                <a:gd name="connsiteY2" fmla="*/ 388620 h 632460"/>
                <a:gd name="connsiteX3" fmla="*/ 708660 w 1333500"/>
                <a:gd name="connsiteY3" fmla="*/ 297180 h 632460"/>
                <a:gd name="connsiteX4" fmla="*/ 868680 w 1333500"/>
                <a:gd name="connsiteY4" fmla="*/ 327660 h 632460"/>
                <a:gd name="connsiteX5" fmla="*/ 891540 w 1333500"/>
                <a:gd name="connsiteY5" fmla="*/ 388620 h 632460"/>
                <a:gd name="connsiteX6" fmla="*/ 281940 w 1333500"/>
                <a:gd name="connsiteY6" fmla="*/ 518160 h 632460"/>
                <a:gd name="connsiteX7" fmla="*/ 434340 w 1333500"/>
                <a:gd name="connsiteY7" fmla="*/ 632460 h 632460"/>
                <a:gd name="connsiteX8" fmla="*/ 1333500 w 1333500"/>
                <a:gd name="connsiteY8" fmla="*/ 403860 h 632460"/>
                <a:gd name="connsiteX9" fmla="*/ 982980 w 1333500"/>
                <a:gd name="connsiteY9" fmla="*/ 0 h 632460"/>
                <a:gd name="connsiteX10" fmla="*/ 266700 w 1333500"/>
                <a:gd name="connsiteY10" fmla="*/ 175260 h 632460"/>
                <a:gd name="connsiteX11" fmla="*/ 213360 w 1333500"/>
                <a:gd name="connsiteY11" fmla="*/ 251460 h 632460"/>
                <a:gd name="connsiteX12" fmla="*/ 0 w 1333500"/>
                <a:gd name="connsiteY12" fmla="*/ 289560 h 632460"/>
                <a:gd name="connsiteX13" fmla="*/ 45720 w 1333500"/>
                <a:gd name="connsiteY13" fmla="*/ 419100 h 632460"/>
                <a:gd name="connsiteX0" fmla="*/ 45720 w 1333500"/>
                <a:gd name="connsiteY0" fmla="*/ 419100 h 632460"/>
                <a:gd name="connsiteX1" fmla="*/ 281940 w 1333500"/>
                <a:gd name="connsiteY1" fmla="*/ 350520 h 632460"/>
                <a:gd name="connsiteX2" fmla="*/ 358140 w 1333500"/>
                <a:gd name="connsiteY2" fmla="*/ 388620 h 632460"/>
                <a:gd name="connsiteX3" fmla="*/ 708660 w 1333500"/>
                <a:gd name="connsiteY3" fmla="*/ 297180 h 632460"/>
                <a:gd name="connsiteX4" fmla="*/ 868680 w 1333500"/>
                <a:gd name="connsiteY4" fmla="*/ 327660 h 632460"/>
                <a:gd name="connsiteX5" fmla="*/ 876300 w 1333500"/>
                <a:gd name="connsiteY5" fmla="*/ 358140 h 632460"/>
                <a:gd name="connsiteX6" fmla="*/ 281940 w 1333500"/>
                <a:gd name="connsiteY6" fmla="*/ 518160 h 632460"/>
                <a:gd name="connsiteX7" fmla="*/ 434340 w 1333500"/>
                <a:gd name="connsiteY7" fmla="*/ 632460 h 632460"/>
                <a:gd name="connsiteX8" fmla="*/ 1333500 w 1333500"/>
                <a:gd name="connsiteY8" fmla="*/ 403860 h 632460"/>
                <a:gd name="connsiteX9" fmla="*/ 982980 w 1333500"/>
                <a:gd name="connsiteY9" fmla="*/ 0 h 632460"/>
                <a:gd name="connsiteX10" fmla="*/ 266700 w 1333500"/>
                <a:gd name="connsiteY10" fmla="*/ 175260 h 632460"/>
                <a:gd name="connsiteX11" fmla="*/ 213360 w 1333500"/>
                <a:gd name="connsiteY11" fmla="*/ 251460 h 632460"/>
                <a:gd name="connsiteX12" fmla="*/ 0 w 1333500"/>
                <a:gd name="connsiteY12" fmla="*/ 289560 h 632460"/>
                <a:gd name="connsiteX13" fmla="*/ 45720 w 1333500"/>
                <a:gd name="connsiteY13" fmla="*/ 419100 h 632460"/>
                <a:gd name="connsiteX0" fmla="*/ 45720 w 1333500"/>
                <a:gd name="connsiteY0" fmla="*/ 419100 h 632460"/>
                <a:gd name="connsiteX1" fmla="*/ 281940 w 1333500"/>
                <a:gd name="connsiteY1" fmla="*/ 350520 h 632460"/>
                <a:gd name="connsiteX2" fmla="*/ 358140 w 1333500"/>
                <a:gd name="connsiteY2" fmla="*/ 388620 h 632460"/>
                <a:gd name="connsiteX3" fmla="*/ 708660 w 1333500"/>
                <a:gd name="connsiteY3" fmla="*/ 297180 h 632460"/>
                <a:gd name="connsiteX4" fmla="*/ 838200 w 1333500"/>
                <a:gd name="connsiteY4" fmla="*/ 320040 h 632460"/>
                <a:gd name="connsiteX5" fmla="*/ 876300 w 1333500"/>
                <a:gd name="connsiteY5" fmla="*/ 358140 h 632460"/>
                <a:gd name="connsiteX6" fmla="*/ 281940 w 1333500"/>
                <a:gd name="connsiteY6" fmla="*/ 518160 h 632460"/>
                <a:gd name="connsiteX7" fmla="*/ 434340 w 1333500"/>
                <a:gd name="connsiteY7" fmla="*/ 632460 h 632460"/>
                <a:gd name="connsiteX8" fmla="*/ 1333500 w 1333500"/>
                <a:gd name="connsiteY8" fmla="*/ 403860 h 632460"/>
                <a:gd name="connsiteX9" fmla="*/ 982980 w 1333500"/>
                <a:gd name="connsiteY9" fmla="*/ 0 h 632460"/>
                <a:gd name="connsiteX10" fmla="*/ 266700 w 1333500"/>
                <a:gd name="connsiteY10" fmla="*/ 175260 h 632460"/>
                <a:gd name="connsiteX11" fmla="*/ 213360 w 1333500"/>
                <a:gd name="connsiteY11" fmla="*/ 251460 h 632460"/>
                <a:gd name="connsiteX12" fmla="*/ 0 w 1333500"/>
                <a:gd name="connsiteY12" fmla="*/ 289560 h 632460"/>
                <a:gd name="connsiteX13" fmla="*/ 45720 w 1333500"/>
                <a:gd name="connsiteY13" fmla="*/ 419100 h 632460"/>
                <a:gd name="connsiteX0" fmla="*/ 45720 w 1333500"/>
                <a:gd name="connsiteY0" fmla="*/ 419100 h 632460"/>
                <a:gd name="connsiteX1" fmla="*/ 281940 w 1333500"/>
                <a:gd name="connsiteY1" fmla="*/ 350520 h 632460"/>
                <a:gd name="connsiteX2" fmla="*/ 403860 w 1333500"/>
                <a:gd name="connsiteY2" fmla="*/ 365760 h 632460"/>
                <a:gd name="connsiteX3" fmla="*/ 708660 w 1333500"/>
                <a:gd name="connsiteY3" fmla="*/ 297180 h 632460"/>
                <a:gd name="connsiteX4" fmla="*/ 838200 w 1333500"/>
                <a:gd name="connsiteY4" fmla="*/ 320040 h 632460"/>
                <a:gd name="connsiteX5" fmla="*/ 876300 w 1333500"/>
                <a:gd name="connsiteY5" fmla="*/ 358140 h 632460"/>
                <a:gd name="connsiteX6" fmla="*/ 281940 w 1333500"/>
                <a:gd name="connsiteY6" fmla="*/ 518160 h 632460"/>
                <a:gd name="connsiteX7" fmla="*/ 434340 w 1333500"/>
                <a:gd name="connsiteY7" fmla="*/ 632460 h 632460"/>
                <a:gd name="connsiteX8" fmla="*/ 1333500 w 1333500"/>
                <a:gd name="connsiteY8" fmla="*/ 403860 h 632460"/>
                <a:gd name="connsiteX9" fmla="*/ 982980 w 1333500"/>
                <a:gd name="connsiteY9" fmla="*/ 0 h 632460"/>
                <a:gd name="connsiteX10" fmla="*/ 266700 w 1333500"/>
                <a:gd name="connsiteY10" fmla="*/ 175260 h 632460"/>
                <a:gd name="connsiteX11" fmla="*/ 213360 w 1333500"/>
                <a:gd name="connsiteY11" fmla="*/ 251460 h 632460"/>
                <a:gd name="connsiteX12" fmla="*/ 0 w 1333500"/>
                <a:gd name="connsiteY12" fmla="*/ 289560 h 632460"/>
                <a:gd name="connsiteX13" fmla="*/ 45720 w 1333500"/>
                <a:gd name="connsiteY13" fmla="*/ 419100 h 632460"/>
                <a:gd name="connsiteX0" fmla="*/ 45720 w 1333500"/>
                <a:gd name="connsiteY0" fmla="*/ 419100 h 632460"/>
                <a:gd name="connsiteX1" fmla="*/ 281940 w 1333500"/>
                <a:gd name="connsiteY1" fmla="*/ 350520 h 632460"/>
                <a:gd name="connsiteX2" fmla="*/ 403860 w 1333500"/>
                <a:gd name="connsiteY2" fmla="*/ 365760 h 632460"/>
                <a:gd name="connsiteX3" fmla="*/ 708660 w 1333500"/>
                <a:gd name="connsiteY3" fmla="*/ 297180 h 632460"/>
                <a:gd name="connsiteX4" fmla="*/ 838200 w 1333500"/>
                <a:gd name="connsiteY4" fmla="*/ 320040 h 632460"/>
                <a:gd name="connsiteX5" fmla="*/ 876300 w 1333500"/>
                <a:gd name="connsiteY5" fmla="*/ 358140 h 632460"/>
                <a:gd name="connsiteX6" fmla="*/ 281940 w 1333500"/>
                <a:gd name="connsiteY6" fmla="*/ 518160 h 632460"/>
                <a:gd name="connsiteX7" fmla="*/ 434340 w 1333500"/>
                <a:gd name="connsiteY7" fmla="*/ 632460 h 632460"/>
                <a:gd name="connsiteX8" fmla="*/ 1333500 w 1333500"/>
                <a:gd name="connsiteY8" fmla="*/ 403860 h 632460"/>
                <a:gd name="connsiteX9" fmla="*/ 982980 w 1333500"/>
                <a:gd name="connsiteY9" fmla="*/ 0 h 632460"/>
                <a:gd name="connsiteX10" fmla="*/ 266700 w 1333500"/>
                <a:gd name="connsiteY10" fmla="*/ 175260 h 632460"/>
                <a:gd name="connsiteX11" fmla="*/ 205740 w 1333500"/>
                <a:gd name="connsiteY11" fmla="*/ 228600 h 632460"/>
                <a:gd name="connsiteX12" fmla="*/ 0 w 1333500"/>
                <a:gd name="connsiteY12" fmla="*/ 289560 h 632460"/>
                <a:gd name="connsiteX13" fmla="*/ 45720 w 1333500"/>
                <a:gd name="connsiteY13" fmla="*/ 419100 h 632460"/>
                <a:gd name="connsiteX0" fmla="*/ 45720 w 1333500"/>
                <a:gd name="connsiteY0" fmla="*/ 419100 h 632460"/>
                <a:gd name="connsiteX1" fmla="*/ 281940 w 1333500"/>
                <a:gd name="connsiteY1" fmla="*/ 350520 h 632460"/>
                <a:gd name="connsiteX2" fmla="*/ 403860 w 1333500"/>
                <a:gd name="connsiteY2" fmla="*/ 365760 h 632460"/>
                <a:gd name="connsiteX3" fmla="*/ 708660 w 1333500"/>
                <a:gd name="connsiteY3" fmla="*/ 297180 h 632460"/>
                <a:gd name="connsiteX4" fmla="*/ 838200 w 1333500"/>
                <a:gd name="connsiteY4" fmla="*/ 320040 h 632460"/>
                <a:gd name="connsiteX5" fmla="*/ 876300 w 1333500"/>
                <a:gd name="connsiteY5" fmla="*/ 358140 h 632460"/>
                <a:gd name="connsiteX6" fmla="*/ 281940 w 1333500"/>
                <a:gd name="connsiteY6" fmla="*/ 518160 h 632460"/>
                <a:gd name="connsiteX7" fmla="*/ 434340 w 1333500"/>
                <a:gd name="connsiteY7" fmla="*/ 632460 h 632460"/>
                <a:gd name="connsiteX8" fmla="*/ 1333500 w 1333500"/>
                <a:gd name="connsiteY8" fmla="*/ 403860 h 632460"/>
                <a:gd name="connsiteX9" fmla="*/ 982980 w 1333500"/>
                <a:gd name="connsiteY9" fmla="*/ 0 h 632460"/>
                <a:gd name="connsiteX10" fmla="*/ 327660 w 1333500"/>
                <a:gd name="connsiteY10" fmla="*/ 160020 h 632460"/>
                <a:gd name="connsiteX11" fmla="*/ 205740 w 1333500"/>
                <a:gd name="connsiteY11" fmla="*/ 228600 h 632460"/>
                <a:gd name="connsiteX12" fmla="*/ 0 w 1333500"/>
                <a:gd name="connsiteY12" fmla="*/ 289560 h 632460"/>
                <a:gd name="connsiteX13" fmla="*/ 45720 w 1333500"/>
                <a:gd name="connsiteY13" fmla="*/ 419100 h 632460"/>
                <a:gd name="connsiteX0" fmla="*/ 45720 w 1333500"/>
                <a:gd name="connsiteY0" fmla="*/ 419100 h 632460"/>
                <a:gd name="connsiteX1" fmla="*/ 281940 w 1333500"/>
                <a:gd name="connsiteY1" fmla="*/ 350520 h 632460"/>
                <a:gd name="connsiteX2" fmla="*/ 342900 w 1333500"/>
                <a:gd name="connsiteY2" fmla="*/ 381000 h 632460"/>
                <a:gd name="connsiteX3" fmla="*/ 708660 w 1333500"/>
                <a:gd name="connsiteY3" fmla="*/ 297180 h 632460"/>
                <a:gd name="connsiteX4" fmla="*/ 838200 w 1333500"/>
                <a:gd name="connsiteY4" fmla="*/ 320040 h 632460"/>
                <a:gd name="connsiteX5" fmla="*/ 876300 w 1333500"/>
                <a:gd name="connsiteY5" fmla="*/ 358140 h 632460"/>
                <a:gd name="connsiteX6" fmla="*/ 281940 w 1333500"/>
                <a:gd name="connsiteY6" fmla="*/ 518160 h 632460"/>
                <a:gd name="connsiteX7" fmla="*/ 434340 w 1333500"/>
                <a:gd name="connsiteY7" fmla="*/ 632460 h 632460"/>
                <a:gd name="connsiteX8" fmla="*/ 1333500 w 1333500"/>
                <a:gd name="connsiteY8" fmla="*/ 403860 h 632460"/>
                <a:gd name="connsiteX9" fmla="*/ 982980 w 1333500"/>
                <a:gd name="connsiteY9" fmla="*/ 0 h 632460"/>
                <a:gd name="connsiteX10" fmla="*/ 327660 w 1333500"/>
                <a:gd name="connsiteY10" fmla="*/ 160020 h 632460"/>
                <a:gd name="connsiteX11" fmla="*/ 205740 w 1333500"/>
                <a:gd name="connsiteY11" fmla="*/ 228600 h 632460"/>
                <a:gd name="connsiteX12" fmla="*/ 0 w 1333500"/>
                <a:gd name="connsiteY12" fmla="*/ 289560 h 632460"/>
                <a:gd name="connsiteX13" fmla="*/ 45720 w 1333500"/>
                <a:gd name="connsiteY13" fmla="*/ 419100 h 632460"/>
                <a:gd name="connsiteX0" fmla="*/ 45720 w 1333500"/>
                <a:gd name="connsiteY0" fmla="*/ 419100 h 632460"/>
                <a:gd name="connsiteX1" fmla="*/ 281940 w 1333500"/>
                <a:gd name="connsiteY1" fmla="*/ 350520 h 632460"/>
                <a:gd name="connsiteX2" fmla="*/ 342900 w 1333500"/>
                <a:gd name="connsiteY2" fmla="*/ 381000 h 632460"/>
                <a:gd name="connsiteX3" fmla="*/ 708660 w 1333500"/>
                <a:gd name="connsiteY3" fmla="*/ 297180 h 632460"/>
                <a:gd name="connsiteX4" fmla="*/ 838200 w 1333500"/>
                <a:gd name="connsiteY4" fmla="*/ 320040 h 632460"/>
                <a:gd name="connsiteX5" fmla="*/ 876300 w 1333500"/>
                <a:gd name="connsiteY5" fmla="*/ 358140 h 632460"/>
                <a:gd name="connsiteX6" fmla="*/ 281940 w 1333500"/>
                <a:gd name="connsiteY6" fmla="*/ 518160 h 632460"/>
                <a:gd name="connsiteX7" fmla="*/ 434340 w 1333500"/>
                <a:gd name="connsiteY7" fmla="*/ 632460 h 632460"/>
                <a:gd name="connsiteX8" fmla="*/ 1333500 w 1333500"/>
                <a:gd name="connsiteY8" fmla="*/ 403860 h 632460"/>
                <a:gd name="connsiteX9" fmla="*/ 982980 w 1333500"/>
                <a:gd name="connsiteY9" fmla="*/ 0 h 632460"/>
                <a:gd name="connsiteX10" fmla="*/ 327660 w 1333500"/>
                <a:gd name="connsiteY10" fmla="*/ 160020 h 632460"/>
                <a:gd name="connsiteX11" fmla="*/ 251460 w 1333500"/>
                <a:gd name="connsiteY11" fmla="*/ 220980 h 632460"/>
                <a:gd name="connsiteX12" fmla="*/ 0 w 1333500"/>
                <a:gd name="connsiteY12" fmla="*/ 289560 h 632460"/>
                <a:gd name="connsiteX13" fmla="*/ 45720 w 1333500"/>
                <a:gd name="connsiteY13" fmla="*/ 419100 h 632460"/>
                <a:gd name="connsiteX0" fmla="*/ 45720 w 1333500"/>
                <a:gd name="connsiteY0" fmla="*/ 419100 h 632460"/>
                <a:gd name="connsiteX1" fmla="*/ 281940 w 1333500"/>
                <a:gd name="connsiteY1" fmla="*/ 350520 h 632460"/>
                <a:gd name="connsiteX2" fmla="*/ 342900 w 1333500"/>
                <a:gd name="connsiteY2" fmla="*/ 381000 h 632460"/>
                <a:gd name="connsiteX3" fmla="*/ 708660 w 1333500"/>
                <a:gd name="connsiteY3" fmla="*/ 297180 h 632460"/>
                <a:gd name="connsiteX4" fmla="*/ 838200 w 1333500"/>
                <a:gd name="connsiteY4" fmla="*/ 320040 h 632460"/>
                <a:gd name="connsiteX5" fmla="*/ 876300 w 1333500"/>
                <a:gd name="connsiteY5" fmla="*/ 358140 h 632460"/>
                <a:gd name="connsiteX6" fmla="*/ 281940 w 1333500"/>
                <a:gd name="connsiteY6" fmla="*/ 518160 h 632460"/>
                <a:gd name="connsiteX7" fmla="*/ 434340 w 1333500"/>
                <a:gd name="connsiteY7" fmla="*/ 632460 h 632460"/>
                <a:gd name="connsiteX8" fmla="*/ 1333500 w 1333500"/>
                <a:gd name="connsiteY8" fmla="*/ 403860 h 632460"/>
                <a:gd name="connsiteX9" fmla="*/ 982980 w 1333500"/>
                <a:gd name="connsiteY9" fmla="*/ 0 h 632460"/>
                <a:gd name="connsiteX10" fmla="*/ 327660 w 1333500"/>
                <a:gd name="connsiteY10" fmla="*/ 160020 h 632460"/>
                <a:gd name="connsiteX11" fmla="*/ 228600 w 1333500"/>
                <a:gd name="connsiteY11" fmla="*/ 220980 h 632460"/>
                <a:gd name="connsiteX12" fmla="*/ 0 w 1333500"/>
                <a:gd name="connsiteY12" fmla="*/ 289560 h 632460"/>
                <a:gd name="connsiteX13" fmla="*/ 45720 w 1333500"/>
                <a:gd name="connsiteY13" fmla="*/ 419100 h 632460"/>
                <a:gd name="connsiteX0" fmla="*/ 68580 w 1356360"/>
                <a:gd name="connsiteY0" fmla="*/ 419100 h 632460"/>
                <a:gd name="connsiteX1" fmla="*/ 304800 w 1356360"/>
                <a:gd name="connsiteY1" fmla="*/ 350520 h 632460"/>
                <a:gd name="connsiteX2" fmla="*/ 365760 w 1356360"/>
                <a:gd name="connsiteY2" fmla="*/ 381000 h 632460"/>
                <a:gd name="connsiteX3" fmla="*/ 731520 w 1356360"/>
                <a:gd name="connsiteY3" fmla="*/ 297180 h 632460"/>
                <a:gd name="connsiteX4" fmla="*/ 861060 w 1356360"/>
                <a:gd name="connsiteY4" fmla="*/ 320040 h 632460"/>
                <a:gd name="connsiteX5" fmla="*/ 899160 w 1356360"/>
                <a:gd name="connsiteY5" fmla="*/ 358140 h 632460"/>
                <a:gd name="connsiteX6" fmla="*/ 304800 w 1356360"/>
                <a:gd name="connsiteY6" fmla="*/ 518160 h 632460"/>
                <a:gd name="connsiteX7" fmla="*/ 457200 w 1356360"/>
                <a:gd name="connsiteY7" fmla="*/ 632460 h 632460"/>
                <a:gd name="connsiteX8" fmla="*/ 1356360 w 1356360"/>
                <a:gd name="connsiteY8" fmla="*/ 403860 h 632460"/>
                <a:gd name="connsiteX9" fmla="*/ 1005840 w 1356360"/>
                <a:gd name="connsiteY9" fmla="*/ 0 h 632460"/>
                <a:gd name="connsiteX10" fmla="*/ 350520 w 1356360"/>
                <a:gd name="connsiteY10" fmla="*/ 160020 h 632460"/>
                <a:gd name="connsiteX11" fmla="*/ 251460 w 1356360"/>
                <a:gd name="connsiteY11" fmla="*/ 220980 h 632460"/>
                <a:gd name="connsiteX12" fmla="*/ 0 w 1356360"/>
                <a:gd name="connsiteY12" fmla="*/ 281940 h 632460"/>
                <a:gd name="connsiteX13" fmla="*/ 68580 w 1356360"/>
                <a:gd name="connsiteY13" fmla="*/ 419100 h 632460"/>
                <a:gd name="connsiteX0" fmla="*/ 38100 w 1325880"/>
                <a:gd name="connsiteY0" fmla="*/ 419100 h 632460"/>
                <a:gd name="connsiteX1" fmla="*/ 274320 w 1325880"/>
                <a:gd name="connsiteY1" fmla="*/ 350520 h 632460"/>
                <a:gd name="connsiteX2" fmla="*/ 335280 w 1325880"/>
                <a:gd name="connsiteY2" fmla="*/ 381000 h 632460"/>
                <a:gd name="connsiteX3" fmla="*/ 701040 w 1325880"/>
                <a:gd name="connsiteY3" fmla="*/ 297180 h 632460"/>
                <a:gd name="connsiteX4" fmla="*/ 830580 w 1325880"/>
                <a:gd name="connsiteY4" fmla="*/ 320040 h 632460"/>
                <a:gd name="connsiteX5" fmla="*/ 868680 w 1325880"/>
                <a:gd name="connsiteY5" fmla="*/ 358140 h 632460"/>
                <a:gd name="connsiteX6" fmla="*/ 274320 w 1325880"/>
                <a:gd name="connsiteY6" fmla="*/ 518160 h 632460"/>
                <a:gd name="connsiteX7" fmla="*/ 426720 w 1325880"/>
                <a:gd name="connsiteY7" fmla="*/ 632460 h 632460"/>
                <a:gd name="connsiteX8" fmla="*/ 1325880 w 1325880"/>
                <a:gd name="connsiteY8" fmla="*/ 403860 h 632460"/>
                <a:gd name="connsiteX9" fmla="*/ 975360 w 1325880"/>
                <a:gd name="connsiteY9" fmla="*/ 0 h 632460"/>
                <a:gd name="connsiteX10" fmla="*/ 320040 w 1325880"/>
                <a:gd name="connsiteY10" fmla="*/ 160020 h 632460"/>
                <a:gd name="connsiteX11" fmla="*/ 220980 w 1325880"/>
                <a:gd name="connsiteY11" fmla="*/ 220980 h 632460"/>
                <a:gd name="connsiteX12" fmla="*/ 0 w 1325880"/>
                <a:gd name="connsiteY12" fmla="*/ 289560 h 632460"/>
                <a:gd name="connsiteX13" fmla="*/ 38100 w 1325880"/>
                <a:gd name="connsiteY13" fmla="*/ 419100 h 632460"/>
                <a:gd name="connsiteX0" fmla="*/ 38100 w 1325880"/>
                <a:gd name="connsiteY0" fmla="*/ 419100 h 632460"/>
                <a:gd name="connsiteX1" fmla="*/ 274320 w 1325880"/>
                <a:gd name="connsiteY1" fmla="*/ 350520 h 632460"/>
                <a:gd name="connsiteX2" fmla="*/ 335280 w 1325880"/>
                <a:gd name="connsiteY2" fmla="*/ 381000 h 632460"/>
                <a:gd name="connsiteX3" fmla="*/ 701040 w 1325880"/>
                <a:gd name="connsiteY3" fmla="*/ 297180 h 632460"/>
                <a:gd name="connsiteX4" fmla="*/ 830580 w 1325880"/>
                <a:gd name="connsiteY4" fmla="*/ 320040 h 632460"/>
                <a:gd name="connsiteX5" fmla="*/ 868680 w 1325880"/>
                <a:gd name="connsiteY5" fmla="*/ 358140 h 632460"/>
                <a:gd name="connsiteX6" fmla="*/ 274320 w 1325880"/>
                <a:gd name="connsiteY6" fmla="*/ 518160 h 632460"/>
                <a:gd name="connsiteX7" fmla="*/ 426720 w 1325880"/>
                <a:gd name="connsiteY7" fmla="*/ 632460 h 632460"/>
                <a:gd name="connsiteX8" fmla="*/ 533400 w 1325880"/>
                <a:gd name="connsiteY8" fmla="*/ 601980 h 632460"/>
                <a:gd name="connsiteX9" fmla="*/ 1325880 w 1325880"/>
                <a:gd name="connsiteY9" fmla="*/ 403860 h 632460"/>
                <a:gd name="connsiteX10" fmla="*/ 975360 w 1325880"/>
                <a:gd name="connsiteY10" fmla="*/ 0 h 632460"/>
                <a:gd name="connsiteX11" fmla="*/ 320040 w 1325880"/>
                <a:gd name="connsiteY11" fmla="*/ 160020 h 632460"/>
                <a:gd name="connsiteX12" fmla="*/ 220980 w 1325880"/>
                <a:gd name="connsiteY12" fmla="*/ 220980 h 632460"/>
                <a:gd name="connsiteX13" fmla="*/ 0 w 1325880"/>
                <a:gd name="connsiteY13" fmla="*/ 289560 h 632460"/>
                <a:gd name="connsiteX14" fmla="*/ 38100 w 1325880"/>
                <a:gd name="connsiteY14" fmla="*/ 419100 h 632460"/>
                <a:gd name="connsiteX0" fmla="*/ 38100 w 1325880"/>
                <a:gd name="connsiteY0" fmla="*/ 419100 h 632460"/>
                <a:gd name="connsiteX1" fmla="*/ 274320 w 1325880"/>
                <a:gd name="connsiteY1" fmla="*/ 350520 h 632460"/>
                <a:gd name="connsiteX2" fmla="*/ 335280 w 1325880"/>
                <a:gd name="connsiteY2" fmla="*/ 381000 h 632460"/>
                <a:gd name="connsiteX3" fmla="*/ 701040 w 1325880"/>
                <a:gd name="connsiteY3" fmla="*/ 297180 h 632460"/>
                <a:gd name="connsiteX4" fmla="*/ 830580 w 1325880"/>
                <a:gd name="connsiteY4" fmla="*/ 320040 h 632460"/>
                <a:gd name="connsiteX5" fmla="*/ 868680 w 1325880"/>
                <a:gd name="connsiteY5" fmla="*/ 358140 h 632460"/>
                <a:gd name="connsiteX6" fmla="*/ 274320 w 1325880"/>
                <a:gd name="connsiteY6" fmla="*/ 518160 h 632460"/>
                <a:gd name="connsiteX7" fmla="*/ 342900 w 1325880"/>
                <a:gd name="connsiteY7" fmla="*/ 571500 h 632460"/>
                <a:gd name="connsiteX8" fmla="*/ 426720 w 1325880"/>
                <a:gd name="connsiteY8" fmla="*/ 632460 h 632460"/>
                <a:gd name="connsiteX9" fmla="*/ 533400 w 1325880"/>
                <a:gd name="connsiteY9" fmla="*/ 601980 h 632460"/>
                <a:gd name="connsiteX10" fmla="*/ 1325880 w 1325880"/>
                <a:gd name="connsiteY10" fmla="*/ 403860 h 632460"/>
                <a:gd name="connsiteX11" fmla="*/ 975360 w 1325880"/>
                <a:gd name="connsiteY11" fmla="*/ 0 h 632460"/>
                <a:gd name="connsiteX12" fmla="*/ 320040 w 1325880"/>
                <a:gd name="connsiteY12" fmla="*/ 160020 h 632460"/>
                <a:gd name="connsiteX13" fmla="*/ 220980 w 1325880"/>
                <a:gd name="connsiteY13" fmla="*/ 220980 h 632460"/>
                <a:gd name="connsiteX14" fmla="*/ 0 w 1325880"/>
                <a:gd name="connsiteY14" fmla="*/ 289560 h 632460"/>
                <a:gd name="connsiteX15" fmla="*/ 38100 w 1325880"/>
                <a:gd name="connsiteY15" fmla="*/ 419100 h 632460"/>
                <a:gd name="connsiteX0" fmla="*/ 38100 w 1325880"/>
                <a:gd name="connsiteY0" fmla="*/ 419100 h 601980"/>
                <a:gd name="connsiteX1" fmla="*/ 274320 w 1325880"/>
                <a:gd name="connsiteY1" fmla="*/ 350520 h 601980"/>
                <a:gd name="connsiteX2" fmla="*/ 335280 w 1325880"/>
                <a:gd name="connsiteY2" fmla="*/ 381000 h 601980"/>
                <a:gd name="connsiteX3" fmla="*/ 701040 w 1325880"/>
                <a:gd name="connsiteY3" fmla="*/ 297180 h 601980"/>
                <a:gd name="connsiteX4" fmla="*/ 830580 w 1325880"/>
                <a:gd name="connsiteY4" fmla="*/ 320040 h 601980"/>
                <a:gd name="connsiteX5" fmla="*/ 868680 w 1325880"/>
                <a:gd name="connsiteY5" fmla="*/ 358140 h 601980"/>
                <a:gd name="connsiteX6" fmla="*/ 274320 w 1325880"/>
                <a:gd name="connsiteY6" fmla="*/ 518160 h 601980"/>
                <a:gd name="connsiteX7" fmla="*/ 342900 w 1325880"/>
                <a:gd name="connsiteY7" fmla="*/ 571500 h 601980"/>
                <a:gd name="connsiteX8" fmla="*/ 426720 w 1325880"/>
                <a:gd name="connsiteY8" fmla="*/ 594360 h 601980"/>
                <a:gd name="connsiteX9" fmla="*/ 533400 w 1325880"/>
                <a:gd name="connsiteY9" fmla="*/ 601980 h 601980"/>
                <a:gd name="connsiteX10" fmla="*/ 1325880 w 1325880"/>
                <a:gd name="connsiteY10" fmla="*/ 403860 h 601980"/>
                <a:gd name="connsiteX11" fmla="*/ 975360 w 1325880"/>
                <a:gd name="connsiteY11" fmla="*/ 0 h 601980"/>
                <a:gd name="connsiteX12" fmla="*/ 320040 w 1325880"/>
                <a:gd name="connsiteY12" fmla="*/ 160020 h 601980"/>
                <a:gd name="connsiteX13" fmla="*/ 220980 w 1325880"/>
                <a:gd name="connsiteY13" fmla="*/ 220980 h 601980"/>
                <a:gd name="connsiteX14" fmla="*/ 0 w 1325880"/>
                <a:gd name="connsiteY14" fmla="*/ 289560 h 601980"/>
                <a:gd name="connsiteX15" fmla="*/ 38100 w 1325880"/>
                <a:gd name="connsiteY15" fmla="*/ 419100 h 601980"/>
                <a:gd name="connsiteX0" fmla="*/ 38100 w 1325880"/>
                <a:gd name="connsiteY0" fmla="*/ 419100 h 601980"/>
                <a:gd name="connsiteX1" fmla="*/ 274320 w 1325880"/>
                <a:gd name="connsiteY1" fmla="*/ 350520 h 601980"/>
                <a:gd name="connsiteX2" fmla="*/ 335280 w 1325880"/>
                <a:gd name="connsiteY2" fmla="*/ 381000 h 601980"/>
                <a:gd name="connsiteX3" fmla="*/ 701040 w 1325880"/>
                <a:gd name="connsiteY3" fmla="*/ 297180 h 601980"/>
                <a:gd name="connsiteX4" fmla="*/ 830580 w 1325880"/>
                <a:gd name="connsiteY4" fmla="*/ 320040 h 601980"/>
                <a:gd name="connsiteX5" fmla="*/ 868680 w 1325880"/>
                <a:gd name="connsiteY5" fmla="*/ 358140 h 601980"/>
                <a:gd name="connsiteX6" fmla="*/ 274320 w 1325880"/>
                <a:gd name="connsiteY6" fmla="*/ 518160 h 601980"/>
                <a:gd name="connsiteX7" fmla="*/ 312420 w 1325880"/>
                <a:gd name="connsiteY7" fmla="*/ 556260 h 601980"/>
                <a:gd name="connsiteX8" fmla="*/ 426720 w 1325880"/>
                <a:gd name="connsiteY8" fmla="*/ 594360 h 601980"/>
                <a:gd name="connsiteX9" fmla="*/ 533400 w 1325880"/>
                <a:gd name="connsiteY9" fmla="*/ 601980 h 601980"/>
                <a:gd name="connsiteX10" fmla="*/ 1325880 w 1325880"/>
                <a:gd name="connsiteY10" fmla="*/ 403860 h 601980"/>
                <a:gd name="connsiteX11" fmla="*/ 975360 w 1325880"/>
                <a:gd name="connsiteY11" fmla="*/ 0 h 601980"/>
                <a:gd name="connsiteX12" fmla="*/ 320040 w 1325880"/>
                <a:gd name="connsiteY12" fmla="*/ 160020 h 601980"/>
                <a:gd name="connsiteX13" fmla="*/ 220980 w 1325880"/>
                <a:gd name="connsiteY13" fmla="*/ 220980 h 601980"/>
                <a:gd name="connsiteX14" fmla="*/ 0 w 1325880"/>
                <a:gd name="connsiteY14" fmla="*/ 289560 h 601980"/>
                <a:gd name="connsiteX15" fmla="*/ 38100 w 1325880"/>
                <a:gd name="connsiteY15" fmla="*/ 419100 h 601980"/>
                <a:gd name="connsiteX0" fmla="*/ 38100 w 1325880"/>
                <a:gd name="connsiteY0" fmla="*/ 419100 h 601980"/>
                <a:gd name="connsiteX1" fmla="*/ 274320 w 1325880"/>
                <a:gd name="connsiteY1" fmla="*/ 350520 h 601980"/>
                <a:gd name="connsiteX2" fmla="*/ 335280 w 1325880"/>
                <a:gd name="connsiteY2" fmla="*/ 381000 h 601980"/>
                <a:gd name="connsiteX3" fmla="*/ 701040 w 1325880"/>
                <a:gd name="connsiteY3" fmla="*/ 297180 h 601980"/>
                <a:gd name="connsiteX4" fmla="*/ 830580 w 1325880"/>
                <a:gd name="connsiteY4" fmla="*/ 320040 h 601980"/>
                <a:gd name="connsiteX5" fmla="*/ 868680 w 1325880"/>
                <a:gd name="connsiteY5" fmla="*/ 358140 h 601980"/>
                <a:gd name="connsiteX6" fmla="*/ 274320 w 1325880"/>
                <a:gd name="connsiteY6" fmla="*/ 518160 h 601980"/>
                <a:gd name="connsiteX7" fmla="*/ 312420 w 1325880"/>
                <a:gd name="connsiteY7" fmla="*/ 556260 h 601980"/>
                <a:gd name="connsiteX8" fmla="*/ 396240 w 1325880"/>
                <a:gd name="connsiteY8" fmla="*/ 601980 h 601980"/>
                <a:gd name="connsiteX9" fmla="*/ 533400 w 1325880"/>
                <a:gd name="connsiteY9" fmla="*/ 601980 h 601980"/>
                <a:gd name="connsiteX10" fmla="*/ 1325880 w 1325880"/>
                <a:gd name="connsiteY10" fmla="*/ 403860 h 601980"/>
                <a:gd name="connsiteX11" fmla="*/ 975360 w 1325880"/>
                <a:gd name="connsiteY11" fmla="*/ 0 h 601980"/>
                <a:gd name="connsiteX12" fmla="*/ 320040 w 1325880"/>
                <a:gd name="connsiteY12" fmla="*/ 160020 h 601980"/>
                <a:gd name="connsiteX13" fmla="*/ 220980 w 1325880"/>
                <a:gd name="connsiteY13" fmla="*/ 220980 h 601980"/>
                <a:gd name="connsiteX14" fmla="*/ 0 w 1325880"/>
                <a:gd name="connsiteY14" fmla="*/ 289560 h 601980"/>
                <a:gd name="connsiteX15" fmla="*/ 38100 w 1325880"/>
                <a:gd name="connsiteY15" fmla="*/ 419100 h 601980"/>
                <a:gd name="connsiteX0" fmla="*/ 38100 w 1325880"/>
                <a:gd name="connsiteY0" fmla="*/ 419100 h 601980"/>
                <a:gd name="connsiteX1" fmla="*/ 274320 w 1325880"/>
                <a:gd name="connsiteY1" fmla="*/ 350520 h 601980"/>
                <a:gd name="connsiteX2" fmla="*/ 335280 w 1325880"/>
                <a:gd name="connsiteY2" fmla="*/ 381000 h 601980"/>
                <a:gd name="connsiteX3" fmla="*/ 701040 w 1325880"/>
                <a:gd name="connsiteY3" fmla="*/ 297180 h 601980"/>
                <a:gd name="connsiteX4" fmla="*/ 830580 w 1325880"/>
                <a:gd name="connsiteY4" fmla="*/ 320040 h 601980"/>
                <a:gd name="connsiteX5" fmla="*/ 274320 w 1325880"/>
                <a:gd name="connsiteY5" fmla="*/ 518160 h 601980"/>
                <a:gd name="connsiteX6" fmla="*/ 312420 w 1325880"/>
                <a:gd name="connsiteY6" fmla="*/ 556260 h 601980"/>
                <a:gd name="connsiteX7" fmla="*/ 396240 w 1325880"/>
                <a:gd name="connsiteY7" fmla="*/ 601980 h 601980"/>
                <a:gd name="connsiteX8" fmla="*/ 533400 w 1325880"/>
                <a:gd name="connsiteY8" fmla="*/ 601980 h 601980"/>
                <a:gd name="connsiteX9" fmla="*/ 1325880 w 1325880"/>
                <a:gd name="connsiteY9" fmla="*/ 403860 h 601980"/>
                <a:gd name="connsiteX10" fmla="*/ 975360 w 1325880"/>
                <a:gd name="connsiteY10" fmla="*/ 0 h 601980"/>
                <a:gd name="connsiteX11" fmla="*/ 320040 w 1325880"/>
                <a:gd name="connsiteY11" fmla="*/ 160020 h 601980"/>
                <a:gd name="connsiteX12" fmla="*/ 220980 w 1325880"/>
                <a:gd name="connsiteY12" fmla="*/ 220980 h 601980"/>
                <a:gd name="connsiteX13" fmla="*/ 0 w 1325880"/>
                <a:gd name="connsiteY13" fmla="*/ 289560 h 601980"/>
                <a:gd name="connsiteX14" fmla="*/ 38100 w 1325880"/>
                <a:gd name="connsiteY14" fmla="*/ 419100 h 601980"/>
                <a:gd name="connsiteX0" fmla="*/ 38100 w 1325880"/>
                <a:gd name="connsiteY0" fmla="*/ 419100 h 601980"/>
                <a:gd name="connsiteX1" fmla="*/ 274320 w 1325880"/>
                <a:gd name="connsiteY1" fmla="*/ 350520 h 601980"/>
                <a:gd name="connsiteX2" fmla="*/ 335280 w 1325880"/>
                <a:gd name="connsiteY2" fmla="*/ 381000 h 601980"/>
                <a:gd name="connsiteX3" fmla="*/ 701040 w 1325880"/>
                <a:gd name="connsiteY3" fmla="*/ 297180 h 601980"/>
                <a:gd name="connsiteX4" fmla="*/ 830580 w 1325880"/>
                <a:gd name="connsiteY4" fmla="*/ 358140 h 601980"/>
                <a:gd name="connsiteX5" fmla="*/ 274320 w 1325880"/>
                <a:gd name="connsiteY5" fmla="*/ 518160 h 601980"/>
                <a:gd name="connsiteX6" fmla="*/ 312420 w 1325880"/>
                <a:gd name="connsiteY6" fmla="*/ 556260 h 601980"/>
                <a:gd name="connsiteX7" fmla="*/ 396240 w 1325880"/>
                <a:gd name="connsiteY7" fmla="*/ 601980 h 601980"/>
                <a:gd name="connsiteX8" fmla="*/ 533400 w 1325880"/>
                <a:gd name="connsiteY8" fmla="*/ 601980 h 601980"/>
                <a:gd name="connsiteX9" fmla="*/ 1325880 w 1325880"/>
                <a:gd name="connsiteY9" fmla="*/ 403860 h 601980"/>
                <a:gd name="connsiteX10" fmla="*/ 975360 w 1325880"/>
                <a:gd name="connsiteY10" fmla="*/ 0 h 601980"/>
                <a:gd name="connsiteX11" fmla="*/ 320040 w 1325880"/>
                <a:gd name="connsiteY11" fmla="*/ 160020 h 601980"/>
                <a:gd name="connsiteX12" fmla="*/ 220980 w 1325880"/>
                <a:gd name="connsiteY12" fmla="*/ 220980 h 601980"/>
                <a:gd name="connsiteX13" fmla="*/ 0 w 1325880"/>
                <a:gd name="connsiteY13" fmla="*/ 289560 h 601980"/>
                <a:gd name="connsiteX14" fmla="*/ 38100 w 1325880"/>
                <a:gd name="connsiteY14" fmla="*/ 419100 h 601980"/>
                <a:gd name="connsiteX0" fmla="*/ 38100 w 1325880"/>
                <a:gd name="connsiteY0" fmla="*/ 419100 h 601980"/>
                <a:gd name="connsiteX1" fmla="*/ 274320 w 1325880"/>
                <a:gd name="connsiteY1" fmla="*/ 350520 h 601980"/>
                <a:gd name="connsiteX2" fmla="*/ 335280 w 1325880"/>
                <a:gd name="connsiteY2" fmla="*/ 381000 h 601980"/>
                <a:gd name="connsiteX3" fmla="*/ 678180 w 1325880"/>
                <a:gd name="connsiteY3" fmla="*/ 297180 h 601980"/>
                <a:gd name="connsiteX4" fmla="*/ 830580 w 1325880"/>
                <a:gd name="connsiteY4" fmla="*/ 358140 h 601980"/>
                <a:gd name="connsiteX5" fmla="*/ 274320 w 1325880"/>
                <a:gd name="connsiteY5" fmla="*/ 518160 h 601980"/>
                <a:gd name="connsiteX6" fmla="*/ 312420 w 1325880"/>
                <a:gd name="connsiteY6" fmla="*/ 556260 h 601980"/>
                <a:gd name="connsiteX7" fmla="*/ 396240 w 1325880"/>
                <a:gd name="connsiteY7" fmla="*/ 601980 h 601980"/>
                <a:gd name="connsiteX8" fmla="*/ 533400 w 1325880"/>
                <a:gd name="connsiteY8" fmla="*/ 601980 h 601980"/>
                <a:gd name="connsiteX9" fmla="*/ 1325880 w 1325880"/>
                <a:gd name="connsiteY9" fmla="*/ 403860 h 601980"/>
                <a:gd name="connsiteX10" fmla="*/ 975360 w 1325880"/>
                <a:gd name="connsiteY10" fmla="*/ 0 h 601980"/>
                <a:gd name="connsiteX11" fmla="*/ 320040 w 1325880"/>
                <a:gd name="connsiteY11" fmla="*/ 160020 h 601980"/>
                <a:gd name="connsiteX12" fmla="*/ 220980 w 1325880"/>
                <a:gd name="connsiteY12" fmla="*/ 220980 h 601980"/>
                <a:gd name="connsiteX13" fmla="*/ 0 w 1325880"/>
                <a:gd name="connsiteY13" fmla="*/ 289560 h 601980"/>
                <a:gd name="connsiteX14" fmla="*/ 38100 w 1325880"/>
                <a:gd name="connsiteY14" fmla="*/ 419100 h 601980"/>
                <a:gd name="connsiteX0" fmla="*/ 38100 w 1325880"/>
                <a:gd name="connsiteY0" fmla="*/ 419100 h 601980"/>
                <a:gd name="connsiteX1" fmla="*/ 274320 w 1325880"/>
                <a:gd name="connsiteY1" fmla="*/ 350520 h 601980"/>
                <a:gd name="connsiteX2" fmla="*/ 335280 w 1325880"/>
                <a:gd name="connsiteY2" fmla="*/ 381000 h 601980"/>
                <a:gd name="connsiteX3" fmla="*/ 647700 w 1325880"/>
                <a:gd name="connsiteY3" fmla="*/ 304800 h 601980"/>
                <a:gd name="connsiteX4" fmla="*/ 830580 w 1325880"/>
                <a:gd name="connsiteY4" fmla="*/ 358140 h 601980"/>
                <a:gd name="connsiteX5" fmla="*/ 274320 w 1325880"/>
                <a:gd name="connsiteY5" fmla="*/ 518160 h 601980"/>
                <a:gd name="connsiteX6" fmla="*/ 312420 w 1325880"/>
                <a:gd name="connsiteY6" fmla="*/ 556260 h 601980"/>
                <a:gd name="connsiteX7" fmla="*/ 396240 w 1325880"/>
                <a:gd name="connsiteY7" fmla="*/ 601980 h 601980"/>
                <a:gd name="connsiteX8" fmla="*/ 533400 w 1325880"/>
                <a:gd name="connsiteY8" fmla="*/ 601980 h 601980"/>
                <a:gd name="connsiteX9" fmla="*/ 1325880 w 1325880"/>
                <a:gd name="connsiteY9" fmla="*/ 403860 h 601980"/>
                <a:gd name="connsiteX10" fmla="*/ 975360 w 1325880"/>
                <a:gd name="connsiteY10" fmla="*/ 0 h 601980"/>
                <a:gd name="connsiteX11" fmla="*/ 320040 w 1325880"/>
                <a:gd name="connsiteY11" fmla="*/ 160020 h 601980"/>
                <a:gd name="connsiteX12" fmla="*/ 220980 w 1325880"/>
                <a:gd name="connsiteY12" fmla="*/ 220980 h 601980"/>
                <a:gd name="connsiteX13" fmla="*/ 0 w 1325880"/>
                <a:gd name="connsiteY13" fmla="*/ 289560 h 601980"/>
                <a:gd name="connsiteX14" fmla="*/ 38100 w 1325880"/>
                <a:gd name="connsiteY14" fmla="*/ 419100 h 601980"/>
                <a:gd name="connsiteX0" fmla="*/ 38100 w 1325880"/>
                <a:gd name="connsiteY0" fmla="*/ 419100 h 601980"/>
                <a:gd name="connsiteX1" fmla="*/ 274320 w 1325880"/>
                <a:gd name="connsiteY1" fmla="*/ 350520 h 601980"/>
                <a:gd name="connsiteX2" fmla="*/ 335280 w 1325880"/>
                <a:gd name="connsiteY2" fmla="*/ 381000 h 601980"/>
                <a:gd name="connsiteX3" fmla="*/ 647700 w 1325880"/>
                <a:gd name="connsiteY3" fmla="*/ 304800 h 601980"/>
                <a:gd name="connsiteX4" fmla="*/ 800100 w 1325880"/>
                <a:gd name="connsiteY4" fmla="*/ 373380 h 601980"/>
                <a:gd name="connsiteX5" fmla="*/ 274320 w 1325880"/>
                <a:gd name="connsiteY5" fmla="*/ 518160 h 601980"/>
                <a:gd name="connsiteX6" fmla="*/ 312420 w 1325880"/>
                <a:gd name="connsiteY6" fmla="*/ 556260 h 601980"/>
                <a:gd name="connsiteX7" fmla="*/ 396240 w 1325880"/>
                <a:gd name="connsiteY7" fmla="*/ 601980 h 601980"/>
                <a:gd name="connsiteX8" fmla="*/ 533400 w 1325880"/>
                <a:gd name="connsiteY8" fmla="*/ 601980 h 601980"/>
                <a:gd name="connsiteX9" fmla="*/ 1325880 w 1325880"/>
                <a:gd name="connsiteY9" fmla="*/ 403860 h 601980"/>
                <a:gd name="connsiteX10" fmla="*/ 975360 w 1325880"/>
                <a:gd name="connsiteY10" fmla="*/ 0 h 601980"/>
                <a:gd name="connsiteX11" fmla="*/ 320040 w 1325880"/>
                <a:gd name="connsiteY11" fmla="*/ 160020 h 601980"/>
                <a:gd name="connsiteX12" fmla="*/ 220980 w 1325880"/>
                <a:gd name="connsiteY12" fmla="*/ 220980 h 601980"/>
                <a:gd name="connsiteX13" fmla="*/ 0 w 1325880"/>
                <a:gd name="connsiteY13" fmla="*/ 289560 h 601980"/>
                <a:gd name="connsiteX14" fmla="*/ 38100 w 1325880"/>
                <a:gd name="connsiteY14" fmla="*/ 419100 h 601980"/>
                <a:gd name="connsiteX0" fmla="*/ 68580 w 1356360"/>
                <a:gd name="connsiteY0" fmla="*/ 419100 h 601980"/>
                <a:gd name="connsiteX1" fmla="*/ 304800 w 1356360"/>
                <a:gd name="connsiteY1" fmla="*/ 350520 h 601980"/>
                <a:gd name="connsiteX2" fmla="*/ 365760 w 1356360"/>
                <a:gd name="connsiteY2" fmla="*/ 381000 h 601980"/>
                <a:gd name="connsiteX3" fmla="*/ 678180 w 1356360"/>
                <a:gd name="connsiteY3" fmla="*/ 304800 h 601980"/>
                <a:gd name="connsiteX4" fmla="*/ 830580 w 1356360"/>
                <a:gd name="connsiteY4" fmla="*/ 373380 h 601980"/>
                <a:gd name="connsiteX5" fmla="*/ 304800 w 1356360"/>
                <a:gd name="connsiteY5" fmla="*/ 518160 h 601980"/>
                <a:gd name="connsiteX6" fmla="*/ 342900 w 1356360"/>
                <a:gd name="connsiteY6" fmla="*/ 556260 h 601980"/>
                <a:gd name="connsiteX7" fmla="*/ 426720 w 1356360"/>
                <a:gd name="connsiteY7" fmla="*/ 601980 h 601980"/>
                <a:gd name="connsiteX8" fmla="*/ 563880 w 1356360"/>
                <a:gd name="connsiteY8" fmla="*/ 601980 h 601980"/>
                <a:gd name="connsiteX9" fmla="*/ 1356360 w 1356360"/>
                <a:gd name="connsiteY9" fmla="*/ 403860 h 601980"/>
                <a:gd name="connsiteX10" fmla="*/ 1005840 w 1356360"/>
                <a:gd name="connsiteY10" fmla="*/ 0 h 601980"/>
                <a:gd name="connsiteX11" fmla="*/ 350520 w 1356360"/>
                <a:gd name="connsiteY11" fmla="*/ 160020 h 601980"/>
                <a:gd name="connsiteX12" fmla="*/ 251460 w 1356360"/>
                <a:gd name="connsiteY12" fmla="*/ 220980 h 601980"/>
                <a:gd name="connsiteX13" fmla="*/ 0 w 1356360"/>
                <a:gd name="connsiteY13" fmla="*/ 297180 h 601980"/>
                <a:gd name="connsiteX14" fmla="*/ 68580 w 1356360"/>
                <a:gd name="connsiteY14" fmla="*/ 419100 h 601980"/>
                <a:gd name="connsiteX0" fmla="*/ 46222 w 1334002"/>
                <a:gd name="connsiteY0" fmla="*/ 419100 h 601980"/>
                <a:gd name="connsiteX1" fmla="*/ 282442 w 1334002"/>
                <a:gd name="connsiteY1" fmla="*/ 350520 h 601980"/>
                <a:gd name="connsiteX2" fmla="*/ 343402 w 1334002"/>
                <a:gd name="connsiteY2" fmla="*/ 381000 h 601980"/>
                <a:gd name="connsiteX3" fmla="*/ 655822 w 1334002"/>
                <a:gd name="connsiteY3" fmla="*/ 304800 h 601980"/>
                <a:gd name="connsiteX4" fmla="*/ 808222 w 1334002"/>
                <a:gd name="connsiteY4" fmla="*/ 373380 h 601980"/>
                <a:gd name="connsiteX5" fmla="*/ 282442 w 1334002"/>
                <a:gd name="connsiteY5" fmla="*/ 518160 h 601980"/>
                <a:gd name="connsiteX6" fmla="*/ 320542 w 1334002"/>
                <a:gd name="connsiteY6" fmla="*/ 556260 h 601980"/>
                <a:gd name="connsiteX7" fmla="*/ 404362 w 1334002"/>
                <a:gd name="connsiteY7" fmla="*/ 601980 h 601980"/>
                <a:gd name="connsiteX8" fmla="*/ 541522 w 1334002"/>
                <a:gd name="connsiteY8" fmla="*/ 601980 h 601980"/>
                <a:gd name="connsiteX9" fmla="*/ 1334002 w 1334002"/>
                <a:gd name="connsiteY9" fmla="*/ 403860 h 601980"/>
                <a:gd name="connsiteX10" fmla="*/ 983482 w 1334002"/>
                <a:gd name="connsiteY10" fmla="*/ 0 h 601980"/>
                <a:gd name="connsiteX11" fmla="*/ 328162 w 1334002"/>
                <a:gd name="connsiteY11" fmla="*/ 160020 h 601980"/>
                <a:gd name="connsiteX12" fmla="*/ 229102 w 1334002"/>
                <a:gd name="connsiteY12" fmla="*/ 220980 h 601980"/>
                <a:gd name="connsiteX13" fmla="*/ 0 w 1334002"/>
                <a:gd name="connsiteY13" fmla="*/ 289560 h 601980"/>
                <a:gd name="connsiteX14" fmla="*/ 46222 w 1334002"/>
                <a:gd name="connsiteY14" fmla="*/ 419100 h 601980"/>
                <a:gd name="connsiteX0" fmla="*/ 32818 w 1320598"/>
                <a:gd name="connsiteY0" fmla="*/ 419100 h 601980"/>
                <a:gd name="connsiteX1" fmla="*/ 269038 w 1320598"/>
                <a:gd name="connsiteY1" fmla="*/ 350520 h 601980"/>
                <a:gd name="connsiteX2" fmla="*/ 329998 w 1320598"/>
                <a:gd name="connsiteY2" fmla="*/ 381000 h 601980"/>
                <a:gd name="connsiteX3" fmla="*/ 642418 w 1320598"/>
                <a:gd name="connsiteY3" fmla="*/ 304800 h 601980"/>
                <a:gd name="connsiteX4" fmla="*/ 794818 w 1320598"/>
                <a:gd name="connsiteY4" fmla="*/ 373380 h 601980"/>
                <a:gd name="connsiteX5" fmla="*/ 269038 w 1320598"/>
                <a:gd name="connsiteY5" fmla="*/ 518160 h 601980"/>
                <a:gd name="connsiteX6" fmla="*/ 307138 w 1320598"/>
                <a:gd name="connsiteY6" fmla="*/ 556260 h 601980"/>
                <a:gd name="connsiteX7" fmla="*/ 390958 w 1320598"/>
                <a:gd name="connsiteY7" fmla="*/ 601980 h 601980"/>
                <a:gd name="connsiteX8" fmla="*/ 528118 w 1320598"/>
                <a:gd name="connsiteY8" fmla="*/ 601980 h 601980"/>
                <a:gd name="connsiteX9" fmla="*/ 1320598 w 1320598"/>
                <a:gd name="connsiteY9" fmla="*/ 403860 h 601980"/>
                <a:gd name="connsiteX10" fmla="*/ 970078 w 1320598"/>
                <a:gd name="connsiteY10" fmla="*/ 0 h 601980"/>
                <a:gd name="connsiteX11" fmla="*/ 314758 w 1320598"/>
                <a:gd name="connsiteY11" fmla="*/ 160020 h 601980"/>
                <a:gd name="connsiteX12" fmla="*/ 215698 w 1320598"/>
                <a:gd name="connsiteY12" fmla="*/ 220980 h 601980"/>
                <a:gd name="connsiteX13" fmla="*/ 0 w 1320598"/>
                <a:gd name="connsiteY13" fmla="*/ 251475 h 601980"/>
                <a:gd name="connsiteX14" fmla="*/ 32818 w 1320598"/>
                <a:gd name="connsiteY14" fmla="*/ 419100 h 601980"/>
                <a:gd name="connsiteX0" fmla="*/ 32818 w 1320598"/>
                <a:gd name="connsiteY0" fmla="*/ 419100 h 601980"/>
                <a:gd name="connsiteX1" fmla="*/ 269038 w 1320598"/>
                <a:gd name="connsiteY1" fmla="*/ 350520 h 601980"/>
                <a:gd name="connsiteX2" fmla="*/ 329998 w 1320598"/>
                <a:gd name="connsiteY2" fmla="*/ 381000 h 601980"/>
                <a:gd name="connsiteX3" fmla="*/ 642418 w 1320598"/>
                <a:gd name="connsiteY3" fmla="*/ 304800 h 601980"/>
                <a:gd name="connsiteX4" fmla="*/ 794818 w 1320598"/>
                <a:gd name="connsiteY4" fmla="*/ 373380 h 601980"/>
                <a:gd name="connsiteX5" fmla="*/ 269038 w 1320598"/>
                <a:gd name="connsiteY5" fmla="*/ 518160 h 601980"/>
                <a:gd name="connsiteX6" fmla="*/ 307138 w 1320598"/>
                <a:gd name="connsiteY6" fmla="*/ 556260 h 601980"/>
                <a:gd name="connsiteX7" fmla="*/ 390958 w 1320598"/>
                <a:gd name="connsiteY7" fmla="*/ 601980 h 601980"/>
                <a:gd name="connsiteX8" fmla="*/ 528118 w 1320598"/>
                <a:gd name="connsiteY8" fmla="*/ 601980 h 601980"/>
                <a:gd name="connsiteX9" fmla="*/ 1320598 w 1320598"/>
                <a:gd name="connsiteY9" fmla="*/ 403860 h 601980"/>
                <a:gd name="connsiteX10" fmla="*/ 970078 w 1320598"/>
                <a:gd name="connsiteY10" fmla="*/ 0 h 601980"/>
                <a:gd name="connsiteX11" fmla="*/ 314758 w 1320598"/>
                <a:gd name="connsiteY11" fmla="*/ 160020 h 601980"/>
                <a:gd name="connsiteX12" fmla="*/ 204528 w 1320598"/>
                <a:gd name="connsiteY12" fmla="*/ 201937 h 601980"/>
                <a:gd name="connsiteX13" fmla="*/ 0 w 1320598"/>
                <a:gd name="connsiteY13" fmla="*/ 251475 h 601980"/>
                <a:gd name="connsiteX14" fmla="*/ 32818 w 1320598"/>
                <a:gd name="connsiteY14" fmla="*/ 419100 h 601980"/>
                <a:gd name="connsiteX0" fmla="*/ 32818 w 1320598"/>
                <a:gd name="connsiteY0" fmla="*/ 419100 h 601980"/>
                <a:gd name="connsiteX1" fmla="*/ 269038 w 1320598"/>
                <a:gd name="connsiteY1" fmla="*/ 350520 h 601980"/>
                <a:gd name="connsiteX2" fmla="*/ 329998 w 1320598"/>
                <a:gd name="connsiteY2" fmla="*/ 381000 h 601980"/>
                <a:gd name="connsiteX3" fmla="*/ 642418 w 1320598"/>
                <a:gd name="connsiteY3" fmla="*/ 304800 h 601980"/>
                <a:gd name="connsiteX4" fmla="*/ 794818 w 1320598"/>
                <a:gd name="connsiteY4" fmla="*/ 373380 h 601980"/>
                <a:gd name="connsiteX5" fmla="*/ 269038 w 1320598"/>
                <a:gd name="connsiteY5" fmla="*/ 518160 h 601980"/>
                <a:gd name="connsiteX6" fmla="*/ 307138 w 1320598"/>
                <a:gd name="connsiteY6" fmla="*/ 556260 h 601980"/>
                <a:gd name="connsiteX7" fmla="*/ 390958 w 1320598"/>
                <a:gd name="connsiteY7" fmla="*/ 601980 h 601980"/>
                <a:gd name="connsiteX8" fmla="*/ 528118 w 1320598"/>
                <a:gd name="connsiteY8" fmla="*/ 601980 h 601980"/>
                <a:gd name="connsiteX9" fmla="*/ 1320598 w 1320598"/>
                <a:gd name="connsiteY9" fmla="*/ 403860 h 601980"/>
                <a:gd name="connsiteX10" fmla="*/ 970078 w 1320598"/>
                <a:gd name="connsiteY10" fmla="*/ 0 h 601980"/>
                <a:gd name="connsiteX11" fmla="*/ 330396 w 1320598"/>
                <a:gd name="connsiteY11" fmla="*/ 110034 h 601980"/>
                <a:gd name="connsiteX12" fmla="*/ 204528 w 1320598"/>
                <a:gd name="connsiteY12" fmla="*/ 201937 h 601980"/>
                <a:gd name="connsiteX13" fmla="*/ 0 w 1320598"/>
                <a:gd name="connsiteY13" fmla="*/ 251475 h 601980"/>
                <a:gd name="connsiteX14" fmla="*/ 32818 w 1320598"/>
                <a:gd name="connsiteY14" fmla="*/ 419100 h 601980"/>
                <a:gd name="connsiteX0" fmla="*/ 32818 w 1320598"/>
                <a:gd name="connsiteY0" fmla="*/ 442904 h 625784"/>
                <a:gd name="connsiteX1" fmla="*/ 269038 w 1320598"/>
                <a:gd name="connsiteY1" fmla="*/ 374324 h 625784"/>
                <a:gd name="connsiteX2" fmla="*/ 329998 w 1320598"/>
                <a:gd name="connsiteY2" fmla="*/ 404804 h 625784"/>
                <a:gd name="connsiteX3" fmla="*/ 642418 w 1320598"/>
                <a:gd name="connsiteY3" fmla="*/ 328604 h 625784"/>
                <a:gd name="connsiteX4" fmla="*/ 794818 w 1320598"/>
                <a:gd name="connsiteY4" fmla="*/ 397184 h 625784"/>
                <a:gd name="connsiteX5" fmla="*/ 269038 w 1320598"/>
                <a:gd name="connsiteY5" fmla="*/ 541964 h 625784"/>
                <a:gd name="connsiteX6" fmla="*/ 307138 w 1320598"/>
                <a:gd name="connsiteY6" fmla="*/ 580064 h 625784"/>
                <a:gd name="connsiteX7" fmla="*/ 390958 w 1320598"/>
                <a:gd name="connsiteY7" fmla="*/ 625784 h 625784"/>
                <a:gd name="connsiteX8" fmla="*/ 528118 w 1320598"/>
                <a:gd name="connsiteY8" fmla="*/ 625784 h 625784"/>
                <a:gd name="connsiteX9" fmla="*/ 1320598 w 1320598"/>
                <a:gd name="connsiteY9" fmla="*/ 427664 h 625784"/>
                <a:gd name="connsiteX10" fmla="*/ 920931 w 1320598"/>
                <a:gd name="connsiteY10" fmla="*/ 0 h 625784"/>
                <a:gd name="connsiteX11" fmla="*/ 330396 w 1320598"/>
                <a:gd name="connsiteY11" fmla="*/ 133838 h 625784"/>
                <a:gd name="connsiteX12" fmla="*/ 204528 w 1320598"/>
                <a:gd name="connsiteY12" fmla="*/ 225741 h 625784"/>
                <a:gd name="connsiteX13" fmla="*/ 0 w 1320598"/>
                <a:gd name="connsiteY13" fmla="*/ 275279 h 625784"/>
                <a:gd name="connsiteX14" fmla="*/ 32818 w 1320598"/>
                <a:gd name="connsiteY14" fmla="*/ 442904 h 625784"/>
                <a:gd name="connsiteX0" fmla="*/ 32818 w 1320598"/>
                <a:gd name="connsiteY0" fmla="*/ 442904 h 625784"/>
                <a:gd name="connsiteX1" fmla="*/ 269038 w 1320598"/>
                <a:gd name="connsiteY1" fmla="*/ 374324 h 625784"/>
                <a:gd name="connsiteX2" fmla="*/ 329998 w 1320598"/>
                <a:gd name="connsiteY2" fmla="*/ 404804 h 625784"/>
                <a:gd name="connsiteX3" fmla="*/ 704968 w 1320598"/>
                <a:gd name="connsiteY3" fmla="*/ 319083 h 625784"/>
                <a:gd name="connsiteX4" fmla="*/ 794818 w 1320598"/>
                <a:gd name="connsiteY4" fmla="*/ 397184 h 625784"/>
                <a:gd name="connsiteX5" fmla="*/ 269038 w 1320598"/>
                <a:gd name="connsiteY5" fmla="*/ 541964 h 625784"/>
                <a:gd name="connsiteX6" fmla="*/ 307138 w 1320598"/>
                <a:gd name="connsiteY6" fmla="*/ 580064 h 625784"/>
                <a:gd name="connsiteX7" fmla="*/ 390958 w 1320598"/>
                <a:gd name="connsiteY7" fmla="*/ 625784 h 625784"/>
                <a:gd name="connsiteX8" fmla="*/ 528118 w 1320598"/>
                <a:gd name="connsiteY8" fmla="*/ 625784 h 625784"/>
                <a:gd name="connsiteX9" fmla="*/ 1320598 w 1320598"/>
                <a:gd name="connsiteY9" fmla="*/ 427664 h 625784"/>
                <a:gd name="connsiteX10" fmla="*/ 920931 w 1320598"/>
                <a:gd name="connsiteY10" fmla="*/ 0 h 625784"/>
                <a:gd name="connsiteX11" fmla="*/ 330396 w 1320598"/>
                <a:gd name="connsiteY11" fmla="*/ 133838 h 625784"/>
                <a:gd name="connsiteX12" fmla="*/ 204528 w 1320598"/>
                <a:gd name="connsiteY12" fmla="*/ 225741 h 625784"/>
                <a:gd name="connsiteX13" fmla="*/ 0 w 1320598"/>
                <a:gd name="connsiteY13" fmla="*/ 275279 h 625784"/>
                <a:gd name="connsiteX14" fmla="*/ 32818 w 1320598"/>
                <a:gd name="connsiteY14" fmla="*/ 442904 h 625784"/>
                <a:gd name="connsiteX0" fmla="*/ 32818 w 1320598"/>
                <a:gd name="connsiteY0" fmla="*/ 442904 h 625784"/>
                <a:gd name="connsiteX1" fmla="*/ 315950 w 1320598"/>
                <a:gd name="connsiteY1" fmla="*/ 376705 h 625784"/>
                <a:gd name="connsiteX2" fmla="*/ 329998 w 1320598"/>
                <a:gd name="connsiteY2" fmla="*/ 404804 h 625784"/>
                <a:gd name="connsiteX3" fmla="*/ 704968 w 1320598"/>
                <a:gd name="connsiteY3" fmla="*/ 319083 h 625784"/>
                <a:gd name="connsiteX4" fmla="*/ 794818 w 1320598"/>
                <a:gd name="connsiteY4" fmla="*/ 397184 h 625784"/>
                <a:gd name="connsiteX5" fmla="*/ 269038 w 1320598"/>
                <a:gd name="connsiteY5" fmla="*/ 541964 h 625784"/>
                <a:gd name="connsiteX6" fmla="*/ 307138 w 1320598"/>
                <a:gd name="connsiteY6" fmla="*/ 580064 h 625784"/>
                <a:gd name="connsiteX7" fmla="*/ 390958 w 1320598"/>
                <a:gd name="connsiteY7" fmla="*/ 625784 h 625784"/>
                <a:gd name="connsiteX8" fmla="*/ 528118 w 1320598"/>
                <a:gd name="connsiteY8" fmla="*/ 625784 h 625784"/>
                <a:gd name="connsiteX9" fmla="*/ 1320598 w 1320598"/>
                <a:gd name="connsiteY9" fmla="*/ 427664 h 625784"/>
                <a:gd name="connsiteX10" fmla="*/ 920931 w 1320598"/>
                <a:gd name="connsiteY10" fmla="*/ 0 h 625784"/>
                <a:gd name="connsiteX11" fmla="*/ 330396 w 1320598"/>
                <a:gd name="connsiteY11" fmla="*/ 133838 h 625784"/>
                <a:gd name="connsiteX12" fmla="*/ 204528 w 1320598"/>
                <a:gd name="connsiteY12" fmla="*/ 225741 h 625784"/>
                <a:gd name="connsiteX13" fmla="*/ 0 w 1320598"/>
                <a:gd name="connsiteY13" fmla="*/ 275279 h 625784"/>
                <a:gd name="connsiteX14" fmla="*/ 32818 w 1320598"/>
                <a:gd name="connsiteY14" fmla="*/ 442904 h 625784"/>
                <a:gd name="connsiteX0" fmla="*/ 32818 w 1320598"/>
                <a:gd name="connsiteY0" fmla="*/ 442904 h 625784"/>
                <a:gd name="connsiteX1" fmla="*/ 315950 w 1320598"/>
                <a:gd name="connsiteY1" fmla="*/ 376705 h 625784"/>
                <a:gd name="connsiteX2" fmla="*/ 329998 w 1320598"/>
                <a:gd name="connsiteY2" fmla="*/ 404804 h 625784"/>
                <a:gd name="connsiteX3" fmla="*/ 704968 w 1320598"/>
                <a:gd name="connsiteY3" fmla="*/ 319083 h 625784"/>
                <a:gd name="connsiteX4" fmla="*/ 823859 w 1320598"/>
                <a:gd name="connsiteY4" fmla="*/ 401944 h 625784"/>
                <a:gd name="connsiteX5" fmla="*/ 269038 w 1320598"/>
                <a:gd name="connsiteY5" fmla="*/ 541964 h 625784"/>
                <a:gd name="connsiteX6" fmla="*/ 307138 w 1320598"/>
                <a:gd name="connsiteY6" fmla="*/ 580064 h 625784"/>
                <a:gd name="connsiteX7" fmla="*/ 390958 w 1320598"/>
                <a:gd name="connsiteY7" fmla="*/ 625784 h 625784"/>
                <a:gd name="connsiteX8" fmla="*/ 528118 w 1320598"/>
                <a:gd name="connsiteY8" fmla="*/ 625784 h 625784"/>
                <a:gd name="connsiteX9" fmla="*/ 1320598 w 1320598"/>
                <a:gd name="connsiteY9" fmla="*/ 427664 h 625784"/>
                <a:gd name="connsiteX10" fmla="*/ 920931 w 1320598"/>
                <a:gd name="connsiteY10" fmla="*/ 0 h 625784"/>
                <a:gd name="connsiteX11" fmla="*/ 330396 w 1320598"/>
                <a:gd name="connsiteY11" fmla="*/ 133838 h 625784"/>
                <a:gd name="connsiteX12" fmla="*/ 204528 w 1320598"/>
                <a:gd name="connsiteY12" fmla="*/ 225741 h 625784"/>
                <a:gd name="connsiteX13" fmla="*/ 0 w 1320598"/>
                <a:gd name="connsiteY13" fmla="*/ 275279 h 625784"/>
                <a:gd name="connsiteX14" fmla="*/ 32818 w 1320598"/>
                <a:gd name="connsiteY14" fmla="*/ 442904 h 625784"/>
                <a:gd name="connsiteX0" fmla="*/ 32818 w 1320598"/>
                <a:gd name="connsiteY0" fmla="*/ 442904 h 625784"/>
                <a:gd name="connsiteX1" fmla="*/ 315950 w 1320598"/>
                <a:gd name="connsiteY1" fmla="*/ 376705 h 625784"/>
                <a:gd name="connsiteX2" fmla="*/ 329998 w 1320598"/>
                <a:gd name="connsiteY2" fmla="*/ 404804 h 625784"/>
                <a:gd name="connsiteX3" fmla="*/ 704968 w 1320598"/>
                <a:gd name="connsiteY3" fmla="*/ 319083 h 625784"/>
                <a:gd name="connsiteX4" fmla="*/ 823859 w 1320598"/>
                <a:gd name="connsiteY4" fmla="*/ 401944 h 625784"/>
                <a:gd name="connsiteX5" fmla="*/ 304781 w 1320598"/>
                <a:gd name="connsiteY5" fmla="*/ 522922 h 625784"/>
                <a:gd name="connsiteX6" fmla="*/ 307138 w 1320598"/>
                <a:gd name="connsiteY6" fmla="*/ 580064 h 625784"/>
                <a:gd name="connsiteX7" fmla="*/ 390958 w 1320598"/>
                <a:gd name="connsiteY7" fmla="*/ 625784 h 625784"/>
                <a:gd name="connsiteX8" fmla="*/ 528118 w 1320598"/>
                <a:gd name="connsiteY8" fmla="*/ 625784 h 625784"/>
                <a:gd name="connsiteX9" fmla="*/ 1320598 w 1320598"/>
                <a:gd name="connsiteY9" fmla="*/ 427664 h 625784"/>
                <a:gd name="connsiteX10" fmla="*/ 920931 w 1320598"/>
                <a:gd name="connsiteY10" fmla="*/ 0 h 625784"/>
                <a:gd name="connsiteX11" fmla="*/ 330396 w 1320598"/>
                <a:gd name="connsiteY11" fmla="*/ 133838 h 625784"/>
                <a:gd name="connsiteX12" fmla="*/ 204528 w 1320598"/>
                <a:gd name="connsiteY12" fmla="*/ 225741 h 625784"/>
                <a:gd name="connsiteX13" fmla="*/ 0 w 1320598"/>
                <a:gd name="connsiteY13" fmla="*/ 275279 h 625784"/>
                <a:gd name="connsiteX14" fmla="*/ 32818 w 1320598"/>
                <a:gd name="connsiteY14" fmla="*/ 442904 h 625784"/>
                <a:gd name="connsiteX0" fmla="*/ 32818 w 1320598"/>
                <a:gd name="connsiteY0" fmla="*/ 442904 h 625784"/>
                <a:gd name="connsiteX1" fmla="*/ 315950 w 1320598"/>
                <a:gd name="connsiteY1" fmla="*/ 376705 h 625784"/>
                <a:gd name="connsiteX2" fmla="*/ 329998 w 1320598"/>
                <a:gd name="connsiteY2" fmla="*/ 404804 h 625784"/>
                <a:gd name="connsiteX3" fmla="*/ 704968 w 1320598"/>
                <a:gd name="connsiteY3" fmla="*/ 319083 h 625784"/>
                <a:gd name="connsiteX4" fmla="*/ 823859 w 1320598"/>
                <a:gd name="connsiteY4" fmla="*/ 401944 h 625784"/>
                <a:gd name="connsiteX5" fmla="*/ 304781 w 1320598"/>
                <a:gd name="connsiteY5" fmla="*/ 522922 h 625784"/>
                <a:gd name="connsiteX6" fmla="*/ 316074 w 1320598"/>
                <a:gd name="connsiteY6" fmla="*/ 572923 h 625784"/>
                <a:gd name="connsiteX7" fmla="*/ 390958 w 1320598"/>
                <a:gd name="connsiteY7" fmla="*/ 625784 h 625784"/>
                <a:gd name="connsiteX8" fmla="*/ 528118 w 1320598"/>
                <a:gd name="connsiteY8" fmla="*/ 625784 h 625784"/>
                <a:gd name="connsiteX9" fmla="*/ 1320598 w 1320598"/>
                <a:gd name="connsiteY9" fmla="*/ 427664 h 625784"/>
                <a:gd name="connsiteX10" fmla="*/ 920931 w 1320598"/>
                <a:gd name="connsiteY10" fmla="*/ 0 h 625784"/>
                <a:gd name="connsiteX11" fmla="*/ 330396 w 1320598"/>
                <a:gd name="connsiteY11" fmla="*/ 133838 h 625784"/>
                <a:gd name="connsiteX12" fmla="*/ 204528 w 1320598"/>
                <a:gd name="connsiteY12" fmla="*/ 225741 h 625784"/>
                <a:gd name="connsiteX13" fmla="*/ 0 w 1320598"/>
                <a:gd name="connsiteY13" fmla="*/ 275279 h 625784"/>
                <a:gd name="connsiteX14" fmla="*/ 32818 w 1320598"/>
                <a:gd name="connsiteY14" fmla="*/ 442904 h 625784"/>
                <a:gd name="connsiteX0" fmla="*/ 32818 w 1320598"/>
                <a:gd name="connsiteY0" fmla="*/ 442904 h 711476"/>
                <a:gd name="connsiteX1" fmla="*/ 315950 w 1320598"/>
                <a:gd name="connsiteY1" fmla="*/ 376705 h 711476"/>
                <a:gd name="connsiteX2" fmla="*/ 329998 w 1320598"/>
                <a:gd name="connsiteY2" fmla="*/ 404804 h 711476"/>
                <a:gd name="connsiteX3" fmla="*/ 704968 w 1320598"/>
                <a:gd name="connsiteY3" fmla="*/ 319083 h 711476"/>
                <a:gd name="connsiteX4" fmla="*/ 823859 w 1320598"/>
                <a:gd name="connsiteY4" fmla="*/ 401944 h 711476"/>
                <a:gd name="connsiteX5" fmla="*/ 304781 w 1320598"/>
                <a:gd name="connsiteY5" fmla="*/ 522922 h 711476"/>
                <a:gd name="connsiteX6" fmla="*/ 316074 w 1320598"/>
                <a:gd name="connsiteY6" fmla="*/ 572923 h 711476"/>
                <a:gd name="connsiteX7" fmla="*/ 451273 w 1320598"/>
                <a:gd name="connsiteY7" fmla="*/ 711476 h 711476"/>
                <a:gd name="connsiteX8" fmla="*/ 528118 w 1320598"/>
                <a:gd name="connsiteY8" fmla="*/ 625784 h 711476"/>
                <a:gd name="connsiteX9" fmla="*/ 1320598 w 1320598"/>
                <a:gd name="connsiteY9" fmla="*/ 427664 h 711476"/>
                <a:gd name="connsiteX10" fmla="*/ 920931 w 1320598"/>
                <a:gd name="connsiteY10" fmla="*/ 0 h 711476"/>
                <a:gd name="connsiteX11" fmla="*/ 330396 w 1320598"/>
                <a:gd name="connsiteY11" fmla="*/ 133838 h 711476"/>
                <a:gd name="connsiteX12" fmla="*/ 204528 w 1320598"/>
                <a:gd name="connsiteY12" fmla="*/ 225741 h 711476"/>
                <a:gd name="connsiteX13" fmla="*/ 0 w 1320598"/>
                <a:gd name="connsiteY13" fmla="*/ 275279 h 711476"/>
                <a:gd name="connsiteX14" fmla="*/ 32818 w 1320598"/>
                <a:gd name="connsiteY14" fmla="*/ 442904 h 711476"/>
                <a:gd name="connsiteX0" fmla="*/ 32818 w 1320598"/>
                <a:gd name="connsiteY0" fmla="*/ 442904 h 625784"/>
                <a:gd name="connsiteX1" fmla="*/ 315950 w 1320598"/>
                <a:gd name="connsiteY1" fmla="*/ 376705 h 625784"/>
                <a:gd name="connsiteX2" fmla="*/ 329998 w 1320598"/>
                <a:gd name="connsiteY2" fmla="*/ 404804 h 625784"/>
                <a:gd name="connsiteX3" fmla="*/ 704968 w 1320598"/>
                <a:gd name="connsiteY3" fmla="*/ 319083 h 625784"/>
                <a:gd name="connsiteX4" fmla="*/ 823859 w 1320598"/>
                <a:gd name="connsiteY4" fmla="*/ 401944 h 625784"/>
                <a:gd name="connsiteX5" fmla="*/ 304781 w 1320598"/>
                <a:gd name="connsiteY5" fmla="*/ 522922 h 625784"/>
                <a:gd name="connsiteX6" fmla="*/ 316074 w 1320598"/>
                <a:gd name="connsiteY6" fmla="*/ 572923 h 625784"/>
                <a:gd name="connsiteX7" fmla="*/ 528118 w 1320598"/>
                <a:gd name="connsiteY7" fmla="*/ 625784 h 625784"/>
                <a:gd name="connsiteX8" fmla="*/ 1320598 w 1320598"/>
                <a:gd name="connsiteY8" fmla="*/ 427664 h 625784"/>
                <a:gd name="connsiteX9" fmla="*/ 920931 w 1320598"/>
                <a:gd name="connsiteY9" fmla="*/ 0 h 625784"/>
                <a:gd name="connsiteX10" fmla="*/ 330396 w 1320598"/>
                <a:gd name="connsiteY10" fmla="*/ 133838 h 625784"/>
                <a:gd name="connsiteX11" fmla="*/ 204528 w 1320598"/>
                <a:gd name="connsiteY11" fmla="*/ 225741 h 625784"/>
                <a:gd name="connsiteX12" fmla="*/ 0 w 1320598"/>
                <a:gd name="connsiteY12" fmla="*/ 275279 h 625784"/>
                <a:gd name="connsiteX13" fmla="*/ 32818 w 1320598"/>
                <a:gd name="connsiteY13" fmla="*/ 442904 h 625784"/>
                <a:gd name="connsiteX0" fmla="*/ 32818 w 1320598"/>
                <a:gd name="connsiteY0" fmla="*/ 442904 h 630544"/>
                <a:gd name="connsiteX1" fmla="*/ 315950 w 1320598"/>
                <a:gd name="connsiteY1" fmla="*/ 376705 h 630544"/>
                <a:gd name="connsiteX2" fmla="*/ 329998 w 1320598"/>
                <a:gd name="connsiteY2" fmla="*/ 404804 h 630544"/>
                <a:gd name="connsiteX3" fmla="*/ 704968 w 1320598"/>
                <a:gd name="connsiteY3" fmla="*/ 319083 h 630544"/>
                <a:gd name="connsiteX4" fmla="*/ 823859 w 1320598"/>
                <a:gd name="connsiteY4" fmla="*/ 401944 h 630544"/>
                <a:gd name="connsiteX5" fmla="*/ 304781 w 1320598"/>
                <a:gd name="connsiteY5" fmla="*/ 522922 h 630544"/>
                <a:gd name="connsiteX6" fmla="*/ 316074 w 1320598"/>
                <a:gd name="connsiteY6" fmla="*/ 572923 h 630544"/>
                <a:gd name="connsiteX7" fmla="*/ 423123 w 1320598"/>
                <a:gd name="connsiteY7" fmla="*/ 630544 h 630544"/>
                <a:gd name="connsiteX8" fmla="*/ 1320598 w 1320598"/>
                <a:gd name="connsiteY8" fmla="*/ 427664 h 630544"/>
                <a:gd name="connsiteX9" fmla="*/ 920931 w 1320598"/>
                <a:gd name="connsiteY9" fmla="*/ 0 h 630544"/>
                <a:gd name="connsiteX10" fmla="*/ 330396 w 1320598"/>
                <a:gd name="connsiteY10" fmla="*/ 133838 h 630544"/>
                <a:gd name="connsiteX11" fmla="*/ 204528 w 1320598"/>
                <a:gd name="connsiteY11" fmla="*/ 225741 h 630544"/>
                <a:gd name="connsiteX12" fmla="*/ 0 w 1320598"/>
                <a:gd name="connsiteY12" fmla="*/ 275279 h 630544"/>
                <a:gd name="connsiteX13" fmla="*/ 32818 w 1320598"/>
                <a:gd name="connsiteY13" fmla="*/ 442904 h 630544"/>
                <a:gd name="connsiteX0" fmla="*/ 32818 w 1320598"/>
                <a:gd name="connsiteY0" fmla="*/ 442904 h 630885"/>
                <a:gd name="connsiteX1" fmla="*/ 315950 w 1320598"/>
                <a:gd name="connsiteY1" fmla="*/ 376705 h 630885"/>
                <a:gd name="connsiteX2" fmla="*/ 329998 w 1320598"/>
                <a:gd name="connsiteY2" fmla="*/ 404804 h 630885"/>
                <a:gd name="connsiteX3" fmla="*/ 704968 w 1320598"/>
                <a:gd name="connsiteY3" fmla="*/ 319083 h 630885"/>
                <a:gd name="connsiteX4" fmla="*/ 823859 w 1320598"/>
                <a:gd name="connsiteY4" fmla="*/ 401944 h 630885"/>
                <a:gd name="connsiteX5" fmla="*/ 304781 w 1320598"/>
                <a:gd name="connsiteY5" fmla="*/ 522922 h 630885"/>
                <a:gd name="connsiteX6" fmla="*/ 316074 w 1320598"/>
                <a:gd name="connsiteY6" fmla="*/ 572923 h 630885"/>
                <a:gd name="connsiteX7" fmla="*/ 423123 w 1320598"/>
                <a:gd name="connsiteY7" fmla="*/ 630544 h 630885"/>
                <a:gd name="connsiteX8" fmla="*/ 1320598 w 1320598"/>
                <a:gd name="connsiteY8" fmla="*/ 427664 h 630885"/>
                <a:gd name="connsiteX9" fmla="*/ 920931 w 1320598"/>
                <a:gd name="connsiteY9" fmla="*/ 0 h 630885"/>
                <a:gd name="connsiteX10" fmla="*/ 330396 w 1320598"/>
                <a:gd name="connsiteY10" fmla="*/ 133838 h 630885"/>
                <a:gd name="connsiteX11" fmla="*/ 204528 w 1320598"/>
                <a:gd name="connsiteY11" fmla="*/ 225741 h 630885"/>
                <a:gd name="connsiteX12" fmla="*/ 0 w 1320598"/>
                <a:gd name="connsiteY12" fmla="*/ 275279 h 630885"/>
                <a:gd name="connsiteX13" fmla="*/ 32818 w 1320598"/>
                <a:gd name="connsiteY13" fmla="*/ 442904 h 630885"/>
                <a:gd name="connsiteX0" fmla="*/ 32818 w 1320598"/>
                <a:gd name="connsiteY0" fmla="*/ 442904 h 631106"/>
                <a:gd name="connsiteX1" fmla="*/ 315950 w 1320598"/>
                <a:gd name="connsiteY1" fmla="*/ 376705 h 631106"/>
                <a:gd name="connsiteX2" fmla="*/ 329998 w 1320598"/>
                <a:gd name="connsiteY2" fmla="*/ 404804 h 631106"/>
                <a:gd name="connsiteX3" fmla="*/ 704968 w 1320598"/>
                <a:gd name="connsiteY3" fmla="*/ 319083 h 631106"/>
                <a:gd name="connsiteX4" fmla="*/ 823859 w 1320598"/>
                <a:gd name="connsiteY4" fmla="*/ 401944 h 631106"/>
                <a:gd name="connsiteX5" fmla="*/ 304781 w 1320598"/>
                <a:gd name="connsiteY5" fmla="*/ 522922 h 631106"/>
                <a:gd name="connsiteX6" fmla="*/ 316074 w 1320598"/>
                <a:gd name="connsiteY6" fmla="*/ 572923 h 631106"/>
                <a:gd name="connsiteX7" fmla="*/ 423123 w 1320598"/>
                <a:gd name="connsiteY7" fmla="*/ 630544 h 631106"/>
                <a:gd name="connsiteX8" fmla="*/ 1320598 w 1320598"/>
                <a:gd name="connsiteY8" fmla="*/ 427664 h 631106"/>
                <a:gd name="connsiteX9" fmla="*/ 920931 w 1320598"/>
                <a:gd name="connsiteY9" fmla="*/ 0 h 631106"/>
                <a:gd name="connsiteX10" fmla="*/ 330396 w 1320598"/>
                <a:gd name="connsiteY10" fmla="*/ 133838 h 631106"/>
                <a:gd name="connsiteX11" fmla="*/ 204528 w 1320598"/>
                <a:gd name="connsiteY11" fmla="*/ 225741 h 631106"/>
                <a:gd name="connsiteX12" fmla="*/ 0 w 1320598"/>
                <a:gd name="connsiteY12" fmla="*/ 275279 h 631106"/>
                <a:gd name="connsiteX13" fmla="*/ 32818 w 1320598"/>
                <a:gd name="connsiteY13" fmla="*/ 442904 h 631106"/>
                <a:gd name="connsiteX0" fmla="*/ 32818 w 1320598"/>
                <a:gd name="connsiteY0" fmla="*/ 442904 h 631106"/>
                <a:gd name="connsiteX1" fmla="*/ 315950 w 1320598"/>
                <a:gd name="connsiteY1" fmla="*/ 376705 h 631106"/>
                <a:gd name="connsiteX2" fmla="*/ 329998 w 1320598"/>
                <a:gd name="connsiteY2" fmla="*/ 404804 h 631106"/>
                <a:gd name="connsiteX3" fmla="*/ 704968 w 1320598"/>
                <a:gd name="connsiteY3" fmla="*/ 319083 h 631106"/>
                <a:gd name="connsiteX4" fmla="*/ 823859 w 1320598"/>
                <a:gd name="connsiteY4" fmla="*/ 401944 h 631106"/>
                <a:gd name="connsiteX5" fmla="*/ 304781 w 1320598"/>
                <a:gd name="connsiteY5" fmla="*/ 522922 h 631106"/>
                <a:gd name="connsiteX6" fmla="*/ 316074 w 1320598"/>
                <a:gd name="connsiteY6" fmla="*/ 572923 h 631106"/>
                <a:gd name="connsiteX7" fmla="*/ 423123 w 1320598"/>
                <a:gd name="connsiteY7" fmla="*/ 630544 h 631106"/>
                <a:gd name="connsiteX8" fmla="*/ 1320598 w 1320598"/>
                <a:gd name="connsiteY8" fmla="*/ 427664 h 631106"/>
                <a:gd name="connsiteX9" fmla="*/ 920931 w 1320598"/>
                <a:gd name="connsiteY9" fmla="*/ 0 h 631106"/>
                <a:gd name="connsiteX10" fmla="*/ 330396 w 1320598"/>
                <a:gd name="connsiteY10" fmla="*/ 133838 h 631106"/>
                <a:gd name="connsiteX11" fmla="*/ 191124 w 1320598"/>
                <a:gd name="connsiteY11" fmla="*/ 225741 h 631106"/>
                <a:gd name="connsiteX12" fmla="*/ 0 w 1320598"/>
                <a:gd name="connsiteY12" fmla="*/ 275279 h 631106"/>
                <a:gd name="connsiteX13" fmla="*/ 32818 w 1320598"/>
                <a:gd name="connsiteY13" fmla="*/ 442904 h 631106"/>
                <a:gd name="connsiteX0" fmla="*/ 32818 w 1320598"/>
                <a:gd name="connsiteY0" fmla="*/ 442904 h 631106"/>
                <a:gd name="connsiteX1" fmla="*/ 315950 w 1320598"/>
                <a:gd name="connsiteY1" fmla="*/ 376705 h 631106"/>
                <a:gd name="connsiteX2" fmla="*/ 329998 w 1320598"/>
                <a:gd name="connsiteY2" fmla="*/ 404804 h 631106"/>
                <a:gd name="connsiteX3" fmla="*/ 704968 w 1320598"/>
                <a:gd name="connsiteY3" fmla="*/ 319083 h 631106"/>
                <a:gd name="connsiteX4" fmla="*/ 823859 w 1320598"/>
                <a:gd name="connsiteY4" fmla="*/ 401944 h 631106"/>
                <a:gd name="connsiteX5" fmla="*/ 304781 w 1320598"/>
                <a:gd name="connsiteY5" fmla="*/ 522922 h 631106"/>
                <a:gd name="connsiteX6" fmla="*/ 316074 w 1320598"/>
                <a:gd name="connsiteY6" fmla="*/ 572923 h 631106"/>
                <a:gd name="connsiteX7" fmla="*/ 423123 w 1320598"/>
                <a:gd name="connsiteY7" fmla="*/ 630544 h 631106"/>
                <a:gd name="connsiteX8" fmla="*/ 1320598 w 1320598"/>
                <a:gd name="connsiteY8" fmla="*/ 427664 h 631106"/>
                <a:gd name="connsiteX9" fmla="*/ 920931 w 1320598"/>
                <a:gd name="connsiteY9" fmla="*/ 0 h 631106"/>
                <a:gd name="connsiteX10" fmla="*/ 312524 w 1320598"/>
                <a:gd name="connsiteY10" fmla="*/ 133838 h 631106"/>
                <a:gd name="connsiteX11" fmla="*/ 191124 w 1320598"/>
                <a:gd name="connsiteY11" fmla="*/ 225741 h 631106"/>
                <a:gd name="connsiteX12" fmla="*/ 0 w 1320598"/>
                <a:gd name="connsiteY12" fmla="*/ 275279 h 631106"/>
                <a:gd name="connsiteX13" fmla="*/ 32818 w 1320598"/>
                <a:gd name="connsiteY13" fmla="*/ 442904 h 631106"/>
                <a:gd name="connsiteX0" fmla="*/ 32818 w 1320598"/>
                <a:gd name="connsiteY0" fmla="*/ 442904 h 631106"/>
                <a:gd name="connsiteX1" fmla="*/ 315950 w 1320598"/>
                <a:gd name="connsiteY1" fmla="*/ 376705 h 631106"/>
                <a:gd name="connsiteX2" fmla="*/ 329998 w 1320598"/>
                <a:gd name="connsiteY2" fmla="*/ 404804 h 631106"/>
                <a:gd name="connsiteX3" fmla="*/ 704968 w 1320598"/>
                <a:gd name="connsiteY3" fmla="*/ 319083 h 631106"/>
                <a:gd name="connsiteX4" fmla="*/ 760906 w 1320598"/>
                <a:gd name="connsiteY4" fmla="*/ 361475 h 631106"/>
                <a:gd name="connsiteX5" fmla="*/ 823859 w 1320598"/>
                <a:gd name="connsiteY5" fmla="*/ 401944 h 631106"/>
                <a:gd name="connsiteX6" fmla="*/ 304781 w 1320598"/>
                <a:gd name="connsiteY6" fmla="*/ 522922 h 631106"/>
                <a:gd name="connsiteX7" fmla="*/ 316074 w 1320598"/>
                <a:gd name="connsiteY7" fmla="*/ 572923 h 631106"/>
                <a:gd name="connsiteX8" fmla="*/ 423123 w 1320598"/>
                <a:gd name="connsiteY8" fmla="*/ 630544 h 631106"/>
                <a:gd name="connsiteX9" fmla="*/ 1320598 w 1320598"/>
                <a:gd name="connsiteY9" fmla="*/ 427664 h 631106"/>
                <a:gd name="connsiteX10" fmla="*/ 920931 w 1320598"/>
                <a:gd name="connsiteY10" fmla="*/ 0 h 631106"/>
                <a:gd name="connsiteX11" fmla="*/ 312524 w 1320598"/>
                <a:gd name="connsiteY11" fmla="*/ 133838 h 631106"/>
                <a:gd name="connsiteX12" fmla="*/ 191124 w 1320598"/>
                <a:gd name="connsiteY12" fmla="*/ 225741 h 631106"/>
                <a:gd name="connsiteX13" fmla="*/ 0 w 1320598"/>
                <a:gd name="connsiteY13" fmla="*/ 275279 h 631106"/>
                <a:gd name="connsiteX14" fmla="*/ 32818 w 1320598"/>
                <a:gd name="connsiteY14" fmla="*/ 442904 h 631106"/>
                <a:gd name="connsiteX0" fmla="*/ 32818 w 1320598"/>
                <a:gd name="connsiteY0" fmla="*/ 442904 h 631106"/>
                <a:gd name="connsiteX1" fmla="*/ 315950 w 1320598"/>
                <a:gd name="connsiteY1" fmla="*/ 376705 h 631106"/>
                <a:gd name="connsiteX2" fmla="*/ 329998 w 1320598"/>
                <a:gd name="connsiteY2" fmla="*/ 404804 h 631106"/>
                <a:gd name="connsiteX3" fmla="*/ 704968 w 1320598"/>
                <a:gd name="connsiteY3" fmla="*/ 319083 h 631106"/>
                <a:gd name="connsiteX4" fmla="*/ 843563 w 1320598"/>
                <a:gd name="connsiteY4" fmla="*/ 342432 h 631106"/>
                <a:gd name="connsiteX5" fmla="*/ 823859 w 1320598"/>
                <a:gd name="connsiteY5" fmla="*/ 401944 h 631106"/>
                <a:gd name="connsiteX6" fmla="*/ 304781 w 1320598"/>
                <a:gd name="connsiteY6" fmla="*/ 522922 h 631106"/>
                <a:gd name="connsiteX7" fmla="*/ 316074 w 1320598"/>
                <a:gd name="connsiteY7" fmla="*/ 572923 h 631106"/>
                <a:gd name="connsiteX8" fmla="*/ 423123 w 1320598"/>
                <a:gd name="connsiteY8" fmla="*/ 630544 h 631106"/>
                <a:gd name="connsiteX9" fmla="*/ 1320598 w 1320598"/>
                <a:gd name="connsiteY9" fmla="*/ 427664 h 631106"/>
                <a:gd name="connsiteX10" fmla="*/ 920931 w 1320598"/>
                <a:gd name="connsiteY10" fmla="*/ 0 h 631106"/>
                <a:gd name="connsiteX11" fmla="*/ 312524 w 1320598"/>
                <a:gd name="connsiteY11" fmla="*/ 133838 h 631106"/>
                <a:gd name="connsiteX12" fmla="*/ 191124 w 1320598"/>
                <a:gd name="connsiteY12" fmla="*/ 225741 h 631106"/>
                <a:gd name="connsiteX13" fmla="*/ 0 w 1320598"/>
                <a:gd name="connsiteY13" fmla="*/ 275279 h 631106"/>
                <a:gd name="connsiteX14" fmla="*/ 32818 w 1320598"/>
                <a:gd name="connsiteY14" fmla="*/ 442904 h 631106"/>
                <a:gd name="connsiteX0" fmla="*/ 32818 w 1320598"/>
                <a:gd name="connsiteY0" fmla="*/ 442904 h 631106"/>
                <a:gd name="connsiteX1" fmla="*/ 315950 w 1320598"/>
                <a:gd name="connsiteY1" fmla="*/ 376705 h 631106"/>
                <a:gd name="connsiteX2" fmla="*/ 329998 w 1320598"/>
                <a:gd name="connsiteY2" fmla="*/ 404804 h 631106"/>
                <a:gd name="connsiteX3" fmla="*/ 704968 w 1320598"/>
                <a:gd name="connsiteY3" fmla="*/ 319083 h 631106"/>
                <a:gd name="connsiteX4" fmla="*/ 843563 w 1320598"/>
                <a:gd name="connsiteY4" fmla="*/ 342432 h 631106"/>
                <a:gd name="connsiteX5" fmla="*/ 827925 w 1320598"/>
                <a:gd name="connsiteY5" fmla="*/ 378137 h 631106"/>
                <a:gd name="connsiteX6" fmla="*/ 823859 w 1320598"/>
                <a:gd name="connsiteY6" fmla="*/ 401944 h 631106"/>
                <a:gd name="connsiteX7" fmla="*/ 304781 w 1320598"/>
                <a:gd name="connsiteY7" fmla="*/ 522922 h 631106"/>
                <a:gd name="connsiteX8" fmla="*/ 316074 w 1320598"/>
                <a:gd name="connsiteY8" fmla="*/ 572923 h 631106"/>
                <a:gd name="connsiteX9" fmla="*/ 423123 w 1320598"/>
                <a:gd name="connsiteY9" fmla="*/ 630544 h 631106"/>
                <a:gd name="connsiteX10" fmla="*/ 1320598 w 1320598"/>
                <a:gd name="connsiteY10" fmla="*/ 427664 h 631106"/>
                <a:gd name="connsiteX11" fmla="*/ 920931 w 1320598"/>
                <a:gd name="connsiteY11" fmla="*/ 0 h 631106"/>
                <a:gd name="connsiteX12" fmla="*/ 312524 w 1320598"/>
                <a:gd name="connsiteY12" fmla="*/ 133838 h 631106"/>
                <a:gd name="connsiteX13" fmla="*/ 191124 w 1320598"/>
                <a:gd name="connsiteY13" fmla="*/ 225741 h 631106"/>
                <a:gd name="connsiteX14" fmla="*/ 0 w 1320598"/>
                <a:gd name="connsiteY14" fmla="*/ 275279 h 631106"/>
                <a:gd name="connsiteX15" fmla="*/ 32818 w 1320598"/>
                <a:gd name="connsiteY15" fmla="*/ 442904 h 631106"/>
                <a:gd name="connsiteX0" fmla="*/ 32818 w 1320598"/>
                <a:gd name="connsiteY0" fmla="*/ 442904 h 631106"/>
                <a:gd name="connsiteX1" fmla="*/ 315950 w 1320598"/>
                <a:gd name="connsiteY1" fmla="*/ 376705 h 631106"/>
                <a:gd name="connsiteX2" fmla="*/ 329998 w 1320598"/>
                <a:gd name="connsiteY2" fmla="*/ 404804 h 631106"/>
                <a:gd name="connsiteX3" fmla="*/ 704968 w 1320598"/>
                <a:gd name="connsiteY3" fmla="*/ 319083 h 631106"/>
                <a:gd name="connsiteX4" fmla="*/ 843563 w 1320598"/>
                <a:gd name="connsiteY4" fmla="*/ 342432 h 631106"/>
                <a:gd name="connsiteX5" fmla="*/ 863668 w 1320598"/>
                <a:gd name="connsiteY5" fmla="*/ 463829 h 631106"/>
                <a:gd name="connsiteX6" fmla="*/ 823859 w 1320598"/>
                <a:gd name="connsiteY6" fmla="*/ 401944 h 631106"/>
                <a:gd name="connsiteX7" fmla="*/ 304781 w 1320598"/>
                <a:gd name="connsiteY7" fmla="*/ 522922 h 631106"/>
                <a:gd name="connsiteX8" fmla="*/ 316074 w 1320598"/>
                <a:gd name="connsiteY8" fmla="*/ 572923 h 631106"/>
                <a:gd name="connsiteX9" fmla="*/ 423123 w 1320598"/>
                <a:gd name="connsiteY9" fmla="*/ 630544 h 631106"/>
                <a:gd name="connsiteX10" fmla="*/ 1320598 w 1320598"/>
                <a:gd name="connsiteY10" fmla="*/ 427664 h 631106"/>
                <a:gd name="connsiteX11" fmla="*/ 920931 w 1320598"/>
                <a:gd name="connsiteY11" fmla="*/ 0 h 631106"/>
                <a:gd name="connsiteX12" fmla="*/ 312524 w 1320598"/>
                <a:gd name="connsiteY12" fmla="*/ 133838 h 631106"/>
                <a:gd name="connsiteX13" fmla="*/ 191124 w 1320598"/>
                <a:gd name="connsiteY13" fmla="*/ 225741 h 631106"/>
                <a:gd name="connsiteX14" fmla="*/ 0 w 1320598"/>
                <a:gd name="connsiteY14" fmla="*/ 275279 h 631106"/>
                <a:gd name="connsiteX15" fmla="*/ 32818 w 1320598"/>
                <a:gd name="connsiteY15" fmla="*/ 442904 h 631106"/>
                <a:gd name="connsiteX0" fmla="*/ 32818 w 1320598"/>
                <a:gd name="connsiteY0" fmla="*/ 442904 h 631106"/>
                <a:gd name="connsiteX1" fmla="*/ 315950 w 1320598"/>
                <a:gd name="connsiteY1" fmla="*/ 376705 h 631106"/>
                <a:gd name="connsiteX2" fmla="*/ 329998 w 1320598"/>
                <a:gd name="connsiteY2" fmla="*/ 404804 h 631106"/>
                <a:gd name="connsiteX3" fmla="*/ 704968 w 1320598"/>
                <a:gd name="connsiteY3" fmla="*/ 319083 h 631106"/>
                <a:gd name="connsiteX4" fmla="*/ 843563 w 1320598"/>
                <a:gd name="connsiteY4" fmla="*/ 342432 h 631106"/>
                <a:gd name="connsiteX5" fmla="*/ 863668 w 1320598"/>
                <a:gd name="connsiteY5" fmla="*/ 463829 h 631106"/>
                <a:gd name="connsiteX6" fmla="*/ 836860 w 1320598"/>
                <a:gd name="connsiteY6" fmla="*/ 428124 h 631106"/>
                <a:gd name="connsiteX7" fmla="*/ 823859 w 1320598"/>
                <a:gd name="connsiteY7" fmla="*/ 401944 h 631106"/>
                <a:gd name="connsiteX8" fmla="*/ 304781 w 1320598"/>
                <a:gd name="connsiteY8" fmla="*/ 522922 h 631106"/>
                <a:gd name="connsiteX9" fmla="*/ 316074 w 1320598"/>
                <a:gd name="connsiteY9" fmla="*/ 572923 h 631106"/>
                <a:gd name="connsiteX10" fmla="*/ 423123 w 1320598"/>
                <a:gd name="connsiteY10" fmla="*/ 630544 h 631106"/>
                <a:gd name="connsiteX11" fmla="*/ 1320598 w 1320598"/>
                <a:gd name="connsiteY11" fmla="*/ 427664 h 631106"/>
                <a:gd name="connsiteX12" fmla="*/ 920931 w 1320598"/>
                <a:gd name="connsiteY12" fmla="*/ 0 h 631106"/>
                <a:gd name="connsiteX13" fmla="*/ 312524 w 1320598"/>
                <a:gd name="connsiteY13" fmla="*/ 133838 h 631106"/>
                <a:gd name="connsiteX14" fmla="*/ 191124 w 1320598"/>
                <a:gd name="connsiteY14" fmla="*/ 225741 h 631106"/>
                <a:gd name="connsiteX15" fmla="*/ 0 w 1320598"/>
                <a:gd name="connsiteY15" fmla="*/ 275279 h 631106"/>
                <a:gd name="connsiteX16" fmla="*/ 32818 w 1320598"/>
                <a:gd name="connsiteY16" fmla="*/ 442904 h 631106"/>
                <a:gd name="connsiteX0" fmla="*/ 32818 w 1320598"/>
                <a:gd name="connsiteY0" fmla="*/ 442904 h 631106"/>
                <a:gd name="connsiteX1" fmla="*/ 315950 w 1320598"/>
                <a:gd name="connsiteY1" fmla="*/ 376705 h 631106"/>
                <a:gd name="connsiteX2" fmla="*/ 329998 w 1320598"/>
                <a:gd name="connsiteY2" fmla="*/ 404804 h 631106"/>
                <a:gd name="connsiteX3" fmla="*/ 704968 w 1320598"/>
                <a:gd name="connsiteY3" fmla="*/ 319083 h 631106"/>
                <a:gd name="connsiteX4" fmla="*/ 843563 w 1320598"/>
                <a:gd name="connsiteY4" fmla="*/ 342432 h 631106"/>
                <a:gd name="connsiteX5" fmla="*/ 863668 w 1320598"/>
                <a:gd name="connsiteY5" fmla="*/ 463829 h 631106"/>
                <a:gd name="connsiteX6" fmla="*/ 848030 w 1320598"/>
                <a:gd name="connsiteY6" fmla="*/ 473351 h 631106"/>
                <a:gd name="connsiteX7" fmla="*/ 823859 w 1320598"/>
                <a:gd name="connsiteY7" fmla="*/ 401944 h 631106"/>
                <a:gd name="connsiteX8" fmla="*/ 304781 w 1320598"/>
                <a:gd name="connsiteY8" fmla="*/ 522922 h 631106"/>
                <a:gd name="connsiteX9" fmla="*/ 316074 w 1320598"/>
                <a:gd name="connsiteY9" fmla="*/ 572923 h 631106"/>
                <a:gd name="connsiteX10" fmla="*/ 423123 w 1320598"/>
                <a:gd name="connsiteY10" fmla="*/ 630544 h 631106"/>
                <a:gd name="connsiteX11" fmla="*/ 1320598 w 1320598"/>
                <a:gd name="connsiteY11" fmla="*/ 427664 h 631106"/>
                <a:gd name="connsiteX12" fmla="*/ 920931 w 1320598"/>
                <a:gd name="connsiteY12" fmla="*/ 0 h 631106"/>
                <a:gd name="connsiteX13" fmla="*/ 312524 w 1320598"/>
                <a:gd name="connsiteY13" fmla="*/ 133838 h 631106"/>
                <a:gd name="connsiteX14" fmla="*/ 191124 w 1320598"/>
                <a:gd name="connsiteY14" fmla="*/ 225741 h 631106"/>
                <a:gd name="connsiteX15" fmla="*/ 0 w 1320598"/>
                <a:gd name="connsiteY15" fmla="*/ 275279 h 631106"/>
                <a:gd name="connsiteX16" fmla="*/ 32818 w 1320598"/>
                <a:gd name="connsiteY16" fmla="*/ 442904 h 631106"/>
                <a:gd name="connsiteX0" fmla="*/ 32818 w 1320598"/>
                <a:gd name="connsiteY0" fmla="*/ 442904 h 631106"/>
                <a:gd name="connsiteX1" fmla="*/ 315950 w 1320598"/>
                <a:gd name="connsiteY1" fmla="*/ 376705 h 631106"/>
                <a:gd name="connsiteX2" fmla="*/ 329998 w 1320598"/>
                <a:gd name="connsiteY2" fmla="*/ 404804 h 631106"/>
                <a:gd name="connsiteX3" fmla="*/ 704968 w 1320598"/>
                <a:gd name="connsiteY3" fmla="*/ 319083 h 631106"/>
                <a:gd name="connsiteX4" fmla="*/ 843563 w 1320598"/>
                <a:gd name="connsiteY4" fmla="*/ 342432 h 631106"/>
                <a:gd name="connsiteX5" fmla="*/ 863668 w 1320598"/>
                <a:gd name="connsiteY5" fmla="*/ 463829 h 631106"/>
                <a:gd name="connsiteX6" fmla="*/ 848030 w 1320598"/>
                <a:gd name="connsiteY6" fmla="*/ 473351 h 631106"/>
                <a:gd name="connsiteX7" fmla="*/ 832795 w 1320598"/>
                <a:gd name="connsiteY7" fmla="*/ 401944 h 631106"/>
                <a:gd name="connsiteX8" fmla="*/ 304781 w 1320598"/>
                <a:gd name="connsiteY8" fmla="*/ 522922 h 631106"/>
                <a:gd name="connsiteX9" fmla="*/ 316074 w 1320598"/>
                <a:gd name="connsiteY9" fmla="*/ 572923 h 631106"/>
                <a:gd name="connsiteX10" fmla="*/ 423123 w 1320598"/>
                <a:gd name="connsiteY10" fmla="*/ 630544 h 631106"/>
                <a:gd name="connsiteX11" fmla="*/ 1320598 w 1320598"/>
                <a:gd name="connsiteY11" fmla="*/ 427664 h 631106"/>
                <a:gd name="connsiteX12" fmla="*/ 920931 w 1320598"/>
                <a:gd name="connsiteY12" fmla="*/ 0 h 631106"/>
                <a:gd name="connsiteX13" fmla="*/ 312524 w 1320598"/>
                <a:gd name="connsiteY13" fmla="*/ 133838 h 631106"/>
                <a:gd name="connsiteX14" fmla="*/ 191124 w 1320598"/>
                <a:gd name="connsiteY14" fmla="*/ 225741 h 631106"/>
                <a:gd name="connsiteX15" fmla="*/ 0 w 1320598"/>
                <a:gd name="connsiteY15" fmla="*/ 275279 h 631106"/>
                <a:gd name="connsiteX16" fmla="*/ 32818 w 1320598"/>
                <a:gd name="connsiteY16" fmla="*/ 442904 h 631106"/>
                <a:gd name="connsiteX0" fmla="*/ 32818 w 1320598"/>
                <a:gd name="connsiteY0" fmla="*/ 442904 h 631106"/>
                <a:gd name="connsiteX1" fmla="*/ 315950 w 1320598"/>
                <a:gd name="connsiteY1" fmla="*/ 376705 h 631106"/>
                <a:gd name="connsiteX2" fmla="*/ 329998 w 1320598"/>
                <a:gd name="connsiteY2" fmla="*/ 404804 h 631106"/>
                <a:gd name="connsiteX3" fmla="*/ 704968 w 1320598"/>
                <a:gd name="connsiteY3" fmla="*/ 319083 h 631106"/>
                <a:gd name="connsiteX4" fmla="*/ 843563 w 1320598"/>
                <a:gd name="connsiteY4" fmla="*/ 342432 h 631106"/>
                <a:gd name="connsiteX5" fmla="*/ 863668 w 1320598"/>
                <a:gd name="connsiteY5" fmla="*/ 463829 h 631106"/>
                <a:gd name="connsiteX6" fmla="*/ 839094 w 1320598"/>
                <a:gd name="connsiteY6" fmla="*/ 470970 h 631106"/>
                <a:gd name="connsiteX7" fmla="*/ 832795 w 1320598"/>
                <a:gd name="connsiteY7" fmla="*/ 401944 h 631106"/>
                <a:gd name="connsiteX8" fmla="*/ 304781 w 1320598"/>
                <a:gd name="connsiteY8" fmla="*/ 522922 h 631106"/>
                <a:gd name="connsiteX9" fmla="*/ 316074 w 1320598"/>
                <a:gd name="connsiteY9" fmla="*/ 572923 h 631106"/>
                <a:gd name="connsiteX10" fmla="*/ 423123 w 1320598"/>
                <a:gd name="connsiteY10" fmla="*/ 630544 h 631106"/>
                <a:gd name="connsiteX11" fmla="*/ 1320598 w 1320598"/>
                <a:gd name="connsiteY11" fmla="*/ 427664 h 631106"/>
                <a:gd name="connsiteX12" fmla="*/ 920931 w 1320598"/>
                <a:gd name="connsiteY12" fmla="*/ 0 h 631106"/>
                <a:gd name="connsiteX13" fmla="*/ 312524 w 1320598"/>
                <a:gd name="connsiteY13" fmla="*/ 133838 h 631106"/>
                <a:gd name="connsiteX14" fmla="*/ 191124 w 1320598"/>
                <a:gd name="connsiteY14" fmla="*/ 225741 h 631106"/>
                <a:gd name="connsiteX15" fmla="*/ 0 w 1320598"/>
                <a:gd name="connsiteY15" fmla="*/ 275279 h 631106"/>
                <a:gd name="connsiteX16" fmla="*/ 32818 w 1320598"/>
                <a:gd name="connsiteY16" fmla="*/ 442904 h 631106"/>
                <a:gd name="connsiteX0" fmla="*/ 32818 w 1320598"/>
                <a:gd name="connsiteY0" fmla="*/ 442904 h 631106"/>
                <a:gd name="connsiteX1" fmla="*/ 315950 w 1320598"/>
                <a:gd name="connsiteY1" fmla="*/ 376705 h 631106"/>
                <a:gd name="connsiteX2" fmla="*/ 329998 w 1320598"/>
                <a:gd name="connsiteY2" fmla="*/ 404804 h 631106"/>
                <a:gd name="connsiteX3" fmla="*/ 704968 w 1320598"/>
                <a:gd name="connsiteY3" fmla="*/ 319083 h 631106"/>
                <a:gd name="connsiteX4" fmla="*/ 843563 w 1320598"/>
                <a:gd name="connsiteY4" fmla="*/ 342432 h 631106"/>
                <a:gd name="connsiteX5" fmla="*/ 863668 w 1320598"/>
                <a:gd name="connsiteY5" fmla="*/ 463829 h 631106"/>
                <a:gd name="connsiteX6" fmla="*/ 839094 w 1320598"/>
                <a:gd name="connsiteY6" fmla="*/ 470970 h 631106"/>
                <a:gd name="connsiteX7" fmla="*/ 832795 w 1320598"/>
                <a:gd name="connsiteY7" fmla="*/ 401944 h 631106"/>
                <a:gd name="connsiteX8" fmla="*/ 304781 w 1320598"/>
                <a:gd name="connsiteY8" fmla="*/ 522922 h 631106"/>
                <a:gd name="connsiteX9" fmla="*/ 316074 w 1320598"/>
                <a:gd name="connsiteY9" fmla="*/ 572923 h 631106"/>
                <a:gd name="connsiteX10" fmla="*/ 423123 w 1320598"/>
                <a:gd name="connsiteY10" fmla="*/ 630544 h 631106"/>
                <a:gd name="connsiteX11" fmla="*/ 1320598 w 1320598"/>
                <a:gd name="connsiteY11" fmla="*/ 427664 h 631106"/>
                <a:gd name="connsiteX12" fmla="*/ 920931 w 1320598"/>
                <a:gd name="connsiteY12" fmla="*/ 0 h 631106"/>
                <a:gd name="connsiteX13" fmla="*/ 612723 w 1320598"/>
                <a:gd name="connsiteY13" fmla="*/ 67886 h 631106"/>
                <a:gd name="connsiteX14" fmla="*/ 312524 w 1320598"/>
                <a:gd name="connsiteY14" fmla="*/ 133838 h 631106"/>
                <a:gd name="connsiteX15" fmla="*/ 191124 w 1320598"/>
                <a:gd name="connsiteY15" fmla="*/ 225741 h 631106"/>
                <a:gd name="connsiteX16" fmla="*/ 0 w 1320598"/>
                <a:gd name="connsiteY16" fmla="*/ 275279 h 631106"/>
                <a:gd name="connsiteX17" fmla="*/ 32818 w 1320598"/>
                <a:gd name="connsiteY17" fmla="*/ 442904 h 631106"/>
                <a:gd name="connsiteX0" fmla="*/ 32818 w 1320598"/>
                <a:gd name="connsiteY0" fmla="*/ 442904 h 631106"/>
                <a:gd name="connsiteX1" fmla="*/ 315950 w 1320598"/>
                <a:gd name="connsiteY1" fmla="*/ 376705 h 631106"/>
                <a:gd name="connsiteX2" fmla="*/ 329998 w 1320598"/>
                <a:gd name="connsiteY2" fmla="*/ 404804 h 631106"/>
                <a:gd name="connsiteX3" fmla="*/ 704968 w 1320598"/>
                <a:gd name="connsiteY3" fmla="*/ 319083 h 631106"/>
                <a:gd name="connsiteX4" fmla="*/ 843563 w 1320598"/>
                <a:gd name="connsiteY4" fmla="*/ 342432 h 631106"/>
                <a:gd name="connsiteX5" fmla="*/ 863668 w 1320598"/>
                <a:gd name="connsiteY5" fmla="*/ 463829 h 631106"/>
                <a:gd name="connsiteX6" fmla="*/ 839094 w 1320598"/>
                <a:gd name="connsiteY6" fmla="*/ 470970 h 631106"/>
                <a:gd name="connsiteX7" fmla="*/ 832795 w 1320598"/>
                <a:gd name="connsiteY7" fmla="*/ 401944 h 631106"/>
                <a:gd name="connsiteX8" fmla="*/ 304781 w 1320598"/>
                <a:gd name="connsiteY8" fmla="*/ 522922 h 631106"/>
                <a:gd name="connsiteX9" fmla="*/ 316074 w 1320598"/>
                <a:gd name="connsiteY9" fmla="*/ 572923 h 631106"/>
                <a:gd name="connsiteX10" fmla="*/ 423123 w 1320598"/>
                <a:gd name="connsiteY10" fmla="*/ 630544 h 631106"/>
                <a:gd name="connsiteX11" fmla="*/ 1320598 w 1320598"/>
                <a:gd name="connsiteY11" fmla="*/ 427664 h 631106"/>
                <a:gd name="connsiteX12" fmla="*/ 920931 w 1320598"/>
                <a:gd name="connsiteY12" fmla="*/ 0 h 631106"/>
                <a:gd name="connsiteX13" fmla="*/ 665751 w 1320598"/>
                <a:gd name="connsiteY13" fmla="*/ 50788 h 631106"/>
                <a:gd name="connsiteX14" fmla="*/ 612723 w 1320598"/>
                <a:gd name="connsiteY14" fmla="*/ 67886 h 631106"/>
                <a:gd name="connsiteX15" fmla="*/ 312524 w 1320598"/>
                <a:gd name="connsiteY15" fmla="*/ 133838 h 631106"/>
                <a:gd name="connsiteX16" fmla="*/ 191124 w 1320598"/>
                <a:gd name="connsiteY16" fmla="*/ 225741 h 631106"/>
                <a:gd name="connsiteX17" fmla="*/ 0 w 1320598"/>
                <a:gd name="connsiteY17" fmla="*/ 275279 h 631106"/>
                <a:gd name="connsiteX18" fmla="*/ 32818 w 1320598"/>
                <a:gd name="connsiteY18" fmla="*/ 442904 h 631106"/>
                <a:gd name="connsiteX0" fmla="*/ 32818 w 1320598"/>
                <a:gd name="connsiteY0" fmla="*/ 442904 h 631106"/>
                <a:gd name="connsiteX1" fmla="*/ 315950 w 1320598"/>
                <a:gd name="connsiteY1" fmla="*/ 376705 h 631106"/>
                <a:gd name="connsiteX2" fmla="*/ 329998 w 1320598"/>
                <a:gd name="connsiteY2" fmla="*/ 404804 h 631106"/>
                <a:gd name="connsiteX3" fmla="*/ 704968 w 1320598"/>
                <a:gd name="connsiteY3" fmla="*/ 319083 h 631106"/>
                <a:gd name="connsiteX4" fmla="*/ 843563 w 1320598"/>
                <a:gd name="connsiteY4" fmla="*/ 342432 h 631106"/>
                <a:gd name="connsiteX5" fmla="*/ 863668 w 1320598"/>
                <a:gd name="connsiteY5" fmla="*/ 463829 h 631106"/>
                <a:gd name="connsiteX6" fmla="*/ 839094 w 1320598"/>
                <a:gd name="connsiteY6" fmla="*/ 470970 h 631106"/>
                <a:gd name="connsiteX7" fmla="*/ 832795 w 1320598"/>
                <a:gd name="connsiteY7" fmla="*/ 401944 h 631106"/>
                <a:gd name="connsiteX8" fmla="*/ 304781 w 1320598"/>
                <a:gd name="connsiteY8" fmla="*/ 522922 h 631106"/>
                <a:gd name="connsiteX9" fmla="*/ 316074 w 1320598"/>
                <a:gd name="connsiteY9" fmla="*/ 572923 h 631106"/>
                <a:gd name="connsiteX10" fmla="*/ 423123 w 1320598"/>
                <a:gd name="connsiteY10" fmla="*/ 630544 h 631106"/>
                <a:gd name="connsiteX11" fmla="*/ 1320598 w 1320598"/>
                <a:gd name="connsiteY11" fmla="*/ 427664 h 631106"/>
                <a:gd name="connsiteX12" fmla="*/ 920931 w 1320598"/>
                <a:gd name="connsiteY12" fmla="*/ 0 h 631106"/>
                <a:gd name="connsiteX13" fmla="*/ 711863 w 1320598"/>
                <a:gd name="connsiteY13" fmla="*/ 38576 h 631106"/>
                <a:gd name="connsiteX14" fmla="*/ 665751 w 1320598"/>
                <a:gd name="connsiteY14" fmla="*/ 50788 h 631106"/>
                <a:gd name="connsiteX15" fmla="*/ 612723 w 1320598"/>
                <a:gd name="connsiteY15" fmla="*/ 67886 h 631106"/>
                <a:gd name="connsiteX16" fmla="*/ 312524 w 1320598"/>
                <a:gd name="connsiteY16" fmla="*/ 133838 h 631106"/>
                <a:gd name="connsiteX17" fmla="*/ 191124 w 1320598"/>
                <a:gd name="connsiteY17" fmla="*/ 225741 h 631106"/>
                <a:gd name="connsiteX18" fmla="*/ 0 w 1320598"/>
                <a:gd name="connsiteY18" fmla="*/ 275279 h 631106"/>
                <a:gd name="connsiteX19" fmla="*/ 32818 w 1320598"/>
                <a:gd name="connsiteY19" fmla="*/ 442904 h 631106"/>
                <a:gd name="connsiteX0" fmla="*/ 32818 w 1320598"/>
                <a:gd name="connsiteY0" fmla="*/ 442904 h 631106"/>
                <a:gd name="connsiteX1" fmla="*/ 315950 w 1320598"/>
                <a:gd name="connsiteY1" fmla="*/ 376705 h 631106"/>
                <a:gd name="connsiteX2" fmla="*/ 329998 w 1320598"/>
                <a:gd name="connsiteY2" fmla="*/ 404804 h 631106"/>
                <a:gd name="connsiteX3" fmla="*/ 704968 w 1320598"/>
                <a:gd name="connsiteY3" fmla="*/ 319083 h 631106"/>
                <a:gd name="connsiteX4" fmla="*/ 843563 w 1320598"/>
                <a:gd name="connsiteY4" fmla="*/ 342432 h 631106"/>
                <a:gd name="connsiteX5" fmla="*/ 863668 w 1320598"/>
                <a:gd name="connsiteY5" fmla="*/ 463829 h 631106"/>
                <a:gd name="connsiteX6" fmla="*/ 839094 w 1320598"/>
                <a:gd name="connsiteY6" fmla="*/ 470970 h 631106"/>
                <a:gd name="connsiteX7" fmla="*/ 832795 w 1320598"/>
                <a:gd name="connsiteY7" fmla="*/ 401944 h 631106"/>
                <a:gd name="connsiteX8" fmla="*/ 304781 w 1320598"/>
                <a:gd name="connsiteY8" fmla="*/ 522922 h 631106"/>
                <a:gd name="connsiteX9" fmla="*/ 316074 w 1320598"/>
                <a:gd name="connsiteY9" fmla="*/ 572923 h 631106"/>
                <a:gd name="connsiteX10" fmla="*/ 423123 w 1320598"/>
                <a:gd name="connsiteY10" fmla="*/ 630544 h 631106"/>
                <a:gd name="connsiteX11" fmla="*/ 1320598 w 1320598"/>
                <a:gd name="connsiteY11" fmla="*/ 427664 h 631106"/>
                <a:gd name="connsiteX12" fmla="*/ 920931 w 1320598"/>
                <a:gd name="connsiteY12" fmla="*/ 0 h 631106"/>
                <a:gd name="connsiteX13" fmla="*/ 711863 w 1320598"/>
                <a:gd name="connsiteY13" fmla="*/ 38576 h 631106"/>
                <a:gd name="connsiteX14" fmla="*/ 665751 w 1320598"/>
                <a:gd name="connsiteY14" fmla="*/ 50788 h 631106"/>
                <a:gd name="connsiteX15" fmla="*/ 589667 w 1320598"/>
                <a:gd name="connsiteY15" fmla="*/ 72770 h 631106"/>
                <a:gd name="connsiteX16" fmla="*/ 312524 w 1320598"/>
                <a:gd name="connsiteY16" fmla="*/ 133838 h 631106"/>
                <a:gd name="connsiteX17" fmla="*/ 191124 w 1320598"/>
                <a:gd name="connsiteY17" fmla="*/ 225741 h 631106"/>
                <a:gd name="connsiteX18" fmla="*/ 0 w 1320598"/>
                <a:gd name="connsiteY18" fmla="*/ 275279 h 631106"/>
                <a:gd name="connsiteX19" fmla="*/ 32818 w 1320598"/>
                <a:gd name="connsiteY19" fmla="*/ 442904 h 631106"/>
                <a:gd name="connsiteX0" fmla="*/ 32818 w 1320598"/>
                <a:gd name="connsiteY0" fmla="*/ 442904 h 631106"/>
                <a:gd name="connsiteX1" fmla="*/ 315950 w 1320598"/>
                <a:gd name="connsiteY1" fmla="*/ 376705 h 631106"/>
                <a:gd name="connsiteX2" fmla="*/ 329998 w 1320598"/>
                <a:gd name="connsiteY2" fmla="*/ 404804 h 631106"/>
                <a:gd name="connsiteX3" fmla="*/ 704968 w 1320598"/>
                <a:gd name="connsiteY3" fmla="*/ 319083 h 631106"/>
                <a:gd name="connsiteX4" fmla="*/ 843563 w 1320598"/>
                <a:gd name="connsiteY4" fmla="*/ 342432 h 631106"/>
                <a:gd name="connsiteX5" fmla="*/ 863668 w 1320598"/>
                <a:gd name="connsiteY5" fmla="*/ 463829 h 631106"/>
                <a:gd name="connsiteX6" fmla="*/ 839094 w 1320598"/>
                <a:gd name="connsiteY6" fmla="*/ 470970 h 631106"/>
                <a:gd name="connsiteX7" fmla="*/ 832795 w 1320598"/>
                <a:gd name="connsiteY7" fmla="*/ 401944 h 631106"/>
                <a:gd name="connsiteX8" fmla="*/ 304781 w 1320598"/>
                <a:gd name="connsiteY8" fmla="*/ 522922 h 631106"/>
                <a:gd name="connsiteX9" fmla="*/ 316074 w 1320598"/>
                <a:gd name="connsiteY9" fmla="*/ 572923 h 631106"/>
                <a:gd name="connsiteX10" fmla="*/ 423123 w 1320598"/>
                <a:gd name="connsiteY10" fmla="*/ 630544 h 631106"/>
                <a:gd name="connsiteX11" fmla="*/ 1320598 w 1320598"/>
                <a:gd name="connsiteY11" fmla="*/ 427664 h 631106"/>
                <a:gd name="connsiteX12" fmla="*/ 920931 w 1320598"/>
                <a:gd name="connsiteY12" fmla="*/ 0 h 631106"/>
                <a:gd name="connsiteX13" fmla="*/ 711863 w 1320598"/>
                <a:gd name="connsiteY13" fmla="*/ 38576 h 631106"/>
                <a:gd name="connsiteX14" fmla="*/ 596583 w 1320598"/>
                <a:gd name="connsiteY14" fmla="*/ 16593 h 631106"/>
                <a:gd name="connsiteX15" fmla="*/ 589667 w 1320598"/>
                <a:gd name="connsiteY15" fmla="*/ 72770 h 631106"/>
                <a:gd name="connsiteX16" fmla="*/ 312524 w 1320598"/>
                <a:gd name="connsiteY16" fmla="*/ 133838 h 631106"/>
                <a:gd name="connsiteX17" fmla="*/ 191124 w 1320598"/>
                <a:gd name="connsiteY17" fmla="*/ 225741 h 631106"/>
                <a:gd name="connsiteX18" fmla="*/ 0 w 1320598"/>
                <a:gd name="connsiteY18" fmla="*/ 275279 h 631106"/>
                <a:gd name="connsiteX19" fmla="*/ 32818 w 1320598"/>
                <a:gd name="connsiteY19" fmla="*/ 442904 h 631106"/>
                <a:gd name="connsiteX0" fmla="*/ 32818 w 1320598"/>
                <a:gd name="connsiteY0" fmla="*/ 455622 h 643824"/>
                <a:gd name="connsiteX1" fmla="*/ 315950 w 1320598"/>
                <a:gd name="connsiteY1" fmla="*/ 389423 h 643824"/>
                <a:gd name="connsiteX2" fmla="*/ 329998 w 1320598"/>
                <a:gd name="connsiteY2" fmla="*/ 417522 h 643824"/>
                <a:gd name="connsiteX3" fmla="*/ 704968 w 1320598"/>
                <a:gd name="connsiteY3" fmla="*/ 331801 h 643824"/>
                <a:gd name="connsiteX4" fmla="*/ 843563 w 1320598"/>
                <a:gd name="connsiteY4" fmla="*/ 355150 h 643824"/>
                <a:gd name="connsiteX5" fmla="*/ 863668 w 1320598"/>
                <a:gd name="connsiteY5" fmla="*/ 476547 h 643824"/>
                <a:gd name="connsiteX6" fmla="*/ 839094 w 1320598"/>
                <a:gd name="connsiteY6" fmla="*/ 483688 h 643824"/>
                <a:gd name="connsiteX7" fmla="*/ 832795 w 1320598"/>
                <a:gd name="connsiteY7" fmla="*/ 414662 h 643824"/>
                <a:gd name="connsiteX8" fmla="*/ 304781 w 1320598"/>
                <a:gd name="connsiteY8" fmla="*/ 535640 h 643824"/>
                <a:gd name="connsiteX9" fmla="*/ 316074 w 1320598"/>
                <a:gd name="connsiteY9" fmla="*/ 585641 h 643824"/>
                <a:gd name="connsiteX10" fmla="*/ 423123 w 1320598"/>
                <a:gd name="connsiteY10" fmla="*/ 643262 h 643824"/>
                <a:gd name="connsiteX11" fmla="*/ 1320598 w 1320598"/>
                <a:gd name="connsiteY11" fmla="*/ 440382 h 643824"/>
                <a:gd name="connsiteX12" fmla="*/ 920931 w 1320598"/>
                <a:gd name="connsiteY12" fmla="*/ 12718 h 643824"/>
                <a:gd name="connsiteX13" fmla="*/ 806393 w 1320598"/>
                <a:gd name="connsiteY13" fmla="*/ 0 h 643824"/>
                <a:gd name="connsiteX14" fmla="*/ 596583 w 1320598"/>
                <a:gd name="connsiteY14" fmla="*/ 29311 h 643824"/>
                <a:gd name="connsiteX15" fmla="*/ 589667 w 1320598"/>
                <a:gd name="connsiteY15" fmla="*/ 85488 h 643824"/>
                <a:gd name="connsiteX16" fmla="*/ 312524 w 1320598"/>
                <a:gd name="connsiteY16" fmla="*/ 146556 h 643824"/>
                <a:gd name="connsiteX17" fmla="*/ 191124 w 1320598"/>
                <a:gd name="connsiteY17" fmla="*/ 238459 h 643824"/>
                <a:gd name="connsiteX18" fmla="*/ 0 w 1320598"/>
                <a:gd name="connsiteY18" fmla="*/ 287997 h 643824"/>
                <a:gd name="connsiteX19" fmla="*/ 32818 w 1320598"/>
                <a:gd name="connsiteY19" fmla="*/ 455622 h 643824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897875 w 1320598"/>
                <a:gd name="connsiteY12" fmla="*/ 0 h 662859"/>
                <a:gd name="connsiteX13" fmla="*/ 806393 w 1320598"/>
                <a:gd name="connsiteY13" fmla="*/ 19035 h 662859"/>
                <a:gd name="connsiteX14" fmla="*/ 596583 w 1320598"/>
                <a:gd name="connsiteY14" fmla="*/ 48346 h 662859"/>
                <a:gd name="connsiteX15" fmla="*/ 589667 w 1320598"/>
                <a:gd name="connsiteY15" fmla="*/ 104523 h 662859"/>
                <a:gd name="connsiteX16" fmla="*/ 312524 w 1320598"/>
                <a:gd name="connsiteY16" fmla="*/ 165591 h 662859"/>
                <a:gd name="connsiteX17" fmla="*/ 191124 w 1320598"/>
                <a:gd name="connsiteY17" fmla="*/ 257494 h 662859"/>
                <a:gd name="connsiteX18" fmla="*/ 0 w 1320598"/>
                <a:gd name="connsiteY18" fmla="*/ 307032 h 662859"/>
                <a:gd name="connsiteX19" fmla="*/ 32818 w 1320598"/>
                <a:gd name="connsiteY19" fmla="*/ 474657 h 662859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897875 w 1320598"/>
                <a:gd name="connsiteY12" fmla="*/ 0 h 662859"/>
                <a:gd name="connsiteX13" fmla="*/ 806393 w 1320598"/>
                <a:gd name="connsiteY13" fmla="*/ 19035 h 662859"/>
                <a:gd name="connsiteX14" fmla="*/ 751059 w 1320598"/>
                <a:gd name="connsiteY14" fmla="*/ 26362 h 662859"/>
                <a:gd name="connsiteX15" fmla="*/ 596583 w 1320598"/>
                <a:gd name="connsiteY15" fmla="*/ 48346 h 662859"/>
                <a:gd name="connsiteX16" fmla="*/ 589667 w 1320598"/>
                <a:gd name="connsiteY16" fmla="*/ 104523 h 662859"/>
                <a:gd name="connsiteX17" fmla="*/ 312524 w 1320598"/>
                <a:gd name="connsiteY17" fmla="*/ 165591 h 662859"/>
                <a:gd name="connsiteX18" fmla="*/ 191124 w 1320598"/>
                <a:gd name="connsiteY18" fmla="*/ 257494 h 662859"/>
                <a:gd name="connsiteX19" fmla="*/ 0 w 1320598"/>
                <a:gd name="connsiteY19" fmla="*/ 307032 h 662859"/>
                <a:gd name="connsiteX20" fmla="*/ 32818 w 1320598"/>
                <a:gd name="connsiteY20" fmla="*/ 474657 h 662859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897875 w 1320598"/>
                <a:gd name="connsiteY12" fmla="*/ 0 h 662859"/>
                <a:gd name="connsiteX13" fmla="*/ 806393 w 1320598"/>
                <a:gd name="connsiteY13" fmla="*/ 19035 h 662859"/>
                <a:gd name="connsiteX14" fmla="*/ 751059 w 1320598"/>
                <a:gd name="connsiteY14" fmla="*/ 26362 h 662859"/>
                <a:gd name="connsiteX15" fmla="*/ 596583 w 1320598"/>
                <a:gd name="connsiteY15" fmla="*/ 48346 h 662859"/>
                <a:gd name="connsiteX16" fmla="*/ 589667 w 1320598"/>
                <a:gd name="connsiteY16" fmla="*/ 104523 h 662859"/>
                <a:gd name="connsiteX17" fmla="*/ 312524 w 1320598"/>
                <a:gd name="connsiteY17" fmla="*/ 165591 h 662859"/>
                <a:gd name="connsiteX18" fmla="*/ 191124 w 1320598"/>
                <a:gd name="connsiteY18" fmla="*/ 257494 h 662859"/>
                <a:gd name="connsiteX19" fmla="*/ 0 w 1320598"/>
                <a:gd name="connsiteY19" fmla="*/ 307032 h 662859"/>
                <a:gd name="connsiteX20" fmla="*/ 32818 w 1320598"/>
                <a:gd name="connsiteY20" fmla="*/ 474657 h 662859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897875 w 1320598"/>
                <a:gd name="connsiteY12" fmla="*/ 0 h 662859"/>
                <a:gd name="connsiteX13" fmla="*/ 806393 w 1320598"/>
                <a:gd name="connsiteY13" fmla="*/ 19035 h 662859"/>
                <a:gd name="connsiteX14" fmla="*/ 751059 w 1320598"/>
                <a:gd name="connsiteY14" fmla="*/ 26362 h 662859"/>
                <a:gd name="connsiteX15" fmla="*/ 596583 w 1320598"/>
                <a:gd name="connsiteY15" fmla="*/ 48346 h 662859"/>
                <a:gd name="connsiteX16" fmla="*/ 589667 w 1320598"/>
                <a:gd name="connsiteY16" fmla="*/ 104523 h 662859"/>
                <a:gd name="connsiteX17" fmla="*/ 312524 w 1320598"/>
                <a:gd name="connsiteY17" fmla="*/ 165591 h 662859"/>
                <a:gd name="connsiteX18" fmla="*/ 191124 w 1320598"/>
                <a:gd name="connsiteY18" fmla="*/ 257494 h 662859"/>
                <a:gd name="connsiteX19" fmla="*/ 0 w 1320598"/>
                <a:gd name="connsiteY19" fmla="*/ 307032 h 662859"/>
                <a:gd name="connsiteX20" fmla="*/ 32818 w 1320598"/>
                <a:gd name="connsiteY20" fmla="*/ 474657 h 662859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897875 w 1320598"/>
                <a:gd name="connsiteY12" fmla="*/ 0 h 662859"/>
                <a:gd name="connsiteX13" fmla="*/ 806393 w 1320598"/>
                <a:gd name="connsiteY13" fmla="*/ 19035 h 662859"/>
                <a:gd name="connsiteX14" fmla="*/ 778727 w 1320598"/>
                <a:gd name="connsiteY14" fmla="*/ 63001 h 662859"/>
                <a:gd name="connsiteX15" fmla="*/ 596583 w 1320598"/>
                <a:gd name="connsiteY15" fmla="*/ 48346 h 662859"/>
                <a:gd name="connsiteX16" fmla="*/ 589667 w 1320598"/>
                <a:gd name="connsiteY16" fmla="*/ 104523 h 662859"/>
                <a:gd name="connsiteX17" fmla="*/ 312524 w 1320598"/>
                <a:gd name="connsiteY17" fmla="*/ 165591 h 662859"/>
                <a:gd name="connsiteX18" fmla="*/ 191124 w 1320598"/>
                <a:gd name="connsiteY18" fmla="*/ 257494 h 662859"/>
                <a:gd name="connsiteX19" fmla="*/ 0 w 1320598"/>
                <a:gd name="connsiteY19" fmla="*/ 307032 h 662859"/>
                <a:gd name="connsiteX20" fmla="*/ 32818 w 1320598"/>
                <a:gd name="connsiteY20" fmla="*/ 474657 h 662859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897875 w 1320598"/>
                <a:gd name="connsiteY12" fmla="*/ 0 h 662859"/>
                <a:gd name="connsiteX13" fmla="*/ 806393 w 1320598"/>
                <a:gd name="connsiteY13" fmla="*/ 19035 h 662859"/>
                <a:gd name="connsiteX14" fmla="*/ 778727 w 1320598"/>
                <a:gd name="connsiteY14" fmla="*/ 63001 h 662859"/>
                <a:gd name="connsiteX15" fmla="*/ 693419 w 1320598"/>
                <a:gd name="connsiteY15" fmla="*/ 58115 h 662859"/>
                <a:gd name="connsiteX16" fmla="*/ 596583 w 1320598"/>
                <a:gd name="connsiteY16" fmla="*/ 48346 h 662859"/>
                <a:gd name="connsiteX17" fmla="*/ 589667 w 1320598"/>
                <a:gd name="connsiteY17" fmla="*/ 104523 h 662859"/>
                <a:gd name="connsiteX18" fmla="*/ 312524 w 1320598"/>
                <a:gd name="connsiteY18" fmla="*/ 165591 h 662859"/>
                <a:gd name="connsiteX19" fmla="*/ 191124 w 1320598"/>
                <a:gd name="connsiteY19" fmla="*/ 257494 h 662859"/>
                <a:gd name="connsiteX20" fmla="*/ 0 w 1320598"/>
                <a:gd name="connsiteY20" fmla="*/ 307032 h 662859"/>
                <a:gd name="connsiteX21" fmla="*/ 32818 w 1320598"/>
                <a:gd name="connsiteY21" fmla="*/ 474657 h 662859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897875 w 1320598"/>
                <a:gd name="connsiteY12" fmla="*/ 0 h 662859"/>
                <a:gd name="connsiteX13" fmla="*/ 806393 w 1320598"/>
                <a:gd name="connsiteY13" fmla="*/ 19035 h 662859"/>
                <a:gd name="connsiteX14" fmla="*/ 778727 w 1320598"/>
                <a:gd name="connsiteY14" fmla="*/ 63001 h 662859"/>
                <a:gd name="connsiteX15" fmla="*/ 728003 w 1320598"/>
                <a:gd name="connsiteY15" fmla="*/ 21477 h 662859"/>
                <a:gd name="connsiteX16" fmla="*/ 596583 w 1320598"/>
                <a:gd name="connsiteY16" fmla="*/ 48346 h 662859"/>
                <a:gd name="connsiteX17" fmla="*/ 589667 w 1320598"/>
                <a:gd name="connsiteY17" fmla="*/ 104523 h 662859"/>
                <a:gd name="connsiteX18" fmla="*/ 312524 w 1320598"/>
                <a:gd name="connsiteY18" fmla="*/ 165591 h 662859"/>
                <a:gd name="connsiteX19" fmla="*/ 191124 w 1320598"/>
                <a:gd name="connsiteY19" fmla="*/ 257494 h 662859"/>
                <a:gd name="connsiteX20" fmla="*/ 0 w 1320598"/>
                <a:gd name="connsiteY20" fmla="*/ 307032 h 662859"/>
                <a:gd name="connsiteX21" fmla="*/ 32818 w 1320598"/>
                <a:gd name="connsiteY21" fmla="*/ 474657 h 662859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897875 w 1320598"/>
                <a:gd name="connsiteY12" fmla="*/ 0 h 662859"/>
                <a:gd name="connsiteX13" fmla="*/ 806393 w 1320598"/>
                <a:gd name="connsiteY13" fmla="*/ 19035 h 662859"/>
                <a:gd name="connsiteX14" fmla="*/ 778727 w 1320598"/>
                <a:gd name="connsiteY14" fmla="*/ 63001 h 662859"/>
                <a:gd name="connsiteX15" fmla="*/ 728003 w 1320598"/>
                <a:gd name="connsiteY15" fmla="*/ 21477 h 662859"/>
                <a:gd name="connsiteX16" fmla="*/ 658835 w 1320598"/>
                <a:gd name="connsiteY16" fmla="*/ 38575 h 662859"/>
                <a:gd name="connsiteX17" fmla="*/ 596583 w 1320598"/>
                <a:gd name="connsiteY17" fmla="*/ 48346 h 662859"/>
                <a:gd name="connsiteX18" fmla="*/ 589667 w 1320598"/>
                <a:gd name="connsiteY18" fmla="*/ 104523 h 662859"/>
                <a:gd name="connsiteX19" fmla="*/ 312524 w 1320598"/>
                <a:gd name="connsiteY19" fmla="*/ 165591 h 662859"/>
                <a:gd name="connsiteX20" fmla="*/ 191124 w 1320598"/>
                <a:gd name="connsiteY20" fmla="*/ 257494 h 662859"/>
                <a:gd name="connsiteX21" fmla="*/ 0 w 1320598"/>
                <a:gd name="connsiteY21" fmla="*/ 307032 h 662859"/>
                <a:gd name="connsiteX22" fmla="*/ 32818 w 1320598"/>
                <a:gd name="connsiteY22" fmla="*/ 474657 h 662859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897875 w 1320598"/>
                <a:gd name="connsiteY12" fmla="*/ 0 h 662859"/>
                <a:gd name="connsiteX13" fmla="*/ 806393 w 1320598"/>
                <a:gd name="connsiteY13" fmla="*/ 19035 h 662859"/>
                <a:gd name="connsiteX14" fmla="*/ 778727 w 1320598"/>
                <a:gd name="connsiteY14" fmla="*/ 63001 h 662859"/>
                <a:gd name="connsiteX15" fmla="*/ 728003 w 1320598"/>
                <a:gd name="connsiteY15" fmla="*/ 21477 h 662859"/>
                <a:gd name="connsiteX16" fmla="*/ 642695 w 1320598"/>
                <a:gd name="connsiteY16" fmla="*/ 94753 h 662859"/>
                <a:gd name="connsiteX17" fmla="*/ 596583 w 1320598"/>
                <a:gd name="connsiteY17" fmla="*/ 48346 h 662859"/>
                <a:gd name="connsiteX18" fmla="*/ 589667 w 1320598"/>
                <a:gd name="connsiteY18" fmla="*/ 104523 h 662859"/>
                <a:gd name="connsiteX19" fmla="*/ 312524 w 1320598"/>
                <a:gd name="connsiteY19" fmla="*/ 165591 h 662859"/>
                <a:gd name="connsiteX20" fmla="*/ 191124 w 1320598"/>
                <a:gd name="connsiteY20" fmla="*/ 257494 h 662859"/>
                <a:gd name="connsiteX21" fmla="*/ 0 w 1320598"/>
                <a:gd name="connsiteY21" fmla="*/ 307032 h 662859"/>
                <a:gd name="connsiteX22" fmla="*/ 32818 w 1320598"/>
                <a:gd name="connsiteY22" fmla="*/ 474657 h 662859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897875 w 1320598"/>
                <a:gd name="connsiteY12" fmla="*/ 0 h 662859"/>
                <a:gd name="connsiteX13" fmla="*/ 806393 w 1320598"/>
                <a:gd name="connsiteY13" fmla="*/ 19035 h 662859"/>
                <a:gd name="connsiteX14" fmla="*/ 778727 w 1320598"/>
                <a:gd name="connsiteY14" fmla="*/ 63001 h 662859"/>
                <a:gd name="connsiteX15" fmla="*/ 728003 w 1320598"/>
                <a:gd name="connsiteY15" fmla="*/ 21477 h 662859"/>
                <a:gd name="connsiteX16" fmla="*/ 695724 w 1320598"/>
                <a:gd name="connsiteY16" fmla="*/ 45903 h 662859"/>
                <a:gd name="connsiteX17" fmla="*/ 642695 w 1320598"/>
                <a:gd name="connsiteY17" fmla="*/ 94753 h 662859"/>
                <a:gd name="connsiteX18" fmla="*/ 596583 w 1320598"/>
                <a:gd name="connsiteY18" fmla="*/ 48346 h 662859"/>
                <a:gd name="connsiteX19" fmla="*/ 589667 w 1320598"/>
                <a:gd name="connsiteY19" fmla="*/ 104523 h 662859"/>
                <a:gd name="connsiteX20" fmla="*/ 312524 w 1320598"/>
                <a:gd name="connsiteY20" fmla="*/ 165591 h 662859"/>
                <a:gd name="connsiteX21" fmla="*/ 191124 w 1320598"/>
                <a:gd name="connsiteY21" fmla="*/ 257494 h 662859"/>
                <a:gd name="connsiteX22" fmla="*/ 0 w 1320598"/>
                <a:gd name="connsiteY22" fmla="*/ 307032 h 662859"/>
                <a:gd name="connsiteX23" fmla="*/ 32818 w 1320598"/>
                <a:gd name="connsiteY23" fmla="*/ 474657 h 662859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897875 w 1320598"/>
                <a:gd name="connsiteY12" fmla="*/ 0 h 662859"/>
                <a:gd name="connsiteX13" fmla="*/ 806393 w 1320598"/>
                <a:gd name="connsiteY13" fmla="*/ 19035 h 662859"/>
                <a:gd name="connsiteX14" fmla="*/ 778727 w 1320598"/>
                <a:gd name="connsiteY14" fmla="*/ 63001 h 662859"/>
                <a:gd name="connsiteX15" fmla="*/ 728003 w 1320598"/>
                <a:gd name="connsiteY15" fmla="*/ 21477 h 662859"/>
                <a:gd name="connsiteX16" fmla="*/ 688807 w 1320598"/>
                <a:gd name="connsiteY16" fmla="*/ 84984 h 662859"/>
                <a:gd name="connsiteX17" fmla="*/ 642695 w 1320598"/>
                <a:gd name="connsiteY17" fmla="*/ 94753 h 662859"/>
                <a:gd name="connsiteX18" fmla="*/ 596583 w 1320598"/>
                <a:gd name="connsiteY18" fmla="*/ 48346 h 662859"/>
                <a:gd name="connsiteX19" fmla="*/ 589667 w 1320598"/>
                <a:gd name="connsiteY19" fmla="*/ 104523 h 662859"/>
                <a:gd name="connsiteX20" fmla="*/ 312524 w 1320598"/>
                <a:gd name="connsiteY20" fmla="*/ 165591 h 662859"/>
                <a:gd name="connsiteX21" fmla="*/ 191124 w 1320598"/>
                <a:gd name="connsiteY21" fmla="*/ 257494 h 662859"/>
                <a:gd name="connsiteX22" fmla="*/ 0 w 1320598"/>
                <a:gd name="connsiteY22" fmla="*/ 307032 h 662859"/>
                <a:gd name="connsiteX23" fmla="*/ 32818 w 1320598"/>
                <a:gd name="connsiteY23" fmla="*/ 474657 h 662859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897875 w 1320598"/>
                <a:gd name="connsiteY12" fmla="*/ 0 h 662859"/>
                <a:gd name="connsiteX13" fmla="*/ 806393 w 1320598"/>
                <a:gd name="connsiteY13" fmla="*/ 19035 h 662859"/>
                <a:gd name="connsiteX14" fmla="*/ 778727 w 1320598"/>
                <a:gd name="connsiteY14" fmla="*/ 63001 h 662859"/>
                <a:gd name="connsiteX15" fmla="*/ 728003 w 1320598"/>
                <a:gd name="connsiteY15" fmla="*/ 21477 h 662859"/>
                <a:gd name="connsiteX16" fmla="*/ 704947 w 1320598"/>
                <a:gd name="connsiteY16" fmla="*/ 48346 h 662859"/>
                <a:gd name="connsiteX17" fmla="*/ 688807 w 1320598"/>
                <a:gd name="connsiteY17" fmla="*/ 84984 h 662859"/>
                <a:gd name="connsiteX18" fmla="*/ 642695 w 1320598"/>
                <a:gd name="connsiteY18" fmla="*/ 94753 h 662859"/>
                <a:gd name="connsiteX19" fmla="*/ 596583 w 1320598"/>
                <a:gd name="connsiteY19" fmla="*/ 48346 h 662859"/>
                <a:gd name="connsiteX20" fmla="*/ 589667 w 1320598"/>
                <a:gd name="connsiteY20" fmla="*/ 104523 h 662859"/>
                <a:gd name="connsiteX21" fmla="*/ 312524 w 1320598"/>
                <a:gd name="connsiteY21" fmla="*/ 165591 h 662859"/>
                <a:gd name="connsiteX22" fmla="*/ 191124 w 1320598"/>
                <a:gd name="connsiteY22" fmla="*/ 257494 h 662859"/>
                <a:gd name="connsiteX23" fmla="*/ 0 w 1320598"/>
                <a:gd name="connsiteY23" fmla="*/ 307032 h 662859"/>
                <a:gd name="connsiteX24" fmla="*/ 32818 w 1320598"/>
                <a:gd name="connsiteY24" fmla="*/ 474657 h 662859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897875 w 1320598"/>
                <a:gd name="connsiteY12" fmla="*/ 0 h 662859"/>
                <a:gd name="connsiteX13" fmla="*/ 806393 w 1320598"/>
                <a:gd name="connsiteY13" fmla="*/ 19035 h 662859"/>
                <a:gd name="connsiteX14" fmla="*/ 778727 w 1320598"/>
                <a:gd name="connsiteY14" fmla="*/ 63001 h 662859"/>
                <a:gd name="connsiteX15" fmla="*/ 728003 w 1320598"/>
                <a:gd name="connsiteY15" fmla="*/ 21477 h 662859"/>
                <a:gd name="connsiteX16" fmla="*/ 681891 w 1320598"/>
                <a:gd name="connsiteY16" fmla="*/ 28804 h 662859"/>
                <a:gd name="connsiteX17" fmla="*/ 688807 w 1320598"/>
                <a:gd name="connsiteY17" fmla="*/ 84984 h 662859"/>
                <a:gd name="connsiteX18" fmla="*/ 642695 w 1320598"/>
                <a:gd name="connsiteY18" fmla="*/ 94753 h 662859"/>
                <a:gd name="connsiteX19" fmla="*/ 596583 w 1320598"/>
                <a:gd name="connsiteY19" fmla="*/ 48346 h 662859"/>
                <a:gd name="connsiteX20" fmla="*/ 589667 w 1320598"/>
                <a:gd name="connsiteY20" fmla="*/ 104523 h 662859"/>
                <a:gd name="connsiteX21" fmla="*/ 312524 w 1320598"/>
                <a:gd name="connsiteY21" fmla="*/ 165591 h 662859"/>
                <a:gd name="connsiteX22" fmla="*/ 191124 w 1320598"/>
                <a:gd name="connsiteY22" fmla="*/ 257494 h 662859"/>
                <a:gd name="connsiteX23" fmla="*/ 0 w 1320598"/>
                <a:gd name="connsiteY23" fmla="*/ 307032 h 662859"/>
                <a:gd name="connsiteX24" fmla="*/ 32818 w 1320598"/>
                <a:gd name="connsiteY24" fmla="*/ 474657 h 662859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897875 w 1320598"/>
                <a:gd name="connsiteY12" fmla="*/ 0 h 662859"/>
                <a:gd name="connsiteX13" fmla="*/ 806393 w 1320598"/>
                <a:gd name="connsiteY13" fmla="*/ 19035 h 662859"/>
                <a:gd name="connsiteX14" fmla="*/ 778727 w 1320598"/>
                <a:gd name="connsiteY14" fmla="*/ 63001 h 662859"/>
                <a:gd name="connsiteX15" fmla="*/ 728003 w 1320598"/>
                <a:gd name="connsiteY15" fmla="*/ 21477 h 662859"/>
                <a:gd name="connsiteX16" fmla="*/ 681891 w 1320598"/>
                <a:gd name="connsiteY16" fmla="*/ 28804 h 662859"/>
                <a:gd name="connsiteX17" fmla="*/ 688807 w 1320598"/>
                <a:gd name="connsiteY17" fmla="*/ 84984 h 662859"/>
                <a:gd name="connsiteX18" fmla="*/ 642695 w 1320598"/>
                <a:gd name="connsiteY18" fmla="*/ 94753 h 662859"/>
                <a:gd name="connsiteX19" fmla="*/ 621945 w 1320598"/>
                <a:gd name="connsiteY19" fmla="*/ 67886 h 662859"/>
                <a:gd name="connsiteX20" fmla="*/ 596583 w 1320598"/>
                <a:gd name="connsiteY20" fmla="*/ 48346 h 662859"/>
                <a:gd name="connsiteX21" fmla="*/ 589667 w 1320598"/>
                <a:gd name="connsiteY21" fmla="*/ 104523 h 662859"/>
                <a:gd name="connsiteX22" fmla="*/ 312524 w 1320598"/>
                <a:gd name="connsiteY22" fmla="*/ 165591 h 662859"/>
                <a:gd name="connsiteX23" fmla="*/ 191124 w 1320598"/>
                <a:gd name="connsiteY23" fmla="*/ 257494 h 662859"/>
                <a:gd name="connsiteX24" fmla="*/ 0 w 1320598"/>
                <a:gd name="connsiteY24" fmla="*/ 307032 h 662859"/>
                <a:gd name="connsiteX25" fmla="*/ 32818 w 1320598"/>
                <a:gd name="connsiteY25" fmla="*/ 474657 h 662859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897875 w 1320598"/>
                <a:gd name="connsiteY12" fmla="*/ 0 h 662859"/>
                <a:gd name="connsiteX13" fmla="*/ 806393 w 1320598"/>
                <a:gd name="connsiteY13" fmla="*/ 19035 h 662859"/>
                <a:gd name="connsiteX14" fmla="*/ 778727 w 1320598"/>
                <a:gd name="connsiteY14" fmla="*/ 63001 h 662859"/>
                <a:gd name="connsiteX15" fmla="*/ 728003 w 1320598"/>
                <a:gd name="connsiteY15" fmla="*/ 21477 h 662859"/>
                <a:gd name="connsiteX16" fmla="*/ 681891 w 1320598"/>
                <a:gd name="connsiteY16" fmla="*/ 28804 h 662859"/>
                <a:gd name="connsiteX17" fmla="*/ 688807 w 1320598"/>
                <a:gd name="connsiteY17" fmla="*/ 84984 h 662859"/>
                <a:gd name="connsiteX18" fmla="*/ 642695 w 1320598"/>
                <a:gd name="connsiteY18" fmla="*/ 94753 h 662859"/>
                <a:gd name="connsiteX19" fmla="*/ 635779 w 1320598"/>
                <a:gd name="connsiteY19" fmla="*/ 45903 h 662859"/>
                <a:gd name="connsiteX20" fmla="*/ 596583 w 1320598"/>
                <a:gd name="connsiteY20" fmla="*/ 48346 h 662859"/>
                <a:gd name="connsiteX21" fmla="*/ 589667 w 1320598"/>
                <a:gd name="connsiteY21" fmla="*/ 104523 h 662859"/>
                <a:gd name="connsiteX22" fmla="*/ 312524 w 1320598"/>
                <a:gd name="connsiteY22" fmla="*/ 165591 h 662859"/>
                <a:gd name="connsiteX23" fmla="*/ 191124 w 1320598"/>
                <a:gd name="connsiteY23" fmla="*/ 257494 h 662859"/>
                <a:gd name="connsiteX24" fmla="*/ 0 w 1320598"/>
                <a:gd name="connsiteY24" fmla="*/ 307032 h 662859"/>
                <a:gd name="connsiteX25" fmla="*/ 32818 w 1320598"/>
                <a:gd name="connsiteY25" fmla="*/ 474657 h 662859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897875 w 1320598"/>
                <a:gd name="connsiteY12" fmla="*/ 0 h 662859"/>
                <a:gd name="connsiteX13" fmla="*/ 806393 w 1320598"/>
                <a:gd name="connsiteY13" fmla="*/ 19035 h 662859"/>
                <a:gd name="connsiteX14" fmla="*/ 778727 w 1320598"/>
                <a:gd name="connsiteY14" fmla="*/ 63001 h 662859"/>
                <a:gd name="connsiteX15" fmla="*/ 728003 w 1320598"/>
                <a:gd name="connsiteY15" fmla="*/ 21477 h 662859"/>
                <a:gd name="connsiteX16" fmla="*/ 681891 w 1320598"/>
                <a:gd name="connsiteY16" fmla="*/ 28804 h 662859"/>
                <a:gd name="connsiteX17" fmla="*/ 688807 w 1320598"/>
                <a:gd name="connsiteY17" fmla="*/ 84984 h 662859"/>
                <a:gd name="connsiteX18" fmla="*/ 642695 w 1320598"/>
                <a:gd name="connsiteY18" fmla="*/ 94753 h 662859"/>
                <a:gd name="connsiteX19" fmla="*/ 635779 w 1320598"/>
                <a:gd name="connsiteY19" fmla="*/ 45903 h 662859"/>
                <a:gd name="connsiteX20" fmla="*/ 585055 w 1320598"/>
                <a:gd name="connsiteY20" fmla="*/ 48346 h 662859"/>
                <a:gd name="connsiteX21" fmla="*/ 589667 w 1320598"/>
                <a:gd name="connsiteY21" fmla="*/ 104523 h 662859"/>
                <a:gd name="connsiteX22" fmla="*/ 312524 w 1320598"/>
                <a:gd name="connsiteY22" fmla="*/ 165591 h 662859"/>
                <a:gd name="connsiteX23" fmla="*/ 191124 w 1320598"/>
                <a:gd name="connsiteY23" fmla="*/ 257494 h 662859"/>
                <a:gd name="connsiteX24" fmla="*/ 0 w 1320598"/>
                <a:gd name="connsiteY24" fmla="*/ 307032 h 662859"/>
                <a:gd name="connsiteX25" fmla="*/ 32818 w 1320598"/>
                <a:gd name="connsiteY25" fmla="*/ 474657 h 662859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897875 w 1320598"/>
                <a:gd name="connsiteY12" fmla="*/ 0 h 662859"/>
                <a:gd name="connsiteX13" fmla="*/ 806393 w 1320598"/>
                <a:gd name="connsiteY13" fmla="*/ 19035 h 662859"/>
                <a:gd name="connsiteX14" fmla="*/ 778727 w 1320598"/>
                <a:gd name="connsiteY14" fmla="*/ 63001 h 662859"/>
                <a:gd name="connsiteX15" fmla="*/ 728003 w 1320598"/>
                <a:gd name="connsiteY15" fmla="*/ 21477 h 662859"/>
                <a:gd name="connsiteX16" fmla="*/ 681891 w 1320598"/>
                <a:gd name="connsiteY16" fmla="*/ 28804 h 662859"/>
                <a:gd name="connsiteX17" fmla="*/ 688807 w 1320598"/>
                <a:gd name="connsiteY17" fmla="*/ 84984 h 662859"/>
                <a:gd name="connsiteX18" fmla="*/ 642695 w 1320598"/>
                <a:gd name="connsiteY18" fmla="*/ 94753 h 662859"/>
                <a:gd name="connsiteX19" fmla="*/ 635779 w 1320598"/>
                <a:gd name="connsiteY19" fmla="*/ 45903 h 662859"/>
                <a:gd name="connsiteX20" fmla="*/ 585055 w 1320598"/>
                <a:gd name="connsiteY20" fmla="*/ 48346 h 662859"/>
                <a:gd name="connsiteX21" fmla="*/ 598889 w 1320598"/>
                <a:gd name="connsiteY21" fmla="*/ 104523 h 662859"/>
                <a:gd name="connsiteX22" fmla="*/ 312524 w 1320598"/>
                <a:gd name="connsiteY22" fmla="*/ 165591 h 662859"/>
                <a:gd name="connsiteX23" fmla="*/ 191124 w 1320598"/>
                <a:gd name="connsiteY23" fmla="*/ 257494 h 662859"/>
                <a:gd name="connsiteX24" fmla="*/ 0 w 1320598"/>
                <a:gd name="connsiteY24" fmla="*/ 307032 h 662859"/>
                <a:gd name="connsiteX25" fmla="*/ 32818 w 1320598"/>
                <a:gd name="connsiteY25" fmla="*/ 474657 h 662859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897875 w 1320598"/>
                <a:gd name="connsiteY12" fmla="*/ 0 h 662859"/>
                <a:gd name="connsiteX13" fmla="*/ 806393 w 1320598"/>
                <a:gd name="connsiteY13" fmla="*/ 19035 h 662859"/>
                <a:gd name="connsiteX14" fmla="*/ 778727 w 1320598"/>
                <a:gd name="connsiteY14" fmla="*/ 63001 h 662859"/>
                <a:gd name="connsiteX15" fmla="*/ 751059 w 1320598"/>
                <a:gd name="connsiteY15" fmla="*/ 36132 h 662859"/>
                <a:gd name="connsiteX16" fmla="*/ 728003 w 1320598"/>
                <a:gd name="connsiteY16" fmla="*/ 21477 h 662859"/>
                <a:gd name="connsiteX17" fmla="*/ 681891 w 1320598"/>
                <a:gd name="connsiteY17" fmla="*/ 28804 h 662859"/>
                <a:gd name="connsiteX18" fmla="*/ 688807 w 1320598"/>
                <a:gd name="connsiteY18" fmla="*/ 84984 h 662859"/>
                <a:gd name="connsiteX19" fmla="*/ 642695 w 1320598"/>
                <a:gd name="connsiteY19" fmla="*/ 94753 h 662859"/>
                <a:gd name="connsiteX20" fmla="*/ 635779 w 1320598"/>
                <a:gd name="connsiteY20" fmla="*/ 45903 h 662859"/>
                <a:gd name="connsiteX21" fmla="*/ 585055 w 1320598"/>
                <a:gd name="connsiteY21" fmla="*/ 48346 h 662859"/>
                <a:gd name="connsiteX22" fmla="*/ 598889 w 1320598"/>
                <a:gd name="connsiteY22" fmla="*/ 104523 h 662859"/>
                <a:gd name="connsiteX23" fmla="*/ 312524 w 1320598"/>
                <a:gd name="connsiteY23" fmla="*/ 165591 h 662859"/>
                <a:gd name="connsiteX24" fmla="*/ 191124 w 1320598"/>
                <a:gd name="connsiteY24" fmla="*/ 257494 h 662859"/>
                <a:gd name="connsiteX25" fmla="*/ 0 w 1320598"/>
                <a:gd name="connsiteY25" fmla="*/ 307032 h 662859"/>
                <a:gd name="connsiteX26" fmla="*/ 32818 w 1320598"/>
                <a:gd name="connsiteY26" fmla="*/ 474657 h 662859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897875 w 1320598"/>
                <a:gd name="connsiteY12" fmla="*/ 0 h 662859"/>
                <a:gd name="connsiteX13" fmla="*/ 806393 w 1320598"/>
                <a:gd name="connsiteY13" fmla="*/ 19035 h 662859"/>
                <a:gd name="connsiteX14" fmla="*/ 778727 w 1320598"/>
                <a:gd name="connsiteY14" fmla="*/ 63001 h 662859"/>
                <a:gd name="connsiteX15" fmla="*/ 737225 w 1320598"/>
                <a:gd name="connsiteY15" fmla="*/ 70329 h 662859"/>
                <a:gd name="connsiteX16" fmla="*/ 728003 w 1320598"/>
                <a:gd name="connsiteY16" fmla="*/ 21477 h 662859"/>
                <a:gd name="connsiteX17" fmla="*/ 681891 w 1320598"/>
                <a:gd name="connsiteY17" fmla="*/ 28804 h 662859"/>
                <a:gd name="connsiteX18" fmla="*/ 688807 w 1320598"/>
                <a:gd name="connsiteY18" fmla="*/ 84984 h 662859"/>
                <a:gd name="connsiteX19" fmla="*/ 642695 w 1320598"/>
                <a:gd name="connsiteY19" fmla="*/ 94753 h 662859"/>
                <a:gd name="connsiteX20" fmla="*/ 635779 w 1320598"/>
                <a:gd name="connsiteY20" fmla="*/ 45903 h 662859"/>
                <a:gd name="connsiteX21" fmla="*/ 585055 w 1320598"/>
                <a:gd name="connsiteY21" fmla="*/ 48346 h 662859"/>
                <a:gd name="connsiteX22" fmla="*/ 598889 w 1320598"/>
                <a:gd name="connsiteY22" fmla="*/ 104523 h 662859"/>
                <a:gd name="connsiteX23" fmla="*/ 312524 w 1320598"/>
                <a:gd name="connsiteY23" fmla="*/ 165591 h 662859"/>
                <a:gd name="connsiteX24" fmla="*/ 191124 w 1320598"/>
                <a:gd name="connsiteY24" fmla="*/ 257494 h 662859"/>
                <a:gd name="connsiteX25" fmla="*/ 0 w 1320598"/>
                <a:gd name="connsiteY25" fmla="*/ 307032 h 662859"/>
                <a:gd name="connsiteX26" fmla="*/ 32818 w 1320598"/>
                <a:gd name="connsiteY26" fmla="*/ 474657 h 662859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897875 w 1320598"/>
                <a:gd name="connsiteY12" fmla="*/ 0 h 662859"/>
                <a:gd name="connsiteX13" fmla="*/ 799476 w 1320598"/>
                <a:gd name="connsiteY13" fmla="*/ 31247 h 662859"/>
                <a:gd name="connsiteX14" fmla="*/ 778727 w 1320598"/>
                <a:gd name="connsiteY14" fmla="*/ 63001 h 662859"/>
                <a:gd name="connsiteX15" fmla="*/ 737225 w 1320598"/>
                <a:gd name="connsiteY15" fmla="*/ 70329 h 662859"/>
                <a:gd name="connsiteX16" fmla="*/ 728003 w 1320598"/>
                <a:gd name="connsiteY16" fmla="*/ 21477 h 662859"/>
                <a:gd name="connsiteX17" fmla="*/ 681891 w 1320598"/>
                <a:gd name="connsiteY17" fmla="*/ 28804 h 662859"/>
                <a:gd name="connsiteX18" fmla="*/ 688807 w 1320598"/>
                <a:gd name="connsiteY18" fmla="*/ 84984 h 662859"/>
                <a:gd name="connsiteX19" fmla="*/ 642695 w 1320598"/>
                <a:gd name="connsiteY19" fmla="*/ 94753 h 662859"/>
                <a:gd name="connsiteX20" fmla="*/ 635779 w 1320598"/>
                <a:gd name="connsiteY20" fmla="*/ 45903 h 662859"/>
                <a:gd name="connsiteX21" fmla="*/ 585055 w 1320598"/>
                <a:gd name="connsiteY21" fmla="*/ 48346 h 662859"/>
                <a:gd name="connsiteX22" fmla="*/ 598889 w 1320598"/>
                <a:gd name="connsiteY22" fmla="*/ 104523 h 662859"/>
                <a:gd name="connsiteX23" fmla="*/ 312524 w 1320598"/>
                <a:gd name="connsiteY23" fmla="*/ 165591 h 662859"/>
                <a:gd name="connsiteX24" fmla="*/ 191124 w 1320598"/>
                <a:gd name="connsiteY24" fmla="*/ 257494 h 662859"/>
                <a:gd name="connsiteX25" fmla="*/ 0 w 1320598"/>
                <a:gd name="connsiteY25" fmla="*/ 307032 h 662859"/>
                <a:gd name="connsiteX26" fmla="*/ 32818 w 1320598"/>
                <a:gd name="connsiteY26" fmla="*/ 474657 h 662859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897875 w 1320598"/>
                <a:gd name="connsiteY12" fmla="*/ 0 h 662859"/>
                <a:gd name="connsiteX13" fmla="*/ 799476 w 1320598"/>
                <a:gd name="connsiteY13" fmla="*/ 31247 h 662859"/>
                <a:gd name="connsiteX14" fmla="*/ 769505 w 1320598"/>
                <a:gd name="connsiteY14" fmla="*/ 67886 h 662859"/>
                <a:gd name="connsiteX15" fmla="*/ 737225 w 1320598"/>
                <a:gd name="connsiteY15" fmla="*/ 70329 h 662859"/>
                <a:gd name="connsiteX16" fmla="*/ 728003 w 1320598"/>
                <a:gd name="connsiteY16" fmla="*/ 21477 h 662859"/>
                <a:gd name="connsiteX17" fmla="*/ 681891 w 1320598"/>
                <a:gd name="connsiteY17" fmla="*/ 28804 h 662859"/>
                <a:gd name="connsiteX18" fmla="*/ 688807 w 1320598"/>
                <a:gd name="connsiteY18" fmla="*/ 84984 h 662859"/>
                <a:gd name="connsiteX19" fmla="*/ 642695 w 1320598"/>
                <a:gd name="connsiteY19" fmla="*/ 94753 h 662859"/>
                <a:gd name="connsiteX20" fmla="*/ 635779 w 1320598"/>
                <a:gd name="connsiteY20" fmla="*/ 45903 h 662859"/>
                <a:gd name="connsiteX21" fmla="*/ 585055 w 1320598"/>
                <a:gd name="connsiteY21" fmla="*/ 48346 h 662859"/>
                <a:gd name="connsiteX22" fmla="*/ 598889 w 1320598"/>
                <a:gd name="connsiteY22" fmla="*/ 104523 h 662859"/>
                <a:gd name="connsiteX23" fmla="*/ 312524 w 1320598"/>
                <a:gd name="connsiteY23" fmla="*/ 165591 h 662859"/>
                <a:gd name="connsiteX24" fmla="*/ 191124 w 1320598"/>
                <a:gd name="connsiteY24" fmla="*/ 257494 h 662859"/>
                <a:gd name="connsiteX25" fmla="*/ 0 w 1320598"/>
                <a:gd name="connsiteY25" fmla="*/ 307032 h 662859"/>
                <a:gd name="connsiteX26" fmla="*/ 32818 w 1320598"/>
                <a:gd name="connsiteY26" fmla="*/ 474657 h 662859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897875 w 1320598"/>
                <a:gd name="connsiteY12" fmla="*/ 0 h 662859"/>
                <a:gd name="connsiteX13" fmla="*/ 799476 w 1320598"/>
                <a:gd name="connsiteY13" fmla="*/ 19035 h 662859"/>
                <a:gd name="connsiteX14" fmla="*/ 769505 w 1320598"/>
                <a:gd name="connsiteY14" fmla="*/ 67886 h 662859"/>
                <a:gd name="connsiteX15" fmla="*/ 737225 w 1320598"/>
                <a:gd name="connsiteY15" fmla="*/ 70329 h 662859"/>
                <a:gd name="connsiteX16" fmla="*/ 728003 w 1320598"/>
                <a:gd name="connsiteY16" fmla="*/ 21477 h 662859"/>
                <a:gd name="connsiteX17" fmla="*/ 681891 w 1320598"/>
                <a:gd name="connsiteY17" fmla="*/ 28804 h 662859"/>
                <a:gd name="connsiteX18" fmla="*/ 688807 w 1320598"/>
                <a:gd name="connsiteY18" fmla="*/ 84984 h 662859"/>
                <a:gd name="connsiteX19" fmla="*/ 642695 w 1320598"/>
                <a:gd name="connsiteY19" fmla="*/ 94753 h 662859"/>
                <a:gd name="connsiteX20" fmla="*/ 635779 w 1320598"/>
                <a:gd name="connsiteY20" fmla="*/ 45903 h 662859"/>
                <a:gd name="connsiteX21" fmla="*/ 585055 w 1320598"/>
                <a:gd name="connsiteY21" fmla="*/ 48346 h 662859"/>
                <a:gd name="connsiteX22" fmla="*/ 598889 w 1320598"/>
                <a:gd name="connsiteY22" fmla="*/ 104523 h 662859"/>
                <a:gd name="connsiteX23" fmla="*/ 312524 w 1320598"/>
                <a:gd name="connsiteY23" fmla="*/ 165591 h 662859"/>
                <a:gd name="connsiteX24" fmla="*/ 191124 w 1320598"/>
                <a:gd name="connsiteY24" fmla="*/ 257494 h 662859"/>
                <a:gd name="connsiteX25" fmla="*/ 0 w 1320598"/>
                <a:gd name="connsiteY25" fmla="*/ 307032 h 662859"/>
                <a:gd name="connsiteX26" fmla="*/ 32818 w 1320598"/>
                <a:gd name="connsiteY26" fmla="*/ 474657 h 662859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897875 w 1320598"/>
                <a:gd name="connsiteY12" fmla="*/ 0 h 662859"/>
                <a:gd name="connsiteX13" fmla="*/ 799476 w 1320598"/>
                <a:gd name="connsiteY13" fmla="*/ 19035 h 662859"/>
                <a:gd name="connsiteX14" fmla="*/ 769505 w 1320598"/>
                <a:gd name="connsiteY14" fmla="*/ 67886 h 662859"/>
                <a:gd name="connsiteX15" fmla="*/ 737225 w 1320598"/>
                <a:gd name="connsiteY15" fmla="*/ 70329 h 662859"/>
                <a:gd name="connsiteX16" fmla="*/ 728003 w 1320598"/>
                <a:gd name="connsiteY16" fmla="*/ 21477 h 662859"/>
                <a:gd name="connsiteX17" fmla="*/ 681891 w 1320598"/>
                <a:gd name="connsiteY17" fmla="*/ 28804 h 662859"/>
                <a:gd name="connsiteX18" fmla="*/ 688807 w 1320598"/>
                <a:gd name="connsiteY18" fmla="*/ 84984 h 662859"/>
                <a:gd name="connsiteX19" fmla="*/ 642695 w 1320598"/>
                <a:gd name="connsiteY19" fmla="*/ 94753 h 662859"/>
                <a:gd name="connsiteX20" fmla="*/ 635779 w 1320598"/>
                <a:gd name="connsiteY20" fmla="*/ 45903 h 662859"/>
                <a:gd name="connsiteX21" fmla="*/ 585055 w 1320598"/>
                <a:gd name="connsiteY21" fmla="*/ 48346 h 662859"/>
                <a:gd name="connsiteX22" fmla="*/ 598889 w 1320598"/>
                <a:gd name="connsiteY22" fmla="*/ 104523 h 662859"/>
                <a:gd name="connsiteX23" fmla="*/ 312524 w 1320598"/>
                <a:gd name="connsiteY23" fmla="*/ 165591 h 662859"/>
                <a:gd name="connsiteX24" fmla="*/ 191124 w 1320598"/>
                <a:gd name="connsiteY24" fmla="*/ 257494 h 662859"/>
                <a:gd name="connsiteX25" fmla="*/ 0 w 1320598"/>
                <a:gd name="connsiteY25" fmla="*/ 307032 h 662859"/>
                <a:gd name="connsiteX26" fmla="*/ 32818 w 1320598"/>
                <a:gd name="connsiteY26" fmla="*/ 474657 h 662859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897875 w 1320598"/>
                <a:gd name="connsiteY12" fmla="*/ 0 h 662859"/>
                <a:gd name="connsiteX13" fmla="*/ 764892 w 1320598"/>
                <a:gd name="connsiteY13" fmla="*/ 41018 h 662859"/>
                <a:gd name="connsiteX14" fmla="*/ 769505 w 1320598"/>
                <a:gd name="connsiteY14" fmla="*/ 67886 h 662859"/>
                <a:gd name="connsiteX15" fmla="*/ 737225 w 1320598"/>
                <a:gd name="connsiteY15" fmla="*/ 70329 h 662859"/>
                <a:gd name="connsiteX16" fmla="*/ 728003 w 1320598"/>
                <a:gd name="connsiteY16" fmla="*/ 21477 h 662859"/>
                <a:gd name="connsiteX17" fmla="*/ 681891 w 1320598"/>
                <a:gd name="connsiteY17" fmla="*/ 28804 h 662859"/>
                <a:gd name="connsiteX18" fmla="*/ 688807 w 1320598"/>
                <a:gd name="connsiteY18" fmla="*/ 84984 h 662859"/>
                <a:gd name="connsiteX19" fmla="*/ 642695 w 1320598"/>
                <a:gd name="connsiteY19" fmla="*/ 94753 h 662859"/>
                <a:gd name="connsiteX20" fmla="*/ 635779 w 1320598"/>
                <a:gd name="connsiteY20" fmla="*/ 45903 h 662859"/>
                <a:gd name="connsiteX21" fmla="*/ 585055 w 1320598"/>
                <a:gd name="connsiteY21" fmla="*/ 48346 h 662859"/>
                <a:gd name="connsiteX22" fmla="*/ 598889 w 1320598"/>
                <a:gd name="connsiteY22" fmla="*/ 104523 h 662859"/>
                <a:gd name="connsiteX23" fmla="*/ 312524 w 1320598"/>
                <a:gd name="connsiteY23" fmla="*/ 165591 h 662859"/>
                <a:gd name="connsiteX24" fmla="*/ 191124 w 1320598"/>
                <a:gd name="connsiteY24" fmla="*/ 257494 h 662859"/>
                <a:gd name="connsiteX25" fmla="*/ 0 w 1320598"/>
                <a:gd name="connsiteY25" fmla="*/ 307032 h 662859"/>
                <a:gd name="connsiteX26" fmla="*/ 32818 w 1320598"/>
                <a:gd name="connsiteY26" fmla="*/ 474657 h 662859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897875 w 1320598"/>
                <a:gd name="connsiteY12" fmla="*/ 0 h 662859"/>
                <a:gd name="connsiteX13" fmla="*/ 764892 w 1320598"/>
                <a:gd name="connsiteY13" fmla="*/ 41018 h 662859"/>
                <a:gd name="connsiteX14" fmla="*/ 831756 w 1320598"/>
                <a:gd name="connsiteY14" fmla="*/ 231537 h 662859"/>
                <a:gd name="connsiteX15" fmla="*/ 737225 w 1320598"/>
                <a:gd name="connsiteY15" fmla="*/ 70329 h 662859"/>
                <a:gd name="connsiteX16" fmla="*/ 728003 w 1320598"/>
                <a:gd name="connsiteY16" fmla="*/ 21477 h 662859"/>
                <a:gd name="connsiteX17" fmla="*/ 681891 w 1320598"/>
                <a:gd name="connsiteY17" fmla="*/ 28804 h 662859"/>
                <a:gd name="connsiteX18" fmla="*/ 688807 w 1320598"/>
                <a:gd name="connsiteY18" fmla="*/ 84984 h 662859"/>
                <a:gd name="connsiteX19" fmla="*/ 642695 w 1320598"/>
                <a:gd name="connsiteY19" fmla="*/ 94753 h 662859"/>
                <a:gd name="connsiteX20" fmla="*/ 635779 w 1320598"/>
                <a:gd name="connsiteY20" fmla="*/ 45903 h 662859"/>
                <a:gd name="connsiteX21" fmla="*/ 585055 w 1320598"/>
                <a:gd name="connsiteY21" fmla="*/ 48346 h 662859"/>
                <a:gd name="connsiteX22" fmla="*/ 598889 w 1320598"/>
                <a:gd name="connsiteY22" fmla="*/ 104523 h 662859"/>
                <a:gd name="connsiteX23" fmla="*/ 312524 w 1320598"/>
                <a:gd name="connsiteY23" fmla="*/ 165591 h 662859"/>
                <a:gd name="connsiteX24" fmla="*/ 191124 w 1320598"/>
                <a:gd name="connsiteY24" fmla="*/ 257494 h 662859"/>
                <a:gd name="connsiteX25" fmla="*/ 0 w 1320598"/>
                <a:gd name="connsiteY25" fmla="*/ 307032 h 662859"/>
                <a:gd name="connsiteX26" fmla="*/ 32818 w 1320598"/>
                <a:gd name="connsiteY26" fmla="*/ 474657 h 662859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897875 w 1320598"/>
                <a:gd name="connsiteY12" fmla="*/ 0 h 662859"/>
                <a:gd name="connsiteX13" fmla="*/ 767198 w 1320598"/>
                <a:gd name="connsiteY13" fmla="*/ 31247 h 662859"/>
                <a:gd name="connsiteX14" fmla="*/ 831756 w 1320598"/>
                <a:gd name="connsiteY14" fmla="*/ 231537 h 662859"/>
                <a:gd name="connsiteX15" fmla="*/ 737225 w 1320598"/>
                <a:gd name="connsiteY15" fmla="*/ 70329 h 662859"/>
                <a:gd name="connsiteX16" fmla="*/ 728003 w 1320598"/>
                <a:gd name="connsiteY16" fmla="*/ 21477 h 662859"/>
                <a:gd name="connsiteX17" fmla="*/ 681891 w 1320598"/>
                <a:gd name="connsiteY17" fmla="*/ 28804 h 662859"/>
                <a:gd name="connsiteX18" fmla="*/ 688807 w 1320598"/>
                <a:gd name="connsiteY18" fmla="*/ 84984 h 662859"/>
                <a:gd name="connsiteX19" fmla="*/ 642695 w 1320598"/>
                <a:gd name="connsiteY19" fmla="*/ 94753 h 662859"/>
                <a:gd name="connsiteX20" fmla="*/ 635779 w 1320598"/>
                <a:gd name="connsiteY20" fmla="*/ 45903 h 662859"/>
                <a:gd name="connsiteX21" fmla="*/ 585055 w 1320598"/>
                <a:gd name="connsiteY21" fmla="*/ 48346 h 662859"/>
                <a:gd name="connsiteX22" fmla="*/ 598889 w 1320598"/>
                <a:gd name="connsiteY22" fmla="*/ 104523 h 662859"/>
                <a:gd name="connsiteX23" fmla="*/ 312524 w 1320598"/>
                <a:gd name="connsiteY23" fmla="*/ 165591 h 662859"/>
                <a:gd name="connsiteX24" fmla="*/ 191124 w 1320598"/>
                <a:gd name="connsiteY24" fmla="*/ 257494 h 662859"/>
                <a:gd name="connsiteX25" fmla="*/ 0 w 1320598"/>
                <a:gd name="connsiteY25" fmla="*/ 307032 h 662859"/>
                <a:gd name="connsiteX26" fmla="*/ 32818 w 1320598"/>
                <a:gd name="connsiteY26" fmla="*/ 474657 h 662859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897875 w 1320598"/>
                <a:gd name="connsiteY12" fmla="*/ 0 h 662859"/>
                <a:gd name="connsiteX13" fmla="*/ 767198 w 1320598"/>
                <a:gd name="connsiteY13" fmla="*/ 31247 h 662859"/>
                <a:gd name="connsiteX14" fmla="*/ 769505 w 1320598"/>
                <a:gd name="connsiteY14" fmla="*/ 72771 h 662859"/>
                <a:gd name="connsiteX15" fmla="*/ 737225 w 1320598"/>
                <a:gd name="connsiteY15" fmla="*/ 70329 h 662859"/>
                <a:gd name="connsiteX16" fmla="*/ 728003 w 1320598"/>
                <a:gd name="connsiteY16" fmla="*/ 21477 h 662859"/>
                <a:gd name="connsiteX17" fmla="*/ 681891 w 1320598"/>
                <a:gd name="connsiteY17" fmla="*/ 28804 h 662859"/>
                <a:gd name="connsiteX18" fmla="*/ 688807 w 1320598"/>
                <a:gd name="connsiteY18" fmla="*/ 84984 h 662859"/>
                <a:gd name="connsiteX19" fmla="*/ 642695 w 1320598"/>
                <a:gd name="connsiteY19" fmla="*/ 94753 h 662859"/>
                <a:gd name="connsiteX20" fmla="*/ 635779 w 1320598"/>
                <a:gd name="connsiteY20" fmla="*/ 45903 h 662859"/>
                <a:gd name="connsiteX21" fmla="*/ 585055 w 1320598"/>
                <a:gd name="connsiteY21" fmla="*/ 48346 h 662859"/>
                <a:gd name="connsiteX22" fmla="*/ 598889 w 1320598"/>
                <a:gd name="connsiteY22" fmla="*/ 104523 h 662859"/>
                <a:gd name="connsiteX23" fmla="*/ 312524 w 1320598"/>
                <a:gd name="connsiteY23" fmla="*/ 165591 h 662859"/>
                <a:gd name="connsiteX24" fmla="*/ 191124 w 1320598"/>
                <a:gd name="connsiteY24" fmla="*/ 257494 h 662859"/>
                <a:gd name="connsiteX25" fmla="*/ 0 w 1320598"/>
                <a:gd name="connsiteY25" fmla="*/ 307032 h 662859"/>
                <a:gd name="connsiteX26" fmla="*/ 32818 w 1320598"/>
                <a:gd name="connsiteY26" fmla="*/ 474657 h 662859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897875 w 1320598"/>
                <a:gd name="connsiteY12" fmla="*/ 0 h 662859"/>
                <a:gd name="connsiteX13" fmla="*/ 767198 w 1320598"/>
                <a:gd name="connsiteY13" fmla="*/ 31247 h 662859"/>
                <a:gd name="connsiteX14" fmla="*/ 774116 w 1320598"/>
                <a:gd name="connsiteY14" fmla="*/ 65443 h 662859"/>
                <a:gd name="connsiteX15" fmla="*/ 737225 w 1320598"/>
                <a:gd name="connsiteY15" fmla="*/ 70329 h 662859"/>
                <a:gd name="connsiteX16" fmla="*/ 728003 w 1320598"/>
                <a:gd name="connsiteY16" fmla="*/ 21477 h 662859"/>
                <a:gd name="connsiteX17" fmla="*/ 681891 w 1320598"/>
                <a:gd name="connsiteY17" fmla="*/ 28804 h 662859"/>
                <a:gd name="connsiteX18" fmla="*/ 688807 w 1320598"/>
                <a:gd name="connsiteY18" fmla="*/ 84984 h 662859"/>
                <a:gd name="connsiteX19" fmla="*/ 642695 w 1320598"/>
                <a:gd name="connsiteY19" fmla="*/ 94753 h 662859"/>
                <a:gd name="connsiteX20" fmla="*/ 635779 w 1320598"/>
                <a:gd name="connsiteY20" fmla="*/ 45903 h 662859"/>
                <a:gd name="connsiteX21" fmla="*/ 585055 w 1320598"/>
                <a:gd name="connsiteY21" fmla="*/ 48346 h 662859"/>
                <a:gd name="connsiteX22" fmla="*/ 598889 w 1320598"/>
                <a:gd name="connsiteY22" fmla="*/ 104523 h 662859"/>
                <a:gd name="connsiteX23" fmla="*/ 312524 w 1320598"/>
                <a:gd name="connsiteY23" fmla="*/ 165591 h 662859"/>
                <a:gd name="connsiteX24" fmla="*/ 191124 w 1320598"/>
                <a:gd name="connsiteY24" fmla="*/ 257494 h 662859"/>
                <a:gd name="connsiteX25" fmla="*/ 0 w 1320598"/>
                <a:gd name="connsiteY25" fmla="*/ 307032 h 662859"/>
                <a:gd name="connsiteX26" fmla="*/ 32818 w 1320598"/>
                <a:gd name="connsiteY26" fmla="*/ 474657 h 662859"/>
                <a:gd name="connsiteX0" fmla="*/ 32818 w 1320598"/>
                <a:gd name="connsiteY0" fmla="*/ 474657 h 662859"/>
                <a:gd name="connsiteX1" fmla="*/ 315950 w 1320598"/>
                <a:gd name="connsiteY1" fmla="*/ 408458 h 662859"/>
                <a:gd name="connsiteX2" fmla="*/ 329998 w 1320598"/>
                <a:gd name="connsiteY2" fmla="*/ 436557 h 662859"/>
                <a:gd name="connsiteX3" fmla="*/ 704968 w 1320598"/>
                <a:gd name="connsiteY3" fmla="*/ 350836 h 662859"/>
                <a:gd name="connsiteX4" fmla="*/ 843563 w 1320598"/>
                <a:gd name="connsiteY4" fmla="*/ 374185 h 662859"/>
                <a:gd name="connsiteX5" fmla="*/ 863668 w 1320598"/>
                <a:gd name="connsiteY5" fmla="*/ 495582 h 662859"/>
                <a:gd name="connsiteX6" fmla="*/ 839094 w 1320598"/>
                <a:gd name="connsiteY6" fmla="*/ 502723 h 662859"/>
                <a:gd name="connsiteX7" fmla="*/ 832795 w 1320598"/>
                <a:gd name="connsiteY7" fmla="*/ 433697 h 662859"/>
                <a:gd name="connsiteX8" fmla="*/ 304781 w 1320598"/>
                <a:gd name="connsiteY8" fmla="*/ 554675 h 662859"/>
                <a:gd name="connsiteX9" fmla="*/ 316074 w 1320598"/>
                <a:gd name="connsiteY9" fmla="*/ 604676 h 662859"/>
                <a:gd name="connsiteX10" fmla="*/ 423123 w 1320598"/>
                <a:gd name="connsiteY10" fmla="*/ 662297 h 662859"/>
                <a:gd name="connsiteX11" fmla="*/ 1320598 w 1320598"/>
                <a:gd name="connsiteY11" fmla="*/ 459417 h 662859"/>
                <a:gd name="connsiteX12" fmla="*/ 1107166 w 1320598"/>
                <a:gd name="connsiteY12" fmla="*/ 236220 h 662859"/>
                <a:gd name="connsiteX13" fmla="*/ 897875 w 1320598"/>
                <a:gd name="connsiteY13" fmla="*/ 0 h 662859"/>
                <a:gd name="connsiteX14" fmla="*/ 767198 w 1320598"/>
                <a:gd name="connsiteY14" fmla="*/ 31247 h 662859"/>
                <a:gd name="connsiteX15" fmla="*/ 774116 w 1320598"/>
                <a:gd name="connsiteY15" fmla="*/ 65443 h 662859"/>
                <a:gd name="connsiteX16" fmla="*/ 737225 w 1320598"/>
                <a:gd name="connsiteY16" fmla="*/ 70329 h 662859"/>
                <a:gd name="connsiteX17" fmla="*/ 728003 w 1320598"/>
                <a:gd name="connsiteY17" fmla="*/ 21477 h 662859"/>
                <a:gd name="connsiteX18" fmla="*/ 681891 w 1320598"/>
                <a:gd name="connsiteY18" fmla="*/ 28804 h 662859"/>
                <a:gd name="connsiteX19" fmla="*/ 688807 w 1320598"/>
                <a:gd name="connsiteY19" fmla="*/ 84984 h 662859"/>
                <a:gd name="connsiteX20" fmla="*/ 642695 w 1320598"/>
                <a:gd name="connsiteY20" fmla="*/ 94753 h 662859"/>
                <a:gd name="connsiteX21" fmla="*/ 635779 w 1320598"/>
                <a:gd name="connsiteY21" fmla="*/ 45903 h 662859"/>
                <a:gd name="connsiteX22" fmla="*/ 585055 w 1320598"/>
                <a:gd name="connsiteY22" fmla="*/ 48346 h 662859"/>
                <a:gd name="connsiteX23" fmla="*/ 598889 w 1320598"/>
                <a:gd name="connsiteY23" fmla="*/ 104523 h 662859"/>
                <a:gd name="connsiteX24" fmla="*/ 312524 w 1320598"/>
                <a:gd name="connsiteY24" fmla="*/ 165591 h 662859"/>
                <a:gd name="connsiteX25" fmla="*/ 191124 w 1320598"/>
                <a:gd name="connsiteY25" fmla="*/ 257494 h 662859"/>
                <a:gd name="connsiteX26" fmla="*/ 0 w 1320598"/>
                <a:gd name="connsiteY26" fmla="*/ 307032 h 662859"/>
                <a:gd name="connsiteX27" fmla="*/ 32818 w 1320598"/>
                <a:gd name="connsiteY27" fmla="*/ 474657 h 662859"/>
                <a:gd name="connsiteX0" fmla="*/ 32818 w 1545017"/>
                <a:gd name="connsiteY0" fmla="*/ 607306 h 795508"/>
                <a:gd name="connsiteX1" fmla="*/ 315950 w 1545017"/>
                <a:gd name="connsiteY1" fmla="*/ 541107 h 795508"/>
                <a:gd name="connsiteX2" fmla="*/ 329998 w 1545017"/>
                <a:gd name="connsiteY2" fmla="*/ 569206 h 795508"/>
                <a:gd name="connsiteX3" fmla="*/ 704968 w 1545017"/>
                <a:gd name="connsiteY3" fmla="*/ 483485 h 795508"/>
                <a:gd name="connsiteX4" fmla="*/ 843563 w 1545017"/>
                <a:gd name="connsiteY4" fmla="*/ 506834 h 795508"/>
                <a:gd name="connsiteX5" fmla="*/ 863668 w 1545017"/>
                <a:gd name="connsiteY5" fmla="*/ 628231 h 795508"/>
                <a:gd name="connsiteX6" fmla="*/ 839094 w 1545017"/>
                <a:gd name="connsiteY6" fmla="*/ 635372 h 795508"/>
                <a:gd name="connsiteX7" fmla="*/ 832795 w 1545017"/>
                <a:gd name="connsiteY7" fmla="*/ 566346 h 795508"/>
                <a:gd name="connsiteX8" fmla="*/ 304781 w 1545017"/>
                <a:gd name="connsiteY8" fmla="*/ 687324 h 795508"/>
                <a:gd name="connsiteX9" fmla="*/ 316074 w 1545017"/>
                <a:gd name="connsiteY9" fmla="*/ 737325 h 795508"/>
                <a:gd name="connsiteX10" fmla="*/ 423123 w 1545017"/>
                <a:gd name="connsiteY10" fmla="*/ 794946 h 795508"/>
                <a:gd name="connsiteX11" fmla="*/ 1320598 w 1545017"/>
                <a:gd name="connsiteY11" fmla="*/ 592066 h 795508"/>
                <a:gd name="connsiteX12" fmla="*/ 1545017 w 1545017"/>
                <a:gd name="connsiteY12" fmla="*/ 0 h 795508"/>
                <a:gd name="connsiteX13" fmla="*/ 897875 w 1545017"/>
                <a:gd name="connsiteY13" fmla="*/ 132649 h 795508"/>
                <a:gd name="connsiteX14" fmla="*/ 767198 w 1545017"/>
                <a:gd name="connsiteY14" fmla="*/ 163896 h 795508"/>
                <a:gd name="connsiteX15" fmla="*/ 774116 w 1545017"/>
                <a:gd name="connsiteY15" fmla="*/ 198092 h 795508"/>
                <a:gd name="connsiteX16" fmla="*/ 737225 w 1545017"/>
                <a:gd name="connsiteY16" fmla="*/ 202978 h 795508"/>
                <a:gd name="connsiteX17" fmla="*/ 728003 w 1545017"/>
                <a:gd name="connsiteY17" fmla="*/ 154126 h 795508"/>
                <a:gd name="connsiteX18" fmla="*/ 681891 w 1545017"/>
                <a:gd name="connsiteY18" fmla="*/ 161453 h 795508"/>
                <a:gd name="connsiteX19" fmla="*/ 688807 w 1545017"/>
                <a:gd name="connsiteY19" fmla="*/ 217633 h 795508"/>
                <a:gd name="connsiteX20" fmla="*/ 642695 w 1545017"/>
                <a:gd name="connsiteY20" fmla="*/ 227402 h 795508"/>
                <a:gd name="connsiteX21" fmla="*/ 635779 w 1545017"/>
                <a:gd name="connsiteY21" fmla="*/ 178552 h 795508"/>
                <a:gd name="connsiteX22" fmla="*/ 585055 w 1545017"/>
                <a:gd name="connsiteY22" fmla="*/ 180995 h 795508"/>
                <a:gd name="connsiteX23" fmla="*/ 598889 w 1545017"/>
                <a:gd name="connsiteY23" fmla="*/ 237172 h 795508"/>
                <a:gd name="connsiteX24" fmla="*/ 312524 w 1545017"/>
                <a:gd name="connsiteY24" fmla="*/ 298240 h 795508"/>
                <a:gd name="connsiteX25" fmla="*/ 191124 w 1545017"/>
                <a:gd name="connsiteY25" fmla="*/ 390143 h 795508"/>
                <a:gd name="connsiteX26" fmla="*/ 0 w 1545017"/>
                <a:gd name="connsiteY26" fmla="*/ 439681 h 795508"/>
                <a:gd name="connsiteX27" fmla="*/ 32818 w 1545017"/>
                <a:gd name="connsiteY27" fmla="*/ 607306 h 795508"/>
                <a:gd name="connsiteX0" fmla="*/ 32818 w 1545017"/>
                <a:gd name="connsiteY0" fmla="*/ 607306 h 795508"/>
                <a:gd name="connsiteX1" fmla="*/ 315950 w 1545017"/>
                <a:gd name="connsiteY1" fmla="*/ 541107 h 795508"/>
                <a:gd name="connsiteX2" fmla="*/ 329998 w 1545017"/>
                <a:gd name="connsiteY2" fmla="*/ 569206 h 795508"/>
                <a:gd name="connsiteX3" fmla="*/ 704968 w 1545017"/>
                <a:gd name="connsiteY3" fmla="*/ 483485 h 795508"/>
                <a:gd name="connsiteX4" fmla="*/ 843563 w 1545017"/>
                <a:gd name="connsiteY4" fmla="*/ 506834 h 795508"/>
                <a:gd name="connsiteX5" fmla="*/ 863668 w 1545017"/>
                <a:gd name="connsiteY5" fmla="*/ 628231 h 795508"/>
                <a:gd name="connsiteX6" fmla="*/ 839094 w 1545017"/>
                <a:gd name="connsiteY6" fmla="*/ 635372 h 795508"/>
                <a:gd name="connsiteX7" fmla="*/ 832795 w 1545017"/>
                <a:gd name="connsiteY7" fmla="*/ 566346 h 795508"/>
                <a:gd name="connsiteX8" fmla="*/ 304781 w 1545017"/>
                <a:gd name="connsiteY8" fmla="*/ 687324 h 795508"/>
                <a:gd name="connsiteX9" fmla="*/ 316074 w 1545017"/>
                <a:gd name="connsiteY9" fmla="*/ 737325 h 795508"/>
                <a:gd name="connsiteX10" fmla="*/ 423123 w 1545017"/>
                <a:gd name="connsiteY10" fmla="*/ 794946 h 795508"/>
                <a:gd name="connsiteX11" fmla="*/ 1320598 w 1545017"/>
                <a:gd name="connsiteY11" fmla="*/ 592066 h 795508"/>
                <a:gd name="connsiteX12" fmla="*/ 1417682 w 1545017"/>
                <a:gd name="connsiteY12" fmla="*/ 347452 h 795508"/>
                <a:gd name="connsiteX13" fmla="*/ 1545017 w 1545017"/>
                <a:gd name="connsiteY13" fmla="*/ 0 h 795508"/>
                <a:gd name="connsiteX14" fmla="*/ 897875 w 1545017"/>
                <a:gd name="connsiteY14" fmla="*/ 132649 h 795508"/>
                <a:gd name="connsiteX15" fmla="*/ 767198 w 1545017"/>
                <a:gd name="connsiteY15" fmla="*/ 163896 h 795508"/>
                <a:gd name="connsiteX16" fmla="*/ 774116 w 1545017"/>
                <a:gd name="connsiteY16" fmla="*/ 198092 h 795508"/>
                <a:gd name="connsiteX17" fmla="*/ 737225 w 1545017"/>
                <a:gd name="connsiteY17" fmla="*/ 202978 h 795508"/>
                <a:gd name="connsiteX18" fmla="*/ 728003 w 1545017"/>
                <a:gd name="connsiteY18" fmla="*/ 154126 h 795508"/>
                <a:gd name="connsiteX19" fmla="*/ 681891 w 1545017"/>
                <a:gd name="connsiteY19" fmla="*/ 161453 h 795508"/>
                <a:gd name="connsiteX20" fmla="*/ 688807 w 1545017"/>
                <a:gd name="connsiteY20" fmla="*/ 217633 h 795508"/>
                <a:gd name="connsiteX21" fmla="*/ 642695 w 1545017"/>
                <a:gd name="connsiteY21" fmla="*/ 227402 h 795508"/>
                <a:gd name="connsiteX22" fmla="*/ 635779 w 1545017"/>
                <a:gd name="connsiteY22" fmla="*/ 178552 h 795508"/>
                <a:gd name="connsiteX23" fmla="*/ 585055 w 1545017"/>
                <a:gd name="connsiteY23" fmla="*/ 180995 h 795508"/>
                <a:gd name="connsiteX24" fmla="*/ 598889 w 1545017"/>
                <a:gd name="connsiteY24" fmla="*/ 237172 h 795508"/>
                <a:gd name="connsiteX25" fmla="*/ 312524 w 1545017"/>
                <a:gd name="connsiteY25" fmla="*/ 298240 h 795508"/>
                <a:gd name="connsiteX26" fmla="*/ 191124 w 1545017"/>
                <a:gd name="connsiteY26" fmla="*/ 390143 h 795508"/>
                <a:gd name="connsiteX27" fmla="*/ 0 w 1545017"/>
                <a:gd name="connsiteY27" fmla="*/ 439681 h 795508"/>
                <a:gd name="connsiteX28" fmla="*/ 32818 w 1545017"/>
                <a:gd name="connsiteY28" fmla="*/ 607306 h 795508"/>
                <a:gd name="connsiteX0" fmla="*/ 32818 w 2174985"/>
                <a:gd name="connsiteY0" fmla="*/ 607306 h 795508"/>
                <a:gd name="connsiteX1" fmla="*/ 315950 w 2174985"/>
                <a:gd name="connsiteY1" fmla="*/ 541107 h 795508"/>
                <a:gd name="connsiteX2" fmla="*/ 329998 w 2174985"/>
                <a:gd name="connsiteY2" fmla="*/ 569206 h 795508"/>
                <a:gd name="connsiteX3" fmla="*/ 704968 w 2174985"/>
                <a:gd name="connsiteY3" fmla="*/ 483485 h 795508"/>
                <a:gd name="connsiteX4" fmla="*/ 843563 w 2174985"/>
                <a:gd name="connsiteY4" fmla="*/ 506834 h 795508"/>
                <a:gd name="connsiteX5" fmla="*/ 863668 w 2174985"/>
                <a:gd name="connsiteY5" fmla="*/ 628231 h 795508"/>
                <a:gd name="connsiteX6" fmla="*/ 839094 w 2174985"/>
                <a:gd name="connsiteY6" fmla="*/ 635372 h 795508"/>
                <a:gd name="connsiteX7" fmla="*/ 832795 w 2174985"/>
                <a:gd name="connsiteY7" fmla="*/ 566346 h 795508"/>
                <a:gd name="connsiteX8" fmla="*/ 304781 w 2174985"/>
                <a:gd name="connsiteY8" fmla="*/ 687324 h 795508"/>
                <a:gd name="connsiteX9" fmla="*/ 316074 w 2174985"/>
                <a:gd name="connsiteY9" fmla="*/ 737325 h 795508"/>
                <a:gd name="connsiteX10" fmla="*/ 423123 w 2174985"/>
                <a:gd name="connsiteY10" fmla="*/ 794946 h 795508"/>
                <a:gd name="connsiteX11" fmla="*/ 1320598 w 2174985"/>
                <a:gd name="connsiteY11" fmla="*/ 592066 h 795508"/>
                <a:gd name="connsiteX12" fmla="*/ 2174985 w 2174985"/>
                <a:gd name="connsiteY12" fmla="*/ 468821 h 795508"/>
                <a:gd name="connsiteX13" fmla="*/ 1545017 w 2174985"/>
                <a:gd name="connsiteY13" fmla="*/ 0 h 795508"/>
                <a:gd name="connsiteX14" fmla="*/ 897875 w 2174985"/>
                <a:gd name="connsiteY14" fmla="*/ 132649 h 795508"/>
                <a:gd name="connsiteX15" fmla="*/ 767198 w 2174985"/>
                <a:gd name="connsiteY15" fmla="*/ 163896 h 795508"/>
                <a:gd name="connsiteX16" fmla="*/ 774116 w 2174985"/>
                <a:gd name="connsiteY16" fmla="*/ 198092 h 795508"/>
                <a:gd name="connsiteX17" fmla="*/ 737225 w 2174985"/>
                <a:gd name="connsiteY17" fmla="*/ 202978 h 795508"/>
                <a:gd name="connsiteX18" fmla="*/ 728003 w 2174985"/>
                <a:gd name="connsiteY18" fmla="*/ 154126 h 795508"/>
                <a:gd name="connsiteX19" fmla="*/ 681891 w 2174985"/>
                <a:gd name="connsiteY19" fmla="*/ 161453 h 795508"/>
                <a:gd name="connsiteX20" fmla="*/ 688807 w 2174985"/>
                <a:gd name="connsiteY20" fmla="*/ 217633 h 795508"/>
                <a:gd name="connsiteX21" fmla="*/ 642695 w 2174985"/>
                <a:gd name="connsiteY21" fmla="*/ 227402 h 795508"/>
                <a:gd name="connsiteX22" fmla="*/ 635779 w 2174985"/>
                <a:gd name="connsiteY22" fmla="*/ 178552 h 795508"/>
                <a:gd name="connsiteX23" fmla="*/ 585055 w 2174985"/>
                <a:gd name="connsiteY23" fmla="*/ 180995 h 795508"/>
                <a:gd name="connsiteX24" fmla="*/ 598889 w 2174985"/>
                <a:gd name="connsiteY24" fmla="*/ 237172 h 795508"/>
                <a:gd name="connsiteX25" fmla="*/ 312524 w 2174985"/>
                <a:gd name="connsiteY25" fmla="*/ 298240 h 795508"/>
                <a:gd name="connsiteX26" fmla="*/ 191124 w 2174985"/>
                <a:gd name="connsiteY26" fmla="*/ 390143 h 795508"/>
                <a:gd name="connsiteX27" fmla="*/ 0 w 2174985"/>
                <a:gd name="connsiteY27" fmla="*/ 439681 h 795508"/>
                <a:gd name="connsiteX28" fmla="*/ 32818 w 2174985"/>
                <a:gd name="connsiteY28" fmla="*/ 607306 h 795508"/>
                <a:gd name="connsiteX0" fmla="*/ 32818 w 2174985"/>
                <a:gd name="connsiteY0" fmla="*/ 607306 h 795508"/>
                <a:gd name="connsiteX1" fmla="*/ 315950 w 2174985"/>
                <a:gd name="connsiteY1" fmla="*/ 541107 h 795508"/>
                <a:gd name="connsiteX2" fmla="*/ 329998 w 2174985"/>
                <a:gd name="connsiteY2" fmla="*/ 569206 h 795508"/>
                <a:gd name="connsiteX3" fmla="*/ 704968 w 2174985"/>
                <a:gd name="connsiteY3" fmla="*/ 483485 h 795508"/>
                <a:gd name="connsiteX4" fmla="*/ 843563 w 2174985"/>
                <a:gd name="connsiteY4" fmla="*/ 506834 h 795508"/>
                <a:gd name="connsiteX5" fmla="*/ 863668 w 2174985"/>
                <a:gd name="connsiteY5" fmla="*/ 628231 h 795508"/>
                <a:gd name="connsiteX6" fmla="*/ 839094 w 2174985"/>
                <a:gd name="connsiteY6" fmla="*/ 635372 h 795508"/>
                <a:gd name="connsiteX7" fmla="*/ 832795 w 2174985"/>
                <a:gd name="connsiteY7" fmla="*/ 566346 h 795508"/>
                <a:gd name="connsiteX8" fmla="*/ 304781 w 2174985"/>
                <a:gd name="connsiteY8" fmla="*/ 687324 h 795508"/>
                <a:gd name="connsiteX9" fmla="*/ 316074 w 2174985"/>
                <a:gd name="connsiteY9" fmla="*/ 737325 h 795508"/>
                <a:gd name="connsiteX10" fmla="*/ 423123 w 2174985"/>
                <a:gd name="connsiteY10" fmla="*/ 794946 h 795508"/>
                <a:gd name="connsiteX11" fmla="*/ 1320598 w 2174985"/>
                <a:gd name="connsiteY11" fmla="*/ 592066 h 795508"/>
                <a:gd name="connsiteX12" fmla="*/ 2027545 w 2174985"/>
                <a:gd name="connsiteY12" fmla="*/ 495000 h 795508"/>
                <a:gd name="connsiteX13" fmla="*/ 2174985 w 2174985"/>
                <a:gd name="connsiteY13" fmla="*/ 468821 h 795508"/>
                <a:gd name="connsiteX14" fmla="*/ 1545017 w 2174985"/>
                <a:gd name="connsiteY14" fmla="*/ 0 h 795508"/>
                <a:gd name="connsiteX15" fmla="*/ 897875 w 2174985"/>
                <a:gd name="connsiteY15" fmla="*/ 132649 h 795508"/>
                <a:gd name="connsiteX16" fmla="*/ 767198 w 2174985"/>
                <a:gd name="connsiteY16" fmla="*/ 163896 h 795508"/>
                <a:gd name="connsiteX17" fmla="*/ 774116 w 2174985"/>
                <a:gd name="connsiteY17" fmla="*/ 198092 h 795508"/>
                <a:gd name="connsiteX18" fmla="*/ 737225 w 2174985"/>
                <a:gd name="connsiteY18" fmla="*/ 202978 h 795508"/>
                <a:gd name="connsiteX19" fmla="*/ 728003 w 2174985"/>
                <a:gd name="connsiteY19" fmla="*/ 154126 h 795508"/>
                <a:gd name="connsiteX20" fmla="*/ 681891 w 2174985"/>
                <a:gd name="connsiteY20" fmla="*/ 161453 h 795508"/>
                <a:gd name="connsiteX21" fmla="*/ 688807 w 2174985"/>
                <a:gd name="connsiteY21" fmla="*/ 217633 h 795508"/>
                <a:gd name="connsiteX22" fmla="*/ 642695 w 2174985"/>
                <a:gd name="connsiteY22" fmla="*/ 227402 h 795508"/>
                <a:gd name="connsiteX23" fmla="*/ 635779 w 2174985"/>
                <a:gd name="connsiteY23" fmla="*/ 178552 h 795508"/>
                <a:gd name="connsiteX24" fmla="*/ 585055 w 2174985"/>
                <a:gd name="connsiteY24" fmla="*/ 180995 h 795508"/>
                <a:gd name="connsiteX25" fmla="*/ 598889 w 2174985"/>
                <a:gd name="connsiteY25" fmla="*/ 237172 h 795508"/>
                <a:gd name="connsiteX26" fmla="*/ 312524 w 2174985"/>
                <a:gd name="connsiteY26" fmla="*/ 298240 h 795508"/>
                <a:gd name="connsiteX27" fmla="*/ 191124 w 2174985"/>
                <a:gd name="connsiteY27" fmla="*/ 390143 h 795508"/>
                <a:gd name="connsiteX28" fmla="*/ 0 w 2174985"/>
                <a:gd name="connsiteY28" fmla="*/ 439681 h 795508"/>
                <a:gd name="connsiteX29" fmla="*/ 32818 w 2174985"/>
                <a:gd name="connsiteY29" fmla="*/ 607306 h 795508"/>
                <a:gd name="connsiteX0" fmla="*/ 32818 w 2174985"/>
                <a:gd name="connsiteY0" fmla="*/ 607306 h 795508"/>
                <a:gd name="connsiteX1" fmla="*/ 315950 w 2174985"/>
                <a:gd name="connsiteY1" fmla="*/ 541107 h 795508"/>
                <a:gd name="connsiteX2" fmla="*/ 329998 w 2174985"/>
                <a:gd name="connsiteY2" fmla="*/ 569206 h 795508"/>
                <a:gd name="connsiteX3" fmla="*/ 704968 w 2174985"/>
                <a:gd name="connsiteY3" fmla="*/ 483485 h 795508"/>
                <a:gd name="connsiteX4" fmla="*/ 843563 w 2174985"/>
                <a:gd name="connsiteY4" fmla="*/ 506834 h 795508"/>
                <a:gd name="connsiteX5" fmla="*/ 863668 w 2174985"/>
                <a:gd name="connsiteY5" fmla="*/ 628231 h 795508"/>
                <a:gd name="connsiteX6" fmla="*/ 839094 w 2174985"/>
                <a:gd name="connsiteY6" fmla="*/ 635372 h 795508"/>
                <a:gd name="connsiteX7" fmla="*/ 832795 w 2174985"/>
                <a:gd name="connsiteY7" fmla="*/ 566346 h 795508"/>
                <a:gd name="connsiteX8" fmla="*/ 304781 w 2174985"/>
                <a:gd name="connsiteY8" fmla="*/ 687324 h 795508"/>
                <a:gd name="connsiteX9" fmla="*/ 316074 w 2174985"/>
                <a:gd name="connsiteY9" fmla="*/ 737325 h 795508"/>
                <a:gd name="connsiteX10" fmla="*/ 423123 w 2174985"/>
                <a:gd name="connsiteY10" fmla="*/ 794946 h 795508"/>
                <a:gd name="connsiteX11" fmla="*/ 1320598 w 2174985"/>
                <a:gd name="connsiteY11" fmla="*/ 592066 h 795508"/>
                <a:gd name="connsiteX12" fmla="*/ 1971697 w 2174985"/>
                <a:gd name="connsiteY12" fmla="*/ 459304 h 795508"/>
                <a:gd name="connsiteX13" fmla="*/ 2174985 w 2174985"/>
                <a:gd name="connsiteY13" fmla="*/ 468821 h 795508"/>
                <a:gd name="connsiteX14" fmla="*/ 1545017 w 2174985"/>
                <a:gd name="connsiteY14" fmla="*/ 0 h 795508"/>
                <a:gd name="connsiteX15" fmla="*/ 897875 w 2174985"/>
                <a:gd name="connsiteY15" fmla="*/ 132649 h 795508"/>
                <a:gd name="connsiteX16" fmla="*/ 767198 w 2174985"/>
                <a:gd name="connsiteY16" fmla="*/ 163896 h 795508"/>
                <a:gd name="connsiteX17" fmla="*/ 774116 w 2174985"/>
                <a:gd name="connsiteY17" fmla="*/ 198092 h 795508"/>
                <a:gd name="connsiteX18" fmla="*/ 737225 w 2174985"/>
                <a:gd name="connsiteY18" fmla="*/ 202978 h 795508"/>
                <a:gd name="connsiteX19" fmla="*/ 728003 w 2174985"/>
                <a:gd name="connsiteY19" fmla="*/ 154126 h 795508"/>
                <a:gd name="connsiteX20" fmla="*/ 681891 w 2174985"/>
                <a:gd name="connsiteY20" fmla="*/ 161453 h 795508"/>
                <a:gd name="connsiteX21" fmla="*/ 688807 w 2174985"/>
                <a:gd name="connsiteY21" fmla="*/ 217633 h 795508"/>
                <a:gd name="connsiteX22" fmla="*/ 642695 w 2174985"/>
                <a:gd name="connsiteY22" fmla="*/ 227402 h 795508"/>
                <a:gd name="connsiteX23" fmla="*/ 635779 w 2174985"/>
                <a:gd name="connsiteY23" fmla="*/ 178552 h 795508"/>
                <a:gd name="connsiteX24" fmla="*/ 585055 w 2174985"/>
                <a:gd name="connsiteY24" fmla="*/ 180995 h 795508"/>
                <a:gd name="connsiteX25" fmla="*/ 598889 w 2174985"/>
                <a:gd name="connsiteY25" fmla="*/ 237172 h 795508"/>
                <a:gd name="connsiteX26" fmla="*/ 312524 w 2174985"/>
                <a:gd name="connsiteY26" fmla="*/ 298240 h 795508"/>
                <a:gd name="connsiteX27" fmla="*/ 191124 w 2174985"/>
                <a:gd name="connsiteY27" fmla="*/ 390143 h 795508"/>
                <a:gd name="connsiteX28" fmla="*/ 0 w 2174985"/>
                <a:gd name="connsiteY28" fmla="*/ 439681 h 795508"/>
                <a:gd name="connsiteX29" fmla="*/ 32818 w 2174985"/>
                <a:gd name="connsiteY29" fmla="*/ 607306 h 795508"/>
                <a:gd name="connsiteX0" fmla="*/ 32818 w 2130306"/>
                <a:gd name="connsiteY0" fmla="*/ 607306 h 795508"/>
                <a:gd name="connsiteX1" fmla="*/ 315950 w 2130306"/>
                <a:gd name="connsiteY1" fmla="*/ 541107 h 795508"/>
                <a:gd name="connsiteX2" fmla="*/ 329998 w 2130306"/>
                <a:gd name="connsiteY2" fmla="*/ 569206 h 795508"/>
                <a:gd name="connsiteX3" fmla="*/ 704968 w 2130306"/>
                <a:gd name="connsiteY3" fmla="*/ 483485 h 795508"/>
                <a:gd name="connsiteX4" fmla="*/ 843563 w 2130306"/>
                <a:gd name="connsiteY4" fmla="*/ 506834 h 795508"/>
                <a:gd name="connsiteX5" fmla="*/ 863668 w 2130306"/>
                <a:gd name="connsiteY5" fmla="*/ 628231 h 795508"/>
                <a:gd name="connsiteX6" fmla="*/ 839094 w 2130306"/>
                <a:gd name="connsiteY6" fmla="*/ 635372 h 795508"/>
                <a:gd name="connsiteX7" fmla="*/ 832795 w 2130306"/>
                <a:gd name="connsiteY7" fmla="*/ 566346 h 795508"/>
                <a:gd name="connsiteX8" fmla="*/ 304781 w 2130306"/>
                <a:gd name="connsiteY8" fmla="*/ 687324 h 795508"/>
                <a:gd name="connsiteX9" fmla="*/ 316074 w 2130306"/>
                <a:gd name="connsiteY9" fmla="*/ 737325 h 795508"/>
                <a:gd name="connsiteX10" fmla="*/ 423123 w 2130306"/>
                <a:gd name="connsiteY10" fmla="*/ 794946 h 795508"/>
                <a:gd name="connsiteX11" fmla="*/ 1320598 w 2130306"/>
                <a:gd name="connsiteY11" fmla="*/ 592066 h 795508"/>
                <a:gd name="connsiteX12" fmla="*/ 1971697 w 2130306"/>
                <a:gd name="connsiteY12" fmla="*/ 459304 h 795508"/>
                <a:gd name="connsiteX13" fmla="*/ 2130306 w 2130306"/>
                <a:gd name="connsiteY13" fmla="*/ 371249 h 795508"/>
                <a:gd name="connsiteX14" fmla="*/ 1545017 w 2130306"/>
                <a:gd name="connsiteY14" fmla="*/ 0 h 795508"/>
                <a:gd name="connsiteX15" fmla="*/ 897875 w 2130306"/>
                <a:gd name="connsiteY15" fmla="*/ 132649 h 795508"/>
                <a:gd name="connsiteX16" fmla="*/ 767198 w 2130306"/>
                <a:gd name="connsiteY16" fmla="*/ 163896 h 795508"/>
                <a:gd name="connsiteX17" fmla="*/ 774116 w 2130306"/>
                <a:gd name="connsiteY17" fmla="*/ 198092 h 795508"/>
                <a:gd name="connsiteX18" fmla="*/ 737225 w 2130306"/>
                <a:gd name="connsiteY18" fmla="*/ 202978 h 795508"/>
                <a:gd name="connsiteX19" fmla="*/ 728003 w 2130306"/>
                <a:gd name="connsiteY19" fmla="*/ 154126 h 795508"/>
                <a:gd name="connsiteX20" fmla="*/ 681891 w 2130306"/>
                <a:gd name="connsiteY20" fmla="*/ 161453 h 795508"/>
                <a:gd name="connsiteX21" fmla="*/ 688807 w 2130306"/>
                <a:gd name="connsiteY21" fmla="*/ 217633 h 795508"/>
                <a:gd name="connsiteX22" fmla="*/ 642695 w 2130306"/>
                <a:gd name="connsiteY22" fmla="*/ 227402 h 795508"/>
                <a:gd name="connsiteX23" fmla="*/ 635779 w 2130306"/>
                <a:gd name="connsiteY23" fmla="*/ 178552 h 795508"/>
                <a:gd name="connsiteX24" fmla="*/ 585055 w 2130306"/>
                <a:gd name="connsiteY24" fmla="*/ 180995 h 795508"/>
                <a:gd name="connsiteX25" fmla="*/ 598889 w 2130306"/>
                <a:gd name="connsiteY25" fmla="*/ 237172 h 795508"/>
                <a:gd name="connsiteX26" fmla="*/ 312524 w 2130306"/>
                <a:gd name="connsiteY26" fmla="*/ 298240 h 795508"/>
                <a:gd name="connsiteX27" fmla="*/ 191124 w 2130306"/>
                <a:gd name="connsiteY27" fmla="*/ 390143 h 795508"/>
                <a:gd name="connsiteX28" fmla="*/ 0 w 2130306"/>
                <a:gd name="connsiteY28" fmla="*/ 439681 h 795508"/>
                <a:gd name="connsiteX29" fmla="*/ 32818 w 2130306"/>
                <a:gd name="connsiteY29" fmla="*/ 607306 h 795508"/>
                <a:gd name="connsiteX0" fmla="*/ 32818 w 2130306"/>
                <a:gd name="connsiteY0" fmla="*/ 607306 h 795508"/>
                <a:gd name="connsiteX1" fmla="*/ 315950 w 2130306"/>
                <a:gd name="connsiteY1" fmla="*/ 541107 h 795508"/>
                <a:gd name="connsiteX2" fmla="*/ 329998 w 2130306"/>
                <a:gd name="connsiteY2" fmla="*/ 569206 h 795508"/>
                <a:gd name="connsiteX3" fmla="*/ 704968 w 2130306"/>
                <a:gd name="connsiteY3" fmla="*/ 483485 h 795508"/>
                <a:gd name="connsiteX4" fmla="*/ 843563 w 2130306"/>
                <a:gd name="connsiteY4" fmla="*/ 506834 h 795508"/>
                <a:gd name="connsiteX5" fmla="*/ 863668 w 2130306"/>
                <a:gd name="connsiteY5" fmla="*/ 628231 h 795508"/>
                <a:gd name="connsiteX6" fmla="*/ 839094 w 2130306"/>
                <a:gd name="connsiteY6" fmla="*/ 635372 h 795508"/>
                <a:gd name="connsiteX7" fmla="*/ 832795 w 2130306"/>
                <a:gd name="connsiteY7" fmla="*/ 566346 h 795508"/>
                <a:gd name="connsiteX8" fmla="*/ 304781 w 2130306"/>
                <a:gd name="connsiteY8" fmla="*/ 687324 h 795508"/>
                <a:gd name="connsiteX9" fmla="*/ 316074 w 2130306"/>
                <a:gd name="connsiteY9" fmla="*/ 737325 h 795508"/>
                <a:gd name="connsiteX10" fmla="*/ 423123 w 2130306"/>
                <a:gd name="connsiteY10" fmla="*/ 794946 h 795508"/>
                <a:gd name="connsiteX11" fmla="*/ 1320598 w 2130306"/>
                <a:gd name="connsiteY11" fmla="*/ 592066 h 795508"/>
                <a:gd name="connsiteX12" fmla="*/ 1976165 w 2130306"/>
                <a:gd name="connsiteY12" fmla="*/ 452164 h 795508"/>
                <a:gd name="connsiteX13" fmla="*/ 2130306 w 2130306"/>
                <a:gd name="connsiteY13" fmla="*/ 371249 h 795508"/>
                <a:gd name="connsiteX14" fmla="*/ 1545017 w 2130306"/>
                <a:gd name="connsiteY14" fmla="*/ 0 h 795508"/>
                <a:gd name="connsiteX15" fmla="*/ 897875 w 2130306"/>
                <a:gd name="connsiteY15" fmla="*/ 132649 h 795508"/>
                <a:gd name="connsiteX16" fmla="*/ 767198 w 2130306"/>
                <a:gd name="connsiteY16" fmla="*/ 163896 h 795508"/>
                <a:gd name="connsiteX17" fmla="*/ 774116 w 2130306"/>
                <a:gd name="connsiteY17" fmla="*/ 198092 h 795508"/>
                <a:gd name="connsiteX18" fmla="*/ 737225 w 2130306"/>
                <a:gd name="connsiteY18" fmla="*/ 202978 h 795508"/>
                <a:gd name="connsiteX19" fmla="*/ 728003 w 2130306"/>
                <a:gd name="connsiteY19" fmla="*/ 154126 h 795508"/>
                <a:gd name="connsiteX20" fmla="*/ 681891 w 2130306"/>
                <a:gd name="connsiteY20" fmla="*/ 161453 h 795508"/>
                <a:gd name="connsiteX21" fmla="*/ 688807 w 2130306"/>
                <a:gd name="connsiteY21" fmla="*/ 217633 h 795508"/>
                <a:gd name="connsiteX22" fmla="*/ 642695 w 2130306"/>
                <a:gd name="connsiteY22" fmla="*/ 227402 h 795508"/>
                <a:gd name="connsiteX23" fmla="*/ 635779 w 2130306"/>
                <a:gd name="connsiteY23" fmla="*/ 178552 h 795508"/>
                <a:gd name="connsiteX24" fmla="*/ 585055 w 2130306"/>
                <a:gd name="connsiteY24" fmla="*/ 180995 h 795508"/>
                <a:gd name="connsiteX25" fmla="*/ 598889 w 2130306"/>
                <a:gd name="connsiteY25" fmla="*/ 237172 h 795508"/>
                <a:gd name="connsiteX26" fmla="*/ 312524 w 2130306"/>
                <a:gd name="connsiteY26" fmla="*/ 298240 h 795508"/>
                <a:gd name="connsiteX27" fmla="*/ 191124 w 2130306"/>
                <a:gd name="connsiteY27" fmla="*/ 390143 h 795508"/>
                <a:gd name="connsiteX28" fmla="*/ 0 w 2130306"/>
                <a:gd name="connsiteY28" fmla="*/ 439681 h 795508"/>
                <a:gd name="connsiteX29" fmla="*/ 32818 w 2130306"/>
                <a:gd name="connsiteY29" fmla="*/ 607306 h 795508"/>
                <a:gd name="connsiteX0" fmla="*/ 32818 w 2130306"/>
                <a:gd name="connsiteY0" fmla="*/ 607306 h 795508"/>
                <a:gd name="connsiteX1" fmla="*/ 315950 w 2130306"/>
                <a:gd name="connsiteY1" fmla="*/ 541107 h 795508"/>
                <a:gd name="connsiteX2" fmla="*/ 329998 w 2130306"/>
                <a:gd name="connsiteY2" fmla="*/ 569206 h 795508"/>
                <a:gd name="connsiteX3" fmla="*/ 704968 w 2130306"/>
                <a:gd name="connsiteY3" fmla="*/ 483485 h 795508"/>
                <a:gd name="connsiteX4" fmla="*/ 843563 w 2130306"/>
                <a:gd name="connsiteY4" fmla="*/ 506834 h 795508"/>
                <a:gd name="connsiteX5" fmla="*/ 863668 w 2130306"/>
                <a:gd name="connsiteY5" fmla="*/ 628231 h 795508"/>
                <a:gd name="connsiteX6" fmla="*/ 839094 w 2130306"/>
                <a:gd name="connsiteY6" fmla="*/ 635372 h 795508"/>
                <a:gd name="connsiteX7" fmla="*/ 832795 w 2130306"/>
                <a:gd name="connsiteY7" fmla="*/ 566346 h 795508"/>
                <a:gd name="connsiteX8" fmla="*/ 304781 w 2130306"/>
                <a:gd name="connsiteY8" fmla="*/ 687324 h 795508"/>
                <a:gd name="connsiteX9" fmla="*/ 316074 w 2130306"/>
                <a:gd name="connsiteY9" fmla="*/ 737325 h 795508"/>
                <a:gd name="connsiteX10" fmla="*/ 423123 w 2130306"/>
                <a:gd name="connsiteY10" fmla="*/ 794946 h 795508"/>
                <a:gd name="connsiteX11" fmla="*/ 1320598 w 2130306"/>
                <a:gd name="connsiteY11" fmla="*/ 592066 h 795508"/>
                <a:gd name="connsiteX12" fmla="*/ 1976165 w 2130306"/>
                <a:gd name="connsiteY12" fmla="*/ 452164 h 795508"/>
                <a:gd name="connsiteX13" fmla="*/ 2130306 w 2130306"/>
                <a:gd name="connsiteY13" fmla="*/ 371249 h 795508"/>
                <a:gd name="connsiteX14" fmla="*/ 1792982 w 2130306"/>
                <a:gd name="connsiteY14" fmla="*/ 159447 h 795508"/>
                <a:gd name="connsiteX15" fmla="*/ 1545017 w 2130306"/>
                <a:gd name="connsiteY15" fmla="*/ 0 h 795508"/>
                <a:gd name="connsiteX16" fmla="*/ 897875 w 2130306"/>
                <a:gd name="connsiteY16" fmla="*/ 132649 h 795508"/>
                <a:gd name="connsiteX17" fmla="*/ 767198 w 2130306"/>
                <a:gd name="connsiteY17" fmla="*/ 163896 h 795508"/>
                <a:gd name="connsiteX18" fmla="*/ 774116 w 2130306"/>
                <a:gd name="connsiteY18" fmla="*/ 198092 h 795508"/>
                <a:gd name="connsiteX19" fmla="*/ 737225 w 2130306"/>
                <a:gd name="connsiteY19" fmla="*/ 202978 h 795508"/>
                <a:gd name="connsiteX20" fmla="*/ 728003 w 2130306"/>
                <a:gd name="connsiteY20" fmla="*/ 154126 h 795508"/>
                <a:gd name="connsiteX21" fmla="*/ 681891 w 2130306"/>
                <a:gd name="connsiteY21" fmla="*/ 161453 h 795508"/>
                <a:gd name="connsiteX22" fmla="*/ 688807 w 2130306"/>
                <a:gd name="connsiteY22" fmla="*/ 217633 h 795508"/>
                <a:gd name="connsiteX23" fmla="*/ 642695 w 2130306"/>
                <a:gd name="connsiteY23" fmla="*/ 227402 h 795508"/>
                <a:gd name="connsiteX24" fmla="*/ 635779 w 2130306"/>
                <a:gd name="connsiteY24" fmla="*/ 178552 h 795508"/>
                <a:gd name="connsiteX25" fmla="*/ 585055 w 2130306"/>
                <a:gd name="connsiteY25" fmla="*/ 180995 h 795508"/>
                <a:gd name="connsiteX26" fmla="*/ 598889 w 2130306"/>
                <a:gd name="connsiteY26" fmla="*/ 237172 h 795508"/>
                <a:gd name="connsiteX27" fmla="*/ 312524 w 2130306"/>
                <a:gd name="connsiteY27" fmla="*/ 298240 h 795508"/>
                <a:gd name="connsiteX28" fmla="*/ 191124 w 2130306"/>
                <a:gd name="connsiteY28" fmla="*/ 390143 h 795508"/>
                <a:gd name="connsiteX29" fmla="*/ 0 w 2130306"/>
                <a:gd name="connsiteY29" fmla="*/ 439681 h 795508"/>
                <a:gd name="connsiteX30" fmla="*/ 32818 w 2130306"/>
                <a:gd name="connsiteY30" fmla="*/ 607306 h 795508"/>
                <a:gd name="connsiteX0" fmla="*/ 32818 w 2130306"/>
                <a:gd name="connsiteY0" fmla="*/ 607306 h 795508"/>
                <a:gd name="connsiteX1" fmla="*/ 315950 w 2130306"/>
                <a:gd name="connsiteY1" fmla="*/ 541107 h 795508"/>
                <a:gd name="connsiteX2" fmla="*/ 329998 w 2130306"/>
                <a:gd name="connsiteY2" fmla="*/ 569206 h 795508"/>
                <a:gd name="connsiteX3" fmla="*/ 704968 w 2130306"/>
                <a:gd name="connsiteY3" fmla="*/ 483485 h 795508"/>
                <a:gd name="connsiteX4" fmla="*/ 843563 w 2130306"/>
                <a:gd name="connsiteY4" fmla="*/ 506834 h 795508"/>
                <a:gd name="connsiteX5" fmla="*/ 863668 w 2130306"/>
                <a:gd name="connsiteY5" fmla="*/ 628231 h 795508"/>
                <a:gd name="connsiteX6" fmla="*/ 839094 w 2130306"/>
                <a:gd name="connsiteY6" fmla="*/ 635372 h 795508"/>
                <a:gd name="connsiteX7" fmla="*/ 832795 w 2130306"/>
                <a:gd name="connsiteY7" fmla="*/ 566346 h 795508"/>
                <a:gd name="connsiteX8" fmla="*/ 304781 w 2130306"/>
                <a:gd name="connsiteY8" fmla="*/ 687324 h 795508"/>
                <a:gd name="connsiteX9" fmla="*/ 316074 w 2130306"/>
                <a:gd name="connsiteY9" fmla="*/ 737325 h 795508"/>
                <a:gd name="connsiteX10" fmla="*/ 423123 w 2130306"/>
                <a:gd name="connsiteY10" fmla="*/ 794946 h 795508"/>
                <a:gd name="connsiteX11" fmla="*/ 1320598 w 2130306"/>
                <a:gd name="connsiteY11" fmla="*/ 592066 h 795508"/>
                <a:gd name="connsiteX12" fmla="*/ 1976165 w 2130306"/>
                <a:gd name="connsiteY12" fmla="*/ 452164 h 795508"/>
                <a:gd name="connsiteX13" fmla="*/ 2130306 w 2130306"/>
                <a:gd name="connsiteY13" fmla="*/ 371249 h 795508"/>
                <a:gd name="connsiteX14" fmla="*/ 1998504 w 2130306"/>
                <a:gd name="connsiteY14" fmla="*/ 97573 h 795508"/>
                <a:gd name="connsiteX15" fmla="*/ 1545017 w 2130306"/>
                <a:gd name="connsiteY15" fmla="*/ 0 h 795508"/>
                <a:gd name="connsiteX16" fmla="*/ 897875 w 2130306"/>
                <a:gd name="connsiteY16" fmla="*/ 132649 h 795508"/>
                <a:gd name="connsiteX17" fmla="*/ 767198 w 2130306"/>
                <a:gd name="connsiteY17" fmla="*/ 163896 h 795508"/>
                <a:gd name="connsiteX18" fmla="*/ 774116 w 2130306"/>
                <a:gd name="connsiteY18" fmla="*/ 198092 h 795508"/>
                <a:gd name="connsiteX19" fmla="*/ 737225 w 2130306"/>
                <a:gd name="connsiteY19" fmla="*/ 202978 h 795508"/>
                <a:gd name="connsiteX20" fmla="*/ 728003 w 2130306"/>
                <a:gd name="connsiteY20" fmla="*/ 154126 h 795508"/>
                <a:gd name="connsiteX21" fmla="*/ 681891 w 2130306"/>
                <a:gd name="connsiteY21" fmla="*/ 161453 h 795508"/>
                <a:gd name="connsiteX22" fmla="*/ 688807 w 2130306"/>
                <a:gd name="connsiteY22" fmla="*/ 217633 h 795508"/>
                <a:gd name="connsiteX23" fmla="*/ 642695 w 2130306"/>
                <a:gd name="connsiteY23" fmla="*/ 227402 h 795508"/>
                <a:gd name="connsiteX24" fmla="*/ 635779 w 2130306"/>
                <a:gd name="connsiteY24" fmla="*/ 178552 h 795508"/>
                <a:gd name="connsiteX25" fmla="*/ 585055 w 2130306"/>
                <a:gd name="connsiteY25" fmla="*/ 180995 h 795508"/>
                <a:gd name="connsiteX26" fmla="*/ 598889 w 2130306"/>
                <a:gd name="connsiteY26" fmla="*/ 237172 h 795508"/>
                <a:gd name="connsiteX27" fmla="*/ 312524 w 2130306"/>
                <a:gd name="connsiteY27" fmla="*/ 298240 h 795508"/>
                <a:gd name="connsiteX28" fmla="*/ 191124 w 2130306"/>
                <a:gd name="connsiteY28" fmla="*/ 390143 h 795508"/>
                <a:gd name="connsiteX29" fmla="*/ 0 w 2130306"/>
                <a:gd name="connsiteY29" fmla="*/ 439681 h 795508"/>
                <a:gd name="connsiteX30" fmla="*/ 32818 w 2130306"/>
                <a:gd name="connsiteY30" fmla="*/ 607306 h 795508"/>
                <a:gd name="connsiteX0" fmla="*/ 32818 w 2130306"/>
                <a:gd name="connsiteY0" fmla="*/ 607306 h 795508"/>
                <a:gd name="connsiteX1" fmla="*/ 315950 w 2130306"/>
                <a:gd name="connsiteY1" fmla="*/ 541107 h 795508"/>
                <a:gd name="connsiteX2" fmla="*/ 329998 w 2130306"/>
                <a:gd name="connsiteY2" fmla="*/ 569206 h 795508"/>
                <a:gd name="connsiteX3" fmla="*/ 704968 w 2130306"/>
                <a:gd name="connsiteY3" fmla="*/ 483485 h 795508"/>
                <a:gd name="connsiteX4" fmla="*/ 843563 w 2130306"/>
                <a:gd name="connsiteY4" fmla="*/ 506834 h 795508"/>
                <a:gd name="connsiteX5" fmla="*/ 863668 w 2130306"/>
                <a:gd name="connsiteY5" fmla="*/ 628231 h 795508"/>
                <a:gd name="connsiteX6" fmla="*/ 839094 w 2130306"/>
                <a:gd name="connsiteY6" fmla="*/ 635372 h 795508"/>
                <a:gd name="connsiteX7" fmla="*/ 832795 w 2130306"/>
                <a:gd name="connsiteY7" fmla="*/ 566346 h 795508"/>
                <a:gd name="connsiteX8" fmla="*/ 304781 w 2130306"/>
                <a:gd name="connsiteY8" fmla="*/ 687324 h 795508"/>
                <a:gd name="connsiteX9" fmla="*/ 316074 w 2130306"/>
                <a:gd name="connsiteY9" fmla="*/ 737325 h 795508"/>
                <a:gd name="connsiteX10" fmla="*/ 423123 w 2130306"/>
                <a:gd name="connsiteY10" fmla="*/ 794946 h 795508"/>
                <a:gd name="connsiteX11" fmla="*/ 1320598 w 2130306"/>
                <a:gd name="connsiteY11" fmla="*/ 592066 h 795508"/>
                <a:gd name="connsiteX12" fmla="*/ 1976165 w 2130306"/>
                <a:gd name="connsiteY12" fmla="*/ 452164 h 795508"/>
                <a:gd name="connsiteX13" fmla="*/ 2130306 w 2130306"/>
                <a:gd name="connsiteY13" fmla="*/ 371249 h 795508"/>
                <a:gd name="connsiteX14" fmla="*/ 1998504 w 2130306"/>
                <a:gd name="connsiteY14" fmla="*/ 97573 h 795508"/>
                <a:gd name="connsiteX15" fmla="*/ 1786280 w 2130306"/>
                <a:gd name="connsiteY15" fmla="*/ 54736 h 795508"/>
                <a:gd name="connsiteX16" fmla="*/ 1545017 w 2130306"/>
                <a:gd name="connsiteY16" fmla="*/ 0 h 795508"/>
                <a:gd name="connsiteX17" fmla="*/ 897875 w 2130306"/>
                <a:gd name="connsiteY17" fmla="*/ 132649 h 795508"/>
                <a:gd name="connsiteX18" fmla="*/ 767198 w 2130306"/>
                <a:gd name="connsiteY18" fmla="*/ 163896 h 795508"/>
                <a:gd name="connsiteX19" fmla="*/ 774116 w 2130306"/>
                <a:gd name="connsiteY19" fmla="*/ 198092 h 795508"/>
                <a:gd name="connsiteX20" fmla="*/ 737225 w 2130306"/>
                <a:gd name="connsiteY20" fmla="*/ 202978 h 795508"/>
                <a:gd name="connsiteX21" fmla="*/ 728003 w 2130306"/>
                <a:gd name="connsiteY21" fmla="*/ 154126 h 795508"/>
                <a:gd name="connsiteX22" fmla="*/ 681891 w 2130306"/>
                <a:gd name="connsiteY22" fmla="*/ 161453 h 795508"/>
                <a:gd name="connsiteX23" fmla="*/ 688807 w 2130306"/>
                <a:gd name="connsiteY23" fmla="*/ 217633 h 795508"/>
                <a:gd name="connsiteX24" fmla="*/ 642695 w 2130306"/>
                <a:gd name="connsiteY24" fmla="*/ 227402 h 795508"/>
                <a:gd name="connsiteX25" fmla="*/ 635779 w 2130306"/>
                <a:gd name="connsiteY25" fmla="*/ 178552 h 795508"/>
                <a:gd name="connsiteX26" fmla="*/ 585055 w 2130306"/>
                <a:gd name="connsiteY26" fmla="*/ 180995 h 795508"/>
                <a:gd name="connsiteX27" fmla="*/ 598889 w 2130306"/>
                <a:gd name="connsiteY27" fmla="*/ 237172 h 795508"/>
                <a:gd name="connsiteX28" fmla="*/ 312524 w 2130306"/>
                <a:gd name="connsiteY28" fmla="*/ 298240 h 795508"/>
                <a:gd name="connsiteX29" fmla="*/ 191124 w 2130306"/>
                <a:gd name="connsiteY29" fmla="*/ 390143 h 795508"/>
                <a:gd name="connsiteX30" fmla="*/ 0 w 2130306"/>
                <a:gd name="connsiteY30" fmla="*/ 439681 h 795508"/>
                <a:gd name="connsiteX31" fmla="*/ 32818 w 2130306"/>
                <a:gd name="connsiteY31" fmla="*/ 607306 h 795508"/>
                <a:gd name="connsiteX0" fmla="*/ 32818 w 2130306"/>
                <a:gd name="connsiteY0" fmla="*/ 607306 h 795508"/>
                <a:gd name="connsiteX1" fmla="*/ 315950 w 2130306"/>
                <a:gd name="connsiteY1" fmla="*/ 541107 h 795508"/>
                <a:gd name="connsiteX2" fmla="*/ 329998 w 2130306"/>
                <a:gd name="connsiteY2" fmla="*/ 569206 h 795508"/>
                <a:gd name="connsiteX3" fmla="*/ 704968 w 2130306"/>
                <a:gd name="connsiteY3" fmla="*/ 483485 h 795508"/>
                <a:gd name="connsiteX4" fmla="*/ 843563 w 2130306"/>
                <a:gd name="connsiteY4" fmla="*/ 506834 h 795508"/>
                <a:gd name="connsiteX5" fmla="*/ 863668 w 2130306"/>
                <a:gd name="connsiteY5" fmla="*/ 628231 h 795508"/>
                <a:gd name="connsiteX6" fmla="*/ 839094 w 2130306"/>
                <a:gd name="connsiteY6" fmla="*/ 635372 h 795508"/>
                <a:gd name="connsiteX7" fmla="*/ 832795 w 2130306"/>
                <a:gd name="connsiteY7" fmla="*/ 566346 h 795508"/>
                <a:gd name="connsiteX8" fmla="*/ 304781 w 2130306"/>
                <a:gd name="connsiteY8" fmla="*/ 687324 h 795508"/>
                <a:gd name="connsiteX9" fmla="*/ 316074 w 2130306"/>
                <a:gd name="connsiteY9" fmla="*/ 737325 h 795508"/>
                <a:gd name="connsiteX10" fmla="*/ 423123 w 2130306"/>
                <a:gd name="connsiteY10" fmla="*/ 794946 h 795508"/>
                <a:gd name="connsiteX11" fmla="*/ 1320598 w 2130306"/>
                <a:gd name="connsiteY11" fmla="*/ 592066 h 795508"/>
                <a:gd name="connsiteX12" fmla="*/ 1976165 w 2130306"/>
                <a:gd name="connsiteY12" fmla="*/ 452164 h 795508"/>
                <a:gd name="connsiteX13" fmla="*/ 2130306 w 2130306"/>
                <a:gd name="connsiteY13" fmla="*/ 371249 h 795508"/>
                <a:gd name="connsiteX14" fmla="*/ 1998504 w 2130306"/>
                <a:gd name="connsiteY14" fmla="*/ 97573 h 795508"/>
                <a:gd name="connsiteX15" fmla="*/ 1757239 w 2130306"/>
                <a:gd name="connsiteY15" fmla="*/ 211802 h 795508"/>
                <a:gd name="connsiteX16" fmla="*/ 1545017 w 2130306"/>
                <a:gd name="connsiteY16" fmla="*/ 0 h 795508"/>
                <a:gd name="connsiteX17" fmla="*/ 897875 w 2130306"/>
                <a:gd name="connsiteY17" fmla="*/ 132649 h 795508"/>
                <a:gd name="connsiteX18" fmla="*/ 767198 w 2130306"/>
                <a:gd name="connsiteY18" fmla="*/ 163896 h 795508"/>
                <a:gd name="connsiteX19" fmla="*/ 774116 w 2130306"/>
                <a:gd name="connsiteY19" fmla="*/ 198092 h 795508"/>
                <a:gd name="connsiteX20" fmla="*/ 737225 w 2130306"/>
                <a:gd name="connsiteY20" fmla="*/ 202978 h 795508"/>
                <a:gd name="connsiteX21" fmla="*/ 728003 w 2130306"/>
                <a:gd name="connsiteY21" fmla="*/ 154126 h 795508"/>
                <a:gd name="connsiteX22" fmla="*/ 681891 w 2130306"/>
                <a:gd name="connsiteY22" fmla="*/ 161453 h 795508"/>
                <a:gd name="connsiteX23" fmla="*/ 688807 w 2130306"/>
                <a:gd name="connsiteY23" fmla="*/ 217633 h 795508"/>
                <a:gd name="connsiteX24" fmla="*/ 642695 w 2130306"/>
                <a:gd name="connsiteY24" fmla="*/ 227402 h 795508"/>
                <a:gd name="connsiteX25" fmla="*/ 635779 w 2130306"/>
                <a:gd name="connsiteY25" fmla="*/ 178552 h 795508"/>
                <a:gd name="connsiteX26" fmla="*/ 585055 w 2130306"/>
                <a:gd name="connsiteY26" fmla="*/ 180995 h 795508"/>
                <a:gd name="connsiteX27" fmla="*/ 598889 w 2130306"/>
                <a:gd name="connsiteY27" fmla="*/ 237172 h 795508"/>
                <a:gd name="connsiteX28" fmla="*/ 312524 w 2130306"/>
                <a:gd name="connsiteY28" fmla="*/ 298240 h 795508"/>
                <a:gd name="connsiteX29" fmla="*/ 191124 w 2130306"/>
                <a:gd name="connsiteY29" fmla="*/ 390143 h 795508"/>
                <a:gd name="connsiteX30" fmla="*/ 0 w 2130306"/>
                <a:gd name="connsiteY30" fmla="*/ 439681 h 795508"/>
                <a:gd name="connsiteX31" fmla="*/ 32818 w 2130306"/>
                <a:gd name="connsiteY31" fmla="*/ 607306 h 795508"/>
                <a:gd name="connsiteX0" fmla="*/ 32818 w 2130306"/>
                <a:gd name="connsiteY0" fmla="*/ 607306 h 795508"/>
                <a:gd name="connsiteX1" fmla="*/ 315950 w 2130306"/>
                <a:gd name="connsiteY1" fmla="*/ 541107 h 795508"/>
                <a:gd name="connsiteX2" fmla="*/ 329998 w 2130306"/>
                <a:gd name="connsiteY2" fmla="*/ 569206 h 795508"/>
                <a:gd name="connsiteX3" fmla="*/ 704968 w 2130306"/>
                <a:gd name="connsiteY3" fmla="*/ 483485 h 795508"/>
                <a:gd name="connsiteX4" fmla="*/ 843563 w 2130306"/>
                <a:gd name="connsiteY4" fmla="*/ 506834 h 795508"/>
                <a:gd name="connsiteX5" fmla="*/ 863668 w 2130306"/>
                <a:gd name="connsiteY5" fmla="*/ 628231 h 795508"/>
                <a:gd name="connsiteX6" fmla="*/ 839094 w 2130306"/>
                <a:gd name="connsiteY6" fmla="*/ 635372 h 795508"/>
                <a:gd name="connsiteX7" fmla="*/ 832795 w 2130306"/>
                <a:gd name="connsiteY7" fmla="*/ 566346 h 795508"/>
                <a:gd name="connsiteX8" fmla="*/ 304781 w 2130306"/>
                <a:gd name="connsiteY8" fmla="*/ 687324 h 795508"/>
                <a:gd name="connsiteX9" fmla="*/ 316074 w 2130306"/>
                <a:gd name="connsiteY9" fmla="*/ 737325 h 795508"/>
                <a:gd name="connsiteX10" fmla="*/ 423123 w 2130306"/>
                <a:gd name="connsiteY10" fmla="*/ 794946 h 795508"/>
                <a:gd name="connsiteX11" fmla="*/ 1320598 w 2130306"/>
                <a:gd name="connsiteY11" fmla="*/ 592066 h 795508"/>
                <a:gd name="connsiteX12" fmla="*/ 1976165 w 2130306"/>
                <a:gd name="connsiteY12" fmla="*/ 452164 h 795508"/>
                <a:gd name="connsiteX13" fmla="*/ 2130306 w 2130306"/>
                <a:gd name="connsiteY13" fmla="*/ 371249 h 795508"/>
                <a:gd name="connsiteX14" fmla="*/ 1998504 w 2130306"/>
                <a:gd name="connsiteY14" fmla="*/ 97573 h 795508"/>
                <a:gd name="connsiteX15" fmla="*/ 1636608 w 2130306"/>
                <a:gd name="connsiteY15" fmla="*/ 85673 h 795508"/>
                <a:gd name="connsiteX16" fmla="*/ 1545017 w 2130306"/>
                <a:gd name="connsiteY16" fmla="*/ 0 h 795508"/>
                <a:gd name="connsiteX17" fmla="*/ 897875 w 2130306"/>
                <a:gd name="connsiteY17" fmla="*/ 132649 h 795508"/>
                <a:gd name="connsiteX18" fmla="*/ 767198 w 2130306"/>
                <a:gd name="connsiteY18" fmla="*/ 163896 h 795508"/>
                <a:gd name="connsiteX19" fmla="*/ 774116 w 2130306"/>
                <a:gd name="connsiteY19" fmla="*/ 198092 h 795508"/>
                <a:gd name="connsiteX20" fmla="*/ 737225 w 2130306"/>
                <a:gd name="connsiteY20" fmla="*/ 202978 h 795508"/>
                <a:gd name="connsiteX21" fmla="*/ 728003 w 2130306"/>
                <a:gd name="connsiteY21" fmla="*/ 154126 h 795508"/>
                <a:gd name="connsiteX22" fmla="*/ 681891 w 2130306"/>
                <a:gd name="connsiteY22" fmla="*/ 161453 h 795508"/>
                <a:gd name="connsiteX23" fmla="*/ 688807 w 2130306"/>
                <a:gd name="connsiteY23" fmla="*/ 217633 h 795508"/>
                <a:gd name="connsiteX24" fmla="*/ 642695 w 2130306"/>
                <a:gd name="connsiteY24" fmla="*/ 227402 h 795508"/>
                <a:gd name="connsiteX25" fmla="*/ 635779 w 2130306"/>
                <a:gd name="connsiteY25" fmla="*/ 178552 h 795508"/>
                <a:gd name="connsiteX26" fmla="*/ 585055 w 2130306"/>
                <a:gd name="connsiteY26" fmla="*/ 180995 h 795508"/>
                <a:gd name="connsiteX27" fmla="*/ 598889 w 2130306"/>
                <a:gd name="connsiteY27" fmla="*/ 237172 h 795508"/>
                <a:gd name="connsiteX28" fmla="*/ 312524 w 2130306"/>
                <a:gd name="connsiteY28" fmla="*/ 298240 h 795508"/>
                <a:gd name="connsiteX29" fmla="*/ 191124 w 2130306"/>
                <a:gd name="connsiteY29" fmla="*/ 390143 h 795508"/>
                <a:gd name="connsiteX30" fmla="*/ 0 w 2130306"/>
                <a:gd name="connsiteY30" fmla="*/ 439681 h 795508"/>
                <a:gd name="connsiteX31" fmla="*/ 32818 w 2130306"/>
                <a:gd name="connsiteY31" fmla="*/ 607306 h 795508"/>
                <a:gd name="connsiteX0" fmla="*/ 32818 w 2130306"/>
                <a:gd name="connsiteY0" fmla="*/ 607306 h 795508"/>
                <a:gd name="connsiteX1" fmla="*/ 315950 w 2130306"/>
                <a:gd name="connsiteY1" fmla="*/ 541107 h 795508"/>
                <a:gd name="connsiteX2" fmla="*/ 329998 w 2130306"/>
                <a:gd name="connsiteY2" fmla="*/ 569206 h 795508"/>
                <a:gd name="connsiteX3" fmla="*/ 704968 w 2130306"/>
                <a:gd name="connsiteY3" fmla="*/ 483485 h 795508"/>
                <a:gd name="connsiteX4" fmla="*/ 843563 w 2130306"/>
                <a:gd name="connsiteY4" fmla="*/ 506834 h 795508"/>
                <a:gd name="connsiteX5" fmla="*/ 863668 w 2130306"/>
                <a:gd name="connsiteY5" fmla="*/ 628231 h 795508"/>
                <a:gd name="connsiteX6" fmla="*/ 839094 w 2130306"/>
                <a:gd name="connsiteY6" fmla="*/ 635372 h 795508"/>
                <a:gd name="connsiteX7" fmla="*/ 832795 w 2130306"/>
                <a:gd name="connsiteY7" fmla="*/ 566346 h 795508"/>
                <a:gd name="connsiteX8" fmla="*/ 304781 w 2130306"/>
                <a:gd name="connsiteY8" fmla="*/ 687324 h 795508"/>
                <a:gd name="connsiteX9" fmla="*/ 316074 w 2130306"/>
                <a:gd name="connsiteY9" fmla="*/ 737325 h 795508"/>
                <a:gd name="connsiteX10" fmla="*/ 423123 w 2130306"/>
                <a:gd name="connsiteY10" fmla="*/ 794946 h 795508"/>
                <a:gd name="connsiteX11" fmla="*/ 1320598 w 2130306"/>
                <a:gd name="connsiteY11" fmla="*/ 592066 h 795508"/>
                <a:gd name="connsiteX12" fmla="*/ 1976165 w 2130306"/>
                <a:gd name="connsiteY12" fmla="*/ 452164 h 795508"/>
                <a:gd name="connsiteX13" fmla="*/ 2130306 w 2130306"/>
                <a:gd name="connsiteY13" fmla="*/ 371249 h 795508"/>
                <a:gd name="connsiteX14" fmla="*/ 1976164 w 2130306"/>
                <a:gd name="connsiteY14" fmla="*/ 71395 h 795508"/>
                <a:gd name="connsiteX15" fmla="*/ 1636608 w 2130306"/>
                <a:gd name="connsiteY15" fmla="*/ 85673 h 795508"/>
                <a:gd name="connsiteX16" fmla="*/ 1545017 w 2130306"/>
                <a:gd name="connsiteY16" fmla="*/ 0 h 795508"/>
                <a:gd name="connsiteX17" fmla="*/ 897875 w 2130306"/>
                <a:gd name="connsiteY17" fmla="*/ 132649 h 795508"/>
                <a:gd name="connsiteX18" fmla="*/ 767198 w 2130306"/>
                <a:gd name="connsiteY18" fmla="*/ 163896 h 795508"/>
                <a:gd name="connsiteX19" fmla="*/ 774116 w 2130306"/>
                <a:gd name="connsiteY19" fmla="*/ 198092 h 795508"/>
                <a:gd name="connsiteX20" fmla="*/ 737225 w 2130306"/>
                <a:gd name="connsiteY20" fmla="*/ 202978 h 795508"/>
                <a:gd name="connsiteX21" fmla="*/ 728003 w 2130306"/>
                <a:gd name="connsiteY21" fmla="*/ 154126 h 795508"/>
                <a:gd name="connsiteX22" fmla="*/ 681891 w 2130306"/>
                <a:gd name="connsiteY22" fmla="*/ 161453 h 795508"/>
                <a:gd name="connsiteX23" fmla="*/ 688807 w 2130306"/>
                <a:gd name="connsiteY23" fmla="*/ 217633 h 795508"/>
                <a:gd name="connsiteX24" fmla="*/ 642695 w 2130306"/>
                <a:gd name="connsiteY24" fmla="*/ 227402 h 795508"/>
                <a:gd name="connsiteX25" fmla="*/ 635779 w 2130306"/>
                <a:gd name="connsiteY25" fmla="*/ 178552 h 795508"/>
                <a:gd name="connsiteX26" fmla="*/ 585055 w 2130306"/>
                <a:gd name="connsiteY26" fmla="*/ 180995 h 795508"/>
                <a:gd name="connsiteX27" fmla="*/ 598889 w 2130306"/>
                <a:gd name="connsiteY27" fmla="*/ 237172 h 795508"/>
                <a:gd name="connsiteX28" fmla="*/ 312524 w 2130306"/>
                <a:gd name="connsiteY28" fmla="*/ 298240 h 795508"/>
                <a:gd name="connsiteX29" fmla="*/ 191124 w 2130306"/>
                <a:gd name="connsiteY29" fmla="*/ 390143 h 795508"/>
                <a:gd name="connsiteX30" fmla="*/ 0 w 2130306"/>
                <a:gd name="connsiteY30" fmla="*/ 439681 h 795508"/>
                <a:gd name="connsiteX31" fmla="*/ 32818 w 2130306"/>
                <a:gd name="connsiteY31" fmla="*/ 607306 h 795508"/>
                <a:gd name="connsiteX0" fmla="*/ 32818 w 2130306"/>
                <a:gd name="connsiteY0" fmla="*/ 607306 h 795508"/>
                <a:gd name="connsiteX1" fmla="*/ 315950 w 2130306"/>
                <a:gd name="connsiteY1" fmla="*/ 541107 h 795508"/>
                <a:gd name="connsiteX2" fmla="*/ 329998 w 2130306"/>
                <a:gd name="connsiteY2" fmla="*/ 569206 h 795508"/>
                <a:gd name="connsiteX3" fmla="*/ 704968 w 2130306"/>
                <a:gd name="connsiteY3" fmla="*/ 483485 h 795508"/>
                <a:gd name="connsiteX4" fmla="*/ 843563 w 2130306"/>
                <a:gd name="connsiteY4" fmla="*/ 506834 h 795508"/>
                <a:gd name="connsiteX5" fmla="*/ 863668 w 2130306"/>
                <a:gd name="connsiteY5" fmla="*/ 628231 h 795508"/>
                <a:gd name="connsiteX6" fmla="*/ 839094 w 2130306"/>
                <a:gd name="connsiteY6" fmla="*/ 635372 h 795508"/>
                <a:gd name="connsiteX7" fmla="*/ 832795 w 2130306"/>
                <a:gd name="connsiteY7" fmla="*/ 566346 h 795508"/>
                <a:gd name="connsiteX8" fmla="*/ 304781 w 2130306"/>
                <a:gd name="connsiteY8" fmla="*/ 687324 h 795508"/>
                <a:gd name="connsiteX9" fmla="*/ 316074 w 2130306"/>
                <a:gd name="connsiteY9" fmla="*/ 737325 h 795508"/>
                <a:gd name="connsiteX10" fmla="*/ 423123 w 2130306"/>
                <a:gd name="connsiteY10" fmla="*/ 794946 h 795508"/>
                <a:gd name="connsiteX11" fmla="*/ 1320598 w 2130306"/>
                <a:gd name="connsiteY11" fmla="*/ 592066 h 795508"/>
                <a:gd name="connsiteX12" fmla="*/ 1976165 w 2130306"/>
                <a:gd name="connsiteY12" fmla="*/ 452164 h 795508"/>
                <a:gd name="connsiteX13" fmla="*/ 2130306 w 2130306"/>
                <a:gd name="connsiteY13" fmla="*/ 371249 h 795508"/>
                <a:gd name="connsiteX14" fmla="*/ 2090095 w 2130306"/>
                <a:gd name="connsiteY14" fmla="*/ 292716 h 795508"/>
                <a:gd name="connsiteX15" fmla="*/ 1976164 w 2130306"/>
                <a:gd name="connsiteY15" fmla="*/ 71395 h 795508"/>
                <a:gd name="connsiteX16" fmla="*/ 1636608 w 2130306"/>
                <a:gd name="connsiteY16" fmla="*/ 85673 h 795508"/>
                <a:gd name="connsiteX17" fmla="*/ 1545017 w 2130306"/>
                <a:gd name="connsiteY17" fmla="*/ 0 h 795508"/>
                <a:gd name="connsiteX18" fmla="*/ 897875 w 2130306"/>
                <a:gd name="connsiteY18" fmla="*/ 132649 h 795508"/>
                <a:gd name="connsiteX19" fmla="*/ 767198 w 2130306"/>
                <a:gd name="connsiteY19" fmla="*/ 163896 h 795508"/>
                <a:gd name="connsiteX20" fmla="*/ 774116 w 2130306"/>
                <a:gd name="connsiteY20" fmla="*/ 198092 h 795508"/>
                <a:gd name="connsiteX21" fmla="*/ 737225 w 2130306"/>
                <a:gd name="connsiteY21" fmla="*/ 202978 h 795508"/>
                <a:gd name="connsiteX22" fmla="*/ 728003 w 2130306"/>
                <a:gd name="connsiteY22" fmla="*/ 154126 h 795508"/>
                <a:gd name="connsiteX23" fmla="*/ 681891 w 2130306"/>
                <a:gd name="connsiteY23" fmla="*/ 161453 h 795508"/>
                <a:gd name="connsiteX24" fmla="*/ 688807 w 2130306"/>
                <a:gd name="connsiteY24" fmla="*/ 217633 h 795508"/>
                <a:gd name="connsiteX25" fmla="*/ 642695 w 2130306"/>
                <a:gd name="connsiteY25" fmla="*/ 227402 h 795508"/>
                <a:gd name="connsiteX26" fmla="*/ 635779 w 2130306"/>
                <a:gd name="connsiteY26" fmla="*/ 178552 h 795508"/>
                <a:gd name="connsiteX27" fmla="*/ 585055 w 2130306"/>
                <a:gd name="connsiteY27" fmla="*/ 180995 h 795508"/>
                <a:gd name="connsiteX28" fmla="*/ 598889 w 2130306"/>
                <a:gd name="connsiteY28" fmla="*/ 237172 h 795508"/>
                <a:gd name="connsiteX29" fmla="*/ 312524 w 2130306"/>
                <a:gd name="connsiteY29" fmla="*/ 298240 h 795508"/>
                <a:gd name="connsiteX30" fmla="*/ 191124 w 2130306"/>
                <a:gd name="connsiteY30" fmla="*/ 390143 h 795508"/>
                <a:gd name="connsiteX31" fmla="*/ 0 w 2130306"/>
                <a:gd name="connsiteY31" fmla="*/ 439681 h 795508"/>
                <a:gd name="connsiteX32" fmla="*/ 32818 w 2130306"/>
                <a:gd name="connsiteY32" fmla="*/ 607306 h 795508"/>
                <a:gd name="connsiteX0" fmla="*/ 32818 w 2130306"/>
                <a:gd name="connsiteY0" fmla="*/ 635609 h 823811"/>
                <a:gd name="connsiteX1" fmla="*/ 315950 w 2130306"/>
                <a:gd name="connsiteY1" fmla="*/ 569410 h 823811"/>
                <a:gd name="connsiteX2" fmla="*/ 329998 w 2130306"/>
                <a:gd name="connsiteY2" fmla="*/ 597509 h 823811"/>
                <a:gd name="connsiteX3" fmla="*/ 704968 w 2130306"/>
                <a:gd name="connsiteY3" fmla="*/ 511788 h 823811"/>
                <a:gd name="connsiteX4" fmla="*/ 843563 w 2130306"/>
                <a:gd name="connsiteY4" fmla="*/ 535137 h 823811"/>
                <a:gd name="connsiteX5" fmla="*/ 863668 w 2130306"/>
                <a:gd name="connsiteY5" fmla="*/ 656534 h 823811"/>
                <a:gd name="connsiteX6" fmla="*/ 839094 w 2130306"/>
                <a:gd name="connsiteY6" fmla="*/ 663675 h 823811"/>
                <a:gd name="connsiteX7" fmla="*/ 832795 w 2130306"/>
                <a:gd name="connsiteY7" fmla="*/ 594649 h 823811"/>
                <a:gd name="connsiteX8" fmla="*/ 304781 w 2130306"/>
                <a:gd name="connsiteY8" fmla="*/ 715627 h 823811"/>
                <a:gd name="connsiteX9" fmla="*/ 316074 w 2130306"/>
                <a:gd name="connsiteY9" fmla="*/ 765628 h 823811"/>
                <a:gd name="connsiteX10" fmla="*/ 423123 w 2130306"/>
                <a:gd name="connsiteY10" fmla="*/ 823249 h 823811"/>
                <a:gd name="connsiteX11" fmla="*/ 1320598 w 2130306"/>
                <a:gd name="connsiteY11" fmla="*/ 620369 h 823811"/>
                <a:gd name="connsiteX12" fmla="*/ 1976165 w 2130306"/>
                <a:gd name="connsiteY12" fmla="*/ 480467 h 823811"/>
                <a:gd name="connsiteX13" fmla="*/ 2130306 w 2130306"/>
                <a:gd name="connsiteY13" fmla="*/ 399552 h 823811"/>
                <a:gd name="connsiteX14" fmla="*/ 2090095 w 2130306"/>
                <a:gd name="connsiteY14" fmla="*/ 321019 h 823811"/>
                <a:gd name="connsiteX15" fmla="*/ 1976164 w 2130306"/>
                <a:gd name="connsiteY15" fmla="*/ 99698 h 823811"/>
                <a:gd name="connsiteX16" fmla="*/ 1636608 w 2130306"/>
                <a:gd name="connsiteY16" fmla="*/ 113976 h 823811"/>
                <a:gd name="connsiteX17" fmla="*/ 1550183 w 2130306"/>
                <a:gd name="connsiteY17" fmla="*/ 0 h 823811"/>
                <a:gd name="connsiteX18" fmla="*/ 897875 w 2130306"/>
                <a:gd name="connsiteY18" fmla="*/ 160952 h 823811"/>
                <a:gd name="connsiteX19" fmla="*/ 767198 w 2130306"/>
                <a:gd name="connsiteY19" fmla="*/ 192199 h 823811"/>
                <a:gd name="connsiteX20" fmla="*/ 774116 w 2130306"/>
                <a:gd name="connsiteY20" fmla="*/ 226395 h 823811"/>
                <a:gd name="connsiteX21" fmla="*/ 737225 w 2130306"/>
                <a:gd name="connsiteY21" fmla="*/ 231281 h 823811"/>
                <a:gd name="connsiteX22" fmla="*/ 728003 w 2130306"/>
                <a:gd name="connsiteY22" fmla="*/ 182429 h 823811"/>
                <a:gd name="connsiteX23" fmla="*/ 681891 w 2130306"/>
                <a:gd name="connsiteY23" fmla="*/ 189756 h 823811"/>
                <a:gd name="connsiteX24" fmla="*/ 688807 w 2130306"/>
                <a:gd name="connsiteY24" fmla="*/ 245936 h 823811"/>
                <a:gd name="connsiteX25" fmla="*/ 642695 w 2130306"/>
                <a:gd name="connsiteY25" fmla="*/ 255705 h 823811"/>
                <a:gd name="connsiteX26" fmla="*/ 635779 w 2130306"/>
                <a:gd name="connsiteY26" fmla="*/ 206855 h 823811"/>
                <a:gd name="connsiteX27" fmla="*/ 585055 w 2130306"/>
                <a:gd name="connsiteY27" fmla="*/ 209298 h 823811"/>
                <a:gd name="connsiteX28" fmla="*/ 598889 w 2130306"/>
                <a:gd name="connsiteY28" fmla="*/ 265475 h 823811"/>
                <a:gd name="connsiteX29" fmla="*/ 312524 w 2130306"/>
                <a:gd name="connsiteY29" fmla="*/ 326543 h 823811"/>
                <a:gd name="connsiteX30" fmla="*/ 191124 w 2130306"/>
                <a:gd name="connsiteY30" fmla="*/ 418446 h 823811"/>
                <a:gd name="connsiteX31" fmla="*/ 0 w 2130306"/>
                <a:gd name="connsiteY31" fmla="*/ 467984 h 823811"/>
                <a:gd name="connsiteX32" fmla="*/ 32818 w 2130306"/>
                <a:gd name="connsiteY32" fmla="*/ 635609 h 823811"/>
                <a:gd name="connsiteX0" fmla="*/ 32818 w 2130306"/>
                <a:gd name="connsiteY0" fmla="*/ 635609 h 823811"/>
                <a:gd name="connsiteX1" fmla="*/ 315950 w 2130306"/>
                <a:gd name="connsiteY1" fmla="*/ 569410 h 823811"/>
                <a:gd name="connsiteX2" fmla="*/ 329998 w 2130306"/>
                <a:gd name="connsiteY2" fmla="*/ 597509 h 823811"/>
                <a:gd name="connsiteX3" fmla="*/ 704968 w 2130306"/>
                <a:gd name="connsiteY3" fmla="*/ 511788 h 823811"/>
                <a:gd name="connsiteX4" fmla="*/ 843563 w 2130306"/>
                <a:gd name="connsiteY4" fmla="*/ 535137 h 823811"/>
                <a:gd name="connsiteX5" fmla="*/ 863668 w 2130306"/>
                <a:gd name="connsiteY5" fmla="*/ 656534 h 823811"/>
                <a:gd name="connsiteX6" fmla="*/ 839094 w 2130306"/>
                <a:gd name="connsiteY6" fmla="*/ 663675 h 823811"/>
                <a:gd name="connsiteX7" fmla="*/ 832795 w 2130306"/>
                <a:gd name="connsiteY7" fmla="*/ 594649 h 823811"/>
                <a:gd name="connsiteX8" fmla="*/ 304781 w 2130306"/>
                <a:gd name="connsiteY8" fmla="*/ 715627 h 823811"/>
                <a:gd name="connsiteX9" fmla="*/ 316074 w 2130306"/>
                <a:gd name="connsiteY9" fmla="*/ 765628 h 823811"/>
                <a:gd name="connsiteX10" fmla="*/ 423123 w 2130306"/>
                <a:gd name="connsiteY10" fmla="*/ 823249 h 823811"/>
                <a:gd name="connsiteX11" fmla="*/ 1320598 w 2130306"/>
                <a:gd name="connsiteY11" fmla="*/ 620369 h 823811"/>
                <a:gd name="connsiteX12" fmla="*/ 1976165 w 2130306"/>
                <a:gd name="connsiteY12" fmla="*/ 480467 h 823811"/>
                <a:gd name="connsiteX13" fmla="*/ 2130306 w 2130306"/>
                <a:gd name="connsiteY13" fmla="*/ 399552 h 823811"/>
                <a:gd name="connsiteX14" fmla="*/ 2090095 w 2130306"/>
                <a:gd name="connsiteY14" fmla="*/ 321019 h 823811"/>
                <a:gd name="connsiteX15" fmla="*/ 1976164 w 2130306"/>
                <a:gd name="connsiteY15" fmla="*/ 99698 h 823811"/>
                <a:gd name="connsiteX16" fmla="*/ 1626277 w 2130306"/>
                <a:gd name="connsiteY16" fmla="*/ 91335 h 823811"/>
                <a:gd name="connsiteX17" fmla="*/ 1550183 w 2130306"/>
                <a:gd name="connsiteY17" fmla="*/ 0 h 823811"/>
                <a:gd name="connsiteX18" fmla="*/ 897875 w 2130306"/>
                <a:gd name="connsiteY18" fmla="*/ 160952 h 823811"/>
                <a:gd name="connsiteX19" fmla="*/ 767198 w 2130306"/>
                <a:gd name="connsiteY19" fmla="*/ 192199 h 823811"/>
                <a:gd name="connsiteX20" fmla="*/ 774116 w 2130306"/>
                <a:gd name="connsiteY20" fmla="*/ 226395 h 823811"/>
                <a:gd name="connsiteX21" fmla="*/ 737225 w 2130306"/>
                <a:gd name="connsiteY21" fmla="*/ 231281 h 823811"/>
                <a:gd name="connsiteX22" fmla="*/ 728003 w 2130306"/>
                <a:gd name="connsiteY22" fmla="*/ 182429 h 823811"/>
                <a:gd name="connsiteX23" fmla="*/ 681891 w 2130306"/>
                <a:gd name="connsiteY23" fmla="*/ 189756 h 823811"/>
                <a:gd name="connsiteX24" fmla="*/ 688807 w 2130306"/>
                <a:gd name="connsiteY24" fmla="*/ 245936 h 823811"/>
                <a:gd name="connsiteX25" fmla="*/ 642695 w 2130306"/>
                <a:gd name="connsiteY25" fmla="*/ 255705 h 823811"/>
                <a:gd name="connsiteX26" fmla="*/ 635779 w 2130306"/>
                <a:gd name="connsiteY26" fmla="*/ 206855 h 823811"/>
                <a:gd name="connsiteX27" fmla="*/ 585055 w 2130306"/>
                <a:gd name="connsiteY27" fmla="*/ 209298 h 823811"/>
                <a:gd name="connsiteX28" fmla="*/ 598889 w 2130306"/>
                <a:gd name="connsiteY28" fmla="*/ 265475 h 823811"/>
                <a:gd name="connsiteX29" fmla="*/ 312524 w 2130306"/>
                <a:gd name="connsiteY29" fmla="*/ 326543 h 823811"/>
                <a:gd name="connsiteX30" fmla="*/ 191124 w 2130306"/>
                <a:gd name="connsiteY30" fmla="*/ 418446 h 823811"/>
                <a:gd name="connsiteX31" fmla="*/ 0 w 2130306"/>
                <a:gd name="connsiteY31" fmla="*/ 467984 h 823811"/>
                <a:gd name="connsiteX32" fmla="*/ 32818 w 2130306"/>
                <a:gd name="connsiteY32" fmla="*/ 635609 h 823811"/>
                <a:gd name="connsiteX0" fmla="*/ 32818 w 2130306"/>
                <a:gd name="connsiteY0" fmla="*/ 635609 h 823811"/>
                <a:gd name="connsiteX1" fmla="*/ 315950 w 2130306"/>
                <a:gd name="connsiteY1" fmla="*/ 569410 h 823811"/>
                <a:gd name="connsiteX2" fmla="*/ 329998 w 2130306"/>
                <a:gd name="connsiteY2" fmla="*/ 597509 h 823811"/>
                <a:gd name="connsiteX3" fmla="*/ 704968 w 2130306"/>
                <a:gd name="connsiteY3" fmla="*/ 511788 h 823811"/>
                <a:gd name="connsiteX4" fmla="*/ 843563 w 2130306"/>
                <a:gd name="connsiteY4" fmla="*/ 535137 h 823811"/>
                <a:gd name="connsiteX5" fmla="*/ 863668 w 2130306"/>
                <a:gd name="connsiteY5" fmla="*/ 656534 h 823811"/>
                <a:gd name="connsiteX6" fmla="*/ 839094 w 2130306"/>
                <a:gd name="connsiteY6" fmla="*/ 663675 h 823811"/>
                <a:gd name="connsiteX7" fmla="*/ 832795 w 2130306"/>
                <a:gd name="connsiteY7" fmla="*/ 594649 h 823811"/>
                <a:gd name="connsiteX8" fmla="*/ 304781 w 2130306"/>
                <a:gd name="connsiteY8" fmla="*/ 715627 h 823811"/>
                <a:gd name="connsiteX9" fmla="*/ 316074 w 2130306"/>
                <a:gd name="connsiteY9" fmla="*/ 765628 h 823811"/>
                <a:gd name="connsiteX10" fmla="*/ 423123 w 2130306"/>
                <a:gd name="connsiteY10" fmla="*/ 823249 h 823811"/>
                <a:gd name="connsiteX11" fmla="*/ 1320598 w 2130306"/>
                <a:gd name="connsiteY11" fmla="*/ 620369 h 823811"/>
                <a:gd name="connsiteX12" fmla="*/ 1976165 w 2130306"/>
                <a:gd name="connsiteY12" fmla="*/ 480467 h 823811"/>
                <a:gd name="connsiteX13" fmla="*/ 2130306 w 2130306"/>
                <a:gd name="connsiteY13" fmla="*/ 399552 h 823811"/>
                <a:gd name="connsiteX14" fmla="*/ 2090095 w 2130306"/>
                <a:gd name="connsiteY14" fmla="*/ 321019 h 823811"/>
                <a:gd name="connsiteX15" fmla="*/ 1970996 w 2130306"/>
                <a:gd name="connsiteY15" fmla="*/ 71398 h 823811"/>
                <a:gd name="connsiteX16" fmla="*/ 1626277 w 2130306"/>
                <a:gd name="connsiteY16" fmla="*/ 91335 h 823811"/>
                <a:gd name="connsiteX17" fmla="*/ 1550183 w 2130306"/>
                <a:gd name="connsiteY17" fmla="*/ 0 h 823811"/>
                <a:gd name="connsiteX18" fmla="*/ 897875 w 2130306"/>
                <a:gd name="connsiteY18" fmla="*/ 160952 h 823811"/>
                <a:gd name="connsiteX19" fmla="*/ 767198 w 2130306"/>
                <a:gd name="connsiteY19" fmla="*/ 192199 h 823811"/>
                <a:gd name="connsiteX20" fmla="*/ 774116 w 2130306"/>
                <a:gd name="connsiteY20" fmla="*/ 226395 h 823811"/>
                <a:gd name="connsiteX21" fmla="*/ 737225 w 2130306"/>
                <a:gd name="connsiteY21" fmla="*/ 231281 h 823811"/>
                <a:gd name="connsiteX22" fmla="*/ 728003 w 2130306"/>
                <a:gd name="connsiteY22" fmla="*/ 182429 h 823811"/>
                <a:gd name="connsiteX23" fmla="*/ 681891 w 2130306"/>
                <a:gd name="connsiteY23" fmla="*/ 189756 h 823811"/>
                <a:gd name="connsiteX24" fmla="*/ 688807 w 2130306"/>
                <a:gd name="connsiteY24" fmla="*/ 245936 h 823811"/>
                <a:gd name="connsiteX25" fmla="*/ 642695 w 2130306"/>
                <a:gd name="connsiteY25" fmla="*/ 255705 h 823811"/>
                <a:gd name="connsiteX26" fmla="*/ 635779 w 2130306"/>
                <a:gd name="connsiteY26" fmla="*/ 206855 h 823811"/>
                <a:gd name="connsiteX27" fmla="*/ 585055 w 2130306"/>
                <a:gd name="connsiteY27" fmla="*/ 209298 h 823811"/>
                <a:gd name="connsiteX28" fmla="*/ 598889 w 2130306"/>
                <a:gd name="connsiteY28" fmla="*/ 265475 h 823811"/>
                <a:gd name="connsiteX29" fmla="*/ 312524 w 2130306"/>
                <a:gd name="connsiteY29" fmla="*/ 326543 h 823811"/>
                <a:gd name="connsiteX30" fmla="*/ 191124 w 2130306"/>
                <a:gd name="connsiteY30" fmla="*/ 418446 h 823811"/>
                <a:gd name="connsiteX31" fmla="*/ 0 w 2130306"/>
                <a:gd name="connsiteY31" fmla="*/ 467984 h 823811"/>
                <a:gd name="connsiteX32" fmla="*/ 32818 w 2130306"/>
                <a:gd name="connsiteY32" fmla="*/ 635609 h 823811"/>
                <a:gd name="connsiteX0" fmla="*/ 32818 w 2130306"/>
                <a:gd name="connsiteY0" fmla="*/ 641884 h 830086"/>
                <a:gd name="connsiteX1" fmla="*/ 315950 w 2130306"/>
                <a:gd name="connsiteY1" fmla="*/ 575685 h 830086"/>
                <a:gd name="connsiteX2" fmla="*/ 329998 w 2130306"/>
                <a:gd name="connsiteY2" fmla="*/ 603784 h 830086"/>
                <a:gd name="connsiteX3" fmla="*/ 704968 w 2130306"/>
                <a:gd name="connsiteY3" fmla="*/ 518063 h 830086"/>
                <a:gd name="connsiteX4" fmla="*/ 843563 w 2130306"/>
                <a:gd name="connsiteY4" fmla="*/ 541412 h 830086"/>
                <a:gd name="connsiteX5" fmla="*/ 863668 w 2130306"/>
                <a:gd name="connsiteY5" fmla="*/ 662809 h 830086"/>
                <a:gd name="connsiteX6" fmla="*/ 839094 w 2130306"/>
                <a:gd name="connsiteY6" fmla="*/ 669950 h 830086"/>
                <a:gd name="connsiteX7" fmla="*/ 832795 w 2130306"/>
                <a:gd name="connsiteY7" fmla="*/ 600924 h 830086"/>
                <a:gd name="connsiteX8" fmla="*/ 304781 w 2130306"/>
                <a:gd name="connsiteY8" fmla="*/ 721902 h 830086"/>
                <a:gd name="connsiteX9" fmla="*/ 316074 w 2130306"/>
                <a:gd name="connsiteY9" fmla="*/ 771903 h 830086"/>
                <a:gd name="connsiteX10" fmla="*/ 423123 w 2130306"/>
                <a:gd name="connsiteY10" fmla="*/ 829524 h 830086"/>
                <a:gd name="connsiteX11" fmla="*/ 1320598 w 2130306"/>
                <a:gd name="connsiteY11" fmla="*/ 626644 h 830086"/>
                <a:gd name="connsiteX12" fmla="*/ 1976165 w 2130306"/>
                <a:gd name="connsiteY12" fmla="*/ 486742 h 830086"/>
                <a:gd name="connsiteX13" fmla="*/ 2130306 w 2130306"/>
                <a:gd name="connsiteY13" fmla="*/ 405827 h 830086"/>
                <a:gd name="connsiteX14" fmla="*/ 2090095 w 2130306"/>
                <a:gd name="connsiteY14" fmla="*/ 327294 h 830086"/>
                <a:gd name="connsiteX15" fmla="*/ 1970996 w 2130306"/>
                <a:gd name="connsiteY15" fmla="*/ 77673 h 830086"/>
                <a:gd name="connsiteX16" fmla="*/ 1626277 w 2130306"/>
                <a:gd name="connsiteY16" fmla="*/ 97610 h 830086"/>
                <a:gd name="connsiteX17" fmla="*/ 1568916 w 2130306"/>
                <a:gd name="connsiteY17" fmla="*/ 0 h 830086"/>
                <a:gd name="connsiteX18" fmla="*/ 897875 w 2130306"/>
                <a:gd name="connsiteY18" fmla="*/ 167227 h 830086"/>
                <a:gd name="connsiteX19" fmla="*/ 767198 w 2130306"/>
                <a:gd name="connsiteY19" fmla="*/ 198474 h 830086"/>
                <a:gd name="connsiteX20" fmla="*/ 774116 w 2130306"/>
                <a:gd name="connsiteY20" fmla="*/ 232670 h 830086"/>
                <a:gd name="connsiteX21" fmla="*/ 737225 w 2130306"/>
                <a:gd name="connsiteY21" fmla="*/ 237556 h 830086"/>
                <a:gd name="connsiteX22" fmla="*/ 728003 w 2130306"/>
                <a:gd name="connsiteY22" fmla="*/ 188704 h 830086"/>
                <a:gd name="connsiteX23" fmla="*/ 681891 w 2130306"/>
                <a:gd name="connsiteY23" fmla="*/ 196031 h 830086"/>
                <a:gd name="connsiteX24" fmla="*/ 688807 w 2130306"/>
                <a:gd name="connsiteY24" fmla="*/ 252211 h 830086"/>
                <a:gd name="connsiteX25" fmla="*/ 642695 w 2130306"/>
                <a:gd name="connsiteY25" fmla="*/ 261980 h 830086"/>
                <a:gd name="connsiteX26" fmla="*/ 635779 w 2130306"/>
                <a:gd name="connsiteY26" fmla="*/ 213130 h 830086"/>
                <a:gd name="connsiteX27" fmla="*/ 585055 w 2130306"/>
                <a:gd name="connsiteY27" fmla="*/ 215573 h 830086"/>
                <a:gd name="connsiteX28" fmla="*/ 598889 w 2130306"/>
                <a:gd name="connsiteY28" fmla="*/ 271750 h 830086"/>
                <a:gd name="connsiteX29" fmla="*/ 312524 w 2130306"/>
                <a:gd name="connsiteY29" fmla="*/ 332818 h 830086"/>
                <a:gd name="connsiteX30" fmla="*/ 191124 w 2130306"/>
                <a:gd name="connsiteY30" fmla="*/ 424721 h 830086"/>
                <a:gd name="connsiteX31" fmla="*/ 0 w 2130306"/>
                <a:gd name="connsiteY31" fmla="*/ 474259 h 830086"/>
                <a:gd name="connsiteX32" fmla="*/ 32818 w 2130306"/>
                <a:gd name="connsiteY32" fmla="*/ 641884 h 830086"/>
                <a:gd name="connsiteX0" fmla="*/ 32818 w 2130306"/>
                <a:gd name="connsiteY0" fmla="*/ 641884 h 830086"/>
                <a:gd name="connsiteX1" fmla="*/ 315950 w 2130306"/>
                <a:gd name="connsiteY1" fmla="*/ 575685 h 830086"/>
                <a:gd name="connsiteX2" fmla="*/ 329998 w 2130306"/>
                <a:gd name="connsiteY2" fmla="*/ 603784 h 830086"/>
                <a:gd name="connsiteX3" fmla="*/ 704968 w 2130306"/>
                <a:gd name="connsiteY3" fmla="*/ 518063 h 830086"/>
                <a:gd name="connsiteX4" fmla="*/ 843563 w 2130306"/>
                <a:gd name="connsiteY4" fmla="*/ 541412 h 830086"/>
                <a:gd name="connsiteX5" fmla="*/ 863668 w 2130306"/>
                <a:gd name="connsiteY5" fmla="*/ 662809 h 830086"/>
                <a:gd name="connsiteX6" fmla="*/ 839094 w 2130306"/>
                <a:gd name="connsiteY6" fmla="*/ 669950 h 830086"/>
                <a:gd name="connsiteX7" fmla="*/ 832795 w 2130306"/>
                <a:gd name="connsiteY7" fmla="*/ 600924 h 830086"/>
                <a:gd name="connsiteX8" fmla="*/ 304781 w 2130306"/>
                <a:gd name="connsiteY8" fmla="*/ 721902 h 830086"/>
                <a:gd name="connsiteX9" fmla="*/ 316074 w 2130306"/>
                <a:gd name="connsiteY9" fmla="*/ 771903 h 830086"/>
                <a:gd name="connsiteX10" fmla="*/ 423123 w 2130306"/>
                <a:gd name="connsiteY10" fmla="*/ 829524 h 830086"/>
                <a:gd name="connsiteX11" fmla="*/ 1320598 w 2130306"/>
                <a:gd name="connsiteY11" fmla="*/ 626644 h 830086"/>
                <a:gd name="connsiteX12" fmla="*/ 1976165 w 2130306"/>
                <a:gd name="connsiteY12" fmla="*/ 486742 h 830086"/>
                <a:gd name="connsiteX13" fmla="*/ 2130306 w 2130306"/>
                <a:gd name="connsiteY13" fmla="*/ 405827 h 830086"/>
                <a:gd name="connsiteX14" fmla="*/ 2090095 w 2130306"/>
                <a:gd name="connsiteY14" fmla="*/ 327294 h 830086"/>
                <a:gd name="connsiteX15" fmla="*/ 1970996 w 2130306"/>
                <a:gd name="connsiteY15" fmla="*/ 77673 h 830086"/>
                <a:gd name="connsiteX16" fmla="*/ 1651255 w 2130306"/>
                <a:gd name="connsiteY16" fmla="*/ 91334 h 830086"/>
                <a:gd name="connsiteX17" fmla="*/ 1568916 w 2130306"/>
                <a:gd name="connsiteY17" fmla="*/ 0 h 830086"/>
                <a:gd name="connsiteX18" fmla="*/ 897875 w 2130306"/>
                <a:gd name="connsiteY18" fmla="*/ 167227 h 830086"/>
                <a:gd name="connsiteX19" fmla="*/ 767198 w 2130306"/>
                <a:gd name="connsiteY19" fmla="*/ 198474 h 830086"/>
                <a:gd name="connsiteX20" fmla="*/ 774116 w 2130306"/>
                <a:gd name="connsiteY20" fmla="*/ 232670 h 830086"/>
                <a:gd name="connsiteX21" fmla="*/ 737225 w 2130306"/>
                <a:gd name="connsiteY21" fmla="*/ 237556 h 830086"/>
                <a:gd name="connsiteX22" fmla="*/ 728003 w 2130306"/>
                <a:gd name="connsiteY22" fmla="*/ 188704 h 830086"/>
                <a:gd name="connsiteX23" fmla="*/ 681891 w 2130306"/>
                <a:gd name="connsiteY23" fmla="*/ 196031 h 830086"/>
                <a:gd name="connsiteX24" fmla="*/ 688807 w 2130306"/>
                <a:gd name="connsiteY24" fmla="*/ 252211 h 830086"/>
                <a:gd name="connsiteX25" fmla="*/ 642695 w 2130306"/>
                <a:gd name="connsiteY25" fmla="*/ 261980 h 830086"/>
                <a:gd name="connsiteX26" fmla="*/ 635779 w 2130306"/>
                <a:gd name="connsiteY26" fmla="*/ 213130 h 830086"/>
                <a:gd name="connsiteX27" fmla="*/ 585055 w 2130306"/>
                <a:gd name="connsiteY27" fmla="*/ 215573 h 830086"/>
                <a:gd name="connsiteX28" fmla="*/ 598889 w 2130306"/>
                <a:gd name="connsiteY28" fmla="*/ 271750 h 830086"/>
                <a:gd name="connsiteX29" fmla="*/ 312524 w 2130306"/>
                <a:gd name="connsiteY29" fmla="*/ 332818 h 830086"/>
                <a:gd name="connsiteX30" fmla="*/ 191124 w 2130306"/>
                <a:gd name="connsiteY30" fmla="*/ 424721 h 830086"/>
                <a:gd name="connsiteX31" fmla="*/ 0 w 2130306"/>
                <a:gd name="connsiteY31" fmla="*/ 474259 h 830086"/>
                <a:gd name="connsiteX32" fmla="*/ 32818 w 2130306"/>
                <a:gd name="connsiteY32" fmla="*/ 641884 h 830086"/>
                <a:gd name="connsiteX0" fmla="*/ 32818 w 2130306"/>
                <a:gd name="connsiteY0" fmla="*/ 641884 h 830086"/>
                <a:gd name="connsiteX1" fmla="*/ 315950 w 2130306"/>
                <a:gd name="connsiteY1" fmla="*/ 575685 h 830086"/>
                <a:gd name="connsiteX2" fmla="*/ 329998 w 2130306"/>
                <a:gd name="connsiteY2" fmla="*/ 603784 h 830086"/>
                <a:gd name="connsiteX3" fmla="*/ 704968 w 2130306"/>
                <a:gd name="connsiteY3" fmla="*/ 518063 h 830086"/>
                <a:gd name="connsiteX4" fmla="*/ 843563 w 2130306"/>
                <a:gd name="connsiteY4" fmla="*/ 541412 h 830086"/>
                <a:gd name="connsiteX5" fmla="*/ 863668 w 2130306"/>
                <a:gd name="connsiteY5" fmla="*/ 662809 h 830086"/>
                <a:gd name="connsiteX6" fmla="*/ 839094 w 2130306"/>
                <a:gd name="connsiteY6" fmla="*/ 669950 h 830086"/>
                <a:gd name="connsiteX7" fmla="*/ 832795 w 2130306"/>
                <a:gd name="connsiteY7" fmla="*/ 600924 h 830086"/>
                <a:gd name="connsiteX8" fmla="*/ 304781 w 2130306"/>
                <a:gd name="connsiteY8" fmla="*/ 721902 h 830086"/>
                <a:gd name="connsiteX9" fmla="*/ 316074 w 2130306"/>
                <a:gd name="connsiteY9" fmla="*/ 771903 h 830086"/>
                <a:gd name="connsiteX10" fmla="*/ 423123 w 2130306"/>
                <a:gd name="connsiteY10" fmla="*/ 829524 h 830086"/>
                <a:gd name="connsiteX11" fmla="*/ 1320598 w 2130306"/>
                <a:gd name="connsiteY11" fmla="*/ 626644 h 830086"/>
                <a:gd name="connsiteX12" fmla="*/ 1976165 w 2130306"/>
                <a:gd name="connsiteY12" fmla="*/ 486742 h 830086"/>
                <a:gd name="connsiteX13" fmla="*/ 2130306 w 2130306"/>
                <a:gd name="connsiteY13" fmla="*/ 405827 h 830086"/>
                <a:gd name="connsiteX14" fmla="*/ 2090095 w 2130306"/>
                <a:gd name="connsiteY14" fmla="*/ 327294 h 830086"/>
                <a:gd name="connsiteX15" fmla="*/ 2002216 w 2130306"/>
                <a:gd name="connsiteY15" fmla="*/ 65120 h 830086"/>
                <a:gd name="connsiteX16" fmla="*/ 1651255 w 2130306"/>
                <a:gd name="connsiteY16" fmla="*/ 91334 h 830086"/>
                <a:gd name="connsiteX17" fmla="*/ 1568916 w 2130306"/>
                <a:gd name="connsiteY17" fmla="*/ 0 h 830086"/>
                <a:gd name="connsiteX18" fmla="*/ 897875 w 2130306"/>
                <a:gd name="connsiteY18" fmla="*/ 167227 h 830086"/>
                <a:gd name="connsiteX19" fmla="*/ 767198 w 2130306"/>
                <a:gd name="connsiteY19" fmla="*/ 198474 h 830086"/>
                <a:gd name="connsiteX20" fmla="*/ 774116 w 2130306"/>
                <a:gd name="connsiteY20" fmla="*/ 232670 h 830086"/>
                <a:gd name="connsiteX21" fmla="*/ 737225 w 2130306"/>
                <a:gd name="connsiteY21" fmla="*/ 237556 h 830086"/>
                <a:gd name="connsiteX22" fmla="*/ 728003 w 2130306"/>
                <a:gd name="connsiteY22" fmla="*/ 188704 h 830086"/>
                <a:gd name="connsiteX23" fmla="*/ 681891 w 2130306"/>
                <a:gd name="connsiteY23" fmla="*/ 196031 h 830086"/>
                <a:gd name="connsiteX24" fmla="*/ 688807 w 2130306"/>
                <a:gd name="connsiteY24" fmla="*/ 252211 h 830086"/>
                <a:gd name="connsiteX25" fmla="*/ 642695 w 2130306"/>
                <a:gd name="connsiteY25" fmla="*/ 261980 h 830086"/>
                <a:gd name="connsiteX26" fmla="*/ 635779 w 2130306"/>
                <a:gd name="connsiteY26" fmla="*/ 213130 h 830086"/>
                <a:gd name="connsiteX27" fmla="*/ 585055 w 2130306"/>
                <a:gd name="connsiteY27" fmla="*/ 215573 h 830086"/>
                <a:gd name="connsiteX28" fmla="*/ 598889 w 2130306"/>
                <a:gd name="connsiteY28" fmla="*/ 271750 h 830086"/>
                <a:gd name="connsiteX29" fmla="*/ 312524 w 2130306"/>
                <a:gd name="connsiteY29" fmla="*/ 332818 h 830086"/>
                <a:gd name="connsiteX30" fmla="*/ 191124 w 2130306"/>
                <a:gd name="connsiteY30" fmla="*/ 424721 h 830086"/>
                <a:gd name="connsiteX31" fmla="*/ 0 w 2130306"/>
                <a:gd name="connsiteY31" fmla="*/ 474259 h 830086"/>
                <a:gd name="connsiteX32" fmla="*/ 32818 w 2130306"/>
                <a:gd name="connsiteY32" fmla="*/ 641884 h 830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2130306" h="830086">
                  <a:moveTo>
                    <a:pt x="32818" y="641884"/>
                  </a:moveTo>
                  <a:lnTo>
                    <a:pt x="315950" y="575685"/>
                  </a:lnTo>
                  <a:lnTo>
                    <a:pt x="329998" y="603784"/>
                  </a:lnTo>
                  <a:lnTo>
                    <a:pt x="704968" y="518063"/>
                  </a:lnTo>
                  <a:lnTo>
                    <a:pt x="843563" y="541412"/>
                  </a:lnTo>
                  <a:lnTo>
                    <a:pt x="863668" y="662809"/>
                  </a:lnTo>
                  <a:lnTo>
                    <a:pt x="839094" y="669950"/>
                  </a:lnTo>
                  <a:lnTo>
                    <a:pt x="832795" y="600924"/>
                  </a:lnTo>
                  <a:lnTo>
                    <a:pt x="304781" y="721902"/>
                  </a:lnTo>
                  <a:cubicBezTo>
                    <a:pt x="305567" y="740949"/>
                    <a:pt x="315288" y="752856"/>
                    <a:pt x="316074" y="771903"/>
                  </a:cubicBezTo>
                  <a:cubicBezTo>
                    <a:pt x="347289" y="810153"/>
                    <a:pt x="374037" y="834121"/>
                    <a:pt x="423123" y="829524"/>
                  </a:cubicBezTo>
                  <a:lnTo>
                    <a:pt x="1320598" y="626644"/>
                  </a:lnTo>
                  <a:lnTo>
                    <a:pt x="1976165" y="486742"/>
                  </a:lnTo>
                  <a:lnTo>
                    <a:pt x="2130306" y="405827"/>
                  </a:lnTo>
                  <a:lnTo>
                    <a:pt x="2090095" y="327294"/>
                  </a:lnTo>
                  <a:lnTo>
                    <a:pt x="2002216" y="65120"/>
                  </a:lnTo>
                  <a:lnTo>
                    <a:pt x="1651255" y="91334"/>
                  </a:lnTo>
                  <a:lnTo>
                    <a:pt x="1568916" y="0"/>
                  </a:lnTo>
                  <a:lnTo>
                    <a:pt x="897875" y="167227"/>
                  </a:lnTo>
                  <a:lnTo>
                    <a:pt x="767198" y="198474"/>
                  </a:lnTo>
                  <a:cubicBezTo>
                    <a:pt x="771809" y="235112"/>
                    <a:pt x="774116" y="193590"/>
                    <a:pt x="774116" y="232670"/>
                  </a:cubicBezTo>
                  <a:lnTo>
                    <a:pt x="737225" y="237556"/>
                  </a:lnTo>
                  <a:lnTo>
                    <a:pt x="728003" y="188704"/>
                  </a:lnTo>
                  <a:lnTo>
                    <a:pt x="681891" y="196031"/>
                  </a:lnTo>
                  <a:lnTo>
                    <a:pt x="688807" y="252211"/>
                  </a:lnTo>
                  <a:lnTo>
                    <a:pt x="642695" y="261980"/>
                  </a:lnTo>
                  <a:lnTo>
                    <a:pt x="635779" y="213130"/>
                  </a:lnTo>
                  <a:lnTo>
                    <a:pt x="585055" y="215573"/>
                  </a:lnTo>
                  <a:lnTo>
                    <a:pt x="598889" y="271750"/>
                  </a:lnTo>
                  <a:lnTo>
                    <a:pt x="312524" y="332818"/>
                  </a:lnTo>
                  <a:lnTo>
                    <a:pt x="191124" y="424721"/>
                  </a:lnTo>
                  <a:lnTo>
                    <a:pt x="0" y="474259"/>
                  </a:lnTo>
                  <a:lnTo>
                    <a:pt x="32818" y="641884"/>
                  </a:lnTo>
                  <a:close/>
                </a:path>
              </a:pathLst>
            </a:custGeom>
            <a:solidFill>
              <a:srgbClr val="008000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DE" sz="6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7" name="T104N">
              <a:extLst>
                <a:ext uri="{FF2B5EF4-FFF2-40B4-BE49-F238E27FC236}">
                  <a16:creationId xmlns:a16="http://schemas.microsoft.com/office/drawing/2014/main" id="{95CDB246-510B-4976-B4B8-E86067B4F08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078791" y="5161449"/>
              <a:ext cx="609847" cy="472455"/>
            </a:xfrm>
            <a:custGeom>
              <a:avLst/>
              <a:gdLst>
                <a:gd name="connsiteX0" fmla="*/ 0 w 1079500"/>
                <a:gd name="connsiteY0" fmla="*/ 95250 h 936625"/>
                <a:gd name="connsiteX1" fmla="*/ 423333 w 1079500"/>
                <a:gd name="connsiteY1" fmla="*/ 0 h 936625"/>
                <a:gd name="connsiteX2" fmla="*/ 1079500 w 1079500"/>
                <a:gd name="connsiteY2" fmla="*/ 724959 h 936625"/>
                <a:gd name="connsiteX3" fmla="*/ 851958 w 1079500"/>
                <a:gd name="connsiteY3" fmla="*/ 936625 h 936625"/>
                <a:gd name="connsiteX4" fmla="*/ 0 w 1079500"/>
                <a:gd name="connsiteY4" fmla="*/ 95250 h 936625"/>
                <a:gd name="connsiteX0" fmla="*/ 0 w 1079500"/>
                <a:gd name="connsiteY0" fmla="*/ 95250 h 936625"/>
                <a:gd name="connsiteX1" fmla="*/ 423333 w 1079500"/>
                <a:gd name="connsiteY1" fmla="*/ 0 h 936625"/>
                <a:gd name="connsiteX2" fmla="*/ 1079500 w 1079500"/>
                <a:gd name="connsiteY2" fmla="*/ 724959 h 936625"/>
                <a:gd name="connsiteX3" fmla="*/ 851958 w 1079500"/>
                <a:gd name="connsiteY3" fmla="*/ 936625 h 936625"/>
                <a:gd name="connsiteX4" fmla="*/ 0 w 1079500"/>
                <a:gd name="connsiteY4" fmla="*/ 95250 h 936625"/>
                <a:gd name="connsiteX0" fmla="*/ 0 w 1079500"/>
                <a:gd name="connsiteY0" fmla="*/ 95250 h 936625"/>
                <a:gd name="connsiteX1" fmla="*/ 423333 w 1079500"/>
                <a:gd name="connsiteY1" fmla="*/ 0 h 936625"/>
                <a:gd name="connsiteX2" fmla="*/ 1079500 w 1079500"/>
                <a:gd name="connsiteY2" fmla="*/ 724959 h 936625"/>
                <a:gd name="connsiteX3" fmla="*/ 851958 w 1079500"/>
                <a:gd name="connsiteY3" fmla="*/ 936625 h 936625"/>
                <a:gd name="connsiteX4" fmla="*/ 0 w 1079500"/>
                <a:gd name="connsiteY4" fmla="*/ 95250 h 936625"/>
                <a:gd name="connsiteX0" fmla="*/ 0 w 1079500"/>
                <a:gd name="connsiteY0" fmla="*/ 84667 h 926042"/>
                <a:gd name="connsiteX1" fmla="*/ 407458 w 1079500"/>
                <a:gd name="connsiteY1" fmla="*/ 0 h 926042"/>
                <a:gd name="connsiteX2" fmla="*/ 1079500 w 1079500"/>
                <a:gd name="connsiteY2" fmla="*/ 714376 h 926042"/>
                <a:gd name="connsiteX3" fmla="*/ 851958 w 1079500"/>
                <a:gd name="connsiteY3" fmla="*/ 926042 h 926042"/>
                <a:gd name="connsiteX4" fmla="*/ 0 w 1079500"/>
                <a:gd name="connsiteY4" fmla="*/ 84667 h 926042"/>
                <a:gd name="connsiteX0" fmla="*/ 0 w 1090084"/>
                <a:gd name="connsiteY0" fmla="*/ 84667 h 926042"/>
                <a:gd name="connsiteX1" fmla="*/ 407458 w 1090084"/>
                <a:gd name="connsiteY1" fmla="*/ 0 h 926042"/>
                <a:gd name="connsiteX2" fmla="*/ 1090084 w 1090084"/>
                <a:gd name="connsiteY2" fmla="*/ 693209 h 926042"/>
                <a:gd name="connsiteX3" fmla="*/ 851958 w 1090084"/>
                <a:gd name="connsiteY3" fmla="*/ 926042 h 926042"/>
                <a:gd name="connsiteX4" fmla="*/ 0 w 1090084"/>
                <a:gd name="connsiteY4" fmla="*/ 84667 h 926042"/>
                <a:gd name="connsiteX0" fmla="*/ 0 w 1090084"/>
                <a:gd name="connsiteY0" fmla="*/ 84667 h 942189"/>
                <a:gd name="connsiteX1" fmla="*/ 407458 w 1090084"/>
                <a:gd name="connsiteY1" fmla="*/ 0 h 942189"/>
                <a:gd name="connsiteX2" fmla="*/ 1090084 w 1090084"/>
                <a:gd name="connsiteY2" fmla="*/ 693209 h 942189"/>
                <a:gd name="connsiteX3" fmla="*/ 871529 w 1090084"/>
                <a:gd name="connsiteY3" fmla="*/ 942189 h 942189"/>
                <a:gd name="connsiteX4" fmla="*/ 0 w 1090084"/>
                <a:gd name="connsiteY4" fmla="*/ 84667 h 942189"/>
                <a:gd name="connsiteX0" fmla="*/ 0 w 1102868"/>
                <a:gd name="connsiteY0" fmla="*/ 58814 h 942189"/>
                <a:gd name="connsiteX1" fmla="*/ 420242 w 1102868"/>
                <a:gd name="connsiteY1" fmla="*/ 0 h 942189"/>
                <a:gd name="connsiteX2" fmla="*/ 1102868 w 1102868"/>
                <a:gd name="connsiteY2" fmla="*/ 693209 h 942189"/>
                <a:gd name="connsiteX3" fmla="*/ 884313 w 1102868"/>
                <a:gd name="connsiteY3" fmla="*/ 942189 h 942189"/>
                <a:gd name="connsiteX4" fmla="*/ 0 w 1102868"/>
                <a:gd name="connsiteY4" fmla="*/ 58814 h 942189"/>
                <a:gd name="connsiteX0" fmla="*/ 0 w 1102868"/>
                <a:gd name="connsiteY0" fmla="*/ 84667 h 968042"/>
                <a:gd name="connsiteX1" fmla="*/ 413849 w 1102868"/>
                <a:gd name="connsiteY1" fmla="*/ 0 h 968042"/>
                <a:gd name="connsiteX2" fmla="*/ 1102868 w 1102868"/>
                <a:gd name="connsiteY2" fmla="*/ 719062 h 968042"/>
                <a:gd name="connsiteX3" fmla="*/ 884313 w 1102868"/>
                <a:gd name="connsiteY3" fmla="*/ 968042 h 968042"/>
                <a:gd name="connsiteX4" fmla="*/ 0 w 1102868"/>
                <a:gd name="connsiteY4" fmla="*/ 84667 h 968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2868" h="968042">
                  <a:moveTo>
                    <a:pt x="0" y="84667"/>
                  </a:moveTo>
                  <a:lnTo>
                    <a:pt x="413849" y="0"/>
                  </a:lnTo>
                  <a:lnTo>
                    <a:pt x="1102868" y="719062"/>
                  </a:lnTo>
                  <a:cubicBezTo>
                    <a:pt x="1023493" y="796673"/>
                    <a:pt x="963688" y="890431"/>
                    <a:pt x="884313" y="968042"/>
                  </a:cubicBezTo>
                  <a:cubicBezTo>
                    <a:pt x="722036" y="639959"/>
                    <a:pt x="474486" y="333375"/>
                    <a:pt x="0" y="84667"/>
                  </a:cubicBezTo>
                  <a:close/>
                </a:path>
              </a:pathLst>
            </a:custGeom>
            <a:solidFill>
              <a:srgbClr val="008000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DE" sz="6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8" name="T112N">
              <a:extLst>
                <a:ext uri="{FF2B5EF4-FFF2-40B4-BE49-F238E27FC236}">
                  <a16:creationId xmlns:a16="http://schemas.microsoft.com/office/drawing/2014/main" id="{5E7E29FF-72B6-4B0B-B504-DF12FE30C7C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07073" y="5158493"/>
              <a:ext cx="600047" cy="291717"/>
            </a:xfrm>
            <a:custGeom>
              <a:avLst/>
              <a:gdLst>
                <a:gd name="connsiteX0" fmla="*/ 1019175 w 1088232"/>
                <a:gd name="connsiteY0" fmla="*/ 578644 h 578644"/>
                <a:gd name="connsiteX1" fmla="*/ 0 w 1088232"/>
                <a:gd name="connsiteY1" fmla="*/ 54769 h 578644"/>
                <a:gd name="connsiteX2" fmla="*/ 247650 w 1088232"/>
                <a:gd name="connsiteY2" fmla="*/ 0 h 578644"/>
                <a:gd name="connsiteX3" fmla="*/ 273844 w 1088232"/>
                <a:gd name="connsiteY3" fmla="*/ 14288 h 578644"/>
                <a:gd name="connsiteX4" fmla="*/ 850107 w 1088232"/>
                <a:gd name="connsiteY4" fmla="*/ 302419 h 578644"/>
                <a:gd name="connsiteX5" fmla="*/ 850107 w 1088232"/>
                <a:gd name="connsiteY5" fmla="*/ 316706 h 578644"/>
                <a:gd name="connsiteX6" fmla="*/ 1088232 w 1088232"/>
                <a:gd name="connsiteY6" fmla="*/ 433388 h 578644"/>
                <a:gd name="connsiteX7" fmla="*/ 1019175 w 1088232"/>
                <a:gd name="connsiteY7" fmla="*/ 578644 h 578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88232" h="578644">
                  <a:moveTo>
                    <a:pt x="1019175" y="578644"/>
                  </a:moveTo>
                  <a:lnTo>
                    <a:pt x="0" y="54769"/>
                  </a:lnTo>
                  <a:lnTo>
                    <a:pt x="247650" y="0"/>
                  </a:lnTo>
                  <a:lnTo>
                    <a:pt x="273844" y="14288"/>
                  </a:lnTo>
                  <a:lnTo>
                    <a:pt x="850107" y="302419"/>
                  </a:lnTo>
                  <a:lnTo>
                    <a:pt x="850107" y="316706"/>
                  </a:lnTo>
                  <a:lnTo>
                    <a:pt x="1088232" y="433388"/>
                  </a:lnTo>
                  <a:lnTo>
                    <a:pt x="1019175" y="578644"/>
                  </a:lnTo>
                  <a:close/>
                </a:path>
              </a:pathLst>
            </a:custGeom>
            <a:solidFill>
              <a:srgbClr val="008000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DE" sz="6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" name="G017A">
              <a:extLst>
                <a:ext uri="{FF2B5EF4-FFF2-40B4-BE49-F238E27FC236}">
                  <a16:creationId xmlns:a16="http://schemas.microsoft.com/office/drawing/2014/main" id="{20C3AE50-09E5-4545-8687-BA74EA4E29E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98725" y="4500270"/>
              <a:ext cx="925294" cy="517332"/>
            </a:xfrm>
            <a:custGeom>
              <a:avLst/>
              <a:gdLst>
                <a:gd name="connsiteX0" fmla="*/ 190500 w 1645920"/>
                <a:gd name="connsiteY0" fmla="*/ 586740 h 1097280"/>
                <a:gd name="connsiteX1" fmla="*/ 342900 w 1645920"/>
                <a:gd name="connsiteY1" fmla="*/ 1097280 h 1097280"/>
                <a:gd name="connsiteX2" fmla="*/ 1409700 w 1645920"/>
                <a:gd name="connsiteY2" fmla="*/ 754380 h 1097280"/>
                <a:gd name="connsiteX3" fmla="*/ 1645920 w 1645920"/>
                <a:gd name="connsiteY3" fmla="*/ 434340 h 1097280"/>
                <a:gd name="connsiteX4" fmla="*/ 1584960 w 1645920"/>
                <a:gd name="connsiteY4" fmla="*/ 304800 h 1097280"/>
                <a:gd name="connsiteX5" fmla="*/ 1150620 w 1645920"/>
                <a:gd name="connsiteY5" fmla="*/ 457200 h 1097280"/>
                <a:gd name="connsiteX6" fmla="*/ 1021080 w 1645920"/>
                <a:gd name="connsiteY6" fmla="*/ 0 h 1097280"/>
                <a:gd name="connsiteX7" fmla="*/ 0 w 1645920"/>
                <a:gd name="connsiteY7" fmla="*/ 312420 h 1097280"/>
                <a:gd name="connsiteX8" fmla="*/ 99060 w 1645920"/>
                <a:gd name="connsiteY8" fmla="*/ 624840 h 1097280"/>
                <a:gd name="connsiteX9" fmla="*/ 190500 w 1645920"/>
                <a:gd name="connsiteY9" fmla="*/ 586740 h 1097280"/>
                <a:gd name="connsiteX0" fmla="*/ 190500 w 1645920"/>
                <a:gd name="connsiteY0" fmla="*/ 586740 h 1097280"/>
                <a:gd name="connsiteX1" fmla="*/ 342900 w 1645920"/>
                <a:gd name="connsiteY1" fmla="*/ 1097280 h 1097280"/>
                <a:gd name="connsiteX2" fmla="*/ 1409700 w 1645920"/>
                <a:gd name="connsiteY2" fmla="*/ 754380 h 1097280"/>
                <a:gd name="connsiteX3" fmla="*/ 1501140 w 1645920"/>
                <a:gd name="connsiteY3" fmla="*/ 647700 h 1097280"/>
                <a:gd name="connsiteX4" fmla="*/ 1645920 w 1645920"/>
                <a:gd name="connsiteY4" fmla="*/ 434340 h 1097280"/>
                <a:gd name="connsiteX5" fmla="*/ 1584960 w 1645920"/>
                <a:gd name="connsiteY5" fmla="*/ 304800 h 1097280"/>
                <a:gd name="connsiteX6" fmla="*/ 1150620 w 1645920"/>
                <a:gd name="connsiteY6" fmla="*/ 457200 h 1097280"/>
                <a:gd name="connsiteX7" fmla="*/ 1021080 w 1645920"/>
                <a:gd name="connsiteY7" fmla="*/ 0 h 1097280"/>
                <a:gd name="connsiteX8" fmla="*/ 0 w 1645920"/>
                <a:gd name="connsiteY8" fmla="*/ 312420 h 1097280"/>
                <a:gd name="connsiteX9" fmla="*/ 99060 w 1645920"/>
                <a:gd name="connsiteY9" fmla="*/ 624840 h 1097280"/>
                <a:gd name="connsiteX10" fmla="*/ 190500 w 1645920"/>
                <a:gd name="connsiteY10" fmla="*/ 586740 h 1097280"/>
                <a:gd name="connsiteX0" fmla="*/ 190500 w 1645920"/>
                <a:gd name="connsiteY0" fmla="*/ 586740 h 1097280"/>
                <a:gd name="connsiteX1" fmla="*/ 342900 w 1645920"/>
                <a:gd name="connsiteY1" fmla="*/ 1097280 h 1097280"/>
                <a:gd name="connsiteX2" fmla="*/ 1242060 w 1645920"/>
                <a:gd name="connsiteY2" fmla="*/ 807720 h 1097280"/>
                <a:gd name="connsiteX3" fmla="*/ 1409700 w 1645920"/>
                <a:gd name="connsiteY3" fmla="*/ 754380 h 1097280"/>
                <a:gd name="connsiteX4" fmla="*/ 1501140 w 1645920"/>
                <a:gd name="connsiteY4" fmla="*/ 647700 h 1097280"/>
                <a:gd name="connsiteX5" fmla="*/ 1645920 w 1645920"/>
                <a:gd name="connsiteY5" fmla="*/ 434340 h 1097280"/>
                <a:gd name="connsiteX6" fmla="*/ 1584960 w 1645920"/>
                <a:gd name="connsiteY6" fmla="*/ 304800 h 1097280"/>
                <a:gd name="connsiteX7" fmla="*/ 1150620 w 1645920"/>
                <a:gd name="connsiteY7" fmla="*/ 457200 h 1097280"/>
                <a:gd name="connsiteX8" fmla="*/ 1021080 w 1645920"/>
                <a:gd name="connsiteY8" fmla="*/ 0 h 1097280"/>
                <a:gd name="connsiteX9" fmla="*/ 0 w 1645920"/>
                <a:gd name="connsiteY9" fmla="*/ 312420 h 1097280"/>
                <a:gd name="connsiteX10" fmla="*/ 99060 w 1645920"/>
                <a:gd name="connsiteY10" fmla="*/ 624840 h 1097280"/>
                <a:gd name="connsiteX11" fmla="*/ 190500 w 1645920"/>
                <a:gd name="connsiteY11" fmla="*/ 586740 h 1097280"/>
                <a:gd name="connsiteX0" fmla="*/ 190500 w 1645920"/>
                <a:gd name="connsiteY0" fmla="*/ 586740 h 1097280"/>
                <a:gd name="connsiteX1" fmla="*/ 342900 w 1645920"/>
                <a:gd name="connsiteY1" fmla="*/ 1097280 h 1097280"/>
                <a:gd name="connsiteX2" fmla="*/ 1242060 w 1645920"/>
                <a:gd name="connsiteY2" fmla="*/ 807720 h 1097280"/>
                <a:gd name="connsiteX3" fmla="*/ 1409700 w 1645920"/>
                <a:gd name="connsiteY3" fmla="*/ 731520 h 1097280"/>
                <a:gd name="connsiteX4" fmla="*/ 1501140 w 1645920"/>
                <a:gd name="connsiteY4" fmla="*/ 647700 h 1097280"/>
                <a:gd name="connsiteX5" fmla="*/ 1645920 w 1645920"/>
                <a:gd name="connsiteY5" fmla="*/ 434340 h 1097280"/>
                <a:gd name="connsiteX6" fmla="*/ 1584960 w 1645920"/>
                <a:gd name="connsiteY6" fmla="*/ 304800 h 1097280"/>
                <a:gd name="connsiteX7" fmla="*/ 1150620 w 1645920"/>
                <a:gd name="connsiteY7" fmla="*/ 457200 h 1097280"/>
                <a:gd name="connsiteX8" fmla="*/ 1021080 w 1645920"/>
                <a:gd name="connsiteY8" fmla="*/ 0 h 1097280"/>
                <a:gd name="connsiteX9" fmla="*/ 0 w 1645920"/>
                <a:gd name="connsiteY9" fmla="*/ 312420 h 1097280"/>
                <a:gd name="connsiteX10" fmla="*/ 99060 w 1645920"/>
                <a:gd name="connsiteY10" fmla="*/ 624840 h 1097280"/>
                <a:gd name="connsiteX11" fmla="*/ 190500 w 1645920"/>
                <a:gd name="connsiteY11" fmla="*/ 586740 h 1097280"/>
                <a:gd name="connsiteX0" fmla="*/ 190500 w 1645920"/>
                <a:gd name="connsiteY0" fmla="*/ 586740 h 1097280"/>
                <a:gd name="connsiteX1" fmla="*/ 342900 w 1645920"/>
                <a:gd name="connsiteY1" fmla="*/ 1097280 h 1097280"/>
                <a:gd name="connsiteX2" fmla="*/ 1242060 w 1645920"/>
                <a:gd name="connsiteY2" fmla="*/ 807720 h 1097280"/>
                <a:gd name="connsiteX3" fmla="*/ 1432560 w 1645920"/>
                <a:gd name="connsiteY3" fmla="*/ 754380 h 1097280"/>
                <a:gd name="connsiteX4" fmla="*/ 1501140 w 1645920"/>
                <a:gd name="connsiteY4" fmla="*/ 647700 h 1097280"/>
                <a:gd name="connsiteX5" fmla="*/ 1645920 w 1645920"/>
                <a:gd name="connsiteY5" fmla="*/ 434340 h 1097280"/>
                <a:gd name="connsiteX6" fmla="*/ 1584960 w 1645920"/>
                <a:gd name="connsiteY6" fmla="*/ 304800 h 1097280"/>
                <a:gd name="connsiteX7" fmla="*/ 1150620 w 1645920"/>
                <a:gd name="connsiteY7" fmla="*/ 457200 h 1097280"/>
                <a:gd name="connsiteX8" fmla="*/ 1021080 w 1645920"/>
                <a:gd name="connsiteY8" fmla="*/ 0 h 1097280"/>
                <a:gd name="connsiteX9" fmla="*/ 0 w 1645920"/>
                <a:gd name="connsiteY9" fmla="*/ 312420 h 1097280"/>
                <a:gd name="connsiteX10" fmla="*/ 99060 w 1645920"/>
                <a:gd name="connsiteY10" fmla="*/ 624840 h 1097280"/>
                <a:gd name="connsiteX11" fmla="*/ 190500 w 1645920"/>
                <a:gd name="connsiteY11" fmla="*/ 586740 h 1097280"/>
                <a:gd name="connsiteX0" fmla="*/ 190500 w 1645920"/>
                <a:gd name="connsiteY0" fmla="*/ 586740 h 1097280"/>
                <a:gd name="connsiteX1" fmla="*/ 342900 w 1645920"/>
                <a:gd name="connsiteY1" fmla="*/ 1097280 h 1097280"/>
                <a:gd name="connsiteX2" fmla="*/ 1242060 w 1645920"/>
                <a:gd name="connsiteY2" fmla="*/ 807720 h 1097280"/>
                <a:gd name="connsiteX3" fmla="*/ 1432560 w 1645920"/>
                <a:gd name="connsiteY3" fmla="*/ 754380 h 1097280"/>
                <a:gd name="connsiteX4" fmla="*/ 1531620 w 1645920"/>
                <a:gd name="connsiteY4" fmla="*/ 647700 h 1097280"/>
                <a:gd name="connsiteX5" fmla="*/ 1645920 w 1645920"/>
                <a:gd name="connsiteY5" fmla="*/ 434340 h 1097280"/>
                <a:gd name="connsiteX6" fmla="*/ 1584960 w 1645920"/>
                <a:gd name="connsiteY6" fmla="*/ 304800 h 1097280"/>
                <a:gd name="connsiteX7" fmla="*/ 1150620 w 1645920"/>
                <a:gd name="connsiteY7" fmla="*/ 457200 h 1097280"/>
                <a:gd name="connsiteX8" fmla="*/ 1021080 w 1645920"/>
                <a:gd name="connsiteY8" fmla="*/ 0 h 1097280"/>
                <a:gd name="connsiteX9" fmla="*/ 0 w 1645920"/>
                <a:gd name="connsiteY9" fmla="*/ 312420 h 1097280"/>
                <a:gd name="connsiteX10" fmla="*/ 99060 w 1645920"/>
                <a:gd name="connsiteY10" fmla="*/ 624840 h 1097280"/>
                <a:gd name="connsiteX11" fmla="*/ 190500 w 1645920"/>
                <a:gd name="connsiteY11" fmla="*/ 586740 h 1097280"/>
                <a:gd name="connsiteX0" fmla="*/ 190500 w 1645920"/>
                <a:gd name="connsiteY0" fmla="*/ 532160 h 1042700"/>
                <a:gd name="connsiteX1" fmla="*/ 342900 w 1645920"/>
                <a:gd name="connsiteY1" fmla="*/ 1042700 h 1042700"/>
                <a:gd name="connsiteX2" fmla="*/ 1242060 w 1645920"/>
                <a:gd name="connsiteY2" fmla="*/ 753140 h 1042700"/>
                <a:gd name="connsiteX3" fmla="*/ 1432560 w 1645920"/>
                <a:gd name="connsiteY3" fmla="*/ 699800 h 1042700"/>
                <a:gd name="connsiteX4" fmla="*/ 1531620 w 1645920"/>
                <a:gd name="connsiteY4" fmla="*/ 593120 h 1042700"/>
                <a:gd name="connsiteX5" fmla="*/ 1645920 w 1645920"/>
                <a:gd name="connsiteY5" fmla="*/ 379760 h 1042700"/>
                <a:gd name="connsiteX6" fmla="*/ 1584960 w 1645920"/>
                <a:gd name="connsiteY6" fmla="*/ 250220 h 1042700"/>
                <a:gd name="connsiteX7" fmla="*/ 1150620 w 1645920"/>
                <a:gd name="connsiteY7" fmla="*/ 402620 h 1042700"/>
                <a:gd name="connsiteX8" fmla="*/ 995493 w 1645920"/>
                <a:gd name="connsiteY8" fmla="*/ 0 h 1042700"/>
                <a:gd name="connsiteX9" fmla="*/ 0 w 1645920"/>
                <a:gd name="connsiteY9" fmla="*/ 257840 h 1042700"/>
                <a:gd name="connsiteX10" fmla="*/ 99060 w 1645920"/>
                <a:gd name="connsiteY10" fmla="*/ 570260 h 1042700"/>
                <a:gd name="connsiteX11" fmla="*/ 190500 w 1645920"/>
                <a:gd name="connsiteY11" fmla="*/ 532160 h 1042700"/>
                <a:gd name="connsiteX0" fmla="*/ 190500 w 1645920"/>
                <a:gd name="connsiteY0" fmla="*/ 532160 h 1042700"/>
                <a:gd name="connsiteX1" fmla="*/ 342900 w 1645920"/>
                <a:gd name="connsiteY1" fmla="*/ 1042700 h 1042700"/>
                <a:gd name="connsiteX2" fmla="*/ 1242060 w 1645920"/>
                <a:gd name="connsiteY2" fmla="*/ 753140 h 1042700"/>
                <a:gd name="connsiteX3" fmla="*/ 1432560 w 1645920"/>
                <a:gd name="connsiteY3" fmla="*/ 699800 h 1042700"/>
                <a:gd name="connsiteX4" fmla="*/ 1531620 w 1645920"/>
                <a:gd name="connsiteY4" fmla="*/ 593120 h 1042700"/>
                <a:gd name="connsiteX5" fmla="*/ 1645920 w 1645920"/>
                <a:gd name="connsiteY5" fmla="*/ 379760 h 1042700"/>
                <a:gd name="connsiteX6" fmla="*/ 1584960 w 1645920"/>
                <a:gd name="connsiteY6" fmla="*/ 250220 h 1042700"/>
                <a:gd name="connsiteX7" fmla="*/ 1150620 w 1645920"/>
                <a:gd name="connsiteY7" fmla="*/ 402620 h 1042700"/>
                <a:gd name="connsiteX8" fmla="*/ 1094730 w 1645920"/>
                <a:gd name="connsiteY8" fmla="*/ 253375 h 1042700"/>
                <a:gd name="connsiteX9" fmla="*/ 995493 w 1645920"/>
                <a:gd name="connsiteY9" fmla="*/ 0 h 1042700"/>
                <a:gd name="connsiteX10" fmla="*/ 0 w 1645920"/>
                <a:gd name="connsiteY10" fmla="*/ 257840 h 1042700"/>
                <a:gd name="connsiteX11" fmla="*/ 99060 w 1645920"/>
                <a:gd name="connsiteY11" fmla="*/ 570260 h 1042700"/>
                <a:gd name="connsiteX12" fmla="*/ 190500 w 1645920"/>
                <a:gd name="connsiteY12" fmla="*/ 532160 h 1042700"/>
                <a:gd name="connsiteX0" fmla="*/ 190500 w 1645920"/>
                <a:gd name="connsiteY0" fmla="*/ 532160 h 1042700"/>
                <a:gd name="connsiteX1" fmla="*/ 342900 w 1645920"/>
                <a:gd name="connsiteY1" fmla="*/ 1042700 h 1042700"/>
                <a:gd name="connsiteX2" fmla="*/ 1242060 w 1645920"/>
                <a:gd name="connsiteY2" fmla="*/ 753140 h 1042700"/>
                <a:gd name="connsiteX3" fmla="*/ 1432560 w 1645920"/>
                <a:gd name="connsiteY3" fmla="*/ 699800 h 1042700"/>
                <a:gd name="connsiteX4" fmla="*/ 1531620 w 1645920"/>
                <a:gd name="connsiteY4" fmla="*/ 593120 h 1042700"/>
                <a:gd name="connsiteX5" fmla="*/ 1645920 w 1645920"/>
                <a:gd name="connsiteY5" fmla="*/ 379760 h 1042700"/>
                <a:gd name="connsiteX6" fmla="*/ 1584960 w 1645920"/>
                <a:gd name="connsiteY6" fmla="*/ 250220 h 1042700"/>
                <a:gd name="connsiteX7" fmla="*/ 1150620 w 1645920"/>
                <a:gd name="connsiteY7" fmla="*/ 402620 h 1042700"/>
                <a:gd name="connsiteX8" fmla="*/ 1094730 w 1645920"/>
                <a:gd name="connsiteY8" fmla="*/ 253375 h 1042700"/>
                <a:gd name="connsiteX9" fmla="*/ 1040712 w 1645920"/>
                <a:gd name="connsiteY9" fmla="*/ 129052 h 1042700"/>
                <a:gd name="connsiteX10" fmla="*/ 995493 w 1645920"/>
                <a:gd name="connsiteY10" fmla="*/ 0 h 1042700"/>
                <a:gd name="connsiteX11" fmla="*/ 0 w 1645920"/>
                <a:gd name="connsiteY11" fmla="*/ 257840 h 1042700"/>
                <a:gd name="connsiteX12" fmla="*/ 99060 w 1645920"/>
                <a:gd name="connsiteY12" fmla="*/ 570260 h 1042700"/>
                <a:gd name="connsiteX13" fmla="*/ 190500 w 1645920"/>
                <a:gd name="connsiteY13" fmla="*/ 532160 h 1042700"/>
                <a:gd name="connsiteX0" fmla="*/ 190500 w 1645920"/>
                <a:gd name="connsiteY0" fmla="*/ 532160 h 1042700"/>
                <a:gd name="connsiteX1" fmla="*/ 342900 w 1645920"/>
                <a:gd name="connsiteY1" fmla="*/ 1042700 h 1042700"/>
                <a:gd name="connsiteX2" fmla="*/ 1242060 w 1645920"/>
                <a:gd name="connsiteY2" fmla="*/ 753140 h 1042700"/>
                <a:gd name="connsiteX3" fmla="*/ 1432560 w 1645920"/>
                <a:gd name="connsiteY3" fmla="*/ 699800 h 1042700"/>
                <a:gd name="connsiteX4" fmla="*/ 1531620 w 1645920"/>
                <a:gd name="connsiteY4" fmla="*/ 593120 h 1042700"/>
                <a:gd name="connsiteX5" fmla="*/ 1645920 w 1645920"/>
                <a:gd name="connsiteY5" fmla="*/ 379760 h 1042700"/>
                <a:gd name="connsiteX6" fmla="*/ 1584960 w 1645920"/>
                <a:gd name="connsiteY6" fmla="*/ 250220 h 1042700"/>
                <a:gd name="connsiteX7" fmla="*/ 1150620 w 1645920"/>
                <a:gd name="connsiteY7" fmla="*/ 402620 h 1042700"/>
                <a:gd name="connsiteX8" fmla="*/ 1094730 w 1645920"/>
                <a:gd name="connsiteY8" fmla="*/ 253375 h 1042700"/>
                <a:gd name="connsiteX9" fmla="*/ 1069143 w 1645920"/>
                <a:gd name="connsiteY9" fmla="*/ 256407 h 1042700"/>
                <a:gd name="connsiteX10" fmla="*/ 995493 w 1645920"/>
                <a:gd name="connsiteY10" fmla="*/ 0 h 1042700"/>
                <a:gd name="connsiteX11" fmla="*/ 0 w 1645920"/>
                <a:gd name="connsiteY11" fmla="*/ 257840 h 1042700"/>
                <a:gd name="connsiteX12" fmla="*/ 99060 w 1645920"/>
                <a:gd name="connsiteY12" fmla="*/ 570260 h 1042700"/>
                <a:gd name="connsiteX13" fmla="*/ 190500 w 1645920"/>
                <a:gd name="connsiteY13" fmla="*/ 532160 h 1042700"/>
                <a:gd name="connsiteX0" fmla="*/ 190500 w 1645920"/>
                <a:gd name="connsiteY0" fmla="*/ 532160 h 1042700"/>
                <a:gd name="connsiteX1" fmla="*/ 342900 w 1645920"/>
                <a:gd name="connsiteY1" fmla="*/ 1042700 h 1042700"/>
                <a:gd name="connsiteX2" fmla="*/ 1242060 w 1645920"/>
                <a:gd name="connsiteY2" fmla="*/ 753140 h 1042700"/>
                <a:gd name="connsiteX3" fmla="*/ 1432560 w 1645920"/>
                <a:gd name="connsiteY3" fmla="*/ 699800 h 1042700"/>
                <a:gd name="connsiteX4" fmla="*/ 1531620 w 1645920"/>
                <a:gd name="connsiteY4" fmla="*/ 593120 h 1042700"/>
                <a:gd name="connsiteX5" fmla="*/ 1645920 w 1645920"/>
                <a:gd name="connsiteY5" fmla="*/ 379760 h 1042700"/>
                <a:gd name="connsiteX6" fmla="*/ 1584960 w 1645920"/>
                <a:gd name="connsiteY6" fmla="*/ 250220 h 1042700"/>
                <a:gd name="connsiteX7" fmla="*/ 1150620 w 1645920"/>
                <a:gd name="connsiteY7" fmla="*/ 402620 h 1042700"/>
                <a:gd name="connsiteX8" fmla="*/ 1114631 w 1645920"/>
                <a:gd name="connsiteY8" fmla="*/ 253375 h 1042700"/>
                <a:gd name="connsiteX9" fmla="*/ 1069143 w 1645920"/>
                <a:gd name="connsiteY9" fmla="*/ 256407 h 1042700"/>
                <a:gd name="connsiteX10" fmla="*/ 995493 w 1645920"/>
                <a:gd name="connsiteY10" fmla="*/ 0 h 1042700"/>
                <a:gd name="connsiteX11" fmla="*/ 0 w 1645920"/>
                <a:gd name="connsiteY11" fmla="*/ 257840 h 1042700"/>
                <a:gd name="connsiteX12" fmla="*/ 99060 w 1645920"/>
                <a:gd name="connsiteY12" fmla="*/ 570260 h 1042700"/>
                <a:gd name="connsiteX13" fmla="*/ 190500 w 1645920"/>
                <a:gd name="connsiteY13" fmla="*/ 532160 h 1042700"/>
                <a:gd name="connsiteX0" fmla="*/ 190500 w 1645920"/>
                <a:gd name="connsiteY0" fmla="*/ 532160 h 1042700"/>
                <a:gd name="connsiteX1" fmla="*/ 342900 w 1645920"/>
                <a:gd name="connsiteY1" fmla="*/ 1042700 h 1042700"/>
                <a:gd name="connsiteX2" fmla="*/ 1242060 w 1645920"/>
                <a:gd name="connsiteY2" fmla="*/ 753140 h 1042700"/>
                <a:gd name="connsiteX3" fmla="*/ 1432560 w 1645920"/>
                <a:gd name="connsiteY3" fmla="*/ 699800 h 1042700"/>
                <a:gd name="connsiteX4" fmla="*/ 1531620 w 1645920"/>
                <a:gd name="connsiteY4" fmla="*/ 593120 h 1042700"/>
                <a:gd name="connsiteX5" fmla="*/ 1645920 w 1645920"/>
                <a:gd name="connsiteY5" fmla="*/ 379760 h 1042700"/>
                <a:gd name="connsiteX6" fmla="*/ 1584960 w 1645920"/>
                <a:gd name="connsiteY6" fmla="*/ 250220 h 1042700"/>
                <a:gd name="connsiteX7" fmla="*/ 1150620 w 1645920"/>
                <a:gd name="connsiteY7" fmla="*/ 402620 h 1042700"/>
                <a:gd name="connsiteX8" fmla="*/ 1114631 w 1645920"/>
                <a:gd name="connsiteY8" fmla="*/ 253375 h 1042700"/>
                <a:gd name="connsiteX9" fmla="*/ 1069143 w 1645920"/>
                <a:gd name="connsiteY9" fmla="*/ 271569 h 1042700"/>
                <a:gd name="connsiteX10" fmla="*/ 995493 w 1645920"/>
                <a:gd name="connsiteY10" fmla="*/ 0 h 1042700"/>
                <a:gd name="connsiteX11" fmla="*/ 0 w 1645920"/>
                <a:gd name="connsiteY11" fmla="*/ 257840 h 1042700"/>
                <a:gd name="connsiteX12" fmla="*/ 99060 w 1645920"/>
                <a:gd name="connsiteY12" fmla="*/ 570260 h 1042700"/>
                <a:gd name="connsiteX13" fmla="*/ 190500 w 1645920"/>
                <a:gd name="connsiteY13" fmla="*/ 532160 h 1042700"/>
                <a:gd name="connsiteX0" fmla="*/ 190500 w 1645920"/>
                <a:gd name="connsiteY0" fmla="*/ 532160 h 1042700"/>
                <a:gd name="connsiteX1" fmla="*/ 342900 w 1645920"/>
                <a:gd name="connsiteY1" fmla="*/ 1042700 h 1042700"/>
                <a:gd name="connsiteX2" fmla="*/ 1242060 w 1645920"/>
                <a:gd name="connsiteY2" fmla="*/ 753140 h 1042700"/>
                <a:gd name="connsiteX3" fmla="*/ 1432560 w 1645920"/>
                <a:gd name="connsiteY3" fmla="*/ 699800 h 1042700"/>
                <a:gd name="connsiteX4" fmla="*/ 1531620 w 1645920"/>
                <a:gd name="connsiteY4" fmla="*/ 593120 h 1042700"/>
                <a:gd name="connsiteX5" fmla="*/ 1645920 w 1645920"/>
                <a:gd name="connsiteY5" fmla="*/ 379760 h 1042700"/>
                <a:gd name="connsiteX6" fmla="*/ 1584960 w 1645920"/>
                <a:gd name="connsiteY6" fmla="*/ 250220 h 1042700"/>
                <a:gd name="connsiteX7" fmla="*/ 1150620 w 1645920"/>
                <a:gd name="connsiteY7" fmla="*/ 402620 h 1042700"/>
                <a:gd name="connsiteX8" fmla="*/ 1114631 w 1645920"/>
                <a:gd name="connsiteY8" fmla="*/ 253375 h 1042700"/>
                <a:gd name="connsiteX9" fmla="*/ 1069143 w 1645920"/>
                <a:gd name="connsiteY9" fmla="*/ 271569 h 1042700"/>
                <a:gd name="connsiteX10" fmla="*/ 995493 w 1645920"/>
                <a:gd name="connsiteY10" fmla="*/ 0 h 1042700"/>
                <a:gd name="connsiteX11" fmla="*/ 0 w 1645920"/>
                <a:gd name="connsiteY11" fmla="*/ 257840 h 1042700"/>
                <a:gd name="connsiteX12" fmla="*/ 42802 w 1645920"/>
                <a:gd name="connsiteY12" fmla="*/ 371633 h 1042700"/>
                <a:gd name="connsiteX13" fmla="*/ 99060 w 1645920"/>
                <a:gd name="connsiteY13" fmla="*/ 570260 h 1042700"/>
                <a:gd name="connsiteX14" fmla="*/ 190500 w 1645920"/>
                <a:gd name="connsiteY14" fmla="*/ 532160 h 1042700"/>
                <a:gd name="connsiteX0" fmla="*/ 204558 w 1659978"/>
                <a:gd name="connsiteY0" fmla="*/ 532160 h 1042700"/>
                <a:gd name="connsiteX1" fmla="*/ 356958 w 1659978"/>
                <a:gd name="connsiteY1" fmla="*/ 1042700 h 1042700"/>
                <a:gd name="connsiteX2" fmla="*/ 1256118 w 1659978"/>
                <a:gd name="connsiteY2" fmla="*/ 753140 h 1042700"/>
                <a:gd name="connsiteX3" fmla="*/ 1446618 w 1659978"/>
                <a:gd name="connsiteY3" fmla="*/ 699800 h 1042700"/>
                <a:gd name="connsiteX4" fmla="*/ 1545678 w 1659978"/>
                <a:gd name="connsiteY4" fmla="*/ 593120 h 1042700"/>
                <a:gd name="connsiteX5" fmla="*/ 1659978 w 1659978"/>
                <a:gd name="connsiteY5" fmla="*/ 379760 h 1042700"/>
                <a:gd name="connsiteX6" fmla="*/ 1599018 w 1659978"/>
                <a:gd name="connsiteY6" fmla="*/ 250220 h 1042700"/>
                <a:gd name="connsiteX7" fmla="*/ 1164678 w 1659978"/>
                <a:gd name="connsiteY7" fmla="*/ 402620 h 1042700"/>
                <a:gd name="connsiteX8" fmla="*/ 1128689 w 1659978"/>
                <a:gd name="connsiteY8" fmla="*/ 253375 h 1042700"/>
                <a:gd name="connsiteX9" fmla="*/ 1083201 w 1659978"/>
                <a:gd name="connsiteY9" fmla="*/ 271569 h 1042700"/>
                <a:gd name="connsiteX10" fmla="*/ 1009551 w 1659978"/>
                <a:gd name="connsiteY10" fmla="*/ 0 h 1042700"/>
                <a:gd name="connsiteX11" fmla="*/ 14058 w 1659978"/>
                <a:gd name="connsiteY11" fmla="*/ 257840 h 1042700"/>
                <a:gd name="connsiteX12" fmla="*/ 0 w 1659978"/>
                <a:gd name="connsiteY12" fmla="*/ 377697 h 1042700"/>
                <a:gd name="connsiteX13" fmla="*/ 113118 w 1659978"/>
                <a:gd name="connsiteY13" fmla="*/ 570260 h 1042700"/>
                <a:gd name="connsiteX14" fmla="*/ 204558 w 1659978"/>
                <a:gd name="connsiteY14" fmla="*/ 532160 h 1042700"/>
                <a:gd name="connsiteX0" fmla="*/ 204558 w 1659978"/>
                <a:gd name="connsiteY0" fmla="*/ 532160 h 1042700"/>
                <a:gd name="connsiteX1" fmla="*/ 356958 w 1659978"/>
                <a:gd name="connsiteY1" fmla="*/ 1042700 h 1042700"/>
                <a:gd name="connsiteX2" fmla="*/ 1256118 w 1659978"/>
                <a:gd name="connsiteY2" fmla="*/ 753140 h 1042700"/>
                <a:gd name="connsiteX3" fmla="*/ 1446618 w 1659978"/>
                <a:gd name="connsiteY3" fmla="*/ 699800 h 1042700"/>
                <a:gd name="connsiteX4" fmla="*/ 1545678 w 1659978"/>
                <a:gd name="connsiteY4" fmla="*/ 593120 h 1042700"/>
                <a:gd name="connsiteX5" fmla="*/ 1659978 w 1659978"/>
                <a:gd name="connsiteY5" fmla="*/ 379760 h 1042700"/>
                <a:gd name="connsiteX6" fmla="*/ 1599018 w 1659978"/>
                <a:gd name="connsiteY6" fmla="*/ 250220 h 1042700"/>
                <a:gd name="connsiteX7" fmla="*/ 1164678 w 1659978"/>
                <a:gd name="connsiteY7" fmla="*/ 402620 h 1042700"/>
                <a:gd name="connsiteX8" fmla="*/ 1128689 w 1659978"/>
                <a:gd name="connsiteY8" fmla="*/ 253375 h 1042700"/>
                <a:gd name="connsiteX9" fmla="*/ 1083201 w 1659978"/>
                <a:gd name="connsiteY9" fmla="*/ 271569 h 1042700"/>
                <a:gd name="connsiteX10" fmla="*/ 1009551 w 1659978"/>
                <a:gd name="connsiteY10" fmla="*/ 0 h 1042700"/>
                <a:gd name="connsiteX11" fmla="*/ 14058 w 1659978"/>
                <a:gd name="connsiteY11" fmla="*/ 257840 h 1042700"/>
                <a:gd name="connsiteX12" fmla="*/ 0 w 1659978"/>
                <a:gd name="connsiteY12" fmla="*/ 377697 h 1042700"/>
                <a:gd name="connsiteX13" fmla="*/ 71076 w 1659978"/>
                <a:gd name="connsiteY13" fmla="*/ 508085 h 1042700"/>
                <a:gd name="connsiteX14" fmla="*/ 113118 w 1659978"/>
                <a:gd name="connsiteY14" fmla="*/ 570260 h 1042700"/>
                <a:gd name="connsiteX15" fmla="*/ 204558 w 1659978"/>
                <a:gd name="connsiteY15" fmla="*/ 532160 h 1042700"/>
                <a:gd name="connsiteX0" fmla="*/ 204558 w 1659978"/>
                <a:gd name="connsiteY0" fmla="*/ 532160 h 1042700"/>
                <a:gd name="connsiteX1" fmla="*/ 356958 w 1659978"/>
                <a:gd name="connsiteY1" fmla="*/ 1042700 h 1042700"/>
                <a:gd name="connsiteX2" fmla="*/ 1256118 w 1659978"/>
                <a:gd name="connsiteY2" fmla="*/ 753140 h 1042700"/>
                <a:gd name="connsiteX3" fmla="*/ 1446618 w 1659978"/>
                <a:gd name="connsiteY3" fmla="*/ 699800 h 1042700"/>
                <a:gd name="connsiteX4" fmla="*/ 1545678 w 1659978"/>
                <a:gd name="connsiteY4" fmla="*/ 593120 h 1042700"/>
                <a:gd name="connsiteX5" fmla="*/ 1659978 w 1659978"/>
                <a:gd name="connsiteY5" fmla="*/ 379760 h 1042700"/>
                <a:gd name="connsiteX6" fmla="*/ 1599018 w 1659978"/>
                <a:gd name="connsiteY6" fmla="*/ 250220 h 1042700"/>
                <a:gd name="connsiteX7" fmla="*/ 1164678 w 1659978"/>
                <a:gd name="connsiteY7" fmla="*/ 402620 h 1042700"/>
                <a:gd name="connsiteX8" fmla="*/ 1128689 w 1659978"/>
                <a:gd name="connsiteY8" fmla="*/ 253375 h 1042700"/>
                <a:gd name="connsiteX9" fmla="*/ 1083201 w 1659978"/>
                <a:gd name="connsiteY9" fmla="*/ 271569 h 1042700"/>
                <a:gd name="connsiteX10" fmla="*/ 1009551 w 1659978"/>
                <a:gd name="connsiteY10" fmla="*/ 0 h 1042700"/>
                <a:gd name="connsiteX11" fmla="*/ 14058 w 1659978"/>
                <a:gd name="connsiteY11" fmla="*/ 257840 h 1042700"/>
                <a:gd name="connsiteX12" fmla="*/ 0 w 1659978"/>
                <a:gd name="connsiteY12" fmla="*/ 377697 h 1042700"/>
                <a:gd name="connsiteX13" fmla="*/ 31273 w 1659978"/>
                <a:gd name="connsiteY13" fmla="*/ 380730 h 1042700"/>
                <a:gd name="connsiteX14" fmla="*/ 113118 w 1659978"/>
                <a:gd name="connsiteY14" fmla="*/ 570260 h 1042700"/>
                <a:gd name="connsiteX15" fmla="*/ 204558 w 1659978"/>
                <a:gd name="connsiteY15" fmla="*/ 532160 h 1042700"/>
                <a:gd name="connsiteX0" fmla="*/ 204558 w 1659978"/>
                <a:gd name="connsiteY0" fmla="*/ 532160 h 1042700"/>
                <a:gd name="connsiteX1" fmla="*/ 356958 w 1659978"/>
                <a:gd name="connsiteY1" fmla="*/ 1042700 h 1042700"/>
                <a:gd name="connsiteX2" fmla="*/ 1256118 w 1659978"/>
                <a:gd name="connsiteY2" fmla="*/ 753140 h 1042700"/>
                <a:gd name="connsiteX3" fmla="*/ 1446618 w 1659978"/>
                <a:gd name="connsiteY3" fmla="*/ 699800 h 1042700"/>
                <a:gd name="connsiteX4" fmla="*/ 1545678 w 1659978"/>
                <a:gd name="connsiteY4" fmla="*/ 593120 h 1042700"/>
                <a:gd name="connsiteX5" fmla="*/ 1659978 w 1659978"/>
                <a:gd name="connsiteY5" fmla="*/ 379760 h 1042700"/>
                <a:gd name="connsiteX6" fmla="*/ 1599018 w 1659978"/>
                <a:gd name="connsiteY6" fmla="*/ 250220 h 1042700"/>
                <a:gd name="connsiteX7" fmla="*/ 1164678 w 1659978"/>
                <a:gd name="connsiteY7" fmla="*/ 402620 h 1042700"/>
                <a:gd name="connsiteX8" fmla="*/ 1128689 w 1659978"/>
                <a:gd name="connsiteY8" fmla="*/ 253375 h 1042700"/>
                <a:gd name="connsiteX9" fmla="*/ 1083201 w 1659978"/>
                <a:gd name="connsiteY9" fmla="*/ 271569 h 1042700"/>
                <a:gd name="connsiteX10" fmla="*/ 1009551 w 1659978"/>
                <a:gd name="connsiteY10" fmla="*/ 0 h 1042700"/>
                <a:gd name="connsiteX11" fmla="*/ 14058 w 1659978"/>
                <a:gd name="connsiteY11" fmla="*/ 257840 h 1042700"/>
                <a:gd name="connsiteX12" fmla="*/ 0 w 1659978"/>
                <a:gd name="connsiteY12" fmla="*/ 377697 h 1042700"/>
                <a:gd name="connsiteX13" fmla="*/ 31273 w 1659978"/>
                <a:gd name="connsiteY13" fmla="*/ 380730 h 1042700"/>
                <a:gd name="connsiteX14" fmla="*/ 73316 w 1659978"/>
                <a:gd name="connsiteY14" fmla="*/ 576324 h 1042700"/>
                <a:gd name="connsiteX15" fmla="*/ 204558 w 1659978"/>
                <a:gd name="connsiteY15" fmla="*/ 532160 h 1042700"/>
                <a:gd name="connsiteX0" fmla="*/ 204558 w 1659978"/>
                <a:gd name="connsiteY0" fmla="*/ 532160 h 1054829"/>
                <a:gd name="connsiteX1" fmla="*/ 339900 w 1659978"/>
                <a:gd name="connsiteY1" fmla="*/ 1054829 h 1054829"/>
                <a:gd name="connsiteX2" fmla="*/ 1256118 w 1659978"/>
                <a:gd name="connsiteY2" fmla="*/ 753140 h 1054829"/>
                <a:gd name="connsiteX3" fmla="*/ 1446618 w 1659978"/>
                <a:gd name="connsiteY3" fmla="*/ 699800 h 1054829"/>
                <a:gd name="connsiteX4" fmla="*/ 1545678 w 1659978"/>
                <a:gd name="connsiteY4" fmla="*/ 593120 h 1054829"/>
                <a:gd name="connsiteX5" fmla="*/ 1659978 w 1659978"/>
                <a:gd name="connsiteY5" fmla="*/ 379760 h 1054829"/>
                <a:gd name="connsiteX6" fmla="*/ 1599018 w 1659978"/>
                <a:gd name="connsiteY6" fmla="*/ 250220 h 1054829"/>
                <a:gd name="connsiteX7" fmla="*/ 1164678 w 1659978"/>
                <a:gd name="connsiteY7" fmla="*/ 402620 h 1054829"/>
                <a:gd name="connsiteX8" fmla="*/ 1128689 w 1659978"/>
                <a:gd name="connsiteY8" fmla="*/ 253375 h 1054829"/>
                <a:gd name="connsiteX9" fmla="*/ 1083201 w 1659978"/>
                <a:gd name="connsiteY9" fmla="*/ 271569 h 1054829"/>
                <a:gd name="connsiteX10" fmla="*/ 1009551 w 1659978"/>
                <a:gd name="connsiteY10" fmla="*/ 0 h 1054829"/>
                <a:gd name="connsiteX11" fmla="*/ 14058 w 1659978"/>
                <a:gd name="connsiteY11" fmla="*/ 257840 h 1054829"/>
                <a:gd name="connsiteX12" fmla="*/ 0 w 1659978"/>
                <a:gd name="connsiteY12" fmla="*/ 377697 h 1054829"/>
                <a:gd name="connsiteX13" fmla="*/ 31273 w 1659978"/>
                <a:gd name="connsiteY13" fmla="*/ 380730 h 1054829"/>
                <a:gd name="connsiteX14" fmla="*/ 73316 w 1659978"/>
                <a:gd name="connsiteY14" fmla="*/ 576324 h 1054829"/>
                <a:gd name="connsiteX15" fmla="*/ 204558 w 1659978"/>
                <a:gd name="connsiteY15" fmla="*/ 532160 h 1054829"/>
                <a:gd name="connsiteX0" fmla="*/ 204558 w 1659978"/>
                <a:gd name="connsiteY0" fmla="*/ 532160 h 1054829"/>
                <a:gd name="connsiteX1" fmla="*/ 339900 w 1659978"/>
                <a:gd name="connsiteY1" fmla="*/ 1054829 h 1054829"/>
                <a:gd name="connsiteX2" fmla="*/ 1341410 w 1659978"/>
                <a:gd name="connsiteY2" fmla="*/ 747076 h 1054829"/>
                <a:gd name="connsiteX3" fmla="*/ 1446618 w 1659978"/>
                <a:gd name="connsiteY3" fmla="*/ 699800 h 1054829"/>
                <a:gd name="connsiteX4" fmla="*/ 1545678 w 1659978"/>
                <a:gd name="connsiteY4" fmla="*/ 593120 h 1054829"/>
                <a:gd name="connsiteX5" fmla="*/ 1659978 w 1659978"/>
                <a:gd name="connsiteY5" fmla="*/ 379760 h 1054829"/>
                <a:gd name="connsiteX6" fmla="*/ 1599018 w 1659978"/>
                <a:gd name="connsiteY6" fmla="*/ 250220 h 1054829"/>
                <a:gd name="connsiteX7" fmla="*/ 1164678 w 1659978"/>
                <a:gd name="connsiteY7" fmla="*/ 402620 h 1054829"/>
                <a:gd name="connsiteX8" fmla="*/ 1128689 w 1659978"/>
                <a:gd name="connsiteY8" fmla="*/ 253375 h 1054829"/>
                <a:gd name="connsiteX9" fmla="*/ 1083201 w 1659978"/>
                <a:gd name="connsiteY9" fmla="*/ 271569 h 1054829"/>
                <a:gd name="connsiteX10" fmla="*/ 1009551 w 1659978"/>
                <a:gd name="connsiteY10" fmla="*/ 0 h 1054829"/>
                <a:gd name="connsiteX11" fmla="*/ 14058 w 1659978"/>
                <a:gd name="connsiteY11" fmla="*/ 257840 h 1054829"/>
                <a:gd name="connsiteX12" fmla="*/ 0 w 1659978"/>
                <a:gd name="connsiteY12" fmla="*/ 377697 h 1054829"/>
                <a:gd name="connsiteX13" fmla="*/ 31273 w 1659978"/>
                <a:gd name="connsiteY13" fmla="*/ 380730 h 1054829"/>
                <a:gd name="connsiteX14" fmla="*/ 73316 w 1659978"/>
                <a:gd name="connsiteY14" fmla="*/ 576324 h 1054829"/>
                <a:gd name="connsiteX15" fmla="*/ 204558 w 1659978"/>
                <a:gd name="connsiteY15" fmla="*/ 532160 h 1054829"/>
                <a:gd name="connsiteX0" fmla="*/ 204558 w 1659978"/>
                <a:gd name="connsiteY0" fmla="*/ 532160 h 1054829"/>
                <a:gd name="connsiteX1" fmla="*/ 339900 w 1659978"/>
                <a:gd name="connsiteY1" fmla="*/ 1054829 h 1054829"/>
                <a:gd name="connsiteX2" fmla="*/ 1341410 w 1659978"/>
                <a:gd name="connsiteY2" fmla="*/ 747076 h 1054829"/>
                <a:gd name="connsiteX3" fmla="*/ 1435245 w 1659978"/>
                <a:gd name="connsiteY3" fmla="*/ 666445 h 1054829"/>
                <a:gd name="connsiteX4" fmla="*/ 1545678 w 1659978"/>
                <a:gd name="connsiteY4" fmla="*/ 593120 h 1054829"/>
                <a:gd name="connsiteX5" fmla="*/ 1659978 w 1659978"/>
                <a:gd name="connsiteY5" fmla="*/ 379760 h 1054829"/>
                <a:gd name="connsiteX6" fmla="*/ 1599018 w 1659978"/>
                <a:gd name="connsiteY6" fmla="*/ 250220 h 1054829"/>
                <a:gd name="connsiteX7" fmla="*/ 1164678 w 1659978"/>
                <a:gd name="connsiteY7" fmla="*/ 402620 h 1054829"/>
                <a:gd name="connsiteX8" fmla="*/ 1128689 w 1659978"/>
                <a:gd name="connsiteY8" fmla="*/ 253375 h 1054829"/>
                <a:gd name="connsiteX9" fmla="*/ 1083201 w 1659978"/>
                <a:gd name="connsiteY9" fmla="*/ 271569 h 1054829"/>
                <a:gd name="connsiteX10" fmla="*/ 1009551 w 1659978"/>
                <a:gd name="connsiteY10" fmla="*/ 0 h 1054829"/>
                <a:gd name="connsiteX11" fmla="*/ 14058 w 1659978"/>
                <a:gd name="connsiteY11" fmla="*/ 257840 h 1054829"/>
                <a:gd name="connsiteX12" fmla="*/ 0 w 1659978"/>
                <a:gd name="connsiteY12" fmla="*/ 377697 h 1054829"/>
                <a:gd name="connsiteX13" fmla="*/ 31273 w 1659978"/>
                <a:gd name="connsiteY13" fmla="*/ 380730 h 1054829"/>
                <a:gd name="connsiteX14" fmla="*/ 73316 w 1659978"/>
                <a:gd name="connsiteY14" fmla="*/ 576324 h 1054829"/>
                <a:gd name="connsiteX15" fmla="*/ 204558 w 1659978"/>
                <a:gd name="connsiteY15" fmla="*/ 532160 h 1054829"/>
                <a:gd name="connsiteX0" fmla="*/ 204558 w 1659978"/>
                <a:gd name="connsiteY0" fmla="*/ 532160 h 1054829"/>
                <a:gd name="connsiteX1" fmla="*/ 339900 w 1659978"/>
                <a:gd name="connsiteY1" fmla="*/ 1054829 h 1054829"/>
                <a:gd name="connsiteX2" fmla="*/ 1341410 w 1659978"/>
                <a:gd name="connsiteY2" fmla="*/ 747076 h 1054829"/>
                <a:gd name="connsiteX3" fmla="*/ 1435245 w 1659978"/>
                <a:gd name="connsiteY3" fmla="*/ 666445 h 1054829"/>
                <a:gd name="connsiteX4" fmla="*/ 1545678 w 1659978"/>
                <a:gd name="connsiteY4" fmla="*/ 593120 h 1054829"/>
                <a:gd name="connsiteX5" fmla="*/ 1659978 w 1659978"/>
                <a:gd name="connsiteY5" fmla="*/ 379760 h 1054829"/>
                <a:gd name="connsiteX6" fmla="*/ 1599018 w 1659978"/>
                <a:gd name="connsiteY6" fmla="*/ 250220 h 1054829"/>
                <a:gd name="connsiteX7" fmla="*/ 1164678 w 1659978"/>
                <a:gd name="connsiteY7" fmla="*/ 402620 h 1054829"/>
                <a:gd name="connsiteX8" fmla="*/ 1128689 w 1659978"/>
                <a:gd name="connsiteY8" fmla="*/ 253375 h 1054829"/>
                <a:gd name="connsiteX9" fmla="*/ 1083201 w 1659978"/>
                <a:gd name="connsiteY9" fmla="*/ 271569 h 1054829"/>
                <a:gd name="connsiteX10" fmla="*/ 1009551 w 1659978"/>
                <a:gd name="connsiteY10" fmla="*/ 0 h 1054829"/>
                <a:gd name="connsiteX11" fmla="*/ 14058 w 1659978"/>
                <a:gd name="connsiteY11" fmla="*/ 257840 h 1054829"/>
                <a:gd name="connsiteX12" fmla="*/ 0 w 1659978"/>
                <a:gd name="connsiteY12" fmla="*/ 377697 h 1054829"/>
                <a:gd name="connsiteX13" fmla="*/ 31273 w 1659978"/>
                <a:gd name="connsiteY13" fmla="*/ 380730 h 1054829"/>
                <a:gd name="connsiteX14" fmla="*/ 73316 w 1659978"/>
                <a:gd name="connsiteY14" fmla="*/ 576324 h 1054829"/>
                <a:gd name="connsiteX15" fmla="*/ 204558 w 1659978"/>
                <a:gd name="connsiteY15" fmla="*/ 532160 h 1054829"/>
                <a:gd name="connsiteX0" fmla="*/ 204558 w 1659978"/>
                <a:gd name="connsiteY0" fmla="*/ 532160 h 1054829"/>
                <a:gd name="connsiteX1" fmla="*/ 339900 w 1659978"/>
                <a:gd name="connsiteY1" fmla="*/ 1054829 h 1054829"/>
                <a:gd name="connsiteX2" fmla="*/ 1341410 w 1659978"/>
                <a:gd name="connsiteY2" fmla="*/ 747076 h 1054829"/>
                <a:gd name="connsiteX3" fmla="*/ 1435245 w 1659978"/>
                <a:gd name="connsiteY3" fmla="*/ 666445 h 1054829"/>
                <a:gd name="connsiteX4" fmla="*/ 1571266 w 1659978"/>
                <a:gd name="connsiteY4" fmla="*/ 441507 h 1054829"/>
                <a:gd name="connsiteX5" fmla="*/ 1659978 w 1659978"/>
                <a:gd name="connsiteY5" fmla="*/ 379760 h 1054829"/>
                <a:gd name="connsiteX6" fmla="*/ 1599018 w 1659978"/>
                <a:gd name="connsiteY6" fmla="*/ 250220 h 1054829"/>
                <a:gd name="connsiteX7" fmla="*/ 1164678 w 1659978"/>
                <a:gd name="connsiteY7" fmla="*/ 402620 h 1054829"/>
                <a:gd name="connsiteX8" fmla="*/ 1128689 w 1659978"/>
                <a:gd name="connsiteY8" fmla="*/ 253375 h 1054829"/>
                <a:gd name="connsiteX9" fmla="*/ 1083201 w 1659978"/>
                <a:gd name="connsiteY9" fmla="*/ 271569 h 1054829"/>
                <a:gd name="connsiteX10" fmla="*/ 1009551 w 1659978"/>
                <a:gd name="connsiteY10" fmla="*/ 0 h 1054829"/>
                <a:gd name="connsiteX11" fmla="*/ 14058 w 1659978"/>
                <a:gd name="connsiteY11" fmla="*/ 257840 h 1054829"/>
                <a:gd name="connsiteX12" fmla="*/ 0 w 1659978"/>
                <a:gd name="connsiteY12" fmla="*/ 377697 h 1054829"/>
                <a:gd name="connsiteX13" fmla="*/ 31273 w 1659978"/>
                <a:gd name="connsiteY13" fmla="*/ 380730 h 1054829"/>
                <a:gd name="connsiteX14" fmla="*/ 73316 w 1659978"/>
                <a:gd name="connsiteY14" fmla="*/ 576324 h 1054829"/>
                <a:gd name="connsiteX15" fmla="*/ 204558 w 1659978"/>
                <a:gd name="connsiteY15" fmla="*/ 532160 h 1054829"/>
                <a:gd name="connsiteX0" fmla="*/ 204558 w 1659978"/>
                <a:gd name="connsiteY0" fmla="*/ 532160 h 1054829"/>
                <a:gd name="connsiteX1" fmla="*/ 339900 w 1659978"/>
                <a:gd name="connsiteY1" fmla="*/ 1054829 h 1054829"/>
                <a:gd name="connsiteX2" fmla="*/ 1341410 w 1659978"/>
                <a:gd name="connsiteY2" fmla="*/ 747076 h 1054829"/>
                <a:gd name="connsiteX3" fmla="*/ 1435245 w 1659978"/>
                <a:gd name="connsiteY3" fmla="*/ 666445 h 1054829"/>
                <a:gd name="connsiteX4" fmla="*/ 1571266 w 1659978"/>
                <a:gd name="connsiteY4" fmla="*/ 441507 h 1054829"/>
                <a:gd name="connsiteX5" fmla="*/ 1659978 w 1659978"/>
                <a:gd name="connsiteY5" fmla="*/ 379760 h 1054829"/>
                <a:gd name="connsiteX6" fmla="*/ 1599018 w 1659978"/>
                <a:gd name="connsiteY6" fmla="*/ 250220 h 1054829"/>
                <a:gd name="connsiteX7" fmla="*/ 1164678 w 1659978"/>
                <a:gd name="connsiteY7" fmla="*/ 402620 h 1054829"/>
                <a:gd name="connsiteX8" fmla="*/ 1128689 w 1659978"/>
                <a:gd name="connsiteY8" fmla="*/ 253375 h 1054829"/>
                <a:gd name="connsiteX9" fmla="*/ 1083201 w 1659978"/>
                <a:gd name="connsiteY9" fmla="*/ 271569 h 1054829"/>
                <a:gd name="connsiteX10" fmla="*/ 1009551 w 1659978"/>
                <a:gd name="connsiteY10" fmla="*/ 0 h 1054829"/>
                <a:gd name="connsiteX11" fmla="*/ 14058 w 1659978"/>
                <a:gd name="connsiteY11" fmla="*/ 257840 h 1054829"/>
                <a:gd name="connsiteX12" fmla="*/ 0 w 1659978"/>
                <a:gd name="connsiteY12" fmla="*/ 377697 h 1054829"/>
                <a:gd name="connsiteX13" fmla="*/ 31273 w 1659978"/>
                <a:gd name="connsiteY13" fmla="*/ 380730 h 1054829"/>
                <a:gd name="connsiteX14" fmla="*/ 73316 w 1659978"/>
                <a:gd name="connsiteY14" fmla="*/ 576324 h 1054829"/>
                <a:gd name="connsiteX15" fmla="*/ 204558 w 1659978"/>
                <a:gd name="connsiteY15" fmla="*/ 532160 h 1054829"/>
                <a:gd name="connsiteX0" fmla="*/ 215665 w 1671085"/>
                <a:gd name="connsiteY0" fmla="*/ 532160 h 1054829"/>
                <a:gd name="connsiteX1" fmla="*/ 351007 w 1671085"/>
                <a:gd name="connsiteY1" fmla="*/ 1054829 h 1054829"/>
                <a:gd name="connsiteX2" fmla="*/ 1352517 w 1671085"/>
                <a:gd name="connsiteY2" fmla="*/ 747076 h 1054829"/>
                <a:gd name="connsiteX3" fmla="*/ 1446352 w 1671085"/>
                <a:gd name="connsiteY3" fmla="*/ 666445 h 1054829"/>
                <a:gd name="connsiteX4" fmla="*/ 1582373 w 1671085"/>
                <a:gd name="connsiteY4" fmla="*/ 441507 h 1054829"/>
                <a:gd name="connsiteX5" fmla="*/ 1671085 w 1671085"/>
                <a:gd name="connsiteY5" fmla="*/ 379760 h 1054829"/>
                <a:gd name="connsiteX6" fmla="*/ 1610125 w 1671085"/>
                <a:gd name="connsiteY6" fmla="*/ 250220 h 1054829"/>
                <a:gd name="connsiteX7" fmla="*/ 1175785 w 1671085"/>
                <a:gd name="connsiteY7" fmla="*/ 402620 h 1054829"/>
                <a:gd name="connsiteX8" fmla="*/ 1139796 w 1671085"/>
                <a:gd name="connsiteY8" fmla="*/ 253375 h 1054829"/>
                <a:gd name="connsiteX9" fmla="*/ 1094308 w 1671085"/>
                <a:gd name="connsiteY9" fmla="*/ 271569 h 1054829"/>
                <a:gd name="connsiteX10" fmla="*/ 1020658 w 1671085"/>
                <a:gd name="connsiteY10" fmla="*/ 0 h 1054829"/>
                <a:gd name="connsiteX11" fmla="*/ 0 w 1671085"/>
                <a:gd name="connsiteY11" fmla="*/ 323369 h 1054829"/>
                <a:gd name="connsiteX12" fmla="*/ 11107 w 1671085"/>
                <a:gd name="connsiteY12" fmla="*/ 377697 h 1054829"/>
                <a:gd name="connsiteX13" fmla="*/ 42380 w 1671085"/>
                <a:gd name="connsiteY13" fmla="*/ 380730 h 1054829"/>
                <a:gd name="connsiteX14" fmla="*/ 84423 w 1671085"/>
                <a:gd name="connsiteY14" fmla="*/ 576324 h 1054829"/>
                <a:gd name="connsiteX15" fmla="*/ 215665 w 1671085"/>
                <a:gd name="connsiteY15" fmla="*/ 532160 h 1054829"/>
                <a:gd name="connsiteX0" fmla="*/ 215665 w 1671085"/>
                <a:gd name="connsiteY0" fmla="*/ 532160 h 1054829"/>
                <a:gd name="connsiteX1" fmla="*/ 351007 w 1671085"/>
                <a:gd name="connsiteY1" fmla="*/ 1054829 h 1054829"/>
                <a:gd name="connsiteX2" fmla="*/ 1352517 w 1671085"/>
                <a:gd name="connsiteY2" fmla="*/ 747076 h 1054829"/>
                <a:gd name="connsiteX3" fmla="*/ 1446352 w 1671085"/>
                <a:gd name="connsiteY3" fmla="*/ 666445 h 1054829"/>
                <a:gd name="connsiteX4" fmla="*/ 1582373 w 1671085"/>
                <a:gd name="connsiteY4" fmla="*/ 441507 h 1054829"/>
                <a:gd name="connsiteX5" fmla="*/ 1671085 w 1671085"/>
                <a:gd name="connsiteY5" fmla="*/ 379760 h 1054829"/>
                <a:gd name="connsiteX6" fmla="*/ 1610125 w 1671085"/>
                <a:gd name="connsiteY6" fmla="*/ 250220 h 1054829"/>
                <a:gd name="connsiteX7" fmla="*/ 1175785 w 1671085"/>
                <a:gd name="connsiteY7" fmla="*/ 402620 h 1054829"/>
                <a:gd name="connsiteX8" fmla="*/ 1139796 w 1671085"/>
                <a:gd name="connsiteY8" fmla="*/ 253375 h 1054829"/>
                <a:gd name="connsiteX9" fmla="*/ 1094308 w 1671085"/>
                <a:gd name="connsiteY9" fmla="*/ 271569 h 1054829"/>
                <a:gd name="connsiteX10" fmla="*/ 1020658 w 1671085"/>
                <a:gd name="connsiteY10" fmla="*/ 0 h 1054829"/>
                <a:gd name="connsiteX11" fmla="*/ 0 w 1671085"/>
                <a:gd name="connsiteY11" fmla="*/ 323369 h 1054829"/>
                <a:gd name="connsiteX12" fmla="*/ 13394 w 1671085"/>
                <a:gd name="connsiteY12" fmla="*/ 389832 h 1054829"/>
                <a:gd name="connsiteX13" fmla="*/ 42380 w 1671085"/>
                <a:gd name="connsiteY13" fmla="*/ 380730 h 1054829"/>
                <a:gd name="connsiteX14" fmla="*/ 84423 w 1671085"/>
                <a:gd name="connsiteY14" fmla="*/ 576324 h 1054829"/>
                <a:gd name="connsiteX15" fmla="*/ 215665 w 1671085"/>
                <a:gd name="connsiteY15" fmla="*/ 532160 h 1054829"/>
                <a:gd name="connsiteX0" fmla="*/ 204227 w 1671085"/>
                <a:gd name="connsiteY0" fmla="*/ 532160 h 1054829"/>
                <a:gd name="connsiteX1" fmla="*/ 351007 w 1671085"/>
                <a:gd name="connsiteY1" fmla="*/ 1054829 h 1054829"/>
                <a:gd name="connsiteX2" fmla="*/ 1352517 w 1671085"/>
                <a:gd name="connsiteY2" fmla="*/ 747076 h 1054829"/>
                <a:gd name="connsiteX3" fmla="*/ 1446352 w 1671085"/>
                <a:gd name="connsiteY3" fmla="*/ 666445 h 1054829"/>
                <a:gd name="connsiteX4" fmla="*/ 1582373 w 1671085"/>
                <a:gd name="connsiteY4" fmla="*/ 441507 h 1054829"/>
                <a:gd name="connsiteX5" fmla="*/ 1671085 w 1671085"/>
                <a:gd name="connsiteY5" fmla="*/ 379760 h 1054829"/>
                <a:gd name="connsiteX6" fmla="*/ 1610125 w 1671085"/>
                <a:gd name="connsiteY6" fmla="*/ 250220 h 1054829"/>
                <a:gd name="connsiteX7" fmla="*/ 1175785 w 1671085"/>
                <a:gd name="connsiteY7" fmla="*/ 402620 h 1054829"/>
                <a:gd name="connsiteX8" fmla="*/ 1139796 w 1671085"/>
                <a:gd name="connsiteY8" fmla="*/ 253375 h 1054829"/>
                <a:gd name="connsiteX9" fmla="*/ 1094308 w 1671085"/>
                <a:gd name="connsiteY9" fmla="*/ 271569 h 1054829"/>
                <a:gd name="connsiteX10" fmla="*/ 1020658 w 1671085"/>
                <a:gd name="connsiteY10" fmla="*/ 0 h 1054829"/>
                <a:gd name="connsiteX11" fmla="*/ 0 w 1671085"/>
                <a:gd name="connsiteY11" fmla="*/ 323369 h 1054829"/>
                <a:gd name="connsiteX12" fmla="*/ 13394 w 1671085"/>
                <a:gd name="connsiteY12" fmla="*/ 389832 h 1054829"/>
                <a:gd name="connsiteX13" fmla="*/ 42380 w 1671085"/>
                <a:gd name="connsiteY13" fmla="*/ 380730 h 1054829"/>
                <a:gd name="connsiteX14" fmla="*/ 84423 w 1671085"/>
                <a:gd name="connsiteY14" fmla="*/ 576324 h 1054829"/>
                <a:gd name="connsiteX15" fmla="*/ 204227 w 1671085"/>
                <a:gd name="connsiteY15" fmla="*/ 532160 h 1054829"/>
                <a:gd name="connsiteX0" fmla="*/ 204227 w 1671085"/>
                <a:gd name="connsiteY0" fmla="*/ 532160 h 1054829"/>
                <a:gd name="connsiteX1" fmla="*/ 346432 w 1671085"/>
                <a:gd name="connsiteY1" fmla="*/ 1054829 h 1054829"/>
                <a:gd name="connsiteX2" fmla="*/ 1352517 w 1671085"/>
                <a:gd name="connsiteY2" fmla="*/ 747076 h 1054829"/>
                <a:gd name="connsiteX3" fmla="*/ 1446352 w 1671085"/>
                <a:gd name="connsiteY3" fmla="*/ 666445 h 1054829"/>
                <a:gd name="connsiteX4" fmla="*/ 1582373 w 1671085"/>
                <a:gd name="connsiteY4" fmla="*/ 441507 h 1054829"/>
                <a:gd name="connsiteX5" fmla="*/ 1671085 w 1671085"/>
                <a:gd name="connsiteY5" fmla="*/ 379760 h 1054829"/>
                <a:gd name="connsiteX6" fmla="*/ 1610125 w 1671085"/>
                <a:gd name="connsiteY6" fmla="*/ 250220 h 1054829"/>
                <a:gd name="connsiteX7" fmla="*/ 1175785 w 1671085"/>
                <a:gd name="connsiteY7" fmla="*/ 402620 h 1054829"/>
                <a:gd name="connsiteX8" fmla="*/ 1139796 w 1671085"/>
                <a:gd name="connsiteY8" fmla="*/ 253375 h 1054829"/>
                <a:gd name="connsiteX9" fmla="*/ 1094308 w 1671085"/>
                <a:gd name="connsiteY9" fmla="*/ 271569 h 1054829"/>
                <a:gd name="connsiteX10" fmla="*/ 1020658 w 1671085"/>
                <a:gd name="connsiteY10" fmla="*/ 0 h 1054829"/>
                <a:gd name="connsiteX11" fmla="*/ 0 w 1671085"/>
                <a:gd name="connsiteY11" fmla="*/ 323369 h 1054829"/>
                <a:gd name="connsiteX12" fmla="*/ 13394 w 1671085"/>
                <a:gd name="connsiteY12" fmla="*/ 389832 h 1054829"/>
                <a:gd name="connsiteX13" fmla="*/ 42380 w 1671085"/>
                <a:gd name="connsiteY13" fmla="*/ 380730 h 1054829"/>
                <a:gd name="connsiteX14" fmla="*/ 84423 w 1671085"/>
                <a:gd name="connsiteY14" fmla="*/ 576324 h 1054829"/>
                <a:gd name="connsiteX15" fmla="*/ 204227 w 1671085"/>
                <a:gd name="connsiteY15" fmla="*/ 532160 h 1054829"/>
                <a:gd name="connsiteX0" fmla="*/ 204227 w 1650496"/>
                <a:gd name="connsiteY0" fmla="*/ 532160 h 1054829"/>
                <a:gd name="connsiteX1" fmla="*/ 346432 w 1650496"/>
                <a:gd name="connsiteY1" fmla="*/ 1054829 h 1054829"/>
                <a:gd name="connsiteX2" fmla="*/ 1352517 w 1650496"/>
                <a:gd name="connsiteY2" fmla="*/ 747076 h 1054829"/>
                <a:gd name="connsiteX3" fmla="*/ 1446352 w 1650496"/>
                <a:gd name="connsiteY3" fmla="*/ 666445 h 1054829"/>
                <a:gd name="connsiteX4" fmla="*/ 1582373 w 1650496"/>
                <a:gd name="connsiteY4" fmla="*/ 441507 h 1054829"/>
                <a:gd name="connsiteX5" fmla="*/ 1650496 w 1650496"/>
                <a:gd name="connsiteY5" fmla="*/ 374906 h 1054829"/>
                <a:gd name="connsiteX6" fmla="*/ 1610125 w 1650496"/>
                <a:gd name="connsiteY6" fmla="*/ 250220 h 1054829"/>
                <a:gd name="connsiteX7" fmla="*/ 1175785 w 1650496"/>
                <a:gd name="connsiteY7" fmla="*/ 402620 h 1054829"/>
                <a:gd name="connsiteX8" fmla="*/ 1139796 w 1650496"/>
                <a:gd name="connsiteY8" fmla="*/ 253375 h 1054829"/>
                <a:gd name="connsiteX9" fmla="*/ 1094308 w 1650496"/>
                <a:gd name="connsiteY9" fmla="*/ 271569 h 1054829"/>
                <a:gd name="connsiteX10" fmla="*/ 1020658 w 1650496"/>
                <a:gd name="connsiteY10" fmla="*/ 0 h 1054829"/>
                <a:gd name="connsiteX11" fmla="*/ 0 w 1650496"/>
                <a:gd name="connsiteY11" fmla="*/ 323369 h 1054829"/>
                <a:gd name="connsiteX12" fmla="*/ 13394 w 1650496"/>
                <a:gd name="connsiteY12" fmla="*/ 389832 h 1054829"/>
                <a:gd name="connsiteX13" fmla="*/ 42380 w 1650496"/>
                <a:gd name="connsiteY13" fmla="*/ 380730 h 1054829"/>
                <a:gd name="connsiteX14" fmla="*/ 84423 w 1650496"/>
                <a:gd name="connsiteY14" fmla="*/ 576324 h 1054829"/>
                <a:gd name="connsiteX15" fmla="*/ 204227 w 1650496"/>
                <a:gd name="connsiteY15" fmla="*/ 532160 h 1054829"/>
                <a:gd name="connsiteX0" fmla="*/ 204227 w 1650496"/>
                <a:gd name="connsiteY0" fmla="*/ 532160 h 1054829"/>
                <a:gd name="connsiteX1" fmla="*/ 346432 w 1650496"/>
                <a:gd name="connsiteY1" fmla="*/ 1054829 h 1054829"/>
                <a:gd name="connsiteX2" fmla="*/ 1352517 w 1650496"/>
                <a:gd name="connsiteY2" fmla="*/ 747076 h 1054829"/>
                <a:gd name="connsiteX3" fmla="*/ 1446352 w 1650496"/>
                <a:gd name="connsiteY3" fmla="*/ 666445 h 1054829"/>
                <a:gd name="connsiteX4" fmla="*/ 1582373 w 1650496"/>
                <a:gd name="connsiteY4" fmla="*/ 441507 h 1054829"/>
                <a:gd name="connsiteX5" fmla="*/ 1650496 w 1650496"/>
                <a:gd name="connsiteY5" fmla="*/ 374906 h 1054829"/>
                <a:gd name="connsiteX6" fmla="*/ 1610125 w 1650496"/>
                <a:gd name="connsiteY6" fmla="*/ 250220 h 1054829"/>
                <a:gd name="connsiteX7" fmla="*/ 1166634 w 1650496"/>
                <a:gd name="connsiteY7" fmla="*/ 402620 h 1054829"/>
                <a:gd name="connsiteX8" fmla="*/ 1139796 w 1650496"/>
                <a:gd name="connsiteY8" fmla="*/ 253375 h 1054829"/>
                <a:gd name="connsiteX9" fmla="*/ 1094308 w 1650496"/>
                <a:gd name="connsiteY9" fmla="*/ 271569 h 1054829"/>
                <a:gd name="connsiteX10" fmla="*/ 1020658 w 1650496"/>
                <a:gd name="connsiteY10" fmla="*/ 0 h 1054829"/>
                <a:gd name="connsiteX11" fmla="*/ 0 w 1650496"/>
                <a:gd name="connsiteY11" fmla="*/ 323369 h 1054829"/>
                <a:gd name="connsiteX12" fmla="*/ 13394 w 1650496"/>
                <a:gd name="connsiteY12" fmla="*/ 389832 h 1054829"/>
                <a:gd name="connsiteX13" fmla="*/ 42380 w 1650496"/>
                <a:gd name="connsiteY13" fmla="*/ 380730 h 1054829"/>
                <a:gd name="connsiteX14" fmla="*/ 84423 w 1650496"/>
                <a:gd name="connsiteY14" fmla="*/ 576324 h 1054829"/>
                <a:gd name="connsiteX15" fmla="*/ 204227 w 1650496"/>
                <a:gd name="connsiteY15" fmla="*/ 532160 h 1054829"/>
                <a:gd name="connsiteX0" fmla="*/ 204227 w 1650496"/>
                <a:gd name="connsiteY0" fmla="*/ 532160 h 1054829"/>
                <a:gd name="connsiteX1" fmla="*/ 346432 w 1650496"/>
                <a:gd name="connsiteY1" fmla="*/ 1054829 h 1054829"/>
                <a:gd name="connsiteX2" fmla="*/ 1352517 w 1650496"/>
                <a:gd name="connsiteY2" fmla="*/ 747076 h 1054829"/>
                <a:gd name="connsiteX3" fmla="*/ 1446352 w 1650496"/>
                <a:gd name="connsiteY3" fmla="*/ 666445 h 1054829"/>
                <a:gd name="connsiteX4" fmla="*/ 1582373 w 1650496"/>
                <a:gd name="connsiteY4" fmla="*/ 441507 h 1054829"/>
                <a:gd name="connsiteX5" fmla="*/ 1650496 w 1650496"/>
                <a:gd name="connsiteY5" fmla="*/ 374906 h 1054829"/>
                <a:gd name="connsiteX6" fmla="*/ 1610125 w 1650496"/>
                <a:gd name="connsiteY6" fmla="*/ 250220 h 1054829"/>
                <a:gd name="connsiteX7" fmla="*/ 1166634 w 1650496"/>
                <a:gd name="connsiteY7" fmla="*/ 402620 h 1054829"/>
                <a:gd name="connsiteX8" fmla="*/ 1139796 w 1650496"/>
                <a:gd name="connsiteY8" fmla="*/ 253375 h 1054829"/>
                <a:gd name="connsiteX9" fmla="*/ 1094308 w 1650496"/>
                <a:gd name="connsiteY9" fmla="*/ 271569 h 1054829"/>
                <a:gd name="connsiteX10" fmla="*/ 1020658 w 1650496"/>
                <a:gd name="connsiteY10" fmla="*/ 0 h 1054829"/>
                <a:gd name="connsiteX11" fmla="*/ 0 w 1650496"/>
                <a:gd name="connsiteY11" fmla="*/ 323369 h 1054829"/>
                <a:gd name="connsiteX12" fmla="*/ 13394 w 1650496"/>
                <a:gd name="connsiteY12" fmla="*/ 389832 h 1054829"/>
                <a:gd name="connsiteX13" fmla="*/ 42380 w 1650496"/>
                <a:gd name="connsiteY13" fmla="*/ 380730 h 1054829"/>
                <a:gd name="connsiteX14" fmla="*/ 84423 w 1650496"/>
                <a:gd name="connsiteY14" fmla="*/ 576324 h 1054829"/>
                <a:gd name="connsiteX15" fmla="*/ 204227 w 1650496"/>
                <a:gd name="connsiteY15" fmla="*/ 532160 h 1054829"/>
                <a:gd name="connsiteX0" fmla="*/ 204227 w 1650496"/>
                <a:gd name="connsiteY0" fmla="*/ 532160 h 1054829"/>
                <a:gd name="connsiteX1" fmla="*/ 346432 w 1650496"/>
                <a:gd name="connsiteY1" fmla="*/ 1054829 h 1054829"/>
                <a:gd name="connsiteX2" fmla="*/ 1352517 w 1650496"/>
                <a:gd name="connsiteY2" fmla="*/ 747076 h 1054829"/>
                <a:gd name="connsiteX3" fmla="*/ 1446352 w 1650496"/>
                <a:gd name="connsiteY3" fmla="*/ 666445 h 1054829"/>
                <a:gd name="connsiteX4" fmla="*/ 1582373 w 1650496"/>
                <a:gd name="connsiteY4" fmla="*/ 441507 h 1054829"/>
                <a:gd name="connsiteX5" fmla="*/ 1650496 w 1650496"/>
                <a:gd name="connsiteY5" fmla="*/ 374906 h 1054829"/>
                <a:gd name="connsiteX6" fmla="*/ 1610125 w 1650496"/>
                <a:gd name="connsiteY6" fmla="*/ 250220 h 1054829"/>
                <a:gd name="connsiteX7" fmla="*/ 1166634 w 1650496"/>
                <a:gd name="connsiteY7" fmla="*/ 402620 h 1054829"/>
                <a:gd name="connsiteX8" fmla="*/ 1135221 w 1650496"/>
                <a:gd name="connsiteY8" fmla="*/ 255802 h 1054829"/>
                <a:gd name="connsiteX9" fmla="*/ 1094308 w 1650496"/>
                <a:gd name="connsiteY9" fmla="*/ 271569 h 1054829"/>
                <a:gd name="connsiteX10" fmla="*/ 1020658 w 1650496"/>
                <a:gd name="connsiteY10" fmla="*/ 0 h 1054829"/>
                <a:gd name="connsiteX11" fmla="*/ 0 w 1650496"/>
                <a:gd name="connsiteY11" fmla="*/ 323369 h 1054829"/>
                <a:gd name="connsiteX12" fmla="*/ 13394 w 1650496"/>
                <a:gd name="connsiteY12" fmla="*/ 389832 h 1054829"/>
                <a:gd name="connsiteX13" fmla="*/ 42380 w 1650496"/>
                <a:gd name="connsiteY13" fmla="*/ 380730 h 1054829"/>
                <a:gd name="connsiteX14" fmla="*/ 84423 w 1650496"/>
                <a:gd name="connsiteY14" fmla="*/ 576324 h 1054829"/>
                <a:gd name="connsiteX15" fmla="*/ 204227 w 1650496"/>
                <a:gd name="connsiteY15" fmla="*/ 532160 h 1054829"/>
                <a:gd name="connsiteX0" fmla="*/ 204227 w 1650496"/>
                <a:gd name="connsiteY0" fmla="*/ 532160 h 1054829"/>
                <a:gd name="connsiteX1" fmla="*/ 346432 w 1650496"/>
                <a:gd name="connsiteY1" fmla="*/ 1054829 h 1054829"/>
                <a:gd name="connsiteX2" fmla="*/ 1352517 w 1650496"/>
                <a:gd name="connsiteY2" fmla="*/ 747076 h 1054829"/>
                <a:gd name="connsiteX3" fmla="*/ 1446352 w 1650496"/>
                <a:gd name="connsiteY3" fmla="*/ 666445 h 1054829"/>
                <a:gd name="connsiteX4" fmla="*/ 1582373 w 1650496"/>
                <a:gd name="connsiteY4" fmla="*/ 441507 h 1054829"/>
                <a:gd name="connsiteX5" fmla="*/ 1650496 w 1650496"/>
                <a:gd name="connsiteY5" fmla="*/ 374906 h 1054829"/>
                <a:gd name="connsiteX6" fmla="*/ 1610125 w 1650496"/>
                <a:gd name="connsiteY6" fmla="*/ 250220 h 1054829"/>
                <a:gd name="connsiteX7" fmla="*/ 1166634 w 1650496"/>
                <a:gd name="connsiteY7" fmla="*/ 402620 h 1054829"/>
                <a:gd name="connsiteX8" fmla="*/ 1135221 w 1650496"/>
                <a:gd name="connsiteY8" fmla="*/ 255802 h 1054829"/>
                <a:gd name="connsiteX9" fmla="*/ 1094308 w 1650496"/>
                <a:gd name="connsiteY9" fmla="*/ 271569 h 1054829"/>
                <a:gd name="connsiteX10" fmla="*/ 1020658 w 1650496"/>
                <a:gd name="connsiteY10" fmla="*/ 0 h 1054829"/>
                <a:gd name="connsiteX11" fmla="*/ 0 w 1650496"/>
                <a:gd name="connsiteY11" fmla="*/ 323369 h 1054829"/>
                <a:gd name="connsiteX12" fmla="*/ 13394 w 1650496"/>
                <a:gd name="connsiteY12" fmla="*/ 389832 h 1054829"/>
                <a:gd name="connsiteX13" fmla="*/ 42380 w 1650496"/>
                <a:gd name="connsiteY13" fmla="*/ 380730 h 1054829"/>
                <a:gd name="connsiteX14" fmla="*/ 84423 w 1650496"/>
                <a:gd name="connsiteY14" fmla="*/ 576324 h 1054829"/>
                <a:gd name="connsiteX15" fmla="*/ 204227 w 1650496"/>
                <a:gd name="connsiteY15" fmla="*/ 532160 h 1054829"/>
                <a:gd name="connsiteX0" fmla="*/ 204227 w 1650496"/>
                <a:gd name="connsiteY0" fmla="*/ 532160 h 1054829"/>
                <a:gd name="connsiteX1" fmla="*/ 346432 w 1650496"/>
                <a:gd name="connsiteY1" fmla="*/ 1054829 h 1054829"/>
                <a:gd name="connsiteX2" fmla="*/ 1352517 w 1650496"/>
                <a:gd name="connsiteY2" fmla="*/ 747076 h 1054829"/>
                <a:gd name="connsiteX3" fmla="*/ 1446352 w 1650496"/>
                <a:gd name="connsiteY3" fmla="*/ 666445 h 1054829"/>
                <a:gd name="connsiteX4" fmla="*/ 1582373 w 1650496"/>
                <a:gd name="connsiteY4" fmla="*/ 441507 h 1054829"/>
                <a:gd name="connsiteX5" fmla="*/ 1650496 w 1650496"/>
                <a:gd name="connsiteY5" fmla="*/ 374906 h 1054829"/>
                <a:gd name="connsiteX6" fmla="*/ 1610125 w 1650496"/>
                <a:gd name="connsiteY6" fmla="*/ 250220 h 1054829"/>
                <a:gd name="connsiteX7" fmla="*/ 1166634 w 1650496"/>
                <a:gd name="connsiteY7" fmla="*/ 402620 h 1054829"/>
                <a:gd name="connsiteX8" fmla="*/ 1135221 w 1650496"/>
                <a:gd name="connsiteY8" fmla="*/ 255802 h 1054829"/>
                <a:gd name="connsiteX9" fmla="*/ 1094308 w 1650496"/>
                <a:gd name="connsiteY9" fmla="*/ 271569 h 1054829"/>
                <a:gd name="connsiteX10" fmla="*/ 1020658 w 1650496"/>
                <a:gd name="connsiteY10" fmla="*/ 0 h 1054829"/>
                <a:gd name="connsiteX11" fmla="*/ 0 w 1650496"/>
                <a:gd name="connsiteY11" fmla="*/ 323369 h 1054829"/>
                <a:gd name="connsiteX12" fmla="*/ 13394 w 1650496"/>
                <a:gd name="connsiteY12" fmla="*/ 389832 h 1054829"/>
                <a:gd name="connsiteX13" fmla="*/ 42380 w 1650496"/>
                <a:gd name="connsiteY13" fmla="*/ 380730 h 1054829"/>
                <a:gd name="connsiteX14" fmla="*/ 84423 w 1650496"/>
                <a:gd name="connsiteY14" fmla="*/ 576324 h 1054829"/>
                <a:gd name="connsiteX15" fmla="*/ 204227 w 1650496"/>
                <a:gd name="connsiteY15" fmla="*/ 532160 h 1054829"/>
                <a:gd name="connsiteX0" fmla="*/ 204227 w 1650496"/>
                <a:gd name="connsiteY0" fmla="*/ 532160 h 1054829"/>
                <a:gd name="connsiteX1" fmla="*/ 346432 w 1650496"/>
                <a:gd name="connsiteY1" fmla="*/ 1054829 h 1054829"/>
                <a:gd name="connsiteX2" fmla="*/ 1352517 w 1650496"/>
                <a:gd name="connsiteY2" fmla="*/ 747076 h 1054829"/>
                <a:gd name="connsiteX3" fmla="*/ 1457790 w 1650496"/>
                <a:gd name="connsiteY3" fmla="*/ 666445 h 1054829"/>
                <a:gd name="connsiteX4" fmla="*/ 1582373 w 1650496"/>
                <a:gd name="connsiteY4" fmla="*/ 441507 h 1054829"/>
                <a:gd name="connsiteX5" fmla="*/ 1650496 w 1650496"/>
                <a:gd name="connsiteY5" fmla="*/ 374906 h 1054829"/>
                <a:gd name="connsiteX6" fmla="*/ 1610125 w 1650496"/>
                <a:gd name="connsiteY6" fmla="*/ 250220 h 1054829"/>
                <a:gd name="connsiteX7" fmla="*/ 1166634 w 1650496"/>
                <a:gd name="connsiteY7" fmla="*/ 402620 h 1054829"/>
                <a:gd name="connsiteX8" fmla="*/ 1135221 w 1650496"/>
                <a:gd name="connsiteY8" fmla="*/ 255802 h 1054829"/>
                <a:gd name="connsiteX9" fmla="*/ 1094308 w 1650496"/>
                <a:gd name="connsiteY9" fmla="*/ 271569 h 1054829"/>
                <a:gd name="connsiteX10" fmla="*/ 1020658 w 1650496"/>
                <a:gd name="connsiteY10" fmla="*/ 0 h 1054829"/>
                <a:gd name="connsiteX11" fmla="*/ 0 w 1650496"/>
                <a:gd name="connsiteY11" fmla="*/ 323369 h 1054829"/>
                <a:gd name="connsiteX12" fmla="*/ 13394 w 1650496"/>
                <a:gd name="connsiteY12" fmla="*/ 389832 h 1054829"/>
                <a:gd name="connsiteX13" fmla="*/ 42380 w 1650496"/>
                <a:gd name="connsiteY13" fmla="*/ 380730 h 1054829"/>
                <a:gd name="connsiteX14" fmla="*/ 84423 w 1650496"/>
                <a:gd name="connsiteY14" fmla="*/ 576324 h 1054829"/>
                <a:gd name="connsiteX15" fmla="*/ 204227 w 1650496"/>
                <a:gd name="connsiteY15" fmla="*/ 532160 h 1054829"/>
                <a:gd name="connsiteX0" fmla="*/ 204227 w 1650496"/>
                <a:gd name="connsiteY0" fmla="*/ 532160 h 1054829"/>
                <a:gd name="connsiteX1" fmla="*/ 346432 w 1650496"/>
                <a:gd name="connsiteY1" fmla="*/ 1054829 h 1054829"/>
                <a:gd name="connsiteX2" fmla="*/ 1352517 w 1650496"/>
                <a:gd name="connsiteY2" fmla="*/ 747076 h 1054829"/>
                <a:gd name="connsiteX3" fmla="*/ 1457790 w 1650496"/>
                <a:gd name="connsiteY3" fmla="*/ 666445 h 1054829"/>
                <a:gd name="connsiteX4" fmla="*/ 1582373 w 1650496"/>
                <a:gd name="connsiteY4" fmla="*/ 441507 h 1054829"/>
                <a:gd name="connsiteX5" fmla="*/ 1650496 w 1650496"/>
                <a:gd name="connsiteY5" fmla="*/ 374906 h 1054829"/>
                <a:gd name="connsiteX6" fmla="*/ 1610125 w 1650496"/>
                <a:gd name="connsiteY6" fmla="*/ 250220 h 1054829"/>
                <a:gd name="connsiteX7" fmla="*/ 1166634 w 1650496"/>
                <a:gd name="connsiteY7" fmla="*/ 402620 h 1054829"/>
                <a:gd name="connsiteX8" fmla="*/ 1135221 w 1650496"/>
                <a:gd name="connsiteY8" fmla="*/ 255802 h 1054829"/>
                <a:gd name="connsiteX9" fmla="*/ 1094308 w 1650496"/>
                <a:gd name="connsiteY9" fmla="*/ 271569 h 1054829"/>
                <a:gd name="connsiteX10" fmla="*/ 1020658 w 1650496"/>
                <a:gd name="connsiteY10" fmla="*/ 0 h 1054829"/>
                <a:gd name="connsiteX11" fmla="*/ 0 w 1650496"/>
                <a:gd name="connsiteY11" fmla="*/ 323369 h 1054829"/>
                <a:gd name="connsiteX12" fmla="*/ 13394 w 1650496"/>
                <a:gd name="connsiteY12" fmla="*/ 389832 h 1054829"/>
                <a:gd name="connsiteX13" fmla="*/ 42380 w 1650496"/>
                <a:gd name="connsiteY13" fmla="*/ 380730 h 1054829"/>
                <a:gd name="connsiteX14" fmla="*/ 84423 w 1650496"/>
                <a:gd name="connsiteY14" fmla="*/ 576324 h 1054829"/>
                <a:gd name="connsiteX15" fmla="*/ 204227 w 1650496"/>
                <a:gd name="connsiteY15" fmla="*/ 532160 h 1054829"/>
                <a:gd name="connsiteX0" fmla="*/ 204227 w 1650496"/>
                <a:gd name="connsiteY0" fmla="*/ 532160 h 1054829"/>
                <a:gd name="connsiteX1" fmla="*/ 346432 w 1650496"/>
                <a:gd name="connsiteY1" fmla="*/ 1054829 h 1054829"/>
                <a:gd name="connsiteX2" fmla="*/ 1352517 w 1650496"/>
                <a:gd name="connsiteY2" fmla="*/ 747076 h 1054829"/>
                <a:gd name="connsiteX3" fmla="*/ 1457790 w 1650496"/>
                <a:gd name="connsiteY3" fmla="*/ 666445 h 1054829"/>
                <a:gd name="connsiteX4" fmla="*/ 1582373 w 1650496"/>
                <a:gd name="connsiteY4" fmla="*/ 441507 h 1054829"/>
                <a:gd name="connsiteX5" fmla="*/ 1650496 w 1650496"/>
                <a:gd name="connsiteY5" fmla="*/ 374906 h 1054829"/>
                <a:gd name="connsiteX6" fmla="*/ 1610125 w 1650496"/>
                <a:gd name="connsiteY6" fmla="*/ 250220 h 1054829"/>
                <a:gd name="connsiteX7" fmla="*/ 1166634 w 1650496"/>
                <a:gd name="connsiteY7" fmla="*/ 402620 h 1054829"/>
                <a:gd name="connsiteX8" fmla="*/ 1135221 w 1650496"/>
                <a:gd name="connsiteY8" fmla="*/ 255802 h 1054829"/>
                <a:gd name="connsiteX9" fmla="*/ 1094308 w 1650496"/>
                <a:gd name="connsiteY9" fmla="*/ 271569 h 1054829"/>
                <a:gd name="connsiteX10" fmla="*/ 1020658 w 1650496"/>
                <a:gd name="connsiteY10" fmla="*/ 0 h 1054829"/>
                <a:gd name="connsiteX11" fmla="*/ 0 w 1650496"/>
                <a:gd name="connsiteY11" fmla="*/ 323369 h 1054829"/>
                <a:gd name="connsiteX12" fmla="*/ 13394 w 1650496"/>
                <a:gd name="connsiteY12" fmla="*/ 389832 h 1054829"/>
                <a:gd name="connsiteX13" fmla="*/ 42380 w 1650496"/>
                <a:gd name="connsiteY13" fmla="*/ 380730 h 1054829"/>
                <a:gd name="connsiteX14" fmla="*/ 84423 w 1650496"/>
                <a:gd name="connsiteY14" fmla="*/ 576324 h 1054829"/>
                <a:gd name="connsiteX15" fmla="*/ 204227 w 1650496"/>
                <a:gd name="connsiteY15" fmla="*/ 532160 h 1054829"/>
                <a:gd name="connsiteX0" fmla="*/ 204227 w 1650496"/>
                <a:gd name="connsiteY0" fmla="*/ 532160 h 1054829"/>
                <a:gd name="connsiteX1" fmla="*/ 346432 w 1650496"/>
                <a:gd name="connsiteY1" fmla="*/ 1054829 h 1054829"/>
                <a:gd name="connsiteX2" fmla="*/ 1352517 w 1650496"/>
                <a:gd name="connsiteY2" fmla="*/ 747076 h 1054829"/>
                <a:gd name="connsiteX3" fmla="*/ 1457790 w 1650496"/>
                <a:gd name="connsiteY3" fmla="*/ 666445 h 1054829"/>
                <a:gd name="connsiteX4" fmla="*/ 1582373 w 1650496"/>
                <a:gd name="connsiteY4" fmla="*/ 441507 h 1054829"/>
                <a:gd name="connsiteX5" fmla="*/ 1650496 w 1650496"/>
                <a:gd name="connsiteY5" fmla="*/ 374906 h 1054829"/>
                <a:gd name="connsiteX6" fmla="*/ 1605549 w 1650496"/>
                <a:gd name="connsiteY6" fmla="*/ 252647 h 1054829"/>
                <a:gd name="connsiteX7" fmla="*/ 1166634 w 1650496"/>
                <a:gd name="connsiteY7" fmla="*/ 402620 h 1054829"/>
                <a:gd name="connsiteX8" fmla="*/ 1135221 w 1650496"/>
                <a:gd name="connsiteY8" fmla="*/ 255802 h 1054829"/>
                <a:gd name="connsiteX9" fmla="*/ 1094308 w 1650496"/>
                <a:gd name="connsiteY9" fmla="*/ 271569 h 1054829"/>
                <a:gd name="connsiteX10" fmla="*/ 1020658 w 1650496"/>
                <a:gd name="connsiteY10" fmla="*/ 0 h 1054829"/>
                <a:gd name="connsiteX11" fmla="*/ 0 w 1650496"/>
                <a:gd name="connsiteY11" fmla="*/ 323369 h 1054829"/>
                <a:gd name="connsiteX12" fmla="*/ 13394 w 1650496"/>
                <a:gd name="connsiteY12" fmla="*/ 389832 h 1054829"/>
                <a:gd name="connsiteX13" fmla="*/ 42380 w 1650496"/>
                <a:gd name="connsiteY13" fmla="*/ 380730 h 1054829"/>
                <a:gd name="connsiteX14" fmla="*/ 84423 w 1650496"/>
                <a:gd name="connsiteY14" fmla="*/ 576324 h 1054829"/>
                <a:gd name="connsiteX15" fmla="*/ 204227 w 1650496"/>
                <a:gd name="connsiteY15" fmla="*/ 532160 h 1054829"/>
                <a:gd name="connsiteX0" fmla="*/ 204227 w 1650496"/>
                <a:gd name="connsiteY0" fmla="*/ 527306 h 1049975"/>
                <a:gd name="connsiteX1" fmla="*/ 346432 w 1650496"/>
                <a:gd name="connsiteY1" fmla="*/ 1049975 h 1049975"/>
                <a:gd name="connsiteX2" fmla="*/ 1352517 w 1650496"/>
                <a:gd name="connsiteY2" fmla="*/ 742222 h 1049975"/>
                <a:gd name="connsiteX3" fmla="*/ 1457790 w 1650496"/>
                <a:gd name="connsiteY3" fmla="*/ 661591 h 1049975"/>
                <a:gd name="connsiteX4" fmla="*/ 1582373 w 1650496"/>
                <a:gd name="connsiteY4" fmla="*/ 436653 h 1049975"/>
                <a:gd name="connsiteX5" fmla="*/ 1650496 w 1650496"/>
                <a:gd name="connsiteY5" fmla="*/ 370052 h 1049975"/>
                <a:gd name="connsiteX6" fmla="*/ 1605549 w 1650496"/>
                <a:gd name="connsiteY6" fmla="*/ 247793 h 1049975"/>
                <a:gd name="connsiteX7" fmla="*/ 1166634 w 1650496"/>
                <a:gd name="connsiteY7" fmla="*/ 397766 h 1049975"/>
                <a:gd name="connsiteX8" fmla="*/ 1135221 w 1650496"/>
                <a:gd name="connsiteY8" fmla="*/ 250948 h 1049975"/>
                <a:gd name="connsiteX9" fmla="*/ 1094308 w 1650496"/>
                <a:gd name="connsiteY9" fmla="*/ 266715 h 1049975"/>
                <a:gd name="connsiteX10" fmla="*/ 1027521 w 1650496"/>
                <a:gd name="connsiteY10" fmla="*/ 0 h 1049975"/>
                <a:gd name="connsiteX11" fmla="*/ 0 w 1650496"/>
                <a:gd name="connsiteY11" fmla="*/ 318515 h 1049975"/>
                <a:gd name="connsiteX12" fmla="*/ 13394 w 1650496"/>
                <a:gd name="connsiteY12" fmla="*/ 384978 h 1049975"/>
                <a:gd name="connsiteX13" fmla="*/ 42380 w 1650496"/>
                <a:gd name="connsiteY13" fmla="*/ 375876 h 1049975"/>
                <a:gd name="connsiteX14" fmla="*/ 84423 w 1650496"/>
                <a:gd name="connsiteY14" fmla="*/ 571470 h 1049975"/>
                <a:gd name="connsiteX15" fmla="*/ 204227 w 1650496"/>
                <a:gd name="connsiteY15" fmla="*/ 527306 h 1049975"/>
                <a:gd name="connsiteX0" fmla="*/ 204227 w 1650496"/>
                <a:gd name="connsiteY0" fmla="*/ 527306 h 1049975"/>
                <a:gd name="connsiteX1" fmla="*/ 346432 w 1650496"/>
                <a:gd name="connsiteY1" fmla="*/ 1049975 h 1049975"/>
                <a:gd name="connsiteX2" fmla="*/ 1352517 w 1650496"/>
                <a:gd name="connsiteY2" fmla="*/ 742222 h 1049975"/>
                <a:gd name="connsiteX3" fmla="*/ 1457790 w 1650496"/>
                <a:gd name="connsiteY3" fmla="*/ 661591 h 1049975"/>
                <a:gd name="connsiteX4" fmla="*/ 1582373 w 1650496"/>
                <a:gd name="connsiteY4" fmla="*/ 436653 h 1049975"/>
                <a:gd name="connsiteX5" fmla="*/ 1650496 w 1650496"/>
                <a:gd name="connsiteY5" fmla="*/ 370052 h 1049975"/>
                <a:gd name="connsiteX6" fmla="*/ 1605549 w 1650496"/>
                <a:gd name="connsiteY6" fmla="*/ 247793 h 1049975"/>
                <a:gd name="connsiteX7" fmla="*/ 1166634 w 1650496"/>
                <a:gd name="connsiteY7" fmla="*/ 397766 h 1049975"/>
                <a:gd name="connsiteX8" fmla="*/ 1135221 w 1650496"/>
                <a:gd name="connsiteY8" fmla="*/ 250948 h 1049975"/>
                <a:gd name="connsiteX9" fmla="*/ 1092019 w 1650496"/>
                <a:gd name="connsiteY9" fmla="*/ 259435 h 1049975"/>
                <a:gd name="connsiteX10" fmla="*/ 1027521 w 1650496"/>
                <a:gd name="connsiteY10" fmla="*/ 0 h 1049975"/>
                <a:gd name="connsiteX11" fmla="*/ 0 w 1650496"/>
                <a:gd name="connsiteY11" fmla="*/ 318515 h 1049975"/>
                <a:gd name="connsiteX12" fmla="*/ 13394 w 1650496"/>
                <a:gd name="connsiteY12" fmla="*/ 384978 h 1049975"/>
                <a:gd name="connsiteX13" fmla="*/ 42380 w 1650496"/>
                <a:gd name="connsiteY13" fmla="*/ 375876 h 1049975"/>
                <a:gd name="connsiteX14" fmla="*/ 84423 w 1650496"/>
                <a:gd name="connsiteY14" fmla="*/ 571470 h 1049975"/>
                <a:gd name="connsiteX15" fmla="*/ 204227 w 1650496"/>
                <a:gd name="connsiteY15" fmla="*/ 527306 h 1049975"/>
                <a:gd name="connsiteX0" fmla="*/ 204227 w 1650496"/>
                <a:gd name="connsiteY0" fmla="*/ 529732 h 1049975"/>
                <a:gd name="connsiteX1" fmla="*/ 346432 w 1650496"/>
                <a:gd name="connsiteY1" fmla="*/ 1049975 h 1049975"/>
                <a:gd name="connsiteX2" fmla="*/ 1352517 w 1650496"/>
                <a:gd name="connsiteY2" fmla="*/ 742222 h 1049975"/>
                <a:gd name="connsiteX3" fmla="*/ 1457790 w 1650496"/>
                <a:gd name="connsiteY3" fmla="*/ 661591 h 1049975"/>
                <a:gd name="connsiteX4" fmla="*/ 1582373 w 1650496"/>
                <a:gd name="connsiteY4" fmla="*/ 436653 h 1049975"/>
                <a:gd name="connsiteX5" fmla="*/ 1650496 w 1650496"/>
                <a:gd name="connsiteY5" fmla="*/ 370052 h 1049975"/>
                <a:gd name="connsiteX6" fmla="*/ 1605549 w 1650496"/>
                <a:gd name="connsiteY6" fmla="*/ 247793 h 1049975"/>
                <a:gd name="connsiteX7" fmla="*/ 1166634 w 1650496"/>
                <a:gd name="connsiteY7" fmla="*/ 397766 h 1049975"/>
                <a:gd name="connsiteX8" fmla="*/ 1135221 w 1650496"/>
                <a:gd name="connsiteY8" fmla="*/ 250948 h 1049975"/>
                <a:gd name="connsiteX9" fmla="*/ 1092019 w 1650496"/>
                <a:gd name="connsiteY9" fmla="*/ 259435 h 1049975"/>
                <a:gd name="connsiteX10" fmla="*/ 1027521 w 1650496"/>
                <a:gd name="connsiteY10" fmla="*/ 0 h 1049975"/>
                <a:gd name="connsiteX11" fmla="*/ 0 w 1650496"/>
                <a:gd name="connsiteY11" fmla="*/ 318515 h 1049975"/>
                <a:gd name="connsiteX12" fmla="*/ 13394 w 1650496"/>
                <a:gd name="connsiteY12" fmla="*/ 384978 h 1049975"/>
                <a:gd name="connsiteX13" fmla="*/ 42380 w 1650496"/>
                <a:gd name="connsiteY13" fmla="*/ 375876 h 1049975"/>
                <a:gd name="connsiteX14" fmla="*/ 84423 w 1650496"/>
                <a:gd name="connsiteY14" fmla="*/ 571470 h 1049975"/>
                <a:gd name="connsiteX15" fmla="*/ 204227 w 1650496"/>
                <a:gd name="connsiteY15" fmla="*/ 529732 h 1049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650496" h="1049975">
                  <a:moveTo>
                    <a:pt x="204227" y="529732"/>
                  </a:moveTo>
                  <a:lnTo>
                    <a:pt x="346432" y="1049975"/>
                  </a:lnTo>
                  <a:lnTo>
                    <a:pt x="1352517" y="742222"/>
                  </a:lnTo>
                  <a:cubicBezTo>
                    <a:pt x="1411248" y="720200"/>
                    <a:pt x="1424093" y="718797"/>
                    <a:pt x="1457790" y="661591"/>
                  </a:cubicBezTo>
                  <a:cubicBezTo>
                    <a:pt x="1503130" y="586612"/>
                    <a:pt x="1556933" y="469180"/>
                    <a:pt x="1582373" y="436653"/>
                  </a:cubicBezTo>
                  <a:cubicBezTo>
                    <a:pt x="1602792" y="402318"/>
                    <a:pt x="1627788" y="382544"/>
                    <a:pt x="1650496" y="370052"/>
                  </a:cubicBezTo>
                  <a:lnTo>
                    <a:pt x="1605549" y="247793"/>
                  </a:lnTo>
                  <a:cubicBezTo>
                    <a:pt x="1473733" y="320436"/>
                    <a:pt x="1314464" y="346966"/>
                    <a:pt x="1166634" y="397766"/>
                  </a:cubicBezTo>
                  <a:lnTo>
                    <a:pt x="1135221" y="250948"/>
                  </a:lnTo>
                  <a:lnTo>
                    <a:pt x="1092019" y="259435"/>
                  </a:lnTo>
                  <a:lnTo>
                    <a:pt x="1027521" y="0"/>
                  </a:lnTo>
                  <a:lnTo>
                    <a:pt x="0" y="318515"/>
                  </a:lnTo>
                  <a:lnTo>
                    <a:pt x="13394" y="384978"/>
                  </a:lnTo>
                  <a:lnTo>
                    <a:pt x="42380" y="375876"/>
                  </a:lnTo>
                  <a:lnTo>
                    <a:pt x="84423" y="571470"/>
                  </a:lnTo>
                  <a:lnTo>
                    <a:pt x="204227" y="529732"/>
                  </a:lnTo>
                  <a:close/>
                </a:path>
              </a:pathLst>
            </a:custGeom>
            <a:solidFill>
              <a:srgbClr val="008000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DE" sz="6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" name="Text_G017A">
              <a:extLst>
                <a:ext uri="{FF2B5EF4-FFF2-40B4-BE49-F238E27FC236}">
                  <a16:creationId xmlns:a16="http://schemas.microsoft.com/office/drawing/2014/main" id="{52E11FF6-508D-4B5D-B06F-93E50DA5515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103636" y="4769167"/>
              <a:ext cx="25063" cy="24616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de-DE" dirty="0"/>
            </a:p>
          </p:txBody>
        </p:sp>
        <p:sp>
          <p:nvSpPr>
            <p:cNvPr id="31" name="Text_G017A">
              <a:extLst>
                <a:ext uri="{FF2B5EF4-FFF2-40B4-BE49-F238E27FC236}">
                  <a16:creationId xmlns:a16="http://schemas.microsoft.com/office/drawing/2014/main" id="{BE5AB772-456B-4A08-97B6-96FD1EFB1FDE}"/>
                </a:ext>
              </a:extLst>
            </p:cNvPr>
            <p:cNvSpPr/>
            <p:nvPr/>
          </p:nvSpPr>
          <p:spPr>
            <a:xfrm>
              <a:off x="8638509" y="4687517"/>
              <a:ext cx="1093144" cy="188705"/>
            </a:xfrm>
            <a:prstGeom prst="borderCallout1">
              <a:avLst>
                <a:gd name="adj1" fmla="val 49950"/>
                <a:gd name="adj2" fmla="val 533"/>
                <a:gd name="adj3" fmla="val 51079"/>
                <a:gd name="adj4" fmla="val -137407"/>
              </a:avLst>
            </a:prstGeom>
            <a:solidFill>
              <a:schemeClr val="tx2">
                <a:lumMod val="20000"/>
                <a:lumOff val="80000"/>
              </a:schemeClr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257312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>
                  <a:solidFill>
                    <a:sysClr val="windowText" lastClr="000000"/>
                  </a:solidFill>
                </a:rPr>
                <a:t>K0720A (G017A)</a:t>
              </a:r>
            </a:p>
          </p:txBody>
        </p:sp>
        <p:sp>
          <p:nvSpPr>
            <p:cNvPr id="32" name="G017.1">
              <a:extLst>
                <a:ext uri="{FF2B5EF4-FFF2-40B4-BE49-F238E27FC236}">
                  <a16:creationId xmlns:a16="http://schemas.microsoft.com/office/drawing/2014/main" id="{41EEC015-A335-4723-B52C-E4C6AF9E38CD}"/>
                </a:ext>
              </a:extLst>
            </p:cNvPr>
            <p:cNvSpPr>
              <a:spLocks noChangeAspect="1"/>
            </p:cNvSpPr>
            <p:nvPr/>
          </p:nvSpPr>
          <p:spPr>
            <a:xfrm rot="156744">
              <a:off x="5200550" y="4240927"/>
              <a:ext cx="1446292" cy="1254950"/>
            </a:xfrm>
            <a:custGeom>
              <a:avLst/>
              <a:gdLst>
                <a:gd name="connsiteX0" fmla="*/ 0 w 2583180"/>
                <a:gd name="connsiteY0" fmla="*/ 129540 h 2804160"/>
                <a:gd name="connsiteX1" fmla="*/ 2453640 w 2583180"/>
                <a:gd name="connsiteY1" fmla="*/ 2804160 h 2804160"/>
                <a:gd name="connsiteX2" fmla="*/ 2583180 w 2583180"/>
                <a:gd name="connsiteY2" fmla="*/ 2667000 h 2804160"/>
                <a:gd name="connsiteX3" fmla="*/ 2430780 w 2583180"/>
                <a:gd name="connsiteY3" fmla="*/ 2506980 h 2804160"/>
                <a:gd name="connsiteX4" fmla="*/ 2446020 w 2583180"/>
                <a:gd name="connsiteY4" fmla="*/ 1905000 h 2804160"/>
                <a:gd name="connsiteX5" fmla="*/ 685800 w 2583180"/>
                <a:gd name="connsiteY5" fmla="*/ 0 h 2804160"/>
                <a:gd name="connsiteX6" fmla="*/ 175260 w 2583180"/>
                <a:gd name="connsiteY6" fmla="*/ 83820 h 2804160"/>
                <a:gd name="connsiteX7" fmla="*/ 106680 w 2583180"/>
                <a:gd name="connsiteY7" fmla="*/ 7620 h 2804160"/>
                <a:gd name="connsiteX8" fmla="*/ 0 w 2583180"/>
                <a:gd name="connsiteY8" fmla="*/ 129540 h 2804160"/>
                <a:gd name="connsiteX0" fmla="*/ 0 w 2583180"/>
                <a:gd name="connsiteY0" fmla="*/ 129540 h 2804160"/>
                <a:gd name="connsiteX1" fmla="*/ 2453640 w 2583180"/>
                <a:gd name="connsiteY1" fmla="*/ 2804160 h 2804160"/>
                <a:gd name="connsiteX2" fmla="*/ 2583180 w 2583180"/>
                <a:gd name="connsiteY2" fmla="*/ 2667000 h 2804160"/>
                <a:gd name="connsiteX3" fmla="*/ 2430780 w 2583180"/>
                <a:gd name="connsiteY3" fmla="*/ 2506980 h 2804160"/>
                <a:gd name="connsiteX4" fmla="*/ 2446020 w 2583180"/>
                <a:gd name="connsiteY4" fmla="*/ 1905000 h 2804160"/>
                <a:gd name="connsiteX5" fmla="*/ 685800 w 2583180"/>
                <a:gd name="connsiteY5" fmla="*/ 0 h 2804160"/>
                <a:gd name="connsiteX6" fmla="*/ 487680 w 2583180"/>
                <a:gd name="connsiteY6" fmla="*/ 30480 h 2804160"/>
                <a:gd name="connsiteX7" fmla="*/ 175260 w 2583180"/>
                <a:gd name="connsiteY7" fmla="*/ 83820 h 2804160"/>
                <a:gd name="connsiteX8" fmla="*/ 106680 w 2583180"/>
                <a:gd name="connsiteY8" fmla="*/ 7620 h 2804160"/>
                <a:gd name="connsiteX9" fmla="*/ 0 w 2583180"/>
                <a:gd name="connsiteY9" fmla="*/ 129540 h 2804160"/>
                <a:gd name="connsiteX0" fmla="*/ 0 w 2583180"/>
                <a:gd name="connsiteY0" fmla="*/ 129540 h 2804160"/>
                <a:gd name="connsiteX1" fmla="*/ 2453640 w 2583180"/>
                <a:gd name="connsiteY1" fmla="*/ 2804160 h 2804160"/>
                <a:gd name="connsiteX2" fmla="*/ 2583180 w 2583180"/>
                <a:gd name="connsiteY2" fmla="*/ 2667000 h 2804160"/>
                <a:gd name="connsiteX3" fmla="*/ 2430780 w 2583180"/>
                <a:gd name="connsiteY3" fmla="*/ 2506980 h 2804160"/>
                <a:gd name="connsiteX4" fmla="*/ 2446020 w 2583180"/>
                <a:gd name="connsiteY4" fmla="*/ 1905000 h 2804160"/>
                <a:gd name="connsiteX5" fmla="*/ 800100 w 2583180"/>
                <a:gd name="connsiteY5" fmla="*/ 114300 h 2804160"/>
                <a:gd name="connsiteX6" fmla="*/ 685800 w 2583180"/>
                <a:gd name="connsiteY6" fmla="*/ 0 h 2804160"/>
                <a:gd name="connsiteX7" fmla="*/ 487680 w 2583180"/>
                <a:gd name="connsiteY7" fmla="*/ 30480 h 2804160"/>
                <a:gd name="connsiteX8" fmla="*/ 175260 w 2583180"/>
                <a:gd name="connsiteY8" fmla="*/ 83820 h 2804160"/>
                <a:gd name="connsiteX9" fmla="*/ 106680 w 2583180"/>
                <a:gd name="connsiteY9" fmla="*/ 7620 h 2804160"/>
                <a:gd name="connsiteX10" fmla="*/ 0 w 2583180"/>
                <a:gd name="connsiteY10" fmla="*/ 129540 h 2804160"/>
                <a:gd name="connsiteX0" fmla="*/ 0 w 2583180"/>
                <a:gd name="connsiteY0" fmla="*/ 121920 h 2796540"/>
                <a:gd name="connsiteX1" fmla="*/ 2453640 w 2583180"/>
                <a:gd name="connsiteY1" fmla="*/ 2796540 h 2796540"/>
                <a:gd name="connsiteX2" fmla="*/ 2583180 w 2583180"/>
                <a:gd name="connsiteY2" fmla="*/ 2659380 h 2796540"/>
                <a:gd name="connsiteX3" fmla="*/ 2430780 w 2583180"/>
                <a:gd name="connsiteY3" fmla="*/ 2499360 h 2796540"/>
                <a:gd name="connsiteX4" fmla="*/ 2446020 w 2583180"/>
                <a:gd name="connsiteY4" fmla="*/ 1897380 h 2796540"/>
                <a:gd name="connsiteX5" fmla="*/ 800100 w 2583180"/>
                <a:gd name="connsiteY5" fmla="*/ 106680 h 2796540"/>
                <a:gd name="connsiteX6" fmla="*/ 662940 w 2583180"/>
                <a:gd name="connsiteY6" fmla="*/ 7620 h 2796540"/>
                <a:gd name="connsiteX7" fmla="*/ 487680 w 2583180"/>
                <a:gd name="connsiteY7" fmla="*/ 22860 h 2796540"/>
                <a:gd name="connsiteX8" fmla="*/ 175260 w 2583180"/>
                <a:gd name="connsiteY8" fmla="*/ 76200 h 2796540"/>
                <a:gd name="connsiteX9" fmla="*/ 106680 w 2583180"/>
                <a:gd name="connsiteY9" fmla="*/ 0 h 2796540"/>
                <a:gd name="connsiteX10" fmla="*/ 0 w 2583180"/>
                <a:gd name="connsiteY10" fmla="*/ 121920 h 2796540"/>
                <a:gd name="connsiteX0" fmla="*/ 0 w 2583180"/>
                <a:gd name="connsiteY0" fmla="*/ 121920 h 2796540"/>
                <a:gd name="connsiteX1" fmla="*/ 2453640 w 2583180"/>
                <a:gd name="connsiteY1" fmla="*/ 2796540 h 2796540"/>
                <a:gd name="connsiteX2" fmla="*/ 2583180 w 2583180"/>
                <a:gd name="connsiteY2" fmla="*/ 2659380 h 2796540"/>
                <a:gd name="connsiteX3" fmla="*/ 2430780 w 2583180"/>
                <a:gd name="connsiteY3" fmla="*/ 2499360 h 2796540"/>
                <a:gd name="connsiteX4" fmla="*/ 2446020 w 2583180"/>
                <a:gd name="connsiteY4" fmla="*/ 1897380 h 2796540"/>
                <a:gd name="connsiteX5" fmla="*/ 800100 w 2583180"/>
                <a:gd name="connsiteY5" fmla="*/ 106680 h 2796540"/>
                <a:gd name="connsiteX6" fmla="*/ 662940 w 2583180"/>
                <a:gd name="connsiteY6" fmla="*/ 7620 h 2796540"/>
                <a:gd name="connsiteX7" fmla="*/ 419100 w 2583180"/>
                <a:gd name="connsiteY7" fmla="*/ 30480 h 2796540"/>
                <a:gd name="connsiteX8" fmla="*/ 175260 w 2583180"/>
                <a:gd name="connsiteY8" fmla="*/ 76200 h 2796540"/>
                <a:gd name="connsiteX9" fmla="*/ 106680 w 2583180"/>
                <a:gd name="connsiteY9" fmla="*/ 0 h 2796540"/>
                <a:gd name="connsiteX10" fmla="*/ 0 w 2583180"/>
                <a:gd name="connsiteY10" fmla="*/ 121920 h 2796540"/>
                <a:gd name="connsiteX0" fmla="*/ 0 w 2583180"/>
                <a:gd name="connsiteY0" fmla="*/ 121920 h 2796540"/>
                <a:gd name="connsiteX1" fmla="*/ 2453640 w 2583180"/>
                <a:gd name="connsiteY1" fmla="*/ 2796540 h 2796540"/>
                <a:gd name="connsiteX2" fmla="*/ 2583180 w 2583180"/>
                <a:gd name="connsiteY2" fmla="*/ 2659380 h 2796540"/>
                <a:gd name="connsiteX3" fmla="*/ 2430780 w 2583180"/>
                <a:gd name="connsiteY3" fmla="*/ 2499360 h 2796540"/>
                <a:gd name="connsiteX4" fmla="*/ 2446020 w 2583180"/>
                <a:gd name="connsiteY4" fmla="*/ 1897380 h 2796540"/>
                <a:gd name="connsiteX5" fmla="*/ 800100 w 2583180"/>
                <a:gd name="connsiteY5" fmla="*/ 106680 h 2796540"/>
                <a:gd name="connsiteX6" fmla="*/ 662940 w 2583180"/>
                <a:gd name="connsiteY6" fmla="*/ 7620 h 2796540"/>
                <a:gd name="connsiteX7" fmla="*/ 419100 w 2583180"/>
                <a:gd name="connsiteY7" fmla="*/ 30480 h 2796540"/>
                <a:gd name="connsiteX8" fmla="*/ 213360 w 2583180"/>
                <a:gd name="connsiteY8" fmla="*/ 68580 h 2796540"/>
                <a:gd name="connsiteX9" fmla="*/ 106680 w 2583180"/>
                <a:gd name="connsiteY9" fmla="*/ 0 h 2796540"/>
                <a:gd name="connsiteX10" fmla="*/ 0 w 2583180"/>
                <a:gd name="connsiteY10" fmla="*/ 121920 h 2796540"/>
                <a:gd name="connsiteX0" fmla="*/ 0 w 2583180"/>
                <a:gd name="connsiteY0" fmla="*/ 137160 h 2811780"/>
                <a:gd name="connsiteX1" fmla="*/ 2453640 w 2583180"/>
                <a:gd name="connsiteY1" fmla="*/ 2811780 h 2811780"/>
                <a:gd name="connsiteX2" fmla="*/ 2583180 w 2583180"/>
                <a:gd name="connsiteY2" fmla="*/ 2674620 h 2811780"/>
                <a:gd name="connsiteX3" fmla="*/ 2430780 w 2583180"/>
                <a:gd name="connsiteY3" fmla="*/ 2514600 h 2811780"/>
                <a:gd name="connsiteX4" fmla="*/ 2446020 w 2583180"/>
                <a:gd name="connsiteY4" fmla="*/ 1912620 h 2811780"/>
                <a:gd name="connsiteX5" fmla="*/ 800100 w 2583180"/>
                <a:gd name="connsiteY5" fmla="*/ 121920 h 2811780"/>
                <a:gd name="connsiteX6" fmla="*/ 624840 w 2583180"/>
                <a:gd name="connsiteY6" fmla="*/ 0 h 2811780"/>
                <a:gd name="connsiteX7" fmla="*/ 419100 w 2583180"/>
                <a:gd name="connsiteY7" fmla="*/ 45720 h 2811780"/>
                <a:gd name="connsiteX8" fmla="*/ 213360 w 2583180"/>
                <a:gd name="connsiteY8" fmla="*/ 83820 h 2811780"/>
                <a:gd name="connsiteX9" fmla="*/ 106680 w 2583180"/>
                <a:gd name="connsiteY9" fmla="*/ 15240 h 2811780"/>
                <a:gd name="connsiteX10" fmla="*/ 0 w 2583180"/>
                <a:gd name="connsiteY10" fmla="*/ 137160 h 2811780"/>
                <a:gd name="connsiteX0" fmla="*/ 0 w 2583180"/>
                <a:gd name="connsiteY0" fmla="*/ 137160 h 2811780"/>
                <a:gd name="connsiteX1" fmla="*/ 2453640 w 2583180"/>
                <a:gd name="connsiteY1" fmla="*/ 2811780 h 2811780"/>
                <a:gd name="connsiteX2" fmla="*/ 2583180 w 2583180"/>
                <a:gd name="connsiteY2" fmla="*/ 2674620 h 2811780"/>
                <a:gd name="connsiteX3" fmla="*/ 2430780 w 2583180"/>
                <a:gd name="connsiteY3" fmla="*/ 2514600 h 2811780"/>
                <a:gd name="connsiteX4" fmla="*/ 2446020 w 2583180"/>
                <a:gd name="connsiteY4" fmla="*/ 1912620 h 2811780"/>
                <a:gd name="connsiteX5" fmla="*/ 800100 w 2583180"/>
                <a:gd name="connsiteY5" fmla="*/ 121920 h 2811780"/>
                <a:gd name="connsiteX6" fmla="*/ 624840 w 2583180"/>
                <a:gd name="connsiteY6" fmla="*/ 0 h 2811780"/>
                <a:gd name="connsiteX7" fmla="*/ 381000 w 2583180"/>
                <a:gd name="connsiteY7" fmla="*/ 60960 h 2811780"/>
                <a:gd name="connsiteX8" fmla="*/ 213360 w 2583180"/>
                <a:gd name="connsiteY8" fmla="*/ 83820 h 2811780"/>
                <a:gd name="connsiteX9" fmla="*/ 106680 w 2583180"/>
                <a:gd name="connsiteY9" fmla="*/ 15240 h 2811780"/>
                <a:gd name="connsiteX10" fmla="*/ 0 w 2583180"/>
                <a:gd name="connsiteY10" fmla="*/ 137160 h 2811780"/>
                <a:gd name="connsiteX0" fmla="*/ 0 w 2583180"/>
                <a:gd name="connsiteY0" fmla="*/ 144780 h 2819400"/>
                <a:gd name="connsiteX1" fmla="*/ 2453640 w 2583180"/>
                <a:gd name="connsiteY1" fmla="*/ 2819400 h 2819400"/>
                <a:gd name="connsiteX2" fmla="*/ 2583180 w 2583180"/>
                <a:gd name="connsiteY2" fmla="*/ 2682240 h 2819400"/>
                <a:gd name="connsiteX3" fmla="*/ 2430780 w 2583180"/>
                <a:gd name="connsiteY3" fmla="*/ 2522220 h 2819400"/>
                <a:gd name="connsiteX4" fmla="*/ 2446020 w 2583180"/>
                <a:gd name="connsiteY4" fmla="*/ 1920240 h 2819400"/>
                <a:gd name="connsiteX5" fmla="*/ 800100 w 2583180"/>
                <a:gd name="connsiteY5" fmla="*/ 129540 h 2819400"/>
                <a:gd name="connsiteX6" fmla="*/ 655320 w 2583180"/>
                <a:gd name="connsiteY6" fmla="*/ 0 h 2819400"/>
                <a:gd name="connsiteX7" fmla="*/ 381000 w 2583180"/>
                <a:gd name="connsiteY7" fmla="*/ 68580 h 2819400"/>
                <a:gd name="connsiteX8" fmla="*/ 213360 w 2583180"/>
                <a:gd name="connsiteY8" fmla="*/ 91440 h 2819400"/>
                <a:gd name="connsiteX9" fmla="*/ 106680 w 2583180"/>
                <a:gd name="connsiteY9" fmla="*/ 22860 h 2819400"/>
                <a:gd name="connsiteX10" fmla="*/ 0 w 2583180"/>
                <a:gd name="connsiteY10" fmla="*/ 144780 h 2819400"/>
                <a:gd name="connsiteX0" fmla="*/ 0 w 2583180"/>
                <a:gd name="connsiteY0" fmla="*/ 144780 h 2819400"/>
                <a:gd name="connsiteX1" fmla="*/ 2453640 w 2583180"/>
                <a:gd name="connsiteY1" fmla="*/ 2819400 h 2819400"/>
                <a:gd name="connsiteX2" fmla="*/ 2583180 w 2583180"/>
                <a:gd name="connsiteY2" fmla="*/ 2682240 h 2819400"/>
                <a:gd name="connsiteX3" fmla="*/ 2430780 w 2583180"/>
                <a:gd name="connsiteY3" fmla="*/ 2522220 h 2819400"/>
                <a:gd name="connsiteX4" fmla="*/ 2446020 w 2583180"/>
                <a:gd name="connsiteY4" fmla="*/ 1920240 h 2819400"/>
                <a:gd name="connsiteX5" fmla="*/ 800100 w 2583180"/>
                <a:gd name="connsiteY5" fmla="*/ 129540 h 2819400"/>
                <a:gd name="connsiteX6" fmla="*/ 723900 w 2583180"/>
                <a:gd name="connsiteY6" fmla="*/ 45720 h 2819400"/>
                <a:gd name="connsiteX7" fmla="*/ 655320 w 2583180"/>
                <a:gd name="connsiteY7" fmla="*/ 0 h 2819400"/>
                <a:gd name="connsiteX8" fmla="*/ 381000 w 2583180"/>
                <a:gd name="connsiteY8" fmla="*/ 68580 h 2819400"/>
                <a:gd name="connsiteX9" fmla="*/ 213360 w 2583180"/>
                <a:gd name="connsiteY9" fmla="*/ 91440 h 2819400"/>
                <a:gd name="connsiteX10" fmla="*/ 106680 w 2583180"/>
                <a:gd name="connsiteY10" fmla="*/ 22860 h 2819400"/>
                <a:gd name="connsiteX11" fmla="*/ 0 w 2583180"/>
                <a:gd name="connsiteY11" fmla="*/ 144780 h 2819400"/>
                <a:gd name="connsiteX0" fmla="*/ 0 w 2583180"/>
                <a:gd name="connsiteY0" fmla="*/ 129540 h 2804160"/>
                <a:gd name="connsiteX1" fmla="*/ 2453640 w 2583180"/>
                <a:gd name="connsiteY1" fmla="*/ 2804160 h 2804160"/>
                <a:gd name="connsiteX2" fmla="*/ 2583180 w 2583180"/>
                <a:gd name="connsiteY2" fmla="*/ 2667000 h 2804160"/>
                <a:gd name="connsiteX3" fmla="*/ 2430780 w 2583180"/>
                <a:gd name="connsiteY3" fmla="*/ 2506980 h 2804160"/>
                <a:gd name="connsiteX4" fmla="*/ 2446020 w 2583180"/>
                <a:gd name="connsiteY4" fmla="*/ 1905000 h 2804160"/>
                <a:gd name="connsiteX5" fmla="*/ 800100 w 2583180"/>
                <a:gd name="connsiteY5" fmla="*/ 114300 h 2804160"/>
                <a:gd name="connsiteX6" fmla="*/ 723900 w 2583180"/>
                <a:gd name="connsiteY6" fmla="*/ 30480 h 2804160"/>
                <a:gd name="connsiteX7" fmla="*/ 579120 w 2583180"/>
                <a:gd name="connsiteY7" fmla="*/ 0 h 2804160"/>
                <a:gd name="connsiteX8" fmla="*/ 381000 w 2583180"/>
                <a:gd name="connsiteY8" fmla="*/ 53340 h 2804160"/>
                <a:gd name="connsiteX9" fmla="*/ 213360 w 2583180"/>
                <a:gd name="connsiteY9" fmla="*/ 76200 h 2804160"/>
                <a:gd name="connsiteX10" fmla="*/ 106680 w 2583180"/>
                <a:gd name="connsiteY10" fmla="*/ 7620 h 2804160"/>
                <a:gd name="connsiteX11" fmla="*/ 0 w 2583180"/>
                <a:gd name="connsiteY11" fmla="*/ 129540 h 2804160"/>
                <a:gd name="connsiteX0" fmla="*/ 0 w 2583180"/>
                <a:gd name="connsiteY0" fmla="*/ 129540 h 2804160"/>
                <a:gd name="connsiteX1" fmla="*/ 2453640 w 2583180"/>
                <a:gd name="connsiteY1" fmla="*/ 2804160 h 2804160"/>
                <a:gd name="connsiteX2" fmla="*/ 2583180 w 2583180"/>
                <a:gd name="connsiteY2" fmla="*/ 2667000 h 2804160"/>
                <a:gd name="connsiteX3" fmla="*/ 2430780 w 2583180"/>
                <a:gd name="connsiteY3" fmla="*/ 2506980 h 2804160"/>
                <a:gd name="connsiteX4" fmla="*/ 2446020 w 2583180"/>
                <a:gd name="connsiteY4" fmla="*/ 1905000 h 2804160"/>
                <a:gd name="connsiteX5" fmla="*/ 800100 w 2583180"/>
                <a:gd name="connsiteY5" fmla="*/ 114300 h 2804160"/>
                <a:gd name="connsiteX6" fmla="*/ 723900 w 2583180"/>
                <a:gd name="connsiteY6" fmla="*/ 30480 h 2804160"/>
                <a:gd name="connsiteX7" fmla="*/ 579120 w 2583180"/>
                <a:gd name="connsiteY7" fmla="*/ 0 h 2804160"/>
                <a:gd name="connsiteX8" fmla="*/ 419100 w 2583180"/>
                <a:gd name="connsiteY8" fmla="*/ 38100 h 2804160"/>
                <a:gd name="connsiteX9" fmla="*/ 213360 w 2583180"/>
                <a:gd name="connsiteY9" fmla="*/ 76200 h 2804160"/>
                <a:gd name="connsiteX10" fmla="*/ 106680 w 2583180"/>
                <a:gd name="connsiteY10" fmla="*/ 7620 h 2804160"/>
                <a:gd name="connsiteX11" fmla="*/ 0 w 2583180"/>
                <a:gd name="connsiteY11" fmla="*/ 129540 h 2804160"/>
                <a:gd name="connsiteX0" fmla="*/ 0 w 2583180"/>
                <a:gd name="connsiteY0" fmla="*/ 129540 h 2804160"/>
                <a:gd name="connsiteX1" fmla="*/ 2453640 w 2583180"/>
                <a:gd name="connsiteY1" fmla="*/ 2804160 h 2804160"/>
                <a:gd name="connsiteX2" fmla="*/ 2583180 w 2583180"/>
                <a:gd name="connsiteY2" fmla="*/ 2667000 h 2804160"/>
                <a:gd name="connsiteX3" fmla="*/ 2430780 w 2583180"/>
                <a:gd name="connsiteY3" fmla="*/ 2506980 h 2804160"/>
                <a:gd name="connsiteX4" fmla="*/ 2446020 w 2583180"/>
                <a:gd name="connsiteY4" fmla="*/ 1905000 h 2804160"/>
                <a:gd name="connsiteX5" fmla="*/ 800100 w 2583180"/>
                <a:gd name="connsiteY5" fmla="*/ 114300 h 2804160"/>
                <a:gd name="connsiteX6" fmla="*/ 723900 w 2583180"/>
                <a:gd name="connsiteY6" fmla="*/ 30480 h 2804160"/>
                <a:gd name="connsiteX7" fmla="*/ 579120 w 2583180"/>
                <a:gd name="connsiteY7" fmla="*/ 0 h 2804160"/>
                <a:gd name="connsiteX8" fmla="*/ 419100 w 2583180"/>
                <a:gd name="connsiteY8" fmla="*/ 38100 h 2804160"/>
                <a:gd name="connsiteX9" fmla="*/ 312420 w 2583180"/>
                <a:gd name="connsiteY9" fmla="*/ 60960 h 2804160"/>
                <a:gd name="connsiteX10" fmla="*/ 213360 w 2583180"/>
                <a:gd name="connsiteY10" fmla="*/ 76200 h 2804160"/>
                <a:gd name="connsiteX11" fmla="*/ 106680 w 2583180"/>
                <a:gd name="connsiteY11" fmla="*/ 7620 h 2804160"/>
                <a:gd name="connsiteX12" fmla="*/ 0 w 2583180"/>
                <a:gd name="connsiteY12" fmla="*/ 129540 h 2804160"/>
                <a:gd name="connsiteX0" fmla="*/ 0 w 2583180"/>
                <a:gd name="connsiteY0" fmla="*/ 129540 h 2804160"/>
                <a:gd name="connsiteX1" fmla="*/ 2453640 w 2583180"/>
                <a:gd name="connsiteY1" fmla="*/ 2804160 h 2804160"/>
                <a:gd name="connsiteX2" fmla="*/ 2583180 w 2583180"/>
                <a:gd name="connsiteY2" fmla="*/ 2667000 h 2804160"/>
                <a:gd name="connsiteX3" fmla="*/ 2430780 w 2583180"/>
                <a:gd name="connsiteY3" fmla="*/ 2506980 h 2804160"/>
                <a:gd name="connsiteX4" fmla="*/ 2446020 w 2583180"/>
                <a:gd name="connsiteY4" fmla="*/ 1905000 h 2804160"/>
                <a:gd name="connsiteX5" fmla="*/ 800100 w 2583180"/>
                <a:gd name="connsiteY5" fmla="*/ 114300 h 2804160"/>
                <a:gd name="connsiteX6" fmla="*/ 723900 w 2583180"/>
                <a:gd name="connsiteY6" fmla="*/ 30480 h 2804160"/>
                <a:gd name="connsiteX7" fmla="*/ 579120 w 2583180"/>
                <a:gd name="connsiteY7" fmla="*/ 0 h 2804160"/>
                <a:gd name="connsiteX8" fmla="*/ 419100 w 2583180"/>
                <a:gd name="connsiteY8" fmla="*/ 38100 h 2804160"/>
                <a:gd name="connsiteX9" fmla="*/ 312420 w 2583180"/>
                <a:gd name="connsiteY9" fmla="*/ 60960 h 2804160"/>
                <a:gd name="connsiteX10" fmla="*/ 213360 w 2583180"/>
                <a:gd name="connsiteY10" fmla="*/ 76200 h 2804160"/>
                <a:gd name="connsiteX11" fmla="*/ 0 w 2583180"/>
                <a:gd name="connsiteY11" fmla="*/ 129540 h 2804160"/>
                <a:gd name="connsiteX0" fmla="*/ 0 w 2583180"/>
                <a:gd name="connsiteY0" fmla="*/ 129540 h 2804160"/>
                <a:gd name="connsiteX1" fmla="*/ 2453640 w 2583180"/>
                <a:gd name="connsiteY1" fmla="*/ 2804160 h 2804160"/>
                <a:gd name="connsiteX2" fmla="*/ 2583180 w 2583180"/>
                <a:gd name="connsiteY2" fmla="*/ 2667000 h 2804160"/>
                <a:gd name="connsiteX3" fmla="*/ 2430780 w 2583180"/>
                <a:gd name="connsiteY3" fmla="*/ 2506980 h 2804160"/>
                <a:gd name="connsiteX4" fmla="*/ 2446020 w 2583180"/>
                <a:gd name="connsiteY4" fmla="*/ 1905000 h 2804160"/>
                <a:gd name="connsiteX5" fmla="*/ 800100 w 2583180"/>
                <a:gd name="connsiteY5" fmla="*/ 114300 h 2804160"/>
                <a:gd name="connsiteX6" fmla="*/ 723900 w 2583180"/>
                <a:gd name="connsiteY6" fmla="*/ 30480 h 2804160"/>
                <a:gd name="connsiteX7" fmla="*/ 579120 w 2583180"/>
                <a:gd name="connsiteY7" fmla="*/ 0 h 2804160"/>
                <a:gd name="connsiteX8" fmla="*/ 419100 w 2583180"/>
                <a:gd name="connsiteY8" fmla="*/ 38100 h 2804160"/>
                <a:gd name="connsiteX9" fmla="*/ 312420 w 2583180"/>
                <a:gd name="connsiteY9" fmla="*/ 60960 h 2804160"/>
                <a:gd name="connsiteX10" fmla="*/ 114300 w 2583180"/>
                <a:gd name="connsiteY10" fmla="*/ 15240 h 2804160"/>
                <a:gd name="connsiteX11" fmla="*/ 0 w 2583180"/>
                <a:gd name="connsiteY11" fmla="*/ 129540 h 2804160"/>
                <a:gd name="connsiteX0" fmla="*/ 0 w 2583180"/>
                <a:gd name="connsiteY0" fmla="*/ 129540 h 2804160"/>
                <a:gd name="connsiteX1" fmla="*/ 2453640 w 2583180"/>
                <a:gd name="connsiteY1" fmla="*/ 2804160 h 2804160"/>
                <a:gd name="connsiteX2" fmla="*/ 2583180 w 2583180"/>
                <a:gd name="connsiteY2" fmla="*/ 2667000 h 2804160"/>
                <a:gd name="connsiteX3" fmla="*/ 2430780 w 2583180"/>
                <a:gd name="connsiteY3" fmla="*/ 2506980 h 2804160"/>
                <a:gd name="connsiteX4" fmla="*/ 2446020 w 2583180"/>
                <a:gd name="connsiteY4" fmla="*/ 1905000 h 2804160"/>
                <a:gd name="connsiteX5" fmla="*/ 800100 w 2583180"/>
                <a:gd name="connsiteY5" fmla="*/ 114300 h 2804160"/>
                <a:gd name="connsiteX6" fmla="*/ 723900 w 2583180"/>
                <a:gd name="connsiteY6" fmla="*/ 30480 h 2804160"/>
                <a:gd name="connsiteX7" fmla="*/ 579120 w 2583180"/>
                <a:gd name="connsiteY7" fmla="*/ 0 h 2804160"/>
                <a:gd name="connsiteX8" fmla="*/ 419100 w 2583180"/>
                <a:gd name="connsiteY8" fmla="*/ 38100 h 2804160"/>
                <a:gd name="connsiteX9" fmla="*/ 312420 w 2583180"/>
                <a:gd name="connsiteY9" fmla="*/ 60960 h 2804160"/>
                <a:gd name="connsiteX10" fmla="*/ 213360 w 2583180"/>
                <a:gd name="connsiteY10" fmla="*/ 38100 h 2804160"/>
                <a:gd name="connsiteX11" fmla="*/ 114300 w 2583180"/>
                <a:gd name="connsiteY11" fmla="*/ 15240 h 2804160"/>
                <a:gd name="connsiteX12" fmla="*/ 0 w 2583180"/>
                <a:gd name="connsiteY12" fmla="*/ 129540 h 2804160"/>
                <a:gd name="connsiteX0" fmla="*/ 0 w 2583180"/>
                <a:gd name="connsiteY0" fmla="*/ 129540 h 2804160"/>
                <a:gd name="connsiteX1" fmla="*/ 2453640 w 2583180"/>
                <a:gd name="connsiteY1" fmla="*/ 2804160 h 2804160"/>
                <a:gd name="connsiteX2" fmla="*/ 2583180 w 2583180"/>
                <a:gd name="connsiteY2" fmla="*/ 2667000 h 2804160"/>
                <a:gd name="connsiteX3" fmla="*/ 2430780 w 2583180"/>
                <a:gd name="connsiteY3" fmla="*/ 2506980 h 2804160"/>
                <a:gd name="connsiteX4" fmla="*/ 2446020 w 2583180"/>
                <a:gd name="connsiteY4" fmla="*/ 1905000 h 2804160"/>
                <a:gd name="connsiteX5" fmla="*/ 800100 w 2583180"/>
                <a:gd name="connsiteY5" fmla="*/ 114300 h 2804160"/>
                <a:gd name="connsiteX6" fmla="*/ 723900 w 2583180"/>
                <a:gd name="connsiteY6" fmla="*/ 30480 h 2804160"/>
                <a:gd name="connsiteX7" fmla="*/ 579120 w 2583180"/>
                <a:gd name="connsiteY7" fmla="*/ 0 h 2804160"/>
                <a:gd name="connsiteX8" fmla="*/ 419100 w 2583180"/>
                <a:gd name="connsiteY8" fmla="*/ 38100 h 2804160"/>
                <a:gd name="connsiteX9" fmla="*/ 289560 w 2583180"/>
                <a:gd name="connsiteY9" fmla="*/ 91440 h 2804160"/>
                <a:gd name="connsiteX10" fmla="*/ 213360 w 2583180"/>
                <a:gd name="connsiteY10" fmla="*/ 38100 h 2804160"/>
                <a:gd name="connsiteX11" fmla="*/ 114300 w 2583180"/>
                <a:gd name="connsiteY11" fmla="*/ 15240 h 2804160"/>
                <a:gd name="connsiteX12" fmla="*/ 0 w 2583180"/>
                <a:gd name="connsiteY12" fmla="*/ 129540 h 2804160"/>
                <a:gd name="connsiteX0" fmla="*/ 0 w 2583180"/>
                <a:gd name="connsiteY0" fmla="*/ 137160 h 2811780"/>
                <a:gd name="connsiteX1" fmla="*/ 2453640 w 2583180"/>
                <a:gd name="connsiteY1" fmla="*/ 2811780 h 2811780"/>
                <a:gd name="connsiteX2" fmla="*/ 2583180 w 2583180"/>
                <a:gd name="connsiteY2" fmla="*/ 2674620 h 2811780"/>
                <a:gd name="connsiteX3" fmla="*/ 2430780 w 2583180"/>
                <a:gd name="connsiteY3" fmla="*/ 2514600 h 2811780"/>
                <a:gd name="connsiteX4" fmla="*/ 2446020 w 2583180"/>
                <a:gd name="connsiteY4" fmla="*/ 1912620 h 2811780"/>
                <a:gd name="connsiteX5" fmla="*/ 800100 w 2583180"/>
                <a:gd name="connsiteY5" fmla="*/ 121920 h 2811780"/>
                <a:gd name="connsiteX6" fmla="*/ 723900 w 2583180"/>
                <a:gd name="connsiteY6" fmla="*/ 38100 h 2811780"/>
                <a:gd name="connsiteX7" fmla="*/ 579120 w 2583180"/>
                <a:gd name="connsiteY7" fmla="*/ 7620 h 2811780"/>
                <a:gd name="connsiteX8" fmla="*/ 419100 w 2583180"/>
                <a:gd name="connsiteY8" fmla="*/ 45720 h 2811780"/>
                <a:gd name="connsiteX9" fmla="*/ 289560 w 2583180"/>
                <a:gd name="connsiteY9" fmla="*/ 99060 h 2811780"/>
                <a:gd name="connsiteX10" fmla="*/ 213360 w 2583180"/>
                <a:gd name="connsiteY10" fmla="*/ 45720 h 2811780"/>
                <a:gd name="connsiteX11" fmla="*/ 144780 w 2583180"/>
                <a:gd name="connsiteY11" fmla="*/ 0 h 2811780"/>
                <a:gd name="connsiteX12" fmla="*/ 0 w 2583180"/>
                <a:gd name="connsiteY12" fmla="*/ 137160 h 2811780"/>
                <a:gd name="connsiteX0" fmla="*/ 0 w 2583180"/>
                <a:gd name="connsiteY0" fmla="*/ 137160 h 2811780"/>
                <a:gd name="connsiteX1" fmla="*/ 2453640 w 2583180"/>
                <a:gd name="connsiteY1" fmla="*/ 2811780 h 2811780"/>
                <a:gd name="connsiteX2" fmla="*/ 2583180 w 2583180"/>
                <a:gd name="connsiteY2" fmla="*/ 2674620 h 2811780"/>
                <a:gd name="connsiteX3" fmla="*/ 2430780 w 2583180"/>
                <a:gd name="connsiteY3" fmla="*/ 2514600 h 2811780"/>
                <a:gd name="connsiteX4" fmla="*/ 2446020 w 2583180"/>
                <a:gd name="connsiteY4" fmla="*/ 1912620 h 2811780"/>
                <a:gd name="connsiteX5" fmla="*/ 800100 w 2583180"/>
                <a:gd name="connsiteY5" fmla="*/ 121920 h 2811780"/>
                <a:gd name="connsiteX6" fmla="*/ 723900 w 2583180"/>
                <a:gd name="connsiteY6" fmla="*/ 38100 h 2811780"/>
                <a:gd name="connsiteX7" fmla="*/ 579120 w 2583180"/>
                <a:gd name="connsiteY7" fmla="*/ 7620 h 2811780"/>
                <a:gd name="connsiteX8" fmla="*/ 419100 w 2583180"/>
                <a:gd name="connsiteY8" fmla="*/ 45720 h 2811780"/>
                <a:gd name="connsiteX9" fmla="*/ 274320 w 2583180"/>
                <a:gd name="connsiteY9" fmla="*/ 60960 h 2811780"/>
                <a:gd name="connsiteX10" fmla="*/ 213360 w 2583180"/>
                <a:gd name="connsiteY10" fmla="*/ 45720 h 2811780"/>
                <a:gd name="connsiteX11" fmla="*/ 144780 w 2583180"/>
                <a:gd name="connsiteY11" fmla="*/ 0 h 2811780"/>
                <a:gd name="connsiteX12" fmla="*/ 0 w 2583180"/>
                <a:gd name="connsiteY12" fmla="*/ 137160 h 2811780"/>
                <a:gd name="connsiteX0" fmla="*/ 0 w 2583180"/>
                <a:gd name="connsiteY0" fmla="*/ 137160 h 2811780"/>
                <a:gd name="connsiteX1" fmla="*/ 2453640 w 2583180"/>
                <a:gd name="connsiteY1" fmla="*/ 2811780 h 2811780"/>
                <a:gd name="connsiteX2" fmla="*/ 2583180 w 2583180"/>
                <a:gd name="connsiteY2" fmla="*/ 2674620 h 2811780"/>
                <a:gd name="connsiteX3" fmla="*/ 2430780 w 2583180"/>
                <a:gd name="connsiteY3" fmla="*/ 2514600 h 2811780"/>
                <a:gd name="connsiteX4" fmla="*/ 2446020 w 2583180"/>
                <a:gd name="connsiteY4" fmla="*/ 1912620 h 2811780"/>
                <a:gd name="connsiteX5" fmla="*/ 800100 w 2583180"/>
                <a:gd name="connsiteY5" fmla="*/ 121920 h 2811780"/>
                <a:gd name="connsiteX6" fmla="*/ 701040 w 2583180"/>
                <a:gd name="connsiteY6" fmla="*/ 30480 h 2811780"/>
                <a:gd name="connsiteX7" fmla="*/ 579120 w 2583180"/>
                <a:gd name="connsiteY7" fmla="*/ 7620 h 2811780"/>
                <a:gd name="connsiteX8" fmla="*/ 419100 w 2583180"/>
                <a:gd name="connsiteY8" fmla="*/ 45720 h 2811780"/>
                <a:gd name="connsiteX9" fmla="*/ 274320 w 2583180"/>
                <a:gd name="connsiteY9" fmla="*/ 60960 h 2811780"/>
                <a:gd name="connsiteX10" fmla="*/ 213360 w 2583180"/>
                <a:gd name="connsiteY10" fmla="*/ 45720 h 2811780"/>
                <a:gd name="connsiteX11" fmla="*/ 144780 w 2583180"/>
                <a:gd name="connsiteY11" fmla="*/ 0 h 2811780"/>
                <a:gd name="connsiteX12" fmla="*/ 0 w 2583180"/>
                <a:gd name="connsiteY12" fmla="*/ 137160 h 2811780"/>
                <a:gd name="connsiteX0" fmla="*/ 0 w 2583180"/>
                <a:gd name="connsiteY0" fmla="*/ 137160 h 2811780"/>
                <a:gd name="connsiteX1" fmla="*/ 2453640 w 2583180"/>
                <a:gd name="connsiteY1" fmla="*/ 2811780 h 2811780"/>
                <a:gd name="connsiteX2" fmla="*/ 2583180 w 2583180"/>
                <a:gd name="connsiteY2" fmla="*/ 2674620 h 2811780"/>
                <a:gd name="connsiteX3" fmla="*/ 2430780 w 2583180"/>
                <a:gd name="connsiteY3" fmla="*/ 2514600 h 2811780"/>
                <a:gd name="connsiteX4" fmla="*/ 2446020 w 2583180"/>
                <a:gd name="connsiteY4" fmla="*/ 1912620 h 2811780"/>
                <a:gd name="connsiteX5" fmla="*/ 800100 w 2583180"/>
                <a:gd name="connsiteY5" fmla="*/ 121920 h 2811780"/>
                <a:gd name="connsiteX6" fmla="*/ 701040 w 2583180"/>
                <a:gd name="connsiteY6" fmla="*/ 30480 h 2811780"/>
                <a:gd name="connsiteX7" fmla="*/ 556260 w 2583180"/>
                <a:gd name="connsiteY7" fmla="*/ 7620 h 2811780"/>
                <a:gd name="connsiteX8" fmla="*/ 419100 w 2583180"/>
                <a:gd name="connsiteY8" fmla="*/ 45720 h 2811780"/>
                <a:gd name="connsiteX9" fmla="*/ 274320 w 2583180"/>
                <a:gd name="connsiteY9" fmla="*/ 60960 h 2811780"/>
                <a:gd name="connsiteX10" fmla="*/ 213360 w 2583180"/>
                <a:gd name="connsiteY10" fmla="*/ 45720 h 2811780"/>
                <a:gd name="connsiteX11" fmla="*/ 144780 w 2583180"/>
                <a:gd name="connsiteY11" fmla="*/ 0 h 2811780"/>
                <a:gd name="connsiteX12" fmla="*/ 0 w 2583180"/>
                <a:gd name="connsiteY12" fmla="*/ 137160 h 2811780"/>
                <a:gd name="connsiteX0" fmla="*/ 0 w 2583180"/>
                <a:gd name="connsiteY0" fmla="*/ 137160 h 2811780"/>
                <a:gd name="connsiteX1" fmla="*/ 2453640 w 2583180"/>
                <a:gd name="connsiteY1" fmla="*/ 2811780 h 2811780"/>
                <a:gd name="connsiteX2" fmla="*/ 2583180 w 2583180"/>
                <a:gd name="connsiteY2" fmla="*/ 2674620 h 2811780"/>
                <a:gd name="connsiteX3" fmla="*/ 2430780 w 2583180"/>
                <a:gd name="connsiteY3" fmla="*/ 2514600 h 2811780"/>
                <a:gd name="connsiteX4" fmla="*/ 2446020 w 2583180"/>
                <a:gd name="connsiteY4" fmla="*/ 2080260 h 2811780"/>
                <a:gd name="connsiteX5" fmla="*/ 2446020 w 2583180"/>
                <a:gd name="connsiteY5" fmla="*/ 1912620 h 2811780"/>
                <a:gd name="connsiteX6" fmla="*/ 800100 w 2583180"/>
                <a:gd name="connsiteY6" fmla="*/ 121920 h 2811780"/>
                <a:gd name="connsiteX7" fmla="*/ 701040 w 2583180"/>
                <a:gd name="connsiteY7" fmla="*/ 30480 h 2811780"/>
                <a:gd name="connsiteX8" fmla="*/ 556260 w 2583180"/>
                <a:gd name="connsiteY8" fmla="*/ 7620 h 2811780"/>
                <a:gd name="connsiteX9" fmla="*/ 419100 w 2583180"/>
                <a:gd name="connsiteY9" fmla="*/ 45720 h 2811780"/>
                <a:gd name="connsiteX10" fmla="*/ 274320 w 2583180"/>
                <a:gd name="connsiteY10" fmla="*/ 60960 h 2811780"/>
                <a:gd name="connsiteX11" fmla="*/ 213360 w 2583180"/>
                <a:gd name="connsiteY11" fmla="*/ 45720 h 2811780"/>
                <a:gd name="connsiteX12" fmla="*/ 144780 w 2583180"/>
                <a:gd name="connsiteY12" fmla="*/ 0 h 2811780"/>
                <a:gd name="connsiteX13" fmla="*/ 0 w 2583180"/>
                <a:gd name="connsiteY13" fmla="*/ 137160 h 2811780"/>
                <a:gd name="connsiteX0" fmla="*/ 0 w 2583180"/>
                <a:gd name="connsiteY0" fmla="*/ 137160 h 2811780"/>
                <a:gd name="connsiteX1" fmla="*/ 2453640 w 2583180"/>
                <a:gd name="connsiteY1" fmla="*/ 2811780 h 2811780"/>
                <a:gd name="connsiteX2" fmla="*/ 2583180 w 2583180"/>
                <a:gd name="connsiteY2" fmla="*/ 2674620 h 2811780"/>
                <a:gd name="connsiteX3" fmla="*/ 2430780 w 2583180"/>
                <a:gd name="connsiteY3" fmla="*/ 2514600 h 2811780"/>
                <a:gd name="connsiteX4" fmla="*/ 2446020 w 2583180"/>
                <a:gd name="connsiteY4" fmla="*/ 2080260 h 2811780"/>
                <a:gd name="connsiteX5" fmla="*/ 2446020 w 2583180"/>
                <a:gd name="connsiteY5" fmla="*/ 1912620 h 2811780"/>
                <a:gd name="connsiteX6" fmla="*/ 2385060 w 2583180"/>
                <a:gd name="connsiteY6" fmla="*/ 1828800 h 2811780"/>
                <a:gd name="connsiteX7" fmla="*/ 800100 w 2583180"/>
                <a:gd name="connsiteY7" fmla="*/ 121920 h 2811780"/>
                <a:gd name="connsiteX8" fmla="*/ 701040 w 2583180"/>
                <a:gd name="connsiteY8" fmla="*/ 30480 h 2811780"/>
                <a:gd name="connsiteX9" fmla="*/ 556260 w 2583180"/>
                <a:gd name="connsiteY9" fmla="*/ 7620 h 2811780"/>
                <a:gd name="connsiteX10" fmla="*/ 419100 w 2583180"/>
                <a:gd name="connsiteY10" fmla="*/ 45720 h 2811780"/>
                <a:gd name="connsiteX11" fmla="*/ 274320 w 2583180"/>
                <a:gd name="connsiteY11" fmla="*/ 60960 h 2811780"/>
                <a:gd name="connsiteX12" fmla="*/ 213360 w 2583180"/>
                <a:gd name="connsiteY12" fmla="*/ 45720 h 2811780"/>
                <a:gd name="connsiteX13" fmla="*/ 144780 w 2583180"/>
                <a:gd name="connsiteY13" fmla="*/ 0 h 2811780"/>
                <a:gd name="connsiteX14" fmla="*/ 0 w 2583180"/>
                <a:gd name="connsiteY14" fmla="*/ 137160 h 2811780"/>
                <a:gd name="connsiteX0" fmla="*/ 0 w 2583180"/>
                <a:gd name="connsiteY0" fmla="*/ 137160 h 2811780"/>
                <a:gd name="connsiteX1" fmla="*/ 2453640 w 2583180"/>
                <a:gd name="connsiteY1" fmla="*/ 2811780 h 2811780"/>
                <a:gd name="connsiteX2" fmla="*/ 2583180 w 2583180"/>
                <a:gd name="connsiteY2" fmla="*/ 2674620 h 2811780"/>
                <a:gd name="connsiteX3" fmla="*/ 2430780 w 2583180"/>
                <a:gd name="connsiteY3" fmla="*/ 2514600 h 2811780"/>
                <a:gd name="connsiteX4" fmla="*/ 2446020 w 2583180"/>
                <a:gd name="connsiteY4" fmla="*/ 2263140 h 2811780"/>
                <a:gd name="connsiteX5" fmla="*/ 2446020 w 2583180"/>
                <a:gd name="connsiteY5" fmla="*/ 2080260 h 2811780"/>
                <a:gd name="connsiteX6" fmla="*/ 2446020 w 2583180"/>
                <a:gd name="connsiteY6" fmla="*/ 1912620 h 2811780"/>
                <a:gd name="connsiteX7" fmla="*/ 2385060 w 2583180"/>
                <a:gd name="connsiteY7" fmla="*/ 1828800 h 2811780"/>
                <a:gd name="connsiteX8" fmla="*/ 800100 w 2583180"/>
                <a:gd name="connsiteY8" fmla="*/ 121920 h 2811780"/>
                <a:gd name="connsiteX9" fmla="*/ 701040 w 2583180"/>
                <a:gd name="connsiteY9" fmla="*/ 30480 h 2811780"/>
                <a:gd name="connsiteX10" fmla="*/ 556260 w 2583180"/>
                <a:gd name="connsiteY10" fmla="*/ 7620 h 2811780"/>
                <a:gd name="connsiteX11" fmla="*/ 419100 w 2583180"/>
                <a:gd name="connsiteY11" fmla="*/ 45720 h 2811780"/>
                <a:gd name="connsiteX12" fmla="*/ 274320 w 2583180"/>
                <a:gd name="connsiteY12" fmla="*/ 60960 h 2811780"/>
                <a:gd name="connsiteX13" fmla="*/ 213360 w 2583180"/>
                <a:gd name="connsiteY13" fmla="*/ 45720 h 2811780"/>
                <a:gd name="connsiteX14" fmla="*/ 144780 w 2583180"/>
                <a:gd name="connsiteY14" fmla="*/ 0 h 2811780"/>
                <a:gd name="connsiteX15" fmla="*/ 0 w 2583180"/>
                <a:gd name="connsiteY15" fmla="*/ 137160 h 2811780"/>
                <a:gd name="connsiteX0" fmla="*/ 0 w 2583180"/>
                <a:gd name="connsiteY0" fmla="*/ 137160 h 2811780"/>
                <a:gd name="connsiteX1" fmla="*/ 2453640 w 2583180"/>
                <a:gd name="connsiteY1" fmla="*/ 2811780 h 2811780"/>
                <a:gd name="connsiteX2" fmla="*/ 2583180 w 2583180"/>
                <a:gd name="connsiteY2" fmla="*/ 2674620 h 2811780"/>
                <a:gd name="connsiteX3" fmla="*/ 2430780 w 2583180"/>
                <a:gd name="connsiteY3" fmla="*/ 2514600 h 2811780"/>
                <a:gd name="connsiteX4" fmla="*/ 2446020 w 2583180"/>
                <a:gd name="connsiteY4" fmla="*/ 2263140 h 2811780"/>
                <a:gd name="connsiteX5" fmla="*/ 2484120 w 2583180"/>
                <a:gd name="connsiteY5" fmla="*/ 2087880 h 2811780"/>
                <a:gd name="connsiteX6" fmla="*/ 2446020 w 2583180"/>
                <a:gd name="connsiteY6" fmla="*/ 1912620 h 2811780"/>
                <a:gd name="connsiteX7" fmla="*/ 2385060 w 2583180"/>
                <a:gd name="connsiteY7" fmla="*/ 1828800 h 2811780"/>
                <a:gd name="connsiteX8" fmla="*/ 800100 w 2583180"/>
                <a:gd name="connsiteY8" fmla="*/ 121920 h 2811780"/>
                <a:gd name="connsiteX9" fmla="*/ 701040 w 2583180"/>
                <a:gd name="connsiteY9" fmla="*/ 30480 h 2811780"/>
                <a:gd name="connsiteX10" fmla="*/ 556260 w 2583180"/>
                <a:gd name="connsiteY10" fmla="*/ 7620 h 2811780"/>
                <a:gd name="connsiteX11" fmla="*/ 419100 w 2583180"/>
                <a:gd name="connsiteY11" fmla="*/ 45720 h 2811780"/>
                <a:gd name="connsiteX12" fmla="*/ 274320 w 2583180"/>
                <a:gd name="connsiteY12" fmla="*/ 60960 h 2811780"/>
                <a:gd name="connsiteX13" fmla="*/ 213360 w 2583180"/>
                <a:gd name="connsiteY13" fmla="*/ 45720 h 2811780"/>
                <a:gd name="connsiteX14" fmla="*/ 144780 w 2583180"/>
                <a:gd name="connsiteY14" fmla="*/ 0 h 2811780"/>
                <a:gd name="connsiteX15" fmla="*/ 0 w 2583180"/>
                <a:gd name="connsiteY15" fmla="*/ 137160 h 2811780"/>
                <a:gd name="connsiteX0" fmla="*/ 0 w 2583180"/>
                <a:gd name="connsiteY0" fmla="*/ 137160 h 2811780"/>
                <a:gd name="connsiteX1" fmla="*/ 2453640 w 2583180"/>
                <a:gd name="connsiteY1" fmla="*/ 2811780 h 2811780"/>
                <a:gd name="connsiteX2" fmla="*/ 2583180 w 2583180"/>
                <a:gd name="connsiteY2" fmla="*/ 2674620 h 2811780"/>
                <a:gd name="connsiteX3" fmla="*/ 2430780 w 2583180"/>
                <a:gd name="connsiteY3" fmla="*/ 2514600 h 2811780"/>
                <a:gd name="connsiteX4" fmla="*/ 2446020 w 2583180"/>
                <a:gd name="connsiteY4" fmla="*/ 2263140 h 2811780"/>
                <a:gd name="connsiteX5" fmla="*/ 2484120 w 2583180"/>
                <a:gd name="connsiteY5" fmla="*/ 2087880 h 2811780"/>
                <a:gd name="connsiteX6" fmla="*/ 2468880 w 2583180"/>
                <a:gd name="connsiteY6" fmla="*/ 1912620 h 2811780"/>
                <a:gd name="connsiteX7" fmla="*/ 2385060 w 2583180"/>
                <a:gd name="connsiteY7" fmla="*/ 1828800 h 2811780"/>
                <a:gd name="connsiteX8" fmla="*/ 800100 w 2583180"/>
                <a:gd name="connsiteY8" fmla="*/ 121920 h 2811780"/>
                <a:gd name="connsiteX9" fmla="*/ 701040 w 2583180"/>
                <a:gd name="connsiteY9" fmla="*/ 30480 h 2811780"/>
                <a:gd name="connsiteX10" fmla="*/ 556260 w 2583180"/>
                <a:gd name="connsiteY10" fmla="*/ 7620 h 2811780"/>
                <a:gd name="connsiteX11" fmla="*/ 419100 w 2583180"/>
                <a:gd name="connsiteY11" fmla="*/ 45720 h 2811780"/>
                <a:gd name="connsiteX12" fmla="*/ 274320 w 2583180"/>
                <a:gd name="connsiteY12" fmla="*/ 60960 h 2811780"/>
                <a:gd name="connsiteX13" fmla="*/ 213360 w 2583180"/>
                <a:gd name="connsiteY13" fmla="*/ 45720 h 2811780"/>
                <a:gd name="connsiteX14" fmla="*/ 144780 w 2583180"/>
                <a:gd name="connsiteY14" fmla="*/ 0 h 2811780"/>
                <a:gd name="connsiteX15" fmla="*/ 0 w 2583180"/>
                <a:gd name="connsiteY15" fmla="*/ 137160 h 2811780"/>
                <a:gd name="connsiteX0" fmla="*/ 0 w 2583180"/>
                <a:gd name="connsiteY0" fmla="*/ 137160 h 2811780"/>
                <a:gd name="connsiteX1" fmla="*/ 2453640 w 2583180"/>
                <a:gd name="connsiteY1" fmla="*/ 2811780 h 2811780"/>
                <a:gd name="connsiteX2" fmla="*/ 2583180 w 2583180"/>
                <a:gd name="connsiteY2" fmla="*/ 2674620 h 2811780"/>
                <a:gd name="connsiteX3" fmla="*/ 2430780 w 2583180"/>
                <a:gd name="connsiteY3" fmla="*/ 2514600 h 2811780"/>
                <a:gd name="connsiteX4" fmla="*/ 2446020 w 2583180"/>
                <a:gd name="connsiteY4" fmla="*/ 2263140 h 2811780"/>
                <a:gd name="connsiteX5" fmla="*/ 2484120 w 2583180"/>
                <a:gd name="connsiteY5" fmla="*/ 2087880 h 2811780"/>
                <a:gd name="connsiteX6" fmla="*/ 2446020 w 2583180"/>
                <a:gd name="connsiteY6" fmla="*/ 1920240 h 2811780"/>
                <a:gd name="connsiteX7" fmla="*/ 2385060 w 2583180"/>
                <a:gd name="connsiteY7" fmla="*/ 1828800 h 2811780"/>
                <a:gd name="connsiteX8" fmla="*/ 800100 w 2583180"/>
                <a:gd name="connsiteY8" fmla="*/ 121920 h 2811780"/>
                <a:gd name="connsiteX9" fmla="*/ 701040 w 2583180"/>
                <a:gd name="connsiteY9" fmla="*/ 30480 h 2811780"/>
                <a:gd name="connsiteX10" fmla="*/ 556260 w 2583180"/>
                <a:gd name="connsiteY10" fmla="*/ 7620 h 2811780"/>
                <a:gd name="connsiteX11" fmla="*/ 419100 w 2583180"/>
                <a:gd name="connsiteY11" fmla="*/ 45720 h 2811780"/>
                <a:gd name="connsiteX12" fmla="*/ 274320 w 2583180"/>
                <a:gd name="connsiteY12" fmla="*/ 60960 h 2811780"/>
                <a:gd name="connsiteX13" fmla="*/ 213360 w 2583180"/>
                <a:gd name="connsiteY13" fmla="*/ 45720 h 2811780"/>
                <a:gd name="connsiteX14" fmla="*/ 144780 w 2583180"/>
                <a:gd name="connsiteY14" fmla="*/ 0 h 2811780"/>
                <a:gd name="connsiteX15" fmla="*/ 0 w 2583180"/>
                <a:gd name="connsiteY15" fmla="*/ 137160 h 2811780"/>
                <a:gd name="connsiteX0" fmla="*/ 0 w 2583180"/>
                <a:gd name="connsiteY0" fmla="*/ 137160 h 2811780"/>
                <a:gd name="connsiteX1" fmla="*/ 2453640 w 2583180"/>
                <a:gd name="connsiteY1" fmla="*/ 2811780 h 2811780"/>
                <a:gd name="connsiteX2" fmla="*/ 2583180 w 2583180"/>
                <a:gd name="connsiteY2" fmla="*/ 2674620 h 2811780"/>
                <a:gd name="connsiteX3" fmla="*/ 2514600 w 2583180"/>
                <a:gd name="connsiteY3" fmla="*/ 2598420 h 2811780"/>
                <a:gd name="connsiteX4" fmla="*/ 2430780 w 2583180"/>
                <a:gd name="connsiteY4" fmla="*/ 2514600 h 2811780"/>
                <a:gd name="connsiteX5" fmla="*/ 2446020 w 2583180"/>
                <a:gd name="connsiteY5" fmla="*/ 2263140 h 2811780"/>
                <a:gd name="connsiteX6" fmla="*/ 2484120 w 2583180"/>
                <a:gd name="connsiteY6" fmla="*/ 2087880 h 2811780"/>
                <a:gd name="connsiteX7" fmla="*/ 2446020 w 2583180"/>
                <a:gd name="connsiteY7" fmla="*/ 1920240 h 2811780"/>
                <a:gd name="connsiteX8" fmla="*/ 2385060 w 2583180"/>
                <a:gd name="connsiteY8" fmla="*/ 1828800 h 2811780"/>
                <a:gd name="connsiteX9" fmla="*/ 800100 w 2583180"/>
                <a:gd name="connsiteY9" fmla="*/ 121920 h 2811780"/>
                <a:gd name="connsiteX10" fmla="*/ 701040 w 2583180"/>
                <a:gd name="connsiteY10" fmla="*/ 30480 h 2811780"/>
                <a:gd name="connsiteX11" fmla="*/ 556260 w 2583180"/>
                <a:gd name="connsiteY11" fmla="*/ 7620 h 2811780"/>
                <a:gd name="connsiteX12" fmla="*/ 419100 w 2583180"/>
                <a:gd name="connsiteY12" fmla="*/ 45720 h 2811780"/>
                <a:gd name="connsiteX13" fmla="*/ 274320 w 2583180"/>
                <a:gd name="connsiteY13" fmla="*/ 60960 h 2811780"/>
                <a:gd name="connsiteX14" fmla="*/ 213360 w 2583180"/>
                <a:gd name="connsiteY14" fmla="*/ 45720 h 2811780"/>
                <a:gd name="connsiteX15" fmla="*/ 144780 w 2583180"/>
                <a:gd name="connsiteY15" fmla="*/ 0 h 2811780"/>
                <a:gd name="connsiteX16" fmla="*/ 0 w 2583180"/>
                <a:gd name="connsiteY16" fmla="*/ 137160 h 2811780"/>
                <a:gd name="connsiteX0" fmla="*/ 0 w 2583180"/>
                <a:gd name="connsiteY0" fmla="*/ 137160 h 2811780"/>
                <a:gd name="connsiteX1" fmla="*/ 2453640 w 2583180"/>
                <a:gd name="connsiteY1" fmla="*/ 2811780 h 2811780"/>
                <a:gd name="connsiteX2" fmla="*/ 2583180 w 2583180"/>
                <a:gd name="connsiteY2" fmla="*/ 2674620 h 2811780"/>
                <a:gd name="connsiteX3" fmla="*/ 2514600 w 2583180"/>
                <a:gd name="connsiteY3" fmla="*/ 2598420 h 2811780"/>
                <a:gd name="connsiteX4" fmla="*/ 2430780 w 2583180"/>
                <a:gd name="connsiteY4" fmla="*/ 2514600 h 2811780"/>
                <a:gd name="connsiteX5" fmla="*/ 2438400 w 2583180"/>
                <a:gd name="connsiteY5" fmla="*/ 2407920 h 2811780"/>
                <a:gd name="connsiteX6" fmla="*/ 2446020 w 2583180"/>
                <a:gd name="connsiteY6" fmla="*/ 2263140 h 2811780"/>
                <a:gd name="connsiteX7" fmla="*/ 2484120 w 2583180"/>
                <a:gd name="connsiteY7" fmla="*/ 2087880 h 2811780"/>
                <a:gd name="connsiteX8" fmla="*/ 2446020 w 2583180"/>
                <a:gd name="connsiteY8" fmla="*/ 1920240 h 2811780"/>
                <a:gd name="connsiteX9" fmla="*/ 2385060 w 2583180"/>
                <a:gd name="connsiteY9" fmla="*/ 1828800 h 2811780"/>
                <a:gd name="connsiteX10" fmla="*/ 800100 w 2583180"/>
                <a:gd name="connsiteY10" fmla="*/ 121920 h 2811780"/>
                <a:gd name="connsiteX11" fmla="*/ 701040 w 2583180"/>
                <a:gd name="connsiteY11" fmla="*/ 30480 h 2811780"/>
                <a:gd name="connsiteX12" fmla="*/ 556260 w 2583180"/>
                <a:gd name="connsiteY12" fmla="*/ 7620 h 2811780"/>
                <a:gd name="connsiteX13" fmla="*/ 419100 w 2583180"/>
                <a:gd name="connsiteY13" fmla="*/ 45720 h 2811780"/>
                <a:gd name="connsiteX14" fmla="*/ 274320 w 2583180"/>
                <a:gd name="connsiteY14" fmla="*/ 60960 h 2811780"/>
                <a:gd name="connsiteX15" fmla="*/ 213360 w 2583180"/>
                <a:gd name="connsiteY15" fmla="*/ 45720 h 2811780"/>
                <a:gd name="connsiteX16" fmla="*/ 144780 w 2583180"/>
                <a:gd name="connsiteY16" fmla="*/ 0 h 2811780"/>
                <a:gd name="connsiteX17" fmla="*/ 0 w 2583180"/>
                <a:gd name="connsiteY17" fmla="*/ 137160 h 2811780"/>
                <a:gd name="connsiteX0" fmla="*/ 0 w 2583180"/>
                <a:gd name="connsiteY0" fmla="*/ 137160 h 2811780"/>
                <a:gd name="connsiteX1" fmla="*/ 2453640 w 2583180"/>
                <a:gd name="connsiteY1" fmla="*/ 2811780 h 2811780"/>
                <a:gd name="connsiteX2" fmla="*/ 2583180 w 2583180"/>
                <a:gd name="connsiteY2" fmla="*/ 2674620 h 2811780"/>
                <a:gd name="connsiteX3" fmla="*/ 2514600 w 2583180"/>
                <a:gd name="connsiteY3" fmla="*/ 2598420 h 2811780"/>
                <a:gd name="connsiteX4" fmla="*/ 2430780 w 2583180"/>
                <a:gd name="connsiteY4" fmla="*/ 2514600 h 2811780"/>
                <a:gd name="connsiteX5" fmla="*/ 2430780 w 2583180"/>
                <a:gd name="connsiteY5" fmla="*/ 2369820 h 2811780"/>
                <a:gd name="connsiteX6" fmla="*/ 2446020 w 2583180"/>
                <a:gd name="connsiteY6" fmla="*/ 2263140 h 2811780"/>
                <a:gd name="connsiteX7" fmla="*/ 2484120 w 2583180"/>
                <a:gd name="connsiteY7" fmla="*/ 2087880 h 2811780"/>
                <a:gd name="connsiteX8" fmla="*/ 2446020 w 2583180"/>
                <a:gd name="connsiteY8" fmla="*/ 1920240 h 2811780"/>
                <a:gd name="connsiteX9" fmla="*/ 2385060 w 2583180"/>
                <a:gd name="connsiteY9" fmla="*/ 1828800 h 2811780"/>
                <a:gd name="connsiteX10" fmla="*/ 800100 w 2583180"/>
                <a:gd name="connsiteY10" fmla="*/ 121920 h 2811780"/>
                <a:gd name="connsiteX11" fmla="*/ 701040 w 2583180"/>
                <a:gd name="connsiteY11" fmla="*/ 30480 h 2811780"/>
                <a:gd name="connsiteX12" fmla="*/ 556260 w 2583180"/>
                <a:gd name="connsiteY12" fmla="*/ 7620 h 2811780"/>
                <a:gd name="connsiteX13" fmla="*/ 419100 w 2583180"/>
                <a:gd name="connsiteY13" fmla="*/ 45720 h 2811780"/>
                <a:gd name="connsiteX14" fmla="*/ 274320 w 2583180"/>
                <a:gd name="connsiteY14" fmla="*/ 60960 h 2811780"/>
                <a:gd name="connsiteX15" fmla="*/ 213360 w 2583180"/>
                <a:gd name="connsiteY15" fmla="*/ 45720 h 2811780"/>
                <a:gd name="connsiteX16" fmla="*/ 144780 w 2583180"/>
                <a:gd name="connsiteY16" fmla="*/ 0 h 2811780"/>
                <a:gd name="connsiteX17" fmla="*/ 0 w 2583180"/>
                <a:gd name="connsiteY17" fmla="*/ 137160 h 2811780"/>
                <a:gd name="connsiteX0" fmla="*/ 0 w 2583180"/>
                <a:gd name="connsiteY0" fmla="*/ 137160 h 2811780"/>
                <a:gd name="connsiteX1" fmla="*/ 2453640 w 2583180"/>
                <a:gd name="connsiteY1" fmla="*/ 2811780 h 2811780"/>
                <a:gd name="connsiteX2" fmla="*/ 2583180 w 2583180"/>
                <a:gd name="connsiteY2" fmla="*/ 2674620 h 2811780"/>
                <a:gd name="connsiteX3" fmla="*/ 2514600 w 2583180"/>
                <a:gd name="connsiteY3" fmla="*/ 2598420 h 2811780"/>
                <a:gd name="connsiteX4" fmla="*/ 2430780 w 2583180"/>
                <a:gd name="connsiteY4" fmla="*/ 2514600 h 2811780"/>
                <a:gd name="connsiteX5" fmla="*/ 2430780 w 2583180"/>
                <a:gd name="connsiteY5" fmla="*/ 2369820 h 2811780"/>
                <a:gd name="connsiteX6" fmla="*/ 2446020 w 2583180"/>
                <a:gd name="connsiteY6" fmla="*/ 2263140 h 2811780"/>
                <a:gd name="connsiteX7" fmla="*/ 2484120 w 2583180"/>
                <a:gd name="connsiteY7" fmla="*/ 2049780 h 2811780"/>
                <a:gd name="connsiteX8" fmla="*/ 2446020 w 2583180"/>
                <a:gd name="connsiteY8" fmla="*/ 1920240 h 2811780"/>
                <a:gd name="connsiteX9" fmla="*/ 2385060 w 2583180"/>
                <a:gd name="connsiteY9" fmla="*/ 1828800 h 2811780"/>
                <a:gd name="connsiteX10" fmla="*/ 800100 w 2583180"/>
                <a:gd name="connsiteY10" fmla="*/ 121920 h 2811780"/>
                <a:gd name="connsiteX11" fmla="*/ 701040 w 2583180"/>
                <a:gd name="connsiteY11" fmla="*/ 30480 h 2811780"/>
                <a:gd name="connsiteX12" fmla="*/ 556260 w 2583180"/>
                <a:gd name="connsiteY12" fmla="*/ 7620 h 2811780"/>
                <a:gd name="connsiteX13" fmla="*/ 419100 w 2583180"/>
                <a:gd name="connsiteY13" fmla="*/ 45720 h 2811780"/>
                <a:gd name="connsiteX14" fmla="*/ 274320 w 2583180"/>
                <a:gd name="connsiteY14" fmla="*/ 60960 h 2811780"/>
                <a:gd name="connsiteX15" fmla="*/ 213360 w 2583180"/>
                <a:gd name="connsiteY15" fmla="*/ 45720 h 2811780"/>
                <a:gd name="connsiteX16" fmla="*/ 144780 w 2583180"/>
                <a:gd name="connsiteY16" fmla="*/ 0 h 2811780"/>
                <a:gd name="connsiteX17" fmla="*/ 0 w 2583180"/>
                <a:gd name="connsiteY17" fmla="*/ 137160 h 2811780"/>
                <a:gd name="connsiteX0" fmla="*/ 0 w 2583180"/>
                <a:gd name="connsiteY0" fmla="*/ 137160 h 2811780"/>
                <a:gd name="connsiteX1" fmla="*/ 2453640 w 2583180"/>
                <a:gd name="connsiteY1" fmla="*/ 2811780 h 2811780"/>
                <a:gd name="connsiteX2" fmla="*/ 2583180 w 2583180"/>
                <a:gd name="connsiteY2" fmla="*/ 2674620 h 2811780"/>
                <a:gd name="connsiteX3" fmla="*/ 2514600 w 2583180"/>
                <a:gd name="connsiteY3" fmla="*/ 2598420 h 2811780"/>
                <a:gd name="connsiteX4" fmla="*/ 2430780 w 2583180"/>
                <a:gd name="connsiteY4" fmla="*/ 2514600 h 2811780"/>
                <a:gd name="connsiteX5" fmla="*/ 2430780 w 2583180"/>
                <a:gd name="connsiteY5" fmla="*/ 2369820 h 2811780"/>
                <a:gd name="connsiteX6" fmla="*/ 2446020 w 2583180"/>
                <a:gd name="connsiteY6" fmla="*/ 2263140 h 2811780"/>
                <a:gd name="connsiteX7" fmla="*/ 2468880 w 2583180"/>
                <a:gd name="connsiteY7" fmla="*/ 2156460 h 2811780"/>
                <a:gd name="connsiteX8" fmla="*/ 2484120 w 2583180"/>
                <a:gd name="connsiteY8" fmla="*/ 2049780 h 2811780"/>
                <a:gd name="connsiteX9" fmla="*/ 2446020 w 2583180"/>
                <a:gd name="connsiteY9" fmla="*/ 1920240 h 2811780"/>
                <a:gd name="connsiteX10" fmla="*/ 2385060 w 2583180"/>
                <a:gd name="connsiteY10" fmla="*/ 1828800 h 2811780"/>
                <a:gd name="connsiteX11" fmla="*/ 800100 w 2583180"/>
                <a:gd name="connsiteY11" fmla="*/ 121920 h 2811780"/>
                <a:gd name="connsiteX12" fmla="*/ 701040 w 2583180"/>
                <a:gd name="connsiteY12" fmla="*/ 30480 h 2811780"/>
                <a:gd name="connsiteX13" fmla="*/ 556260 w 2583180"/>
                <a:gd name="connsiteY13" fmla="*/ 7620 h 2811780"/>
                <a:gd name="connsiteX14" fmla="*/ 419100 w 2583180"/>
                <a:gd name="connsiteY14" fmla="*/ 45720 h 2811780"/>
                <a:gd name="connsiteX15" fmla="*/ 274320 w 2583180"/>
                <a:gd name="connsiteY15" fmla="*/ 60960 h 2811780"/>
                <a:gd name="connsiteX16" fmla="*/ 213360 w 2583180"/>
                <a:gd name="connsiteY16" fmla="*/ 45720 h 2811780"/>
                <a:gd name="connsiteX17" fmla="*/ 144780 w 2583180"/>
                <a:gd name="connsiteY17" fmla="*/ 0 h 2811780"/>
                <a:gd name="connsiteX18" fmla="*/ 0 w 2583180"/>
                <a:gd name="connsiteY18" fmla="*/ 137160 h 2811780"/>
                <a:gd name="connsiteX0" fmla="*/ 0 w 2583180"/>
                <a:gd name="connsiteY0" fmla="*/ 137160 h 2811780"/>
                <a:gd name="connsiteX1" fmla="*/ 2453640 w 2583180"/>
                <a:gd name="connsiteY1" fmla="*/ 2811780 h 2811780"/>
                <a:gd name="connsiteX2" fmla="*/ 2583180 w 2583180"/>
                <a:gd name="connsiteY2" fmla="*/ 2674620 h 2811780"/>
                <a:gd name="connsiteX3" fmla="*/ 2514600 w 2583180"/>
                <a:gd name="connsiteY3" fmla="*/ 2598420 h 2811780"/>
                <a:gd name="connsiteX4" fmla="*/ 2430780 w 2583180"/>
                <a:gd name="connsiteY4" fmla="*/ 2514600 h 2811780"/>
                <a:gd name="connsiteX5" fmla="*/ 2430780 w 2583180"/>
                <a:gd name="connsiteY5" fmla="*/ 2369820 h 2811780"/>
                <a:gd name="connsiteX6" fmla="*/ 2446020 w 2583180"/>
                <a:gd name="connsiteY6" fmla="*/ 2263140 h 2811780"/>
                <a:gd name="connsiteX7" fmla="*/ 2468880 w 2583180"/>
                <a:gd name="connsiteY7" fmla="*/ 2156460 h 2811780"/>
                <a:gd name="connsiteX8" fmla="*/ 2484120 w 2583180"/>
                <a:gd name="connsiteY8" fmla="*/ 2034540 h 2811780"/>
                <a:gd name="connsiteX9" fmla="*/ 2446020 w 2583180"/>
                <a:gd name="connsiteY9" fmla="*/ 1920240 h 2811780"/>
                <a:gd name="connsiteX10" fmla="*/ 2385060 w 2583180"/>
                <a:gd name="connsiteY10" fmla="*/ 1828800 h 2811780"/>
                <a:gd name="connsiteX11" fmla="*/ 800100 w 2583180"/>
                <a:gd name="connsiteY11" fmla="*/ 121920 h 2811780"/>
                <a:gd name="connsiteX12" fmla="*/ 701040 w 2583180"/>
                <a:gd name="connsiteY12" fmla="*/ 30480 h 2811780"/>
                <a:gd name="connsiteX13" fmla="*/ 556260 w 2583180"/>
                <a:gd name="connsiteY13" fmla="*/ 7620 h 2811780"/>
                <a:gd name="connsiteX14" fmla="*/ 419100 w 2583180"/>
                <a:gd name="connsiteY14" fmla="*/ 45720 h 2811780"/>
                <a:gd name="connsiteX15" fmla="*/ 274320 w 2583180"/>
                <a:gd name="connsiteY15" fmla="*/ 60960 h 2811780"/>
                <a:gd name="connsiteX16" fmla="*/ 213360 w 2583180"/>
                <a:gd name="connsiteY16" fmla="*/ 45720 h 2811780"/>
                <a:gd name="connsiteX17" fmla="*/ 144780 w 2583180"/>
                <a:gd name="connsiteY17" fmla="*/ 0 h 2811780"/>
                <a:gd name="connsiteX18" fmla="*/ 0 w 2583180"/>
                <a:gd name="connsiteY18" fmla="*/ 137160 h 2811780"/>
                <a:gd name="connsiteX0" fmla="*/ 0 w 2583180"/>
                <a:gd name="connsiteY0" fmla="*/ 137160 h 2839528"/>
                <a:gd name="connsiteX1" fmla="*/ 2578015 w 2583180"/>
                <a:gd name="connsiteY1" fmla="*/ 2839528 h 2839528"/>
                <a:gd name="connsiteX2" fmla="*/ 2583180 w 2583180"/>
                <a:gd name="connsiteY2" fmla="*/ 2674620 h 2839528"/>
                <a:gd name="connsiteX3" fmla="*/ 2514600 w 2583180"/>
                <a:gd name="connsiteY3" fmla="*/ 2598420 h 2839528"/>
                <a:gd name="connsiteX4" fmla="*/ 2430780 w 2583180"/>
                <a:gd name="connsiteY4" fmla="*/ 2514600 h 2839528"/>
                <a:gd name="connsiteX5" fmla="*/ 2430780 w 2583180"/>
                <a:gd name="connsiteY5" fmla="*/ 2369820 h 2839528"/>
                <a:gd name="connsiteX6" fmla="*/ 2446020 w 2583180"/>
                <a:gd name="connsiteY6" fmla="*/ 2263140 h 2839528"/>
                <a:gd name="connsiteX7" fmla="*/ 2468880 w 2583180"/>
                <a:gd name="connsiteY7" fmla="*/ 2156460 h 2839528"/>
                <a:gd name="connsiteX8" fmla="*/ 2484120 w 2583180"/>
                <a:gd name="connsiteY8" fmla="*/ 2034540 h 2839528"/>
                <a:gd name="connsiteX9" fmla="*/ 2446020 w 2583180"/>
                <a:gd name="connsiteY9" fmla="*/ 1920240 h 2839528"/>
                <a:gd name="connsiteX10" fmla="*/ 2385060 w 2583180"/>
                <a:gd name="connsiteY10" fmla="*/ 1828800 h 2839528"/>
                <a:gd name="connsiteX11" fmla="*/ 800100 w 2583180"/>
                <a:gd name="connsiteY11" fmla="*/ 121920 h 2839528"/>
                <a:gd name="connsiteX12" fmla="*/ 701040 w 2583180"/>
                <a:gd name="connsiteY12" fmla="*/ 30480 h 2839528"/>
                <a:gd name="connsiteX13" fmla="*/ 556260 w 2583180"/>
                <a:gd name="connsiteY13" fmla="*/ 7620 h 2839528"/>
                <a:gd name="connsiteX14" fmla="*/ 419100 w 2583180"/>
                <a:gd name="connsiteY14" fmla="*/ 45720 h 2839528"/>
                <a:gd name="connsiteX15" fmla="*/ 274320 w 2583180"/>
                <a:gd name="connsiteY15" fmla="*/ 60960 h 2839528"/>
                <a:gd name="connsiteX16" fmla="*/ 213360 w 2583180"/>
                <a:gd name="connsiteY16" fmla="*/ 45720 h 2839528"/>
                <a:gd name="connsiteX17" fmla="*/ 144780 w 2583180"/>
                <a:gd name="connsiteY17" fmla="*/ 0 h 2839528"/>
                <a:gd name="connsiteX18" fmla="*/ 0 w 2583180"/>
                <a:gd name="connsiteY18" fmla="*/ 137160 h 2839528"/>
                <a:gd name="connsiteX0" fmla="*/ 0 w 2707555"/>
                <a:gd name="connsiteY0" fmla="*/ 137160 h 2839528"/>
                <a:gd name="connsiteX1" fmla="*/ 2578015 w 2707555"/>
                <a:gd name="connsiteY1" fmla="*/ 2839528 h 2839528"/>
                <a:gd name="connsiteX2" fmla="*/ 2707555 w 2707555"/>
                <a:gd name="connsiteY2" fmla="*/ 2637623 h 2839528"/>
                <a:gd name="connsiteX3" fmla="*/ 2514600 w 2707555"/>
                <a:gd name="connsiteY3" fmla="*/ 2598420 h 2839528"/>
                <a:gd name="connsiteX4" fmla="*/ 2430780 w 2707555"/>
                <a:gd name="connsiteY4" fmla="*/ 2514600 h 2839528"/>
                <a:gd name="connsiteX5" fmla="*/ 2430780 w 2707555"/>
                <a:gd name="connsiteY5" fmla="*/ 2369820 h 2839528"/>
                <a:gd name="connsiteX6" fmla="*/ 2446020 w 2707555"/>
                <a:gd name="connsiteY6" fmla="*/ 2263140 h 2839528"/>
                <a:gd name="connsiteX7" fmla="*/ 2468880 w 2707555"/>
                <a:gd name="connsiteY7" fmla="*/ 2156460 h 2839528"/>
                <a:gd name="connsiteX8" fmla="*/ 2484120 w 2707555"/>
                <a:gd name="connsiteY8" fmla="*/ 2034540 h 2839528"/>
                <a:gd name="connsiteX9" fmla="*/ 2446020 w 2707555"/>
                <a:gd name="connsiteY9" fmla="*/ 1920240 h 2839528"/>
                <a:gd name="connsiteX10" fmla="*/ 2385060 w 2707555"/>
                <a:gd name="connsiteY10" fmla="*/ 1828800 h 2839528"/>
                <a:gd name="connsiteX11" fmla="*/ 800100 w 2707555"/>
                <a:gd name="connsiteY11" fmla="*/ 121920 h 2839528"/>
                <a:gd name="connsiteX12" fmla="*/ 701040 w 2707555"/>
                <a:gd name="connsiteY12" fmla="*/ 30480 h 2839528"/>
                <a:gd name="connsiteX13" fmla="*/ 556260 w 2707555"/>
                <a:gd name="connsiteY13" fmla="*/ 7620 h 2839528"/>
                <a:gd name="connsiteX14" fmla="*/ 419100 w 2707555"/>
                <a:gd name="connsiteY14" fmla="*/ 45720 h 2839528"/>
                <a:gd name="connsiteX15" fmla="*/ 274320 w 2707555"/>
                <a:gd name="connsiteY15" fmla="*/ 60960 h 2839528"/>
                <a:gd name="connsiteX16" fmla="*/ 213360 w 2707555"/>
                <a:gd name="connsiteY16" fmla="*/ 45720 h 2839528"/>
                <a:gd name="connsiteX17" fmla="*/ 144780 w 2707555"/>
                <a:gd name="connsiteY17" fmla="*/ 0 h 2839528"/>
                <a:gd name="connsiteX18" fmla="*/ 0 w 2707555"/>
                <a:gd name="connsiteY18" fmla="*/ 137160 h 2839528"/>
                <a:gd name="connsiteX0" fmla="*/ 0 w 2707555"/>
                <a:gd name="connsiteY0" fmla="*/ 137160 h 2839528"/>
                <a:gd name="connsiteX1" fmla="*/ 2578015 w 2707555"/>
                <a:gd name="connsiteY1" fmla="*/ 2839528 h 2839528"/>
                <a:gd name="connsiteX2" fmla="*/ 2707555 w 2707555"/>
                <a:gd name="connsiteY2" fmla="*/ 2637623 h 2839528"/>
                <a:gd name="connsiteX3" fmla="*/ 2514600 w 2707555"/>
                <a:gd name="connsiteY3" fmla="*/ 2598420 h 2839528"/>
                <a:gd name="connsiteX4" fmla="*/ 2497752 w 2707555"/>
                <a:gd name="connsiteY4" fmla="*/ 2459105 h 2839528"/>
                <a:gd name="connsiteX5" fmla="*/ 2430780 w 2707555"/>
                <a:gd name="connsiteY5" fmla="*/ 2369820 h 2839528"/>
                <a:gd name="connsiteX6" fmla="*/ 2446020 w 2707555"/>
                <a:gd name="connsiteY6" fmla="*/ 2263140 h 2839528"/>
                <a:gd name="connsiteX7" fmla="*/ 2468880 w 2707555"/>
                <a:gd name="connsiteY7" fmla="*/ 2156460 h 2839528"/>
                <a:gd name="connsiteX8" fmla="*/ 2484120 w 2707555"/>
                <a:gd name="connsiteY8" fmla="*/ 2034540 h 2839528"/>
                <a:gd name="connsiteX9" fmla="*/ 2446020 w 2707555"/>
                <a:gd name="connsiteY9" fmla="*/ 1920240 h 2839528"/>
                <a:gd name="connsiteX10" fmla="*/ 2385060 w 2707555"/>
                <a:gd name="connsiteY10" fmla="*/ 1828800 h 2839528"/>
                <a:gd name="connsiteX11" fmla="*/ 800100 w 2707555"/>
                <a:gd name="connsiteY11" fmla="*/ 121920 h 2839528"/>
                <a:gd name="connsiteX12" fmla="*/ 701040 w 2707555"/>
                <a:gd name="connsiteY12" fmla="*/ 30480 h 2839528"/>
                <a:gd name="connsiteX13" fmla="*/ 556260 w 2707555"/>
                <a:gd name="connsiteY13" fmla="*/ 7620 h 2839528"/>
                <a:gd name="connsiteX14" fmla="*/ 419100 w 2707555"/>
                <a:gd name="connsiteY14" fmla="*/ 45720 h 2839528"/>
                <a:gd name="connsiteX15" fmla="*/ 274320 w 2707555"/>
                <a:gd name="connsiteY15" fmla="*/ 60960 h 2839528"/>
                <a:gd name="connsiteX16" fmla="*/ 213360 w 2707555"/>
                <a:gd name="connsiteY16" fmla="*/ 45720 h 2839528"/>
                <a:gd name="connsiteX17" fmla="*/ 144780 w 2707555"/>
                <a:gd name="connsiteY17" fmla="*/ 0 h 2839528"/>
                <a:gd name="connsiteX18" fmla="*/ 0 w 2707555"/>
                <a:gd name="connsiteY18" fmla="*/ 137160 h 2839528"/>
                <a:gd name="connsiteX0" fmla="*/ 0 w 2707555"/>
                <a:gd name="connsiteY0" fmla="*/ 137160 h 2839528"/>
                <a:gd name="connsiteX1" fmla="*/ 2578015 w 2707555"/>
                <a:gd name="connsiteY1" fmla="*/ 2839528 h 2839528"/>
                <a:gd name="connsiteX2" fmla="*/ 2707555 w 2707555"/>
                <a:gd name="connsiteY2" fmla="*/ 2637623 h 2839528"/>
                <a:gd name="connsiteX3" fmla="*/ 2581572 w 2707555"/>
                <a:gd name="connsiteY3" fmla="*/ 2552174 h 2839528"/>
                <a:gd name="connsiteX4" fmla="*/ 2497752 w 2707555"/>
                <a:gd name="connsiteY4" fmla="*/ 2459105 h 2839528"/>
                <a:gd name="connsiteX5" fmla="*/ 2430780 w 2707555"/>
                <a:gd name="connsiteY5" fmla="*/ 2369820 h 2839528"/>
                <a:gd name="connsiteX6" fmla="*/ 2446020 w 2707555"/>
                <a:gd name="connsiteY6" fmla="*/ 2263140 h 2839528"/>
                <a:gd name="connsiteX7" fmla="*/ 2468880 w 2707555"/>
                <a:gd name="connsiteY7" fmla="*/ 2156460 h 2839528"/>
                <a:gd name="connsiteX8" fmla="*/ 2484120 w 2707555"/>
                <a:gd name="connsiteY8" fmla="*/ 2034540 h 2839528"/>
                <a:gd name="connsiteX9" fmla="*/ 2446020 w 2707555"/>
                <a:gd name="connsiteY9" fmla="*/ 1920240 h 2839528"/>
                <a:gd name="connsiteX10" fmla="*/ 2385060 w 2707555"/>
                <a:gd name="connsiteY10" fmla="*/ 1828800 h 2839528"/>
                <a:gd name="connsiteX11" fmla="*/ 800100 w 2707555"/>
                <a:gd name="connsiteY11" fmla="*/ 121920 h 2839528"/>
                <a:gd name="connsiteX12" fmla="*/ 701040 w 2707555"/>
                <a:gd name="connsiteY12" fmla="*/ 30480 h 2839528"/>
                <a:gd name="connsiteX13" fmla="*/ 556260 w 2707555"/>
                <a:gd name="connsiteY13" fmla="*/ 7620 h 2839528"/>
                <a:gd name="connsiteX14" fmla="*/ 419100 w 2707555"/>
                <a:gd name="connsiteY14" fmla="*/ 45720 h 2839528"/>
                <a:gd name="connsiteX15" fmla="*/ 274320 w 2707555"/>
                <a:gd name="connsiteY15" fmla="*/ 60960 h 2839528"/>
                <a:gd name="connsiteX16" fmla="*/ 213360 w 2707555"/>
                <a:gd name="connsiteY16" fmla="*/ 45720 h 2839528"/>
                <a:gd name="connsiteX17" fmla="*/ 144780 w 2707555"/>
                <a:gd name="connsiteY17" fmla="*/ 0 h 2839528"/>
                <a:gd name="connsiteX18" fmla="*/ 0 w 2707555"/>
                <a:gd name="connsiteY18" fmla="*/ 137160 h 2839528"/>
                <a:gd name="connsiteX0" fmla="*/ 0 w 2688420"/>
                <a:gd name="connsiteY0" fmla="*/ 137160 h 2839528"/>
                <a:gd name="connsiteX1" fmla="*/ 2578015 w 2688420"/>
                <a:gd name="connsiteY1" fmla="*/ 2839528 h 2839528"/>
                <a:gd name="connsiteX2" fmla="*/ 2688420 w 2688420"/>
                <a:gd name="connsiteY2" fmla="*/ 2665371 h 2839528"/>
                <a:gd name="connsiteX3" fmla="*/ 2581572 w 2688420"/>
                <a:gd name="connsiteY3" fmla="*/ 2552174 h 2839528"/>
                <a:gd name="connsiteX4" fmla="*/ 2497752 w 2688420"/>
                <a:gd name="connsiteY4" fmla="*/ 2459105 h 2839528"/>
                <a:gd name="connsiteX5" fmla="*/ 2430780 w 2688420"/>
                <a:gd name="connsiteY5" fmla="*/ 2369820 h 2839528"/>
                <a:gd name="connsiteX6" fmla="*/ 2446020 w 2688420"/>
                <a:gd name="connsiteY6" fmla="*/ 2263140 h 2839528"/>
                <a:gd name="connsiteX7" fmla="*/ 2468880 w 2688420"/>
                <a:gd name="connsiteY7" fmla="*/ 2156460 h 2839528"/>
                <a:gd name="connsiteX8" fmla="*/ 2484120 w 2688420"/>
                <a:gd name="connsiteY8" fmla="*/ 2034540 h 2839528"/>
                <a:gd name="connsiteX9" fmla="*/ 2446020 w 2688420"/>
                <a:gd name="connsiteY9" fmla="*/ 1920240 h 2839528"/>
                <a:gd name="connsiteX10" fmla="*/ 2385060 w 2688420"/>
                <a:gd name="connsiteY10" fmla="*/ 1828800 h 2839528"/>
                <a:gd name="connsiteX11" fmla="*/ 800100 w 2688420"/>
                <a:gd name="connsiteY11" fmla="*/ 121920 h 2839528"/>
                <a:gd name="connsiteX12" fmla="*/ 701040 w 2688420"/>
                <a:gd name="connsiteY12" fmla="*/ 30480 h 2839528"/>
                <a:gd name="connsiteX13" fmla="*/ 556260 w 2688420"/>
                <a:gd name="connsiteY13" fmla="*/ 7620 h 2839528"/>
                <a:gd name="connsiteX14" fmla="*/ 419100 w 2688420"/>
                <a:gd name="connsiteY14" fmla="*/ 45720 h 2839528"/>
                <a:gd name="connsiteX15" fmla="*/ 274320 w 2688420"/>
                <a:gd name="connsiteY15" fmla="*/ 60960 h 2839528"/>
                <a:gd name="connsiteX16" fmla="*/ 213360 w 2688420"/>
                <a:gd name="connsiteY16" fmla="*/ 45720 h 2839528"/>
                <a:gd name="connsiteX17" fmla="*/ 144780 w 2688420"/>
                <a:gd name="connsiteY17" fmla="*/ 0 h 2839528"/>
                <a:gd name="connsiteX18" fmla="*/ 0 w 2688420"/>
                <a:gd name="connsiteY18" fmla="*/ 137160 h 2839528"/>
                <a:gd name="connsiteX0" fmla="*/ 0 w 2688420"/>
                <a:gd name="connsiteY0" fmla="*/ 137160 h 2793282"/>
                <a:gd name="connsiteX1" fmla="*/ 2539746 w 2688420"/>
                <a:gd name="connsiteY1" fmla="*/ 2793282 h 2793282"/>
                <a:gd name="connsiteX2" fmla="*/ 2688420 w 2688420"/>
                <a:gd name="connsiteY2" fmla="*/ 2665371 h 2793282"/>
                <a:gd name="connsiteX3" fmla="*/ 2581572 w 2688420"/>
                <a:gd name="connsiteY3" fmla="*/ 2552174 h 2793282"/>
                <a:gd name="connsiteX4" fmla="*/ 2497752 w 2688420"/>
                <a:gd name="connsiteY4" fmla="*/ 2459105 h 2793282"/>
                <a:gd name="connsiteX5" fmla="*/ 2430780 w 2688420"/>
                <a:gd name="connsiteY5" fmla="*/ 2369820 h 2793282"/>
                <a:gd name="connsiteX6" fmla="*/ 2446020 w 2688420"/>
                <a:gd name="connsiteY6" fmla="*/ 2263140 h 2793282"/>
                <a:gd name="connsiteX7" fmla="*/ 2468880 w 2688420"/>
                <a:gd name="connsiteY7" fmla="*/ 2156460 h 2793282"/>
                <a:gd name="connsiteX8" fmla="*/ 2484120 w 2688420"/>
                <a:gd name="connsiteY8" fmla="*/ 2034540 h 2793282"/>
                <a:gd name="connsiteX9" fmla="*/ 2446020 w 2688420"/>
                <a:gd name="connsiteY9" fmla="*/ 1920240 h 2793282"/>
                <a:gd name="connsiteX10" fmla="*/ 2385060 w 2688420"/>
                <a:gd name="connsiteY10" fmla="*/ 1828800 h 2793282"/>
                <a:gd name="connsiteX11" fmla="*/ 800100 w 2688420"/>
                <a:gd name="connsiteY11" fmla="*/ 121920 h 2793282"/>
                <a:gd name="connsiteX12" fmla="*/ 701040 w 2688420"/>
                <a:gd name="connsiteY12" fmla="*/ 30480 h 2793282"/>
                <a:gd name="connsiteX13" fmla="*/ 556260 w 2688420"/>
                <a:gd name="connsiteY13" fmla="*/ 7620 h 2793282"/>
                <a:gd name="connsiteX14" fmla="*/ 419100 w 2688420"/>
                <a:gd name="connsiteY14" fmla="*/ 45720 h 2793282"/>
                <a:gd name="connsiteX15" fmla="*/ 274320 w 2688420"/>
                <a:gd name="connsiteY15" fmla="*/ 60960 h 2793282"/>
                <a:gd name="connsiteX16" fmla="*/ 213360 w 2688420"/>
                <a:gd name="connsiteY16" fmla="*/ 45720 h 2793282"/>
                <a:gd name="connsiteX17" fmla="*/ 144780 w 2688420"/>
                <a:gd name="connsiteY17" fmla="*/ 0 h 2793282"/>
                <a:gd name="connsiteX18" fmla="*/ 0 w 2688420"/>
                <a:gd name="connsiteY18" fmla="*/ 137160 h 2793282"/>
                <a:gd name="connsiteX0" fmla="*/ 0 w 2770358"/>
                <a:gd name="connsiteY0" fmla="*/ 46036 h 2793282"/>
                <a:gd name="connsiteX1" fmla="*/ 2621684 w 2770358"/>
                <a:gd name="connsiteY1" fmla="*/ 2793282 h 2793282"/>
                <a:gd name="connsiteX2" fmla="*/ 2770358 w 2770358"/>
                <a:gd name="connsiteY2" fmla="*/ 2665371 h 2793282"/>
                <a:gd name="connsiteX3" fmla="*/ 2663510 w 2770358"/>
                <a:gd name="connsiteY3" fmla="*/ 2552174 h 2793282"/>
                <a:gd name="connsiteX4" fmla="*/ 2579690 w 2770358"/>
                <a:gd name="connsiteY4" fmla="*/ 2459105 h 2793282"/>
                <a:gd name="connsiteX5" fmla="*/ 2512718 w 2770358"/>
                <a:gd name="connsiteY5" fmla="*/ 2369820 h 2793282"/>
                <a:gd name="connsiteX6" fmla="*/ 2527958 w 2770358"/>
                <a:gd name="connsiteY6" fmla="*/ 2263140 h 2793282"/>
                <a:gd name="connsiteX7" fmla="*/ 2550818 w 2770358"/>
                <a:gd name="connsiteY7" fmla="*/ 2156460 h 2793282"/>
                <a:gd name="connsiteX8" fmla="*/ 2566058 w 2770358"/>
                <a:gd name="connsiteY8" fmla="*/ 2034540 h 2793282"/>
                <a:gd name="connsiteX9" fmla="*/ 2527958 w 2770358"/>
                <a:gd name="connsiteY9" fmla="*/ 1920240 h 2793282"/>
                <a:gd name="connsiteX10" fmla="*/ 2466998 w 2770358"/>
                <a:gd name="connsiteY10" fmla="*/ 1828800 h 2793282"/>
                <a:gd name="connsiteX11" fmla="*/ 882038 w 2770358"/>
                <a:gd name="connsiteY11" fmla="*/ 121920 h 2793282"/>
                <a:gd name="connsiteX12" fmla="*/ 782978 w 2770358"/>
                <a:gd name="connsiteY12" fmla="*/ 30480 h 2793282"/>
                <a:gd name="connsiteX13" fmla="*/ 638198 w 2770358"/>
                <a:gd name="connsiteY13" fmla="*/ 7620 h 2793282"/>
                <a:gd name="connsiteX14" fmla="*/ 501038 w 2770358"/>
                <a:gd name="connsiteY14" fmla="*/ 45720 h 2793282"/>
                <a:gd name="connsiteX15" fmla="*/ 356258 w 2770358"/>
                <a:gd name="connsiteY15" fmla="*/ 60960 h 2793282"/>
                <a:gd name="connsiteX16" fmla="*/ 295298 w 2770358"/>
                <a:gd name="connsiteY16" fmla="*/ 45720 h 2793282"/>
                <a:gd name="connsiteX17" fmla="*/ 226718 w 2770358"/>
                <a:gd name="connsiteY17" fmla="*/ 0 h 2793282"/>
                <a:gd name="connsiteX18" fmla="*/ 0 w 2770358"/>
                <a:gd name="connsiteY18" fmla="*/ 46036 h 2793282"/>
                <a:gd name="connsiteX0" fmla="*/ 0 w 2770358"/>
                <a:gd name="connsiteY0" fmla="*/ 38443 h 2785689"/>
                <a:gd name="connsiteX1" fmla="*/ 2621684 w 2770358"/>
                <a:gd name="connsiteY1" fmla="*/ 2785689 h 2785689"/>
                <a:gd name="connsiteX2" fmla="*/ 2770358 w 2770358"/>
                <a:gd name="connsiteY2" fmla="*/ 2657778 h 2785689"/>
                <a:gd name="connsiteX3" fmla="*/ 2663510 w 2770358"/>
                <a:gd name="connsiteY3" fmla="*/ 2544581 h 2785689"/>
                <a:gd name="connsiteX4" fmla="*/ 2579690 w 2770358"/>
                <a:gd name="connsiteY4" fmla="*/ 2451512 h 2785689"/>
                <a:gd name="connsiteX5" fmla="*/ 2512718 w 2770358"/>
                <a:gd name="connsiteY5" fmla="*/ 2362227 h 2785689"/>
                <a:gd name="connsiteX6" fmla="*/ 2527958 w 2770358"/>
                <a:gd name="connsiteY6" fmla="*/ 2255547 h 2785689"/>
                <a:gd name="connsiteX7" fmla="*/ 2550818 w 2770358"/>
                <a:gd name="connsiteY7" fmla="*/ 2148867 h 2785689"/>
                <a:gd name="connsiteX8" fmla="*/ 2566058 w 2770358"/>
                <a:gd name="connsiteY8" fmla="*/ 2026947 h 2785689"/>
                <a:gd name="connsiteX9" fmla="*/ 2527958 w 2770358"/>
                <a:gd name="connsiteY9" fmla="*/ 1912647 h 2785689"/>
                <a:gd name="connsiteX10" fmla="*/ 2466998 w 2770358"/>
                <a:gd name="connsiteY10" fmla="*/ 1821207 h 2785689"/>
                <a:gd name="connsiteX11" fmla="*/ 882038 w 2770358"/>
                <a:gd name="connsiteY11" fmla="*/ 114327 h 2785689"/>
                <a:gd name="connsiteX12" fmla="*/ 782978 w 2770358"/>
                <a:gd name="connsiteY12" fmla="*/ 22887 h 2785689"/>
                <a:gd name="connsiteX13" fmla="*/ 638198 w 2770358"/>
                <a:gd name="connsiteY13" fmla="*/ 27 h 2785689"/>
                <a:gd name="connsiteX14" fmla="*/ 501038 w 2770358"/>
                <a:gd name="connsiteY14" fmla="*/ 38127 h 2785689"/>
                <a:gd name="connsiteX15" fmla="*/ 356258 w 2770358"/>
                <a:gd name="connsiteY15" fmla="*/ 53367 h 2785689"/>
                <a:gd name="connsiteX16" fmla="*/ 295298 w 2770358"/>
                <a:gd name="connsiteY16" fmla="*/ 38127 h 2785689"/>
                <a:gd name="connsiteX17" fmla="*/ 169717 w 2770358"/>
                <a:gd name="connsiteY17" fmla="*/ 0 h 2785689"/>
                <a:gd name="connsiteX18" fmla="*/ 0 w 2770358"/>
                <a:gd name="connsiteY18" fmla="*/ 38443 h 2785689"/>
                <a:gd name="connsiteX0" fmla="*/ 0 w 2770358"/>
                <a:gd name="connsiteY0" fmla="*/ 38443 h 2785689"/>
                <a:gd name="connsiteX1" fmla="*/ 2621684 w 2770358"/>
                <a:gd name="connsiteY1" fmla="*/ 2785689 h 2785689"/>
                <a:gd name="connsiteX2" fmla="*/ 2770358 w 2770358"/>
                <a:gd name="connsiteY2" fmla="*/ 2657778 h 2785689"/>
                <a:gd name="connsiteX3" fmla="*/ 2663510 w 2770358"/>
                <a:gd name="connsiteY3" fmla="*/ 2544581 h 2785689"/>
                <a:gd name="connsiteX4" fmla="*/ 2579690 w 2770358"/>
                <a:gd name="connsiteY4" fmla="*/ 2451512 h 2785689"/>
                <a:gd name="connsiteX5" fmla="*/ 2512718 w 2770358"/>
                <a:gd name="connsiteY5" fmla="*/ 2362227 h 2785689"/>
                <a:gd name="connsiteX6" fmla="*/ 2527958 w 2770358"/>
                <a:gd name="connsiteY6" fmla="*/ 2255547 h 2785689"/>
                <a:gd name="connsiteX7" fmla="*/ 2550818 w 2770358"/>
                <a:gd name="connsiteY7" fmla="*/ 2148867 h 2785689"/>
                <a:gd name="connsiteX8" fmla="*/ 2566058 w 2770358"/>
                <a:gd name="connsiteY8" fmla="*/ 2026947 h 2785689"/>
                <a:gd name="connsiteX9" fmla="*/ 2527958 w 2770358"/>
                <a:gd name="connsiteY9" fmla="*/ 1912647 h 2785689"/>
                <a:gd name="connsiteX10" fmla="*/ 2466998 w 2770358"/>
                <a:gd name="connsiteY10" fmla="*/ 1821207 h 2785689"/>
                <a:gd name="connsiteX11" fmla="*/ 882038 w 2770358"/>
                <a:gd name="connsiteY11" fmla="*/ 114327 h 2785689"/>
                <a:gd name="connsiteX12" fmla="*/ 782978 w 2770358"/>
                <a:gd name="connsiteY12" fmla="*/ 22887 h 2785689"/>
                <a:gd name="connsiteX13" fmla="*/ 638198 w 2770358"/>
                <a:gd name="connsiteY13" fmla="*/ 27 h 2785689"/>
                <a:gd name="connsiteX14" fmla="*/ 501038 w 2770358"/>
                <a:gd name="connsiteY14" fmla="*/ 38127 h 2785689"/>
                <a:gd name="connsiteX15" fmla="*/ 356258 w 2770358"/>
                <a:gd name="connsiteY15" fmla="*/ 53367 h 2785689"/>
                <a:gd name="connsiteX16" fmla="*/ 227610 w 2770358"/>
                <a:gd name="connsiteY16" fmla="*/ 53315 h 2785689"/>
                <a:gd name="connsiteX17" fmla="*/ 169717 w 2770358"/>
                <a:gd name="connsiteY17" fmla="*/ 0 h 2785689"/>
                <a:gd name="connsiteX18" fmla="*/ 0 w 2770358"/>
                <a:gd name="connsiteY18" fmla="*/ 38443 h 2785689"/>
                <a:gd name="connsiteX0" fmla="*/ 0 w 2770358"/>
                <a:gd name="connsiteY0" fmla="*/ 38443 h 2785689"/>
                <a:gd name="connsiteX1" fmla="*/ 2621684 w 2770358"/>
                <a:gd name="connsiteY1" fmla="*/ 2785689 h 2785689"/>
                <a:gd name="connsiteX2" fmla="*/ 2770358 w 2770358"/>
                <a:gd name="connsiteY2" fmla="*/ 2657778 h 2785689"/>
                <a:gd name="connsiteX3" fmla="*/ 2663510 w 2770358"/>
                <a:gd name="connsiteY3" fmla="*/ 2544581 h 2785689"/>
                <a:gd name="connsiteX4" fmla="*/ 2579690 w 2770358"/>
                <a:gd name="connsiteY4" fmla="*/ 2451512 h 2785689"/>
                <a:gd name="connsiteX5" fmla="*/ 2512718 w 2770358"/>
                <a:gd name="connsiteY5" fmla="*/ 2362227 h 2785689"/>
                <a:gd name="connsiteX6" fmla="*/ 2527958 w 2770358"/>
                <a:gd name="connsiteY6" fmla="*/ 2255547 h 2785689"/>
                <a:gd name="connsiteX7" fmla="*/ 2550818 w 2770358"/>
                <a:gd name="connsiteY7" fmla="*/ 2148867 h 2785689"/>
                <a:gd name="connsiteX8" fmla="*/ 2566058 w 2770358"/>
                <a:gd name="connsiteY8" fmla="*/ 2026947 h 2785689"/>
                <a:gd name="connsiteX9" fmla="*/ 2527958 w 2770358"/>
                <a:gd name="connsiteY9" fmla="*/ 1912647 h 2785689"/>
                <a:gd name="connsiteX10" fmla="*/ 2466998 w 2770358"/>
                <a:gd name="connsiteY10" fmla="*/ 1821207 h 2785689"/>
                <a:gd name="connsiteX11" fmla="*/ 882038 w 2770358"/>
                <a:gd name="connsiteY11" fmla="*/ 114327 h 2785689"/>
                <a:gd name="connsiteX12" fmla="*/ 782978 w 2770358"/>
                <a:gd name="connsiteY12" fmla="*/ 22887 h 2785689"/>
                <a:gd name="connsiteX13" fmla="*/ 638198 w 2770358"/>
                <a:gd name="connsiteY13" fmla="*/ 27 h 2785689"/>
                <a:gd name="connsiteX14" fmla="*/ 356258 w 2770358"/>
                <a:gd name="connsiteY14" fmla="*/ 53367 h 2785689"/>
                <a:gd name="connsiteX15" fmla="*/ 227610 w 2770358"/>
                <a:gd name="connsiteY15" fmla="*/ 53315 h 2785689"/>
                <a:gd name="connsiteX16" fmla="*/ 169717 w 2770358"/>
                <a:gd name="connsiteY16" fmla="*/ 0 h 2785689"/>
                <a:gd name="connsiteX17" fmla="*/ 0 w 2770358"/>
                <a:gd name="connsiteY17" fmla="*/ 38443 h 2785689"/>
                <a:gd name="connsiteX0" fmla="*/ 0 w 2770358"/>
                <a:gd name="connsiteY0" fmla="*/ 38443 h 2785689"/>
                <a:gd name="connsiteX1" fmla="*/ 2621684 w 2770358"/>
                <a:gd name="connsiteY1" fmla="*/ 2785689 h 2785689"/>
                <a:gd name="connsiteX2" fmla="*/ 2770358 w 2770358"/>
                <a:gd name="connsiteY2" fmla="*/ 2657778 h 2785689"/>
                <a:gd name="connsiteX3" fmla="*/ 2663510 w 2770358"/>
                <a:gd name="connsiteY3" fmla="*/ 2544581 h 2785689"/>
                <a:gd name="connsiteX4" fmla="*/ 2579690 w 2770358"/>
                <a:gd name="connsiteY4" fmla="*/ 2451512 h 2785689"/>
                <a:gd name="connsiteX5" fmla="*/ 2512718 w 2770358"/>
                <a:gd name="connsiteY5" fmla="*/ 2362227 h 2785689"/>
                <a:gd name="connsiteX6" fmla="*/ 2527958 w 2770358"/>
                <a:gd name="connsiteY6" fmla="*/ 2255547 h 2785689"/>
                <a:gd name="connsiteX7" fmla="*/ 2550818 w 2770358"/>
                <a:gd name="connsiteY7" fmla="*/ 2148867 h 2785689"/>
                <a:gd name="connsiteX8" fmla="*/ 2566058 w 2770358"/>
                <a:gd name="connsiteY8" fmla="*/ 2026947 h 2785689"/>
                <a:gd name="connsiteX9" fmla="*/ 2527958 w 2770358"/>
                <a:gd name="connsiteY9" fmla="*/ 1912647 h 2785689"/>
                <a:gd name="connsiteX10" fmla="*/ 2466998 w 2770358"/>
                <a:gd name="connsiteY10" fmla="*/ 1821207 h 2785689"/>
                <a:gd name="connsiteX11" fmla="*/ 867788 w 2770358"/>
                <a:gd name="connsiteY11" fmla="*/ 140905 h 2785689"/>
                <a:gd name="connsiteX12" fmla="*/ 782978 w 2770358"/>
                <a:gd name="connsiteY12" fmla="*/ 22887 h 2785689"/>
                <a:gd name="connsiteX13" fmla="*/ 638198 w 2770358"/>
                <a:gd name="connsiteY13" fmla="*/ 27 h 2785689"/>
                <a:gd name="connsiteX14" fmla="*/ 356258 w 2770358"/>
                <a:gd name="connsiteY14" fmla="*/ 53367 h 2785689"/>
                <a:gd name="connsiteX15" fmla="*/ 227610 w 2770358"/>
                <a:gd name="connsiteY15" fmla="*/ 53315 h 2785689"/>
                <a:gd name="connsiteX16" fmla="*/ 169717 w 2770358"/>
                <a:gd name="connsiteY16" fmla="*/ 0 h 2785689"/>
                <a:gd name="connsiteX17" fmla="*/ 0 w 2770358"/>
                <a:gd name="connsiteY17" fmla="*/ 38443 h 2785689"/>
                <a:gd name="connsiteX0" fmla="*/ 0 w 2770358"/>
                <a:gd name="connsiteY0" fmla="*/ 38443 h 2785689"/>
                <a:gd name="connsiteX1" fmla="*/ 2621684 w 2770358"/>
                <a:gd name="connsiteY1" fmla="*/ 2785689 h 2785689"/>
                <a:gd name="connsiteX2" fmla="*/ 2770358 w 2770358"/>
                <a:gd name="connsiteY2" fmla="*/ 2657778 h 2785689"/>
                <a:gd name="connsiteX3" fmla="*/ 2663510 w 2770358"/>
                <a:gd name="connsiteY3" fmla="*/ 2544581 h 2785689"/>
                <a:gd name="connsiteX4" fmla="*/ 2579690 w 2770358"/>
                <a:gd name="connsiteY4" fmla="*/ 2451512 h 2785689"/>
                <a:gd name="connsiteX5" fmla="*/ 2512718 w 2770358"/>
                <a:gd name="connsiteY5" fmla="*/ 2362227 h 2785689"/>
                <a:gd name="connsiteX6" fmla="*/ 2527958 w 2770358"/>
                <a:gd name="connsiteY6" fmla="*/ 2255547 h 2785689"/>
                <a:gd name="connsiteX7" fmla="*/ 2550818 w 2770358"/>
                <a:gd name="connsiteY7" fmla="*/ 2148867 h 2785689"/>
                <a:gd name="connsiteX8" fmla="*/ 2566058 w 2770358"/>
                <a:gd name="connsiteY8" fmla="*/ 2026947 h 2785689"/>
                <a:gd name="connsiteX9" fmla="*/ 2527958 w 2770358"/>
                <a:gd name="connsiteY9" fmla="*/ 1912647 h 2785689"/>
                <a:gd name="connsiteX10" fmla="*/ 2466998 w 2770358"/>
                <a:gd name="connsiteY10" fmla="*/ 1821207 h 2785689"/>
                <a:gd name="connsiteX11" fmla="*/ 867788 w 2770358"/>
                <a:gd name="connsiteY11" fmla="*/ 140905 h 2785689"/>
                <a:gd name="connsiteX12" fmla="*/ 638198 w 2770358"/>
                <a:gd name="connsiteY12" fmla="*/ 27 h 2785689"/>
                <a:gd name="connsiteX13" fmla="*/ 356258 w 2770358"/>
                <a:gd name="connsiteY13" fmla="*/ 53367 h 2785689"/>
                <a:gd name="connsiteX14" fmla="*/ 227610 w 2770358"/>
                <a:gd name="connsiteY14" fmla="*/ 53315 h 2785689"/>
                <a:gd name="connsiteX15" fmla="*/ 169717 w 2770358"/>
                <a:gd name="connsiteY15" fmla="*/ 0 h 2785689"/>
                <a:gd name="connsiteX16" fmla="*/ 0 w 2770358"/>
                <a:gd name="connsiteY16" fmla="*/ 38443 h 2785689"/>
                <a:gd name="connsiteX0" fmla="*/ 0 w 2770358"/>
                <a:gd name="connsiteY0" fmla="*/ 38443 h 2785689"/>
                <a:gd name="connsiteX1" fmla="*/ 2621684 w 2770358"/>
                <a:gd name="connsiteY1" fmla="*/ 2785689 h 2785689"/>
                <a:gd name="connsiteX2" fmla="*/ 2770358 w 2770358"/>
                <a:gd name="connsiteY2" fmla="*/ 2657778 h 2785689"/>
                <a:gd name="connsiteX3" fmla="*/ 2663510 w 2770358"/>
                <a:gd name="connsiteY3" fmla="*/ 2544581 h 2785689"/>
                <a:gd name="connsiteX4" fmla="*/ 2579690 w 2770358"/>
                <a:gd name="connsiteY4" fmla="*/ 2451512 h 2785689"/>
                <a:gd name="connsiteX5" fmla="*/ 2512718 w 2770358"/>
                <a:gd name="connsiteY5" fmla="*/ 2362227 h 2785689"/>
                <a:gd name="connsiteX6" fmla="*/ 2527958 w 2770358"/>
                <a:gd name="connsiteY6" fmla="*/ 2255547 h 2785689"/>
                <a:gd name="connsiteX7" fmla="*/ 2550818 w 2770358"/>
                <a:gd name="connsiteY7" fmla="*/ 2148867 h 2785689"/>
                <a:gd name="connsiteX8" fmla="*/ 2566058 w 2770358"/>
                <a:gd name="connsiteY8" fmla="*/ 2026947 h 2785689"/>
                <a:gd name="connsiteX9" fmla="*/ 2527958 w 2770358"/>
                <a:gd name="connsiteY9" fmla="*/ 1912647 h 2785689"/>
                <a:gd name="connsiteX10" fmla="*/ 2466998 w 2770358"/>
                <a:gd name="connsiteY10" fmla="*/ 1821207 h 2785689"/>
                <a:gd name="connsiteX11" fmla="*/ 807226 w 2770358"/>
                <a:gd name="connsiteY11" fmla="*/ 64969 h 2785689"/>
                <a:gd name="connsiteX12" fmla="*/ 638198 w 2770358"/>
                <a:gd name="connsiteY12" fmla="*/ 27 h 2785689"/>
                <a:gd name="connsiteX13" fmla="*/ 356258 w 2770358"/>
                <a:gd name="connsiteY13" fmla="*/ 53367 h 2785689"/>
                <a:gd name="connsiteX14" fmla="*/ 227610 w 2770358"/>
                <a:gd name="connsiteY14" fmla="*/ 53315 h 2785689"/>
                <a:gd name="connsiteX15" fmla="*/ 169717 w 2770358"/>
                <a:gd name="connsiteY15" fmla="*/ 0 h 2785689"/>
                <a:gd name="connsiteX16" fmla="*/ 0 w 2770358"/>
                <a:gd name="connsiteY16" fmla="*/ 38443 h 2785689"/>
                <a:gd name="connsiteX0" fmla="*/ 0 w 2770358"/>
                <a:gd name="connsiteY0" fmla="*/ 38443 h 2785689"/>
                <a:gd name="connsiteX1" fmla="*/ 2621684 w 2770358"/>
                <a:gd name="connsiteY1" fmla="*/ 2785689 h 2785689"/>
                <a:gd name="connsiteX2" fmla="*/ 2770358 w 2770358"/>
                <a:gd name="connsiteY2" fmla="*/ 2657778 h 2785689"/>
                <a:gd name="connsiteX3" fmla="*/ 2663510 w 2770358"/>
                <a:gd name="connsiteY3" fmla="*/ 2544581 h 2785689"/>
                <a:gd name="connsiteX4" fmla="*/ 2579690 w 2770358"/>
                <a:gd name="connsiteY4" fmla="*/ 2451512 h 2785689"/>
                <a:gd name="connsiteX5" fmla="*/ 2512718 w 2770358"/>
                <a:gd name="connsiteY5" fmla="*/ 2362227 h 2785689"/>
                <a:gd name="connsiteX6" fmla="*/ 2527958 w 2770358"/>
                <a:gd name="connsiteY6" fmla="*/ 2255547 h 2785689"/>
                <a:gd name="connsiteX7" fmla="*/ 2550818 w 2770358"/>
                <a:gd name="connsiteY7" fmla="*/ 2148867 h 2785689"/>
                <a:gd name="connsiteX8" fmla="*/ 2566058 w 2770358"/>
                <a:gd name="connsiteY8" fmla="*/ 2026947 h 2785689"/>
                <a:gd name="connsiteX9" fmla="*/ 2527958 w 2770358"/>
                <a:gd name="connsiteY9" fmla="*/ 1912647 h 2785689"/>
                <a:gd name="connsiteX10" fmla="*/ 2466998 w 2770358"/>
                <a:gd name="connsiteY10" fmla="*/ 1821207 h 2785689"/>
                <a:gd name="connsiteX11" fmla="*/ 807226 w 2770358"/>
                <a:gd name="connsiteY11" fmla="*/ 64969 h 2785689"/>
                <a:gd name="connsiteX12" fmla="*/ 638198 w 2770358"/>
                <a:gd name="connsiteY12" fmla="*/ 27 h 2785689"/>
                <a:gd name="connsiteX13" fmla="*/ 356258 w 2770358"/>
                <a:gd name="connsiteY13" fmla="*/ 53367 h 2785689"/>
                <a:gd name="connsiteX14" fmla="*/ 227610 w 2770358"/>
                <a:gd name="connsiteY14" fmla="*/ 53315 h 2785689"/>
                <a:gd name="connsiteX15" fmla="*/ 169717 w 2770358"/>
                <a:gd name="connsiteY15" fmla="*/ 0 h 2785689"/>
                <a:gd name="connsiteX16" fmla="*/ 0 w 2770358"/>
                <a:gd name="connsiteY16" fmla="*/ 38443 h 2785689"/>
                <a:gd name="connsiteX0" fmla="*/ 0 w 2770358"/>
                <a:gd name="connsiteY0" fmla="*/ 45767 h 2793013"/>
                <a:gd name="connsiteX1" fmla="*/ 2621684 w 2770358"/>
                <a:gd name="connsiteY1" fmla="*/ 2793013 h 2793013"/>
                <a:gd name="connsiteX2" fmla="*/ 2770358 w 2770358"/>
                <a:gd name="connsiteY2" fmla="*/ 2665102 h 2793013"/>
                <a:gd name="connsiteX3" fmla="*/ 2663510 w 2770358"/>
                <a:gd name="connsiteY3" fmla="*/ 2551905 h 2793013"/>
                <a:gd name="connsiteX4" fmla="*/ 2579690 w 2770358"/>
                <a:gd name="connsiteY4" fmla="*/ 2458836 h 2793013"/>
                <a:gd name="connsiteX5" fmla="*/ 2512718 w 2770358"/>
                <a:gd name="connsiteY5" fmla="*/ 2369551 h 2793013"/>
                <a:gd name="connsiteX6" fmla="*/ 2527958 w 2770358"/>
                <a:gd name="connsiteY6" fmla="*/ 2262871 h 2793013"/>
                <a:gd name="connsiteX7" fmla="*/ 2550818 w 2770358"/>
                <a:gd name="connsiteY7" fmla="*/ 2156191 h 2793013"/>
                <a:gd name="connsiteX8" fmla="*/ 2566058 w 2770358"/>
                <a:gd name="connsiteY8" fmla="*/ 2034271 h 2793013"/>
                <a:gd name="connsiteX9" fmla="*/ 2527958 w 2770358"/>
                <a:gd name="connsiteY9" fmla="*/ 1919971 h 2793013"/>
                <a:gd name="connsiteX10" fmla="*/ 2466998 w 2770358"/>
                <a:gd name="connsiteY10" fmla="*/ 1828531 h 2793013"/>
                <a:gd name="connsiteX11" fmla="*/ 807226 w 2770358"/>
                <a:gd name="connsiteY11" fmla="*/ 72293 h 2793013"/>
                <a:gd name="connsiteX12" fmla="*/ 638198 w 2770358"/>
                <a:gd name="connsiteY12" fmla="*/ 7351 h 2793013"/>
                <a:gd name="connsiteX13" fmla="*/ 356258 w 2770358"/>
                <a:gd name="connsiteY13" fmla="*/ 60691 h 2793013"/>
                <a:gd name="connsiteX14" fmla="*/ 227610 w 2770358"/>
                <a:gd name="connsiteY14" fmla="*/ 60639 h 2793013"/>
                <a:gd name="connsiteX15" fmla="*/ 169717 w 2770358"/>
                <a:gd name="connsiteY15" fmla="*/ 7324 h 2793013"/>
                <a:gd name="connsiteX16" fmla="*/ 0 w 2770358"/>
                <a:gd name="connsiteY16" fmla="*/ 45767 h 2793013"/>
                <a:gd name="connsiteX0" fmla="*/ 0 w 2770358"/>
                <a:gd name="connsiteY0" fmla="*/ 45767 h 2665102"/>
                <a:gd name="connsiteX1" fmla="*/ 2384318 w 2770358"/>
                <a:gd name="connsiteY1" fmla="*/ 2606666 h 2665102"/>
                <a:gd name="connsiteX2" fmla="*/ 2770358 w 2770358"/>
                <a:gd name="connsiteY2" fmla="*/ 2665102 h 2665102"/>
                <a:gd name="connsiteX3" fmla="*/ 2663510 w 2770358"/>
                <a:gd name="connsiteY3" fmla="*/ 2551905 h 2665102"/>
                <a:gd name="connsiteX4" fmla="*/ 2579690 w 2770358"/>
                <a:gd name="connsiteY4" fmla="*/ 2458836 h 2665102"/>
                <a:gd name="connsiteX5" fmla="*/ 2512718 w 2770358"/>
                <a:gd name="connsiteY5" fmla="*/ 2369551 h 2665102"/>
                <a:gd name="connsiteX6" fmla="*/ 2527958 w 2770358"/>
                <a:gd name="connsiteY6" fmla="*/ 2262871 h 2665102"/>
                <a:gd name="connsiteX7" fmla="*/ 2550818 w 2770358"/>
                <a:gd name="connsiteY7" fmla="*/ 2156191 h 2665102"/>
                <a:gd name="connsiteX8" fmla="*/ 2566058 w 2770358"/>
                <a:gd name="connsiteY8" fmla="*/ 2034271 h 2665102"/>
                <a:gd name="connsiteX9" fmla="*/ 2527958 w 2770358"/>
                <a:gd name="connsiteY9" fmla="*/ 1919971 h 2665102"/>
                <a:gd name="connsiteX10" fmla="*/ 2466998 w 2770358"/>
                <a:gd name="connsiteY10" fmla="*/ 1828531 h 2665102"/>
                <a:gd name="connsiteX11" fmla="*/ 807226 w 2770358"/>
                <a:gd name="connsiteY11" fmla="*/ 72293 h 2665102"/>
                <a:gd name="connsiteX12" fmla="*/ 638198 w 2770358"/>
                <a:gd name="connsiteY12" fmla="*/ 7351 h 2665102"/>
                <a:gd name="connsiteX13" fmla="*/ 356258 w 2770358"/>
                <a:gd name="connsiteY13" fmla="*/ 60691 h 2665102"/>
                <a:gd name="connsiteX14" fmla="*/ 227610 w 2770358"/>
                <a:gd name="connsiteY14" fmla="*/ 60639 h 2665102"/>
                <a:gd name="connsiteX15" fmla="*/ 169717 w 2770358"/>
                <a:gd name="connsiteY15" fmla="*/ 7324 h 2665102"/>
                <a:gd name="connsiteX16" fmla="*/ 0 w 2770358"/>
                <a:gd name="connsiteY16" fmla="*/ 45767 h 2665102"/>
                <a:gd name="connsiteX0" fmla="*/ 0 w 2663510"/>
                <a:gd name="connsiteY0" fmla="*/ 45767 h 2606666"/>
                <a:gd name="connsiteX1" fmla="*/ 2384318 w 2663510"/>
                <a:gd name="connsiteY1" fmla="*/ 2606666 h 2606666"/>
                <a:gd name="connsiteX2" fmla="*/ 2501039 w 2663510"/>
                <a:gd name="connsiteY2" fmla="*/ 2471494 h 2606666"/>
                <a:gd name="connsiteX3" fmla="*/ 2663510 w 2663510"/>
                <a:gd name="connsiteY3" fmla="*/ 2551905 h 2606666"/>
                <a:gd name="connsiteX4" fmla="*/ 2579690 w 2663510"/>
                <a:gd name="connsiteY4" fmla="*/ 2458836 h 2606666"/>
                <a:gd name="connsiteX5" fmla="*/ 2512718 w 2663510"/>
                <a:gd name="connsiteY5" fmla="*/ 2369551 h 2606666"/>
                <a:gd name="connsiteX6" fmla="*/ 2527958 w 2663510"/>
                <a:gd name="connsiteY6" fmla="*/ 2262871 h 2606666"/>
                <a:gd name="connsiteX7" fmla="*/ 2550818 w 2663510"/>
                <a:gd name="connsiteY7" fmla="*/ 2156191 h 2606666"/>
                <a:gd name="connsiteX8" fmla="*/ 2566058 w 2663510"/>
                <a:gd name="connsiteY8" fmla="*/ 2034271 h 2606666"/>
                <a:gd name="connsiteX9" fmla="*/ 2527958 w 2663510"/>
                <a:gd name="connsiteY9" fmla="*/ 1919971 h 2606666"/>
                <a:gd name="connsiteX10" fmla="*/ 2466998 w 2663510"/>
                <a:gd name="connsiteY10" fmla="*/ 1828531 h 2606666"/>
                <a:gd name="connsiteX11" fmla="*/ 807226 w 2663510"/>
                <a:gd name="connsiteY11" fmla="*/ 72293 h 2606666"/>
                <a:gd name="connsiteX12" fmla="*/ 638198 w 2663510"/>
                <a:gd name="connsiteY12" fmla="*/ 7351 h 2606666"/>
                <a:gd name="connsiteX13" fmla="*/ 356258 w 2663510"/>
                <a:gd name="connsiteY13" fmla="*/ 60691 h 2606666"/>
                <a:gd name="connsiteX14" fmla="*/ 227610 w 2663510"/>
                <a:gd name="connsiteY14" fmla="*/ 60639 h 2606666"/>
                <a:gd name="connsiteX15" fmla="*/ 169717 w 2663510"/>
                <a:gd name="connsiteY15" fmla="*/ 7324 h 2606666"/>
                <a:gd name="connsiteX16" fmla="*/ 0 w 2663510"/>
                <a:gd name="connsiteY16" fmla="*/ 45767 h 2606666"/>
                <a:gd name="connsiteX0" fmla="*/ 0 w 2579690"/>
                <a:gd name="connsiteY0" fmla="*/ 45767 h 2606666"/>
                <a:gd name="connsiteX1" fmla="*/ 2384318 w 2579690"/>
                <a:gd name="connsiteY1" fmla="*/ 2606666 h 2606666"/>
                <a:gd name="connsiteX2" fmla="*/ 2501039 w 2579690"/>
                <a:gd name="connsiteY2" fmla="*/ 2471494 h 2606666"/>
                <a:gd name="connsiteX3" fmla="*/ 2460379 w 2579690"/>
                <a:gd name="connsiteY3" fmla="*/ 2367977 h 2606666"/>
                <a:gd name="connsiteX4" fmla="*/ 2579690 w 2579690"/>
                <a:gd name="connsiteY4" fmla="*/ 2458836 h 2606666"/>
                <a:gd name="connsiteX5" fmla="*/ 2512718 w 2579690"/>
                <a:gd name="connsiteY5" fmla="*/ 2369551 h 2606666"/>
                <a:gd name="connsiteX6" fmla="*/ 2527958 w 2579690"/>
                <a:gd name="connsiteY6" fmla="*/ 2262871 h 2606666"/>
                <a:gd name="connsiteX7" fmla="*/ 2550818 w 2579690"/>
                <a:gd name="connsiteY7" fmla="*/ 2156191 h 2606666"/>
                <a:gd name="connsiteX8" fmla="*/ 2566058 w 2579690"/>
                <a:gd name="connsiteY8" fmla="*/ 2034271 h 2606666"/>
                <a:gd name="connsiteX9" fmla="*/ 2527958 w 2579690"/>
                <a:gd name="connsiteY9" fmla="*/ 1919971 h 2606666"/>
                <a:gd name="connsiteX10" fmla="*/ 2466998 w 2579690"/>
                <a:gd name="connsiteY10" fmla="*/ 1828531 h 2606666"/>
                <a:gd name="connsiteX11" fmla="*/ 807226 w 2579690"/>
                <a:gd name="connsiteY11" fmla="*/ 72293 h 2606666"/>
                <a:gd name="connsiteX12" fmla="*/ 638198 w 2579690"/>
                <a:gd name="connsiteY12" fmla="*/ 7351 h 2606666"/>
                <a:gd name="connsiteX13" fmla="*/ 356258 w 2579690"/>
                <a:gd name="connsiteY13" fmla="*/ 60691 h 2606666"/>
                <a:gd name="connsiteX14" fmla="*/ 227610 w 2579690"/>
                <a:gd name="connsiteY14" fmla="*/ 60639 h 2606666"/>
                <a:gd name="connsiteX15" fmla="*/ 169717 w 2579690"/>
                <a:gd name="connsiteY15" fmla="*/ 7324 h 2606666"/>
                <a:gd name="connsiteX16" fmla="*/ 0 w 2579690"/>
                <a:gd name="connsiteY16" fmla="*/ 45767 h 2606666"/>
                <a:gd name="connsiteX0" fmla="*/ 0 w 2566058"/>
                <a:gd name="connsiteY0" fmla="*/ 45767 h 2606666"/>
                <a:gd name="connsiteX1" fmla="*/ 2384318 w 2566058"/>
                <a:gd name="connsiteY1" fmla="*/ 2606666 h 2606666"/>
                <a:gd name="connsiteX2" fmla="*/ 2501039 w 2566058"/>
                <a:gd name="connsiteY2" fmla="*/ 2471494 h 2606666"/>
                <a:gd name="connsiteX3" fmla="*/ 2460379 w 2566058"/>
                <a:gd name="connsiteY3" fmla="*/ 2367977 h 2606666"/>
                <a:gd name="connsiteX4" fmla="*/ 2512718 w 2566058"/>
                <a:gd name="connsiteY4" fmla="*/ 2369551 h 2606666"/>
                <a:gd name="connsiteX5" fmla="*/ 2527958 w 2566058"/>
                <a:gd name="connsiteY5" fmla="*/ 2262871 h 2606666"/>
                <a:gd name="connsiteX6" fmla="*/ 2550818 w 2566058"/>
                <a:gd name="connsiteY6" fmla="*/ 2156191 h 2606666"/>
                <a:gd name="connsiteX7" fmla="*/ 2566058 w 2566058"/>
                <a:gd name="connsiteY7" fmla="*/ 2034271 h 2606666"/>
                <a:gd name="connsiteX8" fmla="*/ 2527958 w 2566058"/>
                <a:gd name="connsiteY8" fmla="*/ 1919971 h 2606666"/>
                <a:gd name="connsiteX9" fmla="*/ 2466998 w 2566058"/>
                <a:gd name="connsiteY9" fmla="*/ 1828531 h 2606666"/>
                <a:gd name="connsiteX10" fmla="*/ 807226 w 2566058"/>
                <a:gd name="connsiteY10" fmla="*/ 72293 h 2606666"/>
                <a:gd name="connsiteX11" fmla="*/ 638198 w 2566058"/>
                <a:gd name="connsiteY11" fmla="*/ 7351 h 2606666"/>
                <a:gd name="connsiteX12" fmla="*/ 356258 w 2566058"/>
                <a:gd name="connsiteY12" fmla="*/ 60691 h 2606666"/>
                <a:gd name="connsiteX13" fmla="*/ 227610 w 2566058"/>
                <a:gd name="connsiteY13" fmla="*/ 60639 h 2606666"/>
                <a:gd name="connsiteX14" fmla="*/ 169717 w 2566058"/>
                <a:gd name="connsiteY14" fmla="*/ 7324 h 2606666"/>
                <a:gd name="connsiteX15" fmla="*/ 0 w 2566058"/>
                <a:gd name="connsiteY15" fmla="*/ 45767 h 2606666"/>
                <a:gd name="connsiteX0" fmla="*/ 0 w 2566058"/>
                <a:gd name="connsiteY0" fmla="*/ 45767 h 2606666"/>
                <a:gd name="connsiteX1" fmla="*/ 2384318 w 2566058"/>
                <a:gd name="connsiteY1" fmla="*/ 2606666 h 2606666"/>
                <a:gd name="connsiteX2" fmla="*/ 2501039 w 2566058"/>
                <a:gd name="connsiteY2" fmla="*/ 2471494 h 2606666"/>
                <a:gd name="connsiteX3" fmla="*/ 2460379 w 2566058"/>
                <a:gd name="connsiteY3" fmla="*/ 2367977 h 2606666"/>
                <a:gd name="connsiteX4" fmla="*/ 2527958 w 2566058"/>
                <a:gd name="connsiteY4" fmla="*/ 2262871 h 2606666"/>
                <a:gd name="connsiteX5" fmla="*/ 2550818 w 2566058"/>
                <a:gd name="connsiteY5" fmla="*/ 2156191 h 2606666"/>
                <a:gd name="connsiteX6" fmla="*/ 2566058 w 2566058"/>
                <a:gd name="connsiteY6" fmla="*/ 2034271 h 2606666"/>
                <a:gd name="connsiteX7" fmla="*/ 2527958 w 2566058"/>
                <a:gd name="connsiteY7" fmla="*/ 1919971 h 2606666"/>
                <a:gd name="connsiteX8" fmla="*/ 2466998 w 2566058"/>
                <a:gd name="connsiteY8" fmla="*/ 1828531 h 2606666"/>
                <a:gd name="connsiteX9" fmla="*/ 807226 w 2566058"/>
                <a:gd name="connsiteY9" fmla="*/ 72293 h 2606666"/>
                <a:gd name="connsiteX10" fmla="*/ 638198 w 2566058"/>
                <a:gd name="connsiteY10" fmla="*/ 7351 h 2606666"/>
                <a:gd name="connsiteX11" fmla="*/ 356258 w 2566058"/>
                <a:gd name="connsiteY11" fmla="*/ 60691 h 2606666"/>
                <a:gd name="connsiteX12" fmla="*/ 227610 w 2566058"/>
                <a:gd name="connsiteY12" fmla="*/ 60639 h 2606666"/>
                <a:gd name="connsiteX13" fmla="*/ 169717 w 2566058"/>
                <a:gd name="connsiteY13" fmla="*/ 7324 h 2606666"/>
                <a:gd name="connsiteX14" fmla="*/ 0 w 2566058"/>
                <a:gd name="connsiteY14" fmla="*/ 45767 h 2606666"/>
                <a:gd name="connsiteX0" fmla="*/ 0 w 2566058"/>
                <a:gd name="connsiteY0" fmla="*/ 45767 h 2606666"/>
                <a:gd name="connsiteX1" fmla="*/ 2384318 w 2566058"/>
                <a:gd name="connsiteY1" fmla="*/ 2606666 h 2606666"/>
                <a:gd name="connsiteX2" fmla="*/ 2501039 w 2566058"/>
                <a:gd name="connsiteY2" fmla="*/ 2471494 h 2606666"/>
                <a:gd name="connsiteX3" fmla="*/ 2460379 w 2566058"/>
                <a:gd name="connsiteY3" fmla="*/ 2367977 h 2606666"/>
                <a:gd name="connsiteX4" fmla="*/ 2550818 w 2566058"/>
                <a:gd name="connsiteY4" fmla="*/ 2156191 h 2606666"/>
                <a:gd name="connsiteX5" fmla="*/ 2566058 w 2566058"/>
                <a:gd name="connsiteY5" fmla="*/ 2034271 h 2606666"/>
                <a:gd name="connsiteX6" fmla="*/ 2527958 w 2566058"/>
                <a:gd name="connsiteY6" fmla="*/ 1919971 h 2606666"/>
                <a:gd name="connsiteX7" fmla="*/ 2466998 w 2566058"/>
                <a:gd name="connsiteY7" fmla="*/ 1828531 h 2606666"/>
                <a:gd name="connsiteX8" fmla="*/ 807226 w 2566058"/>
                <a:gd name="connsiteY8" fmla="*/ 72293 h 2606666"/>
                <a:gd name="connsiteX9" fmla="*/ 638198 w 2566058"/>
                <a:gd name="connsiteY9" fmla="*/ 7351 h 2606666"/>
                <a:gd name="connsiteX10" fmla="*/ 356258 w 2566058"/>
                <a:gd name="connsiteY10" fmla="*/ 60691 h 2606666"/>
                <a:gd name="connsiteX11" fmla="*/ 227610 w 2566058"/>
                <a:gd name="connsiteY11" fmla="*/ 60639 h 2606666"/>
                <a:gd name="connsiteX12" fmla="*/ 169717 w 2566058"/>
                <a:gd name="connsiteY12" fmla="*/ 7324 h 2606666"/>
                <a:gd name="connsiteX13" fmla="*/ 0 w 2566058"/>
                <a:gd name="connsiteY13" fmla="*/ 45767 h 2606666"/>
                <a:gd name="connsiteX0" fmla="*/ 0 w 2566058"/>
                <a:gd name="connsiteY0" fmla="*/ 45767 h 2606666"/>
                <a:gd name="connsiteX1" fmla="*/ 2384318 w 2566058"/>
                <a:gd name="connsiteY1" fmla="*/ 2606666 h 2606666"/>
                <a:gd name="connsiteX2" fmla="*/ 2501039 w 2566058"/>
                <a:gd name="connsiteY2" fmla="*/ 2471494 h 2606666"/>
                <a:gd name="connsiteX3" fmla="*/ 2460379 w 2566058"/>
                <a:gd name="connsiteY3" fmla="*/ 2367977 h 2606666"/>
                <a:gd name="connsiteX4" fmla="*/ 2566058 w 2566058"/>
                <a:gd name="connsiteY4" fmla="*/ 2034271 h 2606666"/>
                <a:gd name="connsiteX5" fmla="*/ 2527958 w 2566058"/>
                <a:gd name="connsiteY5" fmla="*/ 1919971 h 2606666"/>
                <a:gd name="connsiteX6" fmla="*/ 2466998 w 2566058"/>
                <a:gd name="connsiteY6" fmla="*/ 1828531 h 2606666"/>
                <a:gd name="connsiteX7" fmla="*/ 807226 w 2566058"/>
                <a:gd name="connsiteY7" fmla="*/ 72293 h 2606666"/>
                <a:gd name="connsiteX8" fmla="*/ 638198 w 2566058"/>
                <a:gd name="connsiteY8" fmla="*/ 7351 h 2606666"/>
                <a:gd name="connsiteX9" fmla="*/ 356258 w 2566058"/>
                <a:gd name="connsiteY9" fmla="*/ 60691 h 2606666"/>
                <a:gd name="connsiteX10" fmla="*/ 227610 w 2566058"/>
                <a:gd name="connsiteY10" fmla="*/ 60639 h 2606666"/>
                <a:gd name="connsiteX11" fmla="*/ 169717 w 2566058"/>
                <a:gd name="connsiteY11" fmla="*/ 7324 h 2606666"/>
                <a:gd name="connsiteX12" fmla="*/ 0 w 2566058"/>
                <a:gd name="connsiteY12" fmla="*/ 45767 h 2606666"/>
                <a:gd name="connsiteX0" fmla="*/ 0 w 2527958"/>
                <a:gd name="connsiteY0" fmla="*/ 45767 h 2606666"/>
                <a:gd name="connsiteX1" fmla="*/ 2384318 w 2527958"/>
                <a:gd name="connsiteY1" fmla="*/ 2606666 h 2606666"/>
                <a:gd name="connsiteX2" fmla="*/ 2501039 w 2527958"/>
                <a:gd name="connsiteY2" fmla="*/ 2471494 h 2606666"/>
                <a:gd name="connsiteX3" fmla="*/ 2460379 w 2527958"/>
                <a:gd name="connsiteY3" fmla="*/ 2367977 h 2606666"/>
                <a:gd name="connsiteX4" fmla="*/ 2527958 w 2527958"/>
                <a:gd name="connsiteY4" fmla="*/ 1919971 h 2606666"/>
                <a:gd name="connsiteX5" fmla="*/ 2466998 w 2527958"/>
                <a:gd name="connsiteY5" fmla="*/ 1828531 h 2606666"/>
                <a:gd name="connsiteX6" fmla="*/ 807226 w 2527958"/>
                <a:gd name="connsiteY6" fmla="*/ 72293 h 2606666"/>
                <a:gd name="connsiteX7" fmla="*/ 638198 w 2527958"/>
                <a:gd name="connsiteY7" fmla="*/ 7351 h 2606666"/>
                <a:gd name="connsiteX8" fmla="*/ 356258 w 2527958"/>
                <a:gd name="connsiteY8" fmla="*/ 60691 h 2606666"/>
                <a:gd name="connsiteX9" fmla="*/ 227610 w 2527958"/>
                <a:gd name="connsiteY9" fmla="*/ 60639 h 2606666"/>
                <a:gd name="connsiteX10" fmla="*/ 169717 w 2527958"/>
                <a:gd name="connsiteY10" fmla="*/ 7324 h 2606666"/>
                <a:gd name="connsiteX11" fmla="*/ 0 w 2527958"/>
                <a:gd name="connsiteY11" fmla="*/ 45767 h 2606666"/>
                <a:gd name="connsiteX0" fmla="*/ 0 w 2509699"/>
                <a:gd name="connsiteY0" fmla="*/ 45767 h 2606666"/>
                <a:gd name="connsiteX1" fmla="*/ 2384318 w 2509699"/>
                <a:gd name="connsiteY1" fmla="*/ 2606666 h 2606666"/>
                <a:gd name="connsiteX2" fmla="*/ 2501039 w 2509699"/>
                <a:gd name="connsiteY2" fmla="*/ 2471494 h 2606666"/>
                <a:gd name="connsiteX3" fmla="*/ 2460379 w 2509699"/>
                <a:gd name="connsiteY3" fmla="*/ 2367977 h 2606666"/>
                <a:gd name="connsiteX4" fmla="*/ 2509699 w 2509699"/>
                <a:gd name="connsiteY4" fmla="*/ 1968373 h 2606666"/>
                <a:gd name="connsiteX5" fmla="*/ 2466998 w 2509699"/>
                <a:gd name="connsiteY5" fmla="*/ 1828531 h 2606666"/>
                <a:gd name="connsiteX6" fmla="*/ 807226 w 2509699"/>
                <a:gd name="connsiteY6" fmla="*/ 72293 h 2606666"/>
                <a:gd name="connsiteX7" fmla="*/ 638198 w 2509699"/>
                <a:gd name="connsiteY7" fmla="*/ 7351 h 2606666"/>
                <a:gd name="connsiteX8" fmla="*/ 356258 w 2509699"/>
                <a:gd name="connsiteY8" fmla="*/ 60691 h 2606666"/>
                <a:gd name="connsiteX9" fmla="*/ 227610 w 2509699"/>
                <a:gd name="connsiteY9" fmla="*/ 60639 h 2606666"/>
                <a:gd name="connsiteX10" fmla="*/ 169717 w 2509699"/>
                <a:gd name="connsiteY10" fmla="*/ 7324 h 2606666"/>
                <a:gd name="connsiteX11" fmla="*/ 0 w 2509699"/>
                <a:gd name="connsiteY11" fmla="*/ 45767 h 2606666"/>
                <a:gd name="connsiteX0" fmla="*/ 0 w 2509699"/>
                <a:gd name="connsiteY0" fmla="*/ 45767 h 2606666"/>
                <a:gd name="connsiteX1" fmla="*/ 2384318 w 2509699"/>
                <a:gd name="connsiteY1" fmla="*/ 2606666 h 2606666"/>
                <a:gd name="connsiteX2" fmla="*/ 2501039 w 2509699"/>
                <a:gd name="connsiteY2" fmla="*/ 2471494 h 2606666"/>
                <a:gd name="connsiteX3" fmla="*/ 2460379 w 2509699"/>
                <a:gd name="connsiteY3" fmla="*/ 2367977 h 2606666"/>
                <a:gd name="connsiteX4" fmla="*/ 2509699 w 2509699"/>
                <a:gd name="connsiteY4" fmla="*/ 1968373 h 2606666"/>
                <a:gd name="connsiteX5" fmla="*/ 2466998 w 2509699"/>
                <a:gd name="connsiteY5" fmla="*/ 1847892 h 2606666"/>
                <a:gd name="connsiteX6" fmla="*/ 807226 w 2509699"/>
                <a:gd name="connsiteY6" fmla="*/ 72293 h 2606666"/>
                <a:gd name="connsiteX7" fmla="*/ 638198 w 2509699"/>
                <a:gd name="connsiteY7" fmla="*/ 7351 h 2606666"/>
                <a:gd name="connsiteX8" fmla="*/ 356258 w 2509699"/>
                <a:gd name="connsiteY8" fmla="*/ 60691 h 2606666"/>
                <a:gd name="connsiteX9" fmla="*/ 227610 w 2509699"/>
                <a:gd name="connsiteY9" fmla="*/ 60639 h 2606666"/>
                <a:gd name="connsiteX10" fmla="*/ 169717 w 2509699"/>
                <a:gd name="connsiteY10" fmla="*/ 7324 h 2606666"/>
                <a:gd name="connsiteX11" fmla="*/ 0 w 2509699"/>
                <a:gd name="connsiteY11" fmla="*/ 45767 h 2606666"/>
                <a:gd name="connsiteX0" fmla="*/ 0 w 2509699"/>
                <a:gd name="connsiteY0" fmla="*/ 45767 h 2606666"/>
                <a:gd name="connsiteX1" fmla="*/ 2384318 w 2509699"/>
                <a:gd name="connsiteY1" fmla="*/ 2606666 h 2606666"/>
                <a:gd name="connsiteX2" fmla="*/ 2501039 w 2509699"/>
                <a:gd name="connsiteY2" fmla="*/ 2471494 h 2606666"/>
                <a:gd name="connsiteX3" fmla="*/ 2460379 w 2509699"/>
                <a:gd name="connsiteY3" fmla="*/ 2367977 h 2606666"/>
                <a:gd name="connsiteX4" fmla="*/ 2509699 w 2509699"/>
                <a:gd name="connsiteY4" fmla="*/ 1968373 h 2606666"/>
                <a:gd name="connsiteX5" fmla="*/ 2466998 w 2509699"/>
                <a:gd name="connsiteY5" fmla="*/ 1847892 h 2606666"/>
                <a:gd name="connsiteX6" fmla="*/ 807226 w 2509699"/>
                <a:gd name="connsiteY6" fmla="*/ 72293 h 2606666"/>
                <a:gd name="connsiteX7" fmla="*/ 638198 w 2509699"/>
                <a:gd name="connsiteY7" fmla="*/ 7351 h 2606666"/>
                <a:gd name="connsiteX8" fmla="*/ 356258 w 2509699"/>
                <a:gd name="connsiteY8" fmla="*/ 60691 h 2606666"/>
                <a:gd name="connsiteX9" fmla="*/ 227610 w 2509699"/>
                <a:gd name="connsiteY9" fmla="*/ 60639 h 2606666"/>
                <a:gd name="connsiteX10" fmla="*/ 169717 w 2509699"/>
                <a:gd name="connsiteY10" fmla="*/ 7324 h 2606666"/>
                <a:gd name="connsiteX11" fmla="*/ 0 w 2509699"/>
                <a:gd name="connsiteY11" fmla="*/ 45767 h 2606666"/>
                <a:gd name="connsiteX0" fmla="*/ 0 w 2511019"/>
                <a:gd name="connsiteY0" fmla="*/ 45767 h 2606666"/>
                <a:gd name="connsiteX1" fmla="*/ 2384318 w 2511019"/>
                <a:gd name="connsiteY1" fmla="*/ 2606666 h 2606666"/>
                <a:gd name="connsiteX2" fmla="*/ 2501039 w 2511019"/>
                <a:gd name="connsiteY2" fmla="*/ 2471494 h 2606666"/>
                <a:gd name="connsiteX3" fmla="*/ 2460379 w 2511019"/>
                <a:gd name="connsiteY3" fmla="*/ 2367977 h 2606666"/>
                <a:gd name="connsiteX4" fmla="*/ 2509699 w 2511019"/>
                <a:gd name="connsiteY4" fmla="*/ 1968373 h 2606666"/>
                <a:gd name="connsiteX5" fmla="*/ 2466998 w 2511019"/>
                <a:gd name="connsiteY5" fmla="*/ 1847892 h 2606666"/>
                <a:gd name="connsiteX6" fmla="*/ 807226 w 2511019"/>
                <a:gd name="connsiteY6" fmla="*/ 72293 h 2606666"/>
                <a:gd name="connsiteX7" fmla="*/ 638198 w 2511019"/>
                <a:gd name="connsiteY7" fmla="*/ 7351 h 2606666"/>
                <a:gd name="connsiteX8" fmla="*/ 356258 w 2511019"/>
                <a:gd name="connsiteY8" fmla="*/ 60691 h 2606666"/>
                <a:gd name="connsiteX9" fmla="*/ 227610 w 2511019"/>
                <a:gd name="connsiteY9" fmla="*/ 60639 h 2606666"/>
                <a:gd name="connsiteX10" fmla="*/ 169717 w 2511019"/>
                <a:gd name="connsiteY10" fmla="*/ 7324 h 2606666"/>
                <a:gd name="connsiteX11" fmla="*/ 0 w 2511019"/>
                <a:gd name="connsiteY11" fmla="*/ 45767 h 2606666"/>
                <a:gd name="connsiteX0" fmla="*/ 0 w 2511019"/>
                <a:gd name="connsiteY0" fmla="*/ 45767 h 2606666"/>
                <a:gd name="connsiteX1" fmla="*/ 2384318 w 2511019"/>
                <a:gd name="connsiteY1" fmla="*/ 2606666 h 2606666"/>
                <a:gd name="connsiteX2" fmla="*/ 2501039 w 2511019"/>
                <a:gd name="connsiteY2" fmla="*/ 2471494 h 2606666"/>
                <a:gd name="connsiteX3" fmla="*/ 2482454 w 2511019"/>
                <a:gd name="connsiteY3" fmla="*/ 2420332 h 2606666"/>
                <a:gd name="connsiteX4" fmla="*/ 2460379 w 2511019"/>
                <a:gd name="connsiteY4" fmla="*/ 2367977 h 2606666"/>
                <a:gd name="connsiteX5" fmla="*/ 2509699 w 2511019"/>
                <a:gd name="connsiteY5" fmla="*/ 1968373 h 2606666"/>
                <a:gd name="connsiteX6" fmla="*/ 2466998 w 2511019"/>
                <a:gd name="connsiteY6" fmla="*/ 1847892 h 2606666"/>
                <a:gd name="connsiteX7" fmla="*/ 807226 w 2511019"/>
                <a:gd name="connsiteY7" fmla="*/ 72293 h 2606666"/>
                <a:gd name="connsiteX8" fmla="*/ 638198 w 2511019"/>
                <a:gd name="connsiteY8" fmla="*/ 7351 h 2606666"/>
                <a:gd name="connsiteX9" fmla="*/ 356258 w 2511019"/>
                <a:gd name="connsiteY9" fmla="*/ 60691 h 2606666"/>
                <a:gd name="connsiteX10" fmla="*/ 227610 w 2511019"/>
                <a:gd name="connsiteY10" fmla="*/ 60639 h 2606666"/>
                <a:gd name="connsiteX11" fmla="*/ 169717 w 2511019"/>
                <a:gd name="connsiteY11" fmla="*/ 7324 h 2606666"/>
                <a:gd name="connsiteX12" fmla="*/ 0 w 2511019"/>
                <a:gd name="connsiteY12" fmla="*/ 45767 h 2606666"/>
                <a:gd name="connsiteX0" fmla="*/ 0 w 2511019"/>
                <a:gd name="connsiteY0" fmla="*/ 45767 h 2606666"/>
                <a:gd name="connsiteX1" fmla="*/ 2384318 w 2511019"/>
                <a:gd name="connsiteY1" fmla="*/ 2606666 h 2606666"/>
                <a:gd name="connsiteX2" fmla="*/ 2501039 w 2511019"/>
                <a:gd name="connsiteY2" fmla="*/ 2471494 h 2606666"/>
                <a:gd name="connsiteX3" fmla="*/ 2480172 w 2511019"/>
                <a:gd name="connsiteY3" fmla="*/ 2434853 h 2606666"/>
                <a:gd name="connsiteX4" fmla="*/ 2460379 w 2511019"/>
                <a:gd name="connsiteY4" fmla="*/ 2367977 h 2606666"/>
                <a:gd name="connsiteX5" fmla="*/ 2509699 w 2511019"/>
                <a:gd name="connsiteY5" fmla="*/ 1968373 h 2606666"/>
                <a:gd name="connsiteX6" fmla="*/ 2466998 w 2511019"/>
                <a:gd name="connsiteY6" fmla="*/ 1847892 h 2606666"/>
                <a:gd name="connsiteX7" fmla="*/ 807226 w 2511019"/>
                <a:gd name="connsiteY7" fmla="*/ 72293 h 2606666"/>
                <a:gd name="connsiteX8" fmla="*/ 638198 w 2511019"/>
                <a:gd name="connsiteY8" fmla="*/ 7351 h 2606666"/>
                <a:gd name="connsiteX9" fmla="*/ 356258 w 2511019"/>
                <a:gd name="connsiteY9" fmla="*/ 60691 h 2606666"/>
                <a:gd name="connsiteX10" fmla="*/ 227610 w 2511019"/>
                <a:gd name="connsiteY10" fmla="*/ 60639 h 2606666"/>
                <a:gd name="connsiteX11" fmla="*/ 169717 w 2511019"/>
                <a:gd name="connsiteY11" fmla="*/ 7324 h 2606666"/>
                <a:gd name="connsiteX12" fmla="*/ 0 w 2511019"/>
                <a:gd name="connsiteY12" fmla="*/ 45767 h 2606666"/>
                <a:gd name="connsiteX0" fmla="*/ 0 w 2511019"/>
                <a:gd name="connsiteY0" fmla="*/ 45767 h 2606666"/>
                <a:gd name="connsiteX1" fmla="*/ 2384318 w 2511019"/>
                <a:gd name="connsiteY1" fmla="*/ 2606666 h 2606666"/>
                <a:gd name="connsiteX2" fmla="*/ 2501039 w 2511019"/>
                <a:gd name="connsiteY2" fmla="*/ 2471494 h 2606666"/>
                <a:gd name="connsiteX3" fmla="*/ 2480172 w 2511019"/>
                <a:gd name="connsiteY3" fmla="*/ 2434853 h 2606666"/>
                <a:gd name="connsiteX4" fmla="*/ 2460379 w 2511019"/>
                <a:gd name="connsiteY4" fmla="*/ 2367977 h 2606666"/>
                <a:gd name="connsiteX5" fmla="*/ 2509699 w 2511019"/>
                <a:gd name="connsiteY5" fmla="*/ 1968373 h 2606666"/>
                <a:gd name="connsiteX6" fmla="*/ 2466998 w 2511019"/>
                <a:gd name="connsiteY6" fmla="*/ 1847892 h 2606666"/>
                <a:gd name="connsiteX7" fmla="*/ 807226 w 2511019"/>
                <a:gd name="connsiteY7" fmla="*/ 72293 h 2606666"/>
                <a:gd name="connsiteX8" fmla="*/ 638198 w 2511019"/>
                <a:gd name="connsiteY8" fmla="*/ 7351 h 2606666"/>
                <a:gd name="connsiteX9" fmla="*/ 356258 w 2511019"/>
                <a:gd name="connsiteY9" fmla="*/ 60691 h 2606666"/>
                <a:gd name="connsiteX10" fmla="*/ 227610 w 2511019"/>
                <a:gd name="connsiteY10" fmla="*/ 60639 h 2606666"/>
                <a:gd name="connsiteX11" fmla="*/ 169717 w 2511019"/>
                <a:gd name="connsiteY11" fmla="*/ 7324 h 2606666"/>
                <a:gd name="connsiteX12" fmla="*/ 0 w 2511019"/>
                <a:gd name="connsiteY12" fmla="*/ 45767 h 2606666"/>
                <a:gd name="connsiteX0" fmla="*/ 0 w 2511019"/>
                <a:gd name="connsiteY0" fmla="*/ 45767 h 2606666"/>
                <a:gd name="connsiteX1" fmla="*/ 2384318 w 2511019"/>
                <a:gd name="connsiteY1" fmla="*/ 2606666 h 2606666"/>
                <a:gd name="connsiteX2" fmla="*/ 2501039 w 2511019"/>
                <a:gd name="connsiteY2" fmla="*/ 2471494 h 2606666"/>
                <a:gd name="connsiteX3" fmla="*/ 2480172 w 2511019"/>
                <a:gd name="connsiteY3" fmla="*/ 2434853 h 2606666"/>
                <a:gd name="connsiteX4" fmla="*/ 2467226 w 2511019"/>
                <a:gd name="connsiteY4" fmla="*/ 2355877 h 2606666"/>
                <a:gd name="connsiteX5" fmla="*/ 2509699 w 2511019"/>
                <a:gd name="connsiteY5" fmla="*/ 1968373 h 2606666"/>
                <a:gd name="connsiteX6" fmla="*/ 2466998 w 2511019"/>
                <a:gd name="connsiteY6" fmla="*/ 1847892 h 2606666"/>
                <a:gd name="connsiteX7" fmla="*/ 807226 w 2511019"/>
                <a:gd name="connsiteY7" fmla="*/ 72293 h 2606666"/>
                <a:gd name="connsiteX8" fmla="*/ 638198 w 2511019"/>
                <a:gd name="connsiteY8" fmla="*/ 7351 h 2606666"/>
                <a:gd name="connsiteX9" fmla="*/ 356258 w 2511019"/>
                <a:gd name="connsiteY9" fmla="*/ 60691 h 2606666"/>
                <a:gd name="connsiteX10" fmla="*/ 227610 w 2511019"/>
                <a:gd name="connsiteY10" fmla="*/ 60639 h 2606666"/>
                <a:gd name="connsiteX11" fmla="*/ 169717 w 2511019"/>
                <a:gd name="connsiteY11" fmla="*/ 7324 h 2606666"/>
                <a:gd name="connsiteX12" fmla="*/ 0 w 2511019"/>
                <a:gd name="connsiteY12" fmla="*/ 45767 h 2606666"/>
                <a:gd name="connsiteX0" fmla="*/ 0 w 2511019"/>
                <a:gd name="connsiteY0" fmla="*/ 45767 h 2606666"/>
                <a:gd name="connsiteX1" fmla="*/ 2384318 w 2511019"/>
                <a:gd name="connsiteY1" fmla="*/ 2606666 h 2606666"/>
                <a:gd name="connsiteX2" fmla="*/ 2501039 w 2511019"/>
                <a:gd name="connsiteY2" fmla="*/ 2471494 h 2606666"/>
                <a:gd name="connsiteX3" fmla="*/ 2480172 w 2511019"/>
                <a:gd name="connsiteY3" fmla="*/ 2434853 h 2606666"/>
                <a:gd name="connsiteX4" fmla="*/ 2467226 w 2511019"/>
                <a:gd name="connsiteY4" fmla="*/ 2355877 h 2606666"/>
                <a:gd name="connsiteX5" fmla="*/ 2509699 w 2511019"/>
                <a:gd name="connsiteY5" fmla="*/ 1968373 h 2606666"/>
                <a:gd name="connsiteX6" fmla="*/ 2466998 w 2511019"/>
                <a:gd name="connsiteY6" fmla="*/ 1847892 h 2606666"/>
                <a:gd name="connsiteX7" fmla="*/ 807226 w 2511019"/>
                <a:gd name="connsiteY7" fmla="*/ 72293 h 2606666"/>
                <a:gd name="connsiteX8" fmla="*/ 638198 w 2511019"/>
                <a:gd name="connsiteY8" fmla="*/ 7351 h 2606666"/>
                <a:gd name="connsiteX9" fmla="*/ 356258 w 2511019"/>
                <a:gd name="connsiteY9" fmla="*/ 60691 h 2606666"/>
                <a:gd name="connsiteX10" fmla="*/ 227610 w 2511019"/>
                <a:gd name="connsiteY10" fmla="*/ 60639 h 2606666"/>
                <a:gd name="connsiteX11" fmla="*/ 169717 w 2511019"/>
                <a:gd name="connsiteY11" fmla="*/ 7324 h 2606666"/>
                <a:gd name="connsiteX12" fmla="*/ 0 w 2511019"/>
                <a:gd name="connsiteY12" fmla="*/ 45767 h 2606666"/>
                <a:gd name="connsiteX0" fmla="*/ 0 w 2511019"/>
                <a:gd name="connsiteY0" fmla="*/ 45767 h 2606666"/>
                <a:gd name="connsiteX1" fmla="*/ 2384318 w 2511019"/>
                <a:gd name="connsiteY1" fmla="*/ 2606666 h 2606666"/>
                <a:gd name="connsiteX2" fmla="*/ 2501039 w 2511019"/>
                <a:gd name="connsiteY2" fmla="*/ 2471494 h 2606666"/>
                <a:gd name="connsiteX3" fmla="*/ 2480172 w 2511019"/>
                <a:gd name="connsiteY3" fmla="*/ 2434853 h 2606666"/>
                <a:gd name="connsiteX4" fmla="*/ 2467226 w 2511019"/>
                <a:gd name="connsiteY4" fmla="*/ 2355877 h 2606666"/>
                <a:gd name="connsiteX5" fmla="*/ 2509699 w 2511019"/>
                <a:gd name="connsiteY5" fmla="*/ 1968373 h 2606666"/>
                <a:gd name="connsiteX6" fmla="*/ 2466998 w 2511019"/>
                <a:gd name="connsiteY6" fmla="*/ 1847892 h 2606666"/>
                <a:gd name="connsiteX7" fmla="*/ 807226 w 2511019"/>
                <a:gd name="connsiteY7" fmla="*/ 72293 h 2606666"/>
                <a:gd name="connsiteX8" fmla="*/ 638198 w 2511019"/>
                <a:gd name="connsiteY8" fmla="*/ 7351 h 2606666"/>
                <a:gd name="connsiteX9" fmla="*/ 333433 w 2511019"/>
                <a:gd name="connsiteY9" fmla="*/ 60691 h 2606666"/>
                <a:gd name="connsiteX10" fmla="*/ 227610 w 2511019"/>
                <a:gd name="connsiteY10" fmla="*/ 60639 h 2606666"/>
                <a:gd name="connsiteX11" fmla="*/ 169717 w 2511019"/>
                <a:gd name="connsiteY11" fmla="*/ 7324 h 2606666"/>
                <a:gd name="connsiteX12" fmla="*/ 0 w 2511019"/>
                <a:gd name="connsiteY12" fmla="*/ 45767 h 2606666"/>
                <a:gd name="connsiteX0" fmla="*/ 0 w 2511019"/>
                <a:gd name="connsiteY0" fmla="*/ 45767 h 2606666"/>
                <a:gd name="connsiteX1" fmla="*/ 2384318 w 2511019"/>
                <a:gd name="connsiteY1" fmla="*/ 2606666 h 2606666"/>
                <a:gd name="connsiteX2" fmla="*/ 2501039 w 2511019"/>
                <a:gd name="connsiteY2" fmla="*/ 2471494 h 2606666"/>
                <a:gd name="connsiteX3" fmla="*/ 2480172 w 2511019"/>
                <a:gd name="connsiteY3" fmla="*/ 2434853 h 2606666"/>
                <a:gd name="connsiteX4" fmla="*/ 2467226 w 2511019"/>
                <a:gd name="connsiteY4" fmla="*/ 2355877 h 2606666"/>
                <a:gd name="connsiteX5" fmla="*/ 2509699 w 2511019"/>
                <a:gd name="connsiteY5" fmla="*/ 1968373 h 2606666"/>
                <a:gd name="connsiteX6" fmla="*/ 2466998 w 2511019"/>
                <a:gd name="connsiteY6" fmla="*/ 1847892 h 2606666"/>
                <a:gd name="connsiteX7" fmla="*/ 807226 w 2511019"/>
                <a:gd name="connsiteY7" fmla="*/ 72293 h 2606666"/>
                <a:gd name="connsiteX8" fmla="*/ 638198 w 2511019"/>
                <a:gd name="connsiteY8" fmla="*/ 7351 h 2606666"/>
                <a:gd name="connsiteX9" fmla="*/ 333433 w 2511019"/>
                <a:gd name="connsiteY9" fmla="*/ 60691 h 2606666"/>
                <a:gd name="connsiteX10" fmla="*/ 227610 w 2511019"/>
                <a:gd name="connsiteY10" fmla="*/ 60639 h 2606666"/>
                <a:gd name="connsiteX11" fmla="*/ 169717 w 2511019"/>
                <a:gd name="connsiteY11" fmla="*/ 7324 h 2606666"/>
                <a:gd name="connsiteX12" fmla="*/ 0 w 2511019"/>
                <a:gd name="connsiteY12" fmla="*/ 45767 h 2606666"/>
                <a:gd name="connsiteX0" fmla="*/ 0 w 2511019"/>
                <a:gd name="connsiteY0" fmla="*/ 45767 h 2606666"/>
                <a:gd name="connsiteX1" fmla="*/ 2384318 w 2511019"/>
                <a:gd name="connsiteY1" fmla="*/ 2606666 h 2606666"/>
                <a:gd name="connsiteX2" fmla="*/ 2501039 w 2511019"/>
                <a:gd name="connsiteY2" fmla="*/ 2471494 h 2606666"/>
                <a:gd name="connsiteX3" fmla="*/ 2480172 w 2511019"/>
                <a:gd name="connsiteY3" fmla="*/ 2434853 h 2606666"/>
                <a:gd name="connsiteX4" fmla="*/ 2467226 w 2511019"/>
                <a:gd name="connsiteY4" fmla="*/ 2355877 h 2606666"/>
                <a:gd name="connsiteX5" fmla="*/ 2509699 w 2511019"/>
                <a:gd name="connsiteY5" fmla="*/ 1968373 h 2606666"/>
                <a:gd name="connsiteX6" fmla="*/ 2466998 w 2511019"/>
                <a:gd name="connsiteY6" fmla="*/ 1847892 h 2606666"/>
                <a:gd name="connsiteX7" fmla="*/ 807226 w 2511019"/>
                <a:gd name="connsiteY7" fmla="*/ 72293 h 2606666"/>
                <a:gd name="connsiteX8" fmla="*/ 638198 w 2511019"/>
                <a:gd name="connsiteY8" fmla="*/ 7351 h 2606666"/>
                <a:gd name="connsiteX9" fmla="*/ 333433 w 2511019"/>
                <a:gd name="connsiteY9" fmla="*/ 60691 h 2606666"/>
                <a:gd name="connsiteX10" fmla="*/ 227610 w 2511019"/>
                <a:gd name="connsiteY10" fmla="*/ 60639 h 2606666"/>
                <a:gd name="connsiteX11" fmla="*/ 169717 w 2511019"/>
                <a:gd name="connsiteY11" fmla="*/ 7324 h 2606666"/>
                <a:gd name="connsiteX12" fmla="*/ 0 w 2511019"/>
                <a:gd name="connsiteY12" fmla="*/ 45767 h 2606666"/>
                <a:gd name="connsiteX0" fmla="*/ 0 w 2511019"/>
                <a:gd name="connsiteY0" fmla="*/ 45767 h 2606666"/>
                <a:gd name="connsiteX1" fmla="*/ 2384318 w 2511019"/>
                <a:gd name="connsiteY1" fmla="*/ 2606666 h 2606666"/>
                <a:gd name="connsiteX2" fmla="*/ 2501039 w 2511019"/>
                <a:gd name="connsiteY2" fmla="*/ 2471494 h 2606666"/>
                <a:gd name="connsiteX3" fmla="*/ 2480172 w 2511019"/>
                <a:gd name="connsiteY3" fmla="*/ 2434853 h 2606666"/>
                <a:gd name="connsiteX4" fmla="*/ 2467226 w 2511019"/>
                <a:gd name="connsiteY4" fmla="*/ 2355877 h 2606666"/>
                <a:gd name="connsiteX5" fmla="*/ 2509699 w 2511019"/>
                <a:gd name="connsiteY5" fmla="*/ 1968373 h 2606666"/>
                <a:gd name="connsiteX6" fmla="*/ 2466998 w 2511019"/>
                <a:gd name="connsiteY6" fmla="*/ 1847892 h 2606666"/>
                <a:gd name="connsiteX7" fmla="*/ 807226 w 2511019"/>
                <a:gd name="connsiteY7" fmla="*/ 72293 h 2606666"/>
                <a:gd name="connsiteX8" fmla="*/ 638198 w 2511019"/>
                <a:gd name="connsiteY8" fmla="*/ 7351 h 2606666"/>
                <a:gd name="connsiteX9" fmla="*/ 333433 w 2511019"/>
                <a:gd name="connsiteY9" fmla="*/ 60691 h 2606666"/>
                <a:gd name="connsiteX10" fmla="*/ 227610 w 2511019"/>
                <a:gd name="connsiteY10" fmla="*/ 60639 h 2606666"/>
                <a:gd name="connsiteX11" fmla="*/ 167435 w 2511019"/>
                <a:gd name="connsiteY11" fmla="*/ 9743 h 2606666"/>
                <a:gd name="connsiteX12" fmla="*/ 0 w 2511019"/>
                <a:gd name="connsiteY12" fmla="*/ 45767 h 2606666"/>
                <a:gd name="connsiteX0" fmla="*/ -1 w 2522878"/>
                <a:gd name="connsiteY0" fmla="*/ 128051 h 2606666"/>
                <a:gd name="connsiteX1" fmla="*/ 2396177 w 2522878"/>
                <a:gd name="connsiteY1" fmla="*/ 2606666 h 2606666"/>
                <a:gd name="connsiteX2" fmla="*/ 2512898 w 2522878"/>
                <a:gd name="connsiteY2" fmla="*/ 2471494 h 2606666"/>
                <a:gd name="connsiteX3" fmla="*/ 2492031 w 2522878"/>
                <a:gd name="connsiteY3" fmla="*/ 2434853 h 2606666"/>
                <a:gd name="connsiteX4" fmla="*/ 2479085 w 2522878"/>
                <a:gd name="connsiteY4" fmla="*/ 2355877 h 2606666"/>
                <a:gd name="connsiteX5" fmla="*/ 2521558 w 2522878"/>
                <a:gd name="connsiteY5" fmla="*/ 1968373 h 2606666"/>
                <a:gd name="connsiteX6" fmla="*/ 2478857 w 2522878"/>
                <a:gd name="connsiteY6" fmla="*/ 1847892 h 2606666"/>
                <a:gd name="connsiteX7" fmla="*/ 819085 w 2522878"/>
                <a:gd name="connsiteY7" fmla="*/ 72293 h 2606666"/>
                <a:gd name="connsiteX8" fmla="*/ 650057 w 2522878"/>
                <a:gd name="connsiteY8" fmla="*/ 7351 h 2606666"/>
                <a:gd name="connsiteX9" fmla="*/ 345292 w 2522878"/>
                <a:gd name="connsiteY9" fmla="*/ 60691 h 2606666"/>
                <a:gd name="connsiteX10" fmla="*/ 239469 w 2522878"/>
                <a:gd name="connsiteY10" fmla="*/ 60639 h 2606666"/>
                <a:gd name="connsiteX11" fmla="*/ 179294 w 2522878"/>
                <a:gd name="connsiteY11" fmla="*/ 9743 h 2606666"/>
                <a:gd name="connsiteX12" fmla="*/ -1 w 2522878"/>
                <a:gd name="connsiteY12" fmla="*/ 128051 h 2606666"/>
                <a:gd name="connsiteX0" fmla="*/ -1 w 2522878"/>
                <a:gd name="connsiteY0" fmla="*/ 128051 h 2606666"/>
                <a:gd name="connsiteX1" fmla="*/ 2396177 w 2522878"/>
                <a:gd name="connsiteY1" fmla="*/ 2606666 h 2606666"/>
                <a:gd name="connsiteX2" fmla="*/ 2512898 w 2522878"/>
                <a:gd name="connsiteY2" fmla="*/ 2471494 h 2606666"/>
                <a:gd name="connsiteX3" fmla="*/ 2492031 w 2522878"/>
                <a:gd name="connsiteY3" fmla="*/ 2434853 h 2606666"/>
                <a:gd name="connsiteX4" fmla="*/ 2479085 w 2522878"/>
                <a:gd name="connsiteY4" fmla="*/ 2355877 h 2606666"/>
                <a:gd name="connsiteX5" fmla="*/ 2521558 w 2522878"/>
                <a:gd name="connsiteY5" fmla="*/ 1968373 h 2606666"/>
                <a:gd name="connsiteX6" fmla="*/ 2478857 w 2522878"/>
                <a:gd name="connsiteY6" fmla="*/ 1847892 h 2606666"/>
                <a:gd name="connsiteX7" fmla="*/ 819085 w 2522878"/>
                <a:gd name="connsiteY7" fmla="*/ 72293 h 2606666"/>
                <a:gd name="connsiteX8" fmla="*/ 650057 w 2522878"/>
                <a:gd name="connsiteY8" fmla="*/ 7351 h 2606666"/>
                <a:gd name="connsiteX9" fmla="*/ 345292 w 2522878"/>
                <a:gd name="connsiteY9" fmla="*/ 60691 h 2606666"/>
                <a:gd name="connsiteX10" fmla="*/ 239469 w 2522878"/>
                <a:gd name="connsiteY10" fmla="*/ 60639 h 2606666"/>
                <a:gd name="connsiteX11" fmla="*/ 165827 w 2522878"/>
                <a:gd name="connsiteY11" fmla="*/ 51283 h 2606666"/>
                <a:gd name="connsiteX12" fmla="*/ -1 w 2522878"/>
                <a:gd name="connsiteY12" fmla="*/ 128051 h 2606666"/>
                <a:gd name="connsiteX0" fmla="*/ -1 w 2522878"/>
                <a:gd name="connsiteY0" fmla="*/ 128051 h 2606666"/>
                <a:gd name="connsiteX1" fmla="*/ 2396177 w 2522878"/>
                <a:gd name="connsiteY1" fmla="*/ 2606666 h 2606666"/>
                <a:gd name="connsiteX2" fmla="*/ 2512898 w 2522878"/>
                <a:gd name="connsiteY2" fmla="*/ 2471494 h 2606666"/>
                <a:gd name="connsiteX3" fmla="*/ 2492031 w 2522878"/>
                <a:gd name="connsiteY3" fmla="*/ 2434853 h 2606666"/>
                <a:gd name="connsiteX4" fmla="*/ 2479085 w 2522878"/>
                <a:gd name="connsiteY4" fmla="*/ 2355877 h 2606666"/>
                <a:gd name="connsiteX5" fmla="*/ 2521558 w 2522878"/>
                <a:gd name="connsiteY5" fmla="*/ 1968373 h 2606666"/>
                <a:gd name="connsiteX6" fmla="*/ 2478857 w 2522878"/>
                <a:gd name="connsiteY6" fmla="*/ 1847892 h 2606666"/>
                <a:gd name="connsiteX7" fmla="*/ 819085 w 2522878"/>
                <a:gd name="connsiteY7" fmla="*/ 72293 h 2606666"/>
                <a:gd name="connsiteX8" fmla="*/ 650057 w 2522878"/>
                <a:gd name="connsiteY8" fmla="*/ 7351 h 2606666"/>
                <a:gd name="connsiteX9" fmla="*/ 345292 w 2522878"/>
                <a:gd name="connsiteY9" fmla="*/ 60691 h 2606666"/>
                <a:gd name="connsiteX10" fmla="*/ 230569 w 2522878"/>
                <a:gd name="connsiteY10" fmla="*/ 90273 h 2606666"/>
                <a:gd name="connsiteX11" fmla="*/ 165827 w 2522878"/>
                <a:gd name="connsiteY11" fmla="*/ 51283 h 2606666"/>
                <a:gd name="connsiteX12" fmla="*/ -1 w 2522878"/>
                <a:gd name="connsiteY12" fmla="*/ 128051 h 2606666"/>
                <a:gd name="connsiteX0" fmla="*/ -1 w 2522878"/>
                <a:gd name="connsiteY0" fmla="*/ 128051 h 2606666"/>
                <a:gd name="connsiteX1" fmla="*/ 2396177 w 2522878"/>
                <a:gd name="connsiteY1" fmla="*/ 2606666 h 2606666"/>
                <a:gd name="connsiteX2" fmla="*/ 2512898 w 2522878"/>
                <a:gd name="connsiteY2" fmla="*/ 2471494 h 2606666"/>
                <a:gd name="connsiteX3" fmla="*/ 2492031 w 2522878"/>
                <a:gd name="connsiteY3" fmla="*/ 2434853 h 2606666"/>
                <a:gd name="connsiteX4" fmla="*/ 2479085 w 2522878"/>
                <a:gd name="connsiteY4" fmla="*/ 2355877 h 2606666"/>
                <a:gd name="connsiteX5" fmla="*/ 2521558 w 2522878"/>
                <a:gd name="connsiteY5" fmla="*/ 1968373 h 2606666"/>
                <a:gd name="connsiteX6" fmla="*/ 2478857 w 2522878"/>
                <a:gd name="connsiteY6" fmla="*/ 1847892 h 2606666"/>
                <a:gd name="connsiteX7" fmla="*/ 819085 w 2522878"/>
                <a:gd name="connsiteY7" fmla="*/ 72293 h 2606666"/>
                <a:gd name="connsiteX8" fmla="*/ 650057 w 2522878"/>
                <a:gd name="connsiteY8" fmla="*/ 7351 h 2606666"/>
                <a:gd name="connsiteX9" fmla="*/ 346441 w 2522878"/>
                <a:gd name="connsiteY9" fmla="*/ 89792 h 2606666"/>
                <a:gd name="connsiteX10" fmla="*/ 230569 w 2522878"/>
                <a:gd name="connsiteY10" fmla="*/ 90273 h 2606666"/>
                <a:gd name="connsiteX11" fmla="*/ 165827 w 2522878"/>
                <a:gd name="connsiteY11" fmla="*/ 51283 h 2606666"/>
                <a:gd name="connsiteX12" fmla="*/ -1 w 2522878"/>
                <a:gd name="connsiteY12" fmla="*/ 128051 h 2606666"/>
                <a:gd name="connsiteX0" fmla="*/ -1 w 2522878"/>
                <a:gd name="connsiteY0" fmla="*/ 118209 h 2596824"/>
                <a:gd name="connsiteX1" fmla="*/ 2396177 w 2522878"/>
                <a:gd name="connsiteY1" fmla="*/ 2596824 h 2596824"/>
                <a:gd name="connsiteX2" fmla="*/ 2512898 w 2522878"/>
                <a:gd name="connsiteY2" fmla="*/ 2461652 h 2596824"/>
                <a:gd name="connsiteX3" fmla="*/ 2492031 w 2522878"/>
                <a:gd name="connsiteY3" fmla="*/ 2425011 h 2596824"/>
                <a:gd name="connsiteX4" fmla="*/ 2479085 w 2522878"/>
                <a:gd name="connsiteY4" fmla="*/ 2346035 h 2596824"/>
                <a:gd name="connsiteX5" fmla="*/ 2521558 w 2522878"/>
                <a:gd name="connsiteY5" fmla="*/ 1958531 h 2596824"/>
                <a:gd name="connsiteX6" fmla="*/ 2478857 w 2522878"/>
                <a:gd name="connsiteY6" fmla="*/ 1838050 h 2596824"/>
                <a:gd name="connsiteX7" fmla="*/ 819085 w 2522878"/>
                <a:gd name="connsiteY7" fmla="*/ 62451 h 2596824"/>
                <a:gd name="connsiteX8" fmla="*/ 625398 w 2522878"/>
                <a:gd name="connsiteY8" fmla="*/ 10475 h 2596824"/>
                <a:gd name="connsiteX9" fmla="*/ 346441 w 2522878"/>
                <a:gd name="connsiteY9" fmla="*/ 79950 h 2596824"/>
                <a:gd name="connsiteX10" fmla="*/ 230569 w 2522878"/>
                <a:gd name="connsiteY10" fmla="*/ 80431 h 2596824"/>
                <a:gd name="connsiteX11" fmla="*/ 165827 w 2522878"/>
                <a:gd name="connsiteY11" fmla="*/ 41441 h 2596824"/>
                <a:gd name="connsiteX12" fmla="*/ -1 w 2522878"/>
                <a:gd name="connsiteY12" fmla="*/ 118209 h 2596824"/>
                <a:gd name="connsiteX0" fmla="*/ -1 w 2522878"/>
                <a:gd name="connsiteY0" fmla="*/ 113920 h 2592535"/>
                <a:gd name="connsiteX1" fmla="*/ 2396177 w 2522878"/>
                <a:gd name="connsiteY1" fmla="*/ 2592535 h 2592535"/>
                <a:gd name="connsiteX2" fmla="*/ 2512898 w 2522878"/>
                <a:gd name="connsiteY2" fmla="*/ 2457363 h 2592535"/>
                <a:gd name="connsiteX3" fmla="*/ 2492031 w 2522878"/>
                <a:gd name="connsiteY3" fmla="*/ 2420722 h 2592535"/>
                <a:gd name="connsiteX4" fmla="*/ 2479085 w 2522878"/>
                <a:gd name="connsiteY4" fmla="*/ 2341746 h 2592535"/>
                <a:gd name="connsiteX5" fmla="*/ 2521558 w 2522878"/>
                <a:gd name="connsiteY5" fmla="*/ 1954242 h 2592535"/>
                <a:gd name="connsiteX6" fmla="*/ 2478857 w 2522878"/>
                <a:gd name="connsiteY6" fmla="*/ 1833761 h 2592535"/>
                <a:gd name="connsiteX7" fmla="*/ 774555 w 2522878"/>
                <a:gd name="connsiteY7" fmla="*/ 78014 h 2592535"/>
                <a:gd name="connsiteX8" fmla="*/ 625398 w 2522878"/>
                <a:gd name="connsiteY8" fmla="*/ 6186 h 2592535"/>
                <a:gd name="connsiteX9" fmla="*/ 346441 w 2522878"/>
                <a:gd name="connsiteY9" fmla="*/ 75661 h 2592535"/>
                <a:gd name="connsiteX10" fmla="*/ 230569 w 2522878"/>
                <a:gd name="connsiteY10" fmla="*/ 76142 h 2592535"/>
                <a:gd name="connsiteX11" fmla="*/ 165827 w 2522878"/>
                <a:gd name="connsiteY11" fmla="*/ 37152 h 2592535"/>
                <a:gd name="connsiteX12" fmla="*/ -1 w 2522878"/>
                <a:gd name="connsiteY12" fmla="*/ 113920 h 2592535"/>
                <a:gd name="connsiteX0" fmla="*/ -1 w 2522878"/>
                <a:gd name="connsiteY0" fmla="*/ 113920 h 2581494"/>
                <a:gd name="connsiteX1" fmla="*/ 2400385 w 2522878"/>
                <a:gd name="connsiteY1" fmla="*/ 2581495 h 2581494"/>
                <a:gd name="connsiteX2" fmla="*/ 2512898 w 2522878"/>
                <a:gd name="connsiteY2" fmla="*/ 2457363 h 2581494"/>
                <a:gd name="connsiteX3" fmla="*/ 2492031 w 2522878"/>
                <a:gd name="connsiteY3" fmla="*/ 2420722 h 2581494"/>
                <a:gd name="connsiteX4" fmla="*/ 2479085 w 2522878"/>
                <a:gd name="connsiteY4" fmla="*/ 2341746 h 2581494"/>
                <a:gd name="connsiteX5" fmla="*/ 2521558 w 2522878"/>
                <a:gd name="connsiteY5" fmla="*/ 1954242 h 2581494"/>
                <a:gd name="connsiteX6" fmla="*/ 2478857 w 2522878"/>
                <a:gd name="connsiteY6" fmla="*/ 1833761 h 2581494"/>
                <a:gd name="connsiteX7" fmla="*/ 774555 w 2522878"/>
                <a:gd name="connsiteY7" fmla="*/ 78014 h 2581494"/>
                <a:gd name="connsiteX8" fmla="*/ 625398 w 2522878"/>
                <a:gd name="connsiteY8" fmla="*/ 6186 h 2581494"/>
                <a:gd name="connsiteX9" fmla="*/ 346441 w 2522878"/>
                <a:gd name="connsiteY9" fmla="*/ 75661 h 2581494"/>
                <a:gd name="connsiteX10" fmla="*/ 230569 w 2522878"/>
                <a:gd name="connsiteY10" fmla="*/ 76142 h 2581494"/>
                <a:gd name="connsiteX11" fmla="*/ 165827 w 2522878"/>
                <a:gd name="connsiteY11" fmla="*/ 37152 h 2581494"/>
                <a:gd name="connsiteX12" fmla="*/ -1 w 2522878"/>
                <a:gd name="connsiteY12" fmla="*/ 113920 h 2581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522878" h="2581494">
                  <a:moveTo>
                    <a:pt x="-1" y="113920"/>
                  </a:moveTo>
                  <a:lnTo>
                    <a:pt x="2400385" y="2581495"/>
                  </a:lnTo>
                  <a:lnTo>
                    <a:pt x="2512898" y="2457363"/>
                  </a:lnTo>
                  <a:lnTo>
                    <a:pt x="2492031" y="2420722"/>
                  </a:lnTo>
                  <a:cubicBezTo>
                    <a:pt x="2478586" y="2398430"/>
                    <a:pt x="2476554" y="2376138"/>
                    <a:pt x="2479085" y="2341746"/>
                  </a:cubicBezTo>
                  <a:lnTo>
                    <a:pt x="2521558" y="1954242"/>
                  </a:lnTo>
                  <a:cubicBezTo>
                    <a:pt x="2525583" y="1918922"/>
                    <a:pt x="2522763" y="1878762"/>
                    <a:pt x="2478857" y="1833761"/>
                  </a:cubicBezTo>
                  <a:lnTo>
                    <a:pt x="774555" y="78014"/>
                  </a:lnTo>
                  <a:cubicBezTo>
                    <a:pt x="711087" y="3211"/>
                    <a:pt x="699553" y="-10136"/>
                    <a:pt x="625398" y="6186"/>
                  </a:cubicBezTo>
                  <a:lnTo>
                    <a:pt x="346441" y="75661"/>
                  </a:lnTo>
                  <a:cubicBezTo>
                    <a:pt x="288343" y="82904"/>
                    <a:pt x="270407" y="90679"/>
                    <a:pt x="230569" y="76142"/>
                  </a:cubicBezTo>
                  <a:lnTo>
                    <a:pt x="165827" y="37152"/>
                  </a:lnTo>
                  <a:lnTo>
                    <a:pt x="-1" y="113920"/>
                  </a:lnTo>
                  <a:close/>
                </a:path>
              </a:pathLst>
            </a:custGeom>
            <a:solidFill>
              <a:srgbClr val="008000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DE" sz="6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3" name="Text_G017.1">
              <a:extLst>
                <a:ext uri="{FF2B5EF4-FFF2-40B4-BE49-F238E27FC236}">
                  <a16:creationId xmlns:a16="http://schemas.microsoft.com/office/drawing/2014/main" id="{67311C6B-C312-47EC-AA42-CD492CE9C25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723323" y="4548879"/>
              <a:ext cx="25066" cy="24599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de-DE" dirty="0"/>
            </a:p>
          </p:txBody>
        </p:sp>
        <p:sp>
          <p:nvSpPr>
            <p:cNvPr id="34" name="Text_G017.1">
              <a:extLst>
                <a:ext uri="{FF2B5EF4-FFF2-40B4-BE49-F238E27FC236}">
                  <a16:creationId xmlns:a16="http://schemas.microsoft.com/office/drawing/2014/main" id="{EFE1A0BA-3D03-4F22-A37B-F2ADF5C12D9F}"/>
                </a:ext>
              </a:extLst>
            </p:cNvPr>
            <p:cNvSpPr/>
            <p:nvPr/>
          </p:nvSpPr>
          <p:spPr>
            <a:xfrm>
              <a:off x="8639039" y="4455856"/>
              <a:ext cx="1093247" cy="188587"/>
            </a:xfrm>
            <a:prstGeom prst="borderCallout1">
              <a:avLst>
                <a:gd name="adj1" fmla="val 49950"/>
                <a:gd name="adj2" fmla="val 533"/>
                <a:gd name="adj3" fmla="val 59171"/>
                <a:gd name="adj4" fmla="val -265512"/>
              </a:avLst>
            </a:prstGeom>
            <a:solidFill>
              <a:schemeClr val="tx2">
                <a:lumMod val="20000"/>
                <a:lumOff val="80000"/>
              </a:schemeClr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257312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DE" sz="8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5" name="G014/T112S">
              <a:extLst>
                <a:ext uri="{FF2B5EF4-FFF2-40B4-BE49-F238E27FC236}">
                  <a16:creationId xmlns:a16="http://schemas.microsoft.com/office/drawing/2014/main" id="{2481E880-4E7E-4C2B-8722-EC5397E34D8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760564" y="5297289"/>
              <a:ext cx="965593" cy="579020"/>
            </a:xfrm>
            <a:custGeom>
              <a:avLst/>
              <a:gdLst>
                <a:gd name="connsiteX0" fmla="*/ 792480 w 982980"/>
                <a:gd name="connsiteY0" fmla="*/ 914400 h 914400"/>
                <a:gd name="connsiteX1" fmla="*/ 982980 w 982980"/>
                <a:gd name="connsiteY1" fmla="*/ 472440 h 914400"/>
                <a:gd name="connsiteX2" fmla="*/ 167640 w 982980"/>
                <a:gd name="connsiteY2" fmla="*/ 0 h 914400"/>
                <a:gd name="connsiteX3" fmla="*/ 0 w 982980"/>
                <a:gd name="connsiteY3" fmla="*/ 335280 h 914400"/>
                <a:gd name="connsiteX4" fmla="*/ 205740 w 982980"/>
                <a:gd name="connsiteY4" fmla="*/ 586740 h 914400"/>
                <a:gd name="connsiteX5" fmla="*/ 792480 w 982980"/>
                <a:gd name="connsiteY5" fmla="*/ 914400 h 914400"/>
                <a:gd name="connsiteX0" fmla="*/ 792480 w 982980"/>
                <a:gd name="connsiteY0" fmla="*/ 914400 h 914400"/>
                <a:gd name="connsiteX1" fmla="*/ 982980 w 982980"/>
                <a:gd name="connsiteY1" fmla="*/ 472440 h 914400"/>
                <a:gd name="connsiteX2" fmla="*/ 167640 w 982980"/>
                <a:gd name="connsiteY2" fmla="*/ 0 h 914400"/>
                <a:gd name="connsiteX3" fmla="*/ 0 w 982980"/>
                <a:gd name="connsiteY3" fmla="*/ 335280 h 914400"/>
                <a:gd name="connsiteX4" fmla="*/ 91440 w 982980"/>
                <a:gd name="connsiteY4" fmla="*/ 464820 h 914400"/>
                <a:gd name="connsiteX5" fmla="*/ 205740 w 982980"/>
                <a:gd name="connsiteY5" fmla="*/ 586740 h 914400"/>
                <a:gd name="connsiteX6" fmla="*/ 792480 w 982980"/>
                <a:gd name="connsiteY6" fmla="*/ 914400 h 914400"/>
                <a:gd name="connsiteX0" fmla="*/ 792480 w 982980"/>
                <a:gd name="connsiteY0" fmla="*/ 914400 h 914400"/>
                <a:gd name="connsiteX1" fmla="*/ 982980 w 982980"/>
                <a:gd name="connsiteY1" fmla="*/ 472440 h 914400"/>
                <a:gd name="connsiteX2" fmla="*/ 167640 w 982980"/>
                <a:gd name="connsiteY2" fmla="*/ 0 h 914400"/>
                <a:gd name="connsiteX3" fmla="*/ 0 w 982980"/>
                <a:gd name="connsiteY3" fmla="*/ 312420 h 914400"/>
                <a:gd name="connsiteX4" fmla="*/ 91440 w 982980"/>
                <a:gd name="connsiteY4" fmla="*/ 464820 h 914400"/>
                <a:gd name="connsiteX5" fmla="*/ 205740 w 982980"/>
                <a:gd name="connsiteY5" fmla="*/ 586740 h 914400"/>
                <a:gd name="connsiteX6" fmla="*/ 792480 w 982980"/>
                <a:gd name="connsiteY6" fmla="*/ 914400 h 914400"/>
                <a:gd name="connsiteX0" fmla="*/ 792480 w 982980"/>
                <a:gd name="connsiteY0" fmla="*/ 914400 h 914400"/>
                <a:gd name="connsiteX1" fmla="*/ 982980 w 982980"/>
                <a:gd name="connsiteY1" fmla="*/ 472440 h 914400"/>
                <a:gd name="connsiteX2" fmla="*/ 144780 w 982980"/>
                <a:gd name="connsiteY2" fmla="*/ 0 h 914400"/>
                <a:gd name="connsiteX3" fmla="*/ 0 w 982980"/>
                <a:gd name="connsiteY3" fmla="*/ 312420 h 914400"/>
                <a:gd name="connsiteX4" fmla="*/ 91440 w 982980"/>
                <a:gd name="connsiteY4" fmla="*/ 464820 h 914400"/>
                <a:gd name="connsiteX5" fmla="*/ 205740 w 982980"/>
                <a:gd name="connsiteY5" fmla="*/ 586740 h 914400"/>
                <a:gd name="connsiteX6" fmla="*/ 792480 w 982980"/>
                <a:gd name="connsiteY6" fmla="*/ 914400 h 914400"/>
                <a:gd name="connsiteX0" fmla="*/ 792480 w 990600"/>
                <a:gd name="connsiteY0" fmla="*/ 914400 h 914400"/>
                <a:gd name="connsiteX1" fmla="*/ 990600 w 990600"/>
                <a:gd name="connsiteY1" fmla="*/ 449580 h 914400"/>
                <a:gd name="connsiteX2" fmla="*/ 144780 w 990600"/>
                <a:gd name="connsiteY2" fmla="*/ 0 h 914400"/>
                <a:gd name="connsiteX3" fmla="*/ 0 w 990600"/>
                <a:gd name="connsiteY3" fmla="*/ 312420 h 914400"/>
                <a:gd name="connsiteX4" fmla="*/ 91440 w 990600"/>
                <a:gd name="connsiteY4" fmla="*/ 464820 h 914400"/>
                <a:gd name="connsiteX5" fmla="*/ 205740 w 990600"/>
                <a:gd name="connsiteY5" fmla="*/ 586740 h 914400"/>
                <a:gd name="connsiteX6" fmla="*/ 792480 w 990600"/>
                <a:gd name="connsiteY6" fmla="*/ 914400 h 914400"/>
                <a:gd name="connsiteX0" fmla="*/ 792480 w 990600"/>
                <a:gd name="connsiteY0" fmla="*/ 914400 h 914400"/>
                <a:gd name="connsiteX1" fmla="*/ 990600 w 990600"/>
                <a:gd name="connsiteY1" fmla="*/ 449580 h 914400"/>
                <a:gd name="connsiteX2" fmla="*/ 144780 w 990600"/>
                <a:gd name="connsiteY2" fmla="*/ 0 h 914400"/>
                <a:gd name="connsiteX3" fmla="*/ 28585 w 990600"/>
                <a:gd name="connsiteY3" fmla="*/ 201505 h 914400"/>
                <a:gd name="connsiteX4" fmla="*/ 0 w 990600"/>
                <a:gd name="connsiteY4" fmla="*/ 312420 h 914400"/>
                <a:gd name="connsiteX5" fmla="*/ 91440 w 990600"/>
                <a:gd name="connsiteY5" fmla="*/ 464820 h 914400"/>
                <a:gd name="connsiteX6" fmla="*/ 205740 w 990600"/>
                <a:gd name="connsiteY6" fmla="*/ 586740 h 914400"/>
                <a:gd name="connsiteX7" fmla="*/ 792480 w 990600"/>
                <a:gd name="connsiteY7" fmla="*/ 914400 h 914400"/>
                <a:gd name="connsiteX0" fmla="*/ 1082058 w 1280178"/>
                <a:gd name="connsiteY0" fmla="*/ 914400 h 914400"/>
                <a:gd name="connsiteX1" fmla="*/ 1280178 w 1280178"/>
                <a:gd name="connsiteY1" fmla="*/ 449580 h 914400"/>
                <a:gd name="connsiteX2" fmla="*/ 434358 w 1280178"/>
                <a:gd name="connsiteY2" fmla="*/ 0 h 914400"/>
                <a:gd name="connsiteX3" fmla="*/ 318163 w 1280178"/>
                <a:gd name="connsiteY3" fmla="*/ 201505 h 914400"/>
                <a:gd name="connsiteX4" fmla="*/ 0 w 1280178"/>
                <a:gd name="connsiteY4" fmla="*/ 239268 h 914400"/>
                <a:gd name="connsiteX5" fmla="*/ 381018 w 1280178"/>
                <a:gd name="connsiteY5" fmla="*/ 464820 h 914400"/>
                <a:gd name="connsiteX6" fmla="*/ 495318 w 1280178"/>
                <a:gd name="connsiteY6" fmla="*/ 586740 h 914400"/>
                <a:gd name="connsiteX7" fmla="*/ 1082058 w 1280178"/>
                <a:gd name="connsiteY7" fmla="*/ 914400 h 914400"/>
                <a:gd name="connsiteX0" fmla="*/ 1082058 w 1280178"/>
                <a:gd name="connsiteY0" fmla="*/ 914400 h 914400"/>
                <a:gd name="connsiteX1" fmla="*/ 1280178 w 1280178"/>
                <a:gd name="connsiteY1" fmla="*/ 449580 h 914400"/>
                <a:gd name="connsiteX2" fmla="*/ 434358 w 1280178"/>
                <a:gd name="connsiteY2" fmla="*/ 0 h 914400"/>
                <a:gd name="connsiteX3" fmla="*/ 318163 w 1280178"/>
                <a:gd name="connsiteY3" fmla="*/ 201505 h 914400"/>
                <a:gd name="connsiteX4" fmla="*/ 183026 w 1280178"/>
                <a:gd name="connsiteY4" fmla="*/ 210649 h 914400"/>
                <a:gd name="connsiteX5" fmla="*/ 0 w 1280178"/>
                <a:gd name="connsiteY5" fmla="*/ 239268 h 914400"/>
                <a:gd name="connsiteX6" fmla="*/ 381018 w 1280178"/>
                <a:gd name="connsiteY6" fmla="*/ 464820 h 914400"/>
                <a:gd name="connsiteX7" fmla="*/ 495318 w 1280178"/>
                <a:gd name="connsiteY7" fmla="*/ 586740 h 914400"/>
                <a:gd name="connsiteX8" fmla="*/ 1082058 w 1280178"/>
                <a:gd name="connsiteY8" fmla="*/ 914400 h 914400"/>
                <a:gd name="connsiteX0" fmla="*/ 1111389 w 1309509"/>
                <a:gd name="connsiteY0" fmla="*/ 914400 h 914400"/>
                <a:gd name="connsiteX1" fmla="*/ 1309509 w 1309509"/>
                <a:gd name="connsiteY1" fmla="*/ 449580 h 914400"/>
                <a:gd name="connsiteX2" fmla="*/ 463689 w 1309509"/>
                <a:gd name="connsiteY2" fmla="*/ 0 h 914400"/>
                <a:gd name="connsiteX3" fmla="*/ 347494 w 1309509"/>
                <a:gd name="connsiteY3" fmla="*/ 201505 h 914400"/>
                <a:gd name="connsiteX4" fmla="*/ 0 w 1309509"/>
                <a:gd name="connsiteY4" fmla="*/ 27769 h 914400"/>
                <a:gd name="connsiteX5" fmla="*/ 29331 w 1309509"/>
                <a:gd name="connsiteY5" fmla="*/ 239268 h 914400"/>
                <a:gd name="connsiteX6" fmla="*/ 410349 w 1309509"/>
                <a:gd name="connsiteY6" fmla="*/ 464820 h 914400"/>
                <a:gd name="connsiteX7" fmla="*/ 524649 w 1309509"/>
                <a:gd name="connsiteY7" fmla="*/ 586740 h 914400"/>
                <a:gd name="connsiteX8" fmla="*/ 1111389 w 1309509"/>
                <a:gd name="connsiteY8" fmla="*/ 914400 h 914400"/>
                <a:gd name="connsiteX0" fmla="*/ 1111389 w 1309509"/>
                <a:gd name="connsiteY0" fmla="*/ 914400 h 914400"/>
                <a:gd name="connsiteX1" fmla="*/ 1309509 w 1309509"/>
                <a:gd name="connsiteY1" fmla="*/ 449580 h 914400"/>
                <a:gd name="connsiteX2" fmla="*/ 463689 w 1309509"/>
                <a:gd name="connsiteY2" fmla="*/ 0 h 914400"/>
                <a:gd name="connsiteX3" fmla="*/ 347494 w 1309509"/>
                <a:gd name="connsiteY3" fmla="*/ 201505 h 914400"/>
                <a:gd name="connsiteX4" fmla="*/ 0 w 1309509"/>
                <a:gd name="connsiteY4" fmla="*/ 27769 h 914400"/>
                <a:gd name="connsiteX5" fmla="*/ 29331 w 1309509"/>
                <a:gd name="connsiteY5" fmla="*/ 220980 h 914400"/>
                <a:gd name="connsiteX6" fmla="*/ 410349 w 1309509"/>
                <a:gd name="connsiteY6" fmla="*/ 464820 h 914400"/>
                <a:gd name="connsiteX7" fmla="*/ 524649 w 1309509"/>
                <a:gd name="connsiteY7" fmla="*/ 586740 h 914400"/>
                <a:gd name="connsiteX8" fmla="*/ 1111389 w 1309509"/>
                <a:gd name="connsiteY8" fmla="*/ 914400 h 914400"/>
                <a:gd name="connsiteX0" fmla="*/ 1111389 w 1309509"/>
                <a:gd name="connsiteY0" fmla="*/ 914400 h 914400"/>
                <a:gd name="connsiteX1" fmla="*/ 1242619 w 1309509"/>
                <a:gd name="connsiteY1" fmla="*/ 603040 h 914400"/>
                <a:gd name="connsiteX2" fmla="*/ 1309509 w 1309509"/>
                <a:gd name="connsiteY2" fmla="*/ 449580 h 914400"/>
                <a:gd name="connsiteX3" fmla="*/ 463689 w 1309509"/>
                <a:gd name="connsiteY3" fmla="*/ 0 h 914400"/>
                <a:gd name="connsiteX4" fmla="*/ 347494 w 1309509"/>
                <a:gd name="connsiteY4" fmla="*/ 201505 h 914400"/>
                <a:gd name="connsiteX5" fmla="*/ 0 w 1309509"/>
                <a:gd name="connsiteY5" fmla="*/ 27769 h 914400"/>
                <a:gd name="connsiteX6" fmla="*/ 29331 w 1309509"/>
                <a:gd name="connsiteY6" fmla="*/ 220980 h 914400"/>
                <a:gd name="connsiteX7" fmla="*/ 410349 w 1309509"/>
                <a:gd name="connsiteY7" fmla="*/ 464820 h 914400"/>
                <a:gd name="connsiteX8" fmla="*/ 524649 w 1309509"/>
                <a:gd name="connsiteY8" fmla="*/ 586740 h 914400"/>
                <a:gd name="connsiteX9" fmla="*/ 1111389 w 1309509"/>
                <a:gd name="connsiteY9" fmla="*/ 914400 h 914400"/>
                <a:gd name="connsiteX0" fmla="*/ 1111389 w 1309509"/>
                <a:gd name="connsiteY0" fmla="*/ 914400 h 914400"/>
                <a:gd name="connsiteX1" fmla="*/ 1287598 w 1309509"/>
                <a:gd name="connsiteY1" fmla="*/ 484551 h 914400"/>
                <a:gd name="connsiteX2" fmla="*/ 1309509 w 1309509"/>
                <a:gd name="connsiteY2" fmla="*/ 449580 h 914400"/>
                <a:gd name="connsiteX3" fmla="*/ 463689 w 1309509"/>
                <a:gd name="connsiteY3" fmla="*/ 0 h 914400"/>
                <a:gd name="connsiteX4" fmla="*/ 347494 w 1309509"/>
                <a:gd name="connsiteY4" fmla="*/ 201505 h 914400"/>
                <a:gd name="connsiteX5" fmla="*/ 0 w 1309509"/>
                <a:gd name="connsiteY5" fmla="*/ 27769 h 914400"/>
                <a:gd name="connsiteX6" fmla="*/ 29331 w 1309509"/>
                <a:gd name="connsiteY6" fmla="*/ 220980 h 914400"/>
                <a:gd name="connsiteX7" fmla="*/ 410349 w 1309509"/>
                <a:gd name="connsiteY7" fmla="*/ 464820 h 914400"/>
                <a:gd name="connsiteX8" fmla="*/ 524649 w 1309509"/>
                <a:gd name="connsiteY8" fmla="*/ 586740 h 914400"/>
                <a:gd name="connsiteX9" fmla="*/ 1111389 w 1309509"/>
                <a:gd name="connsiteY9" fmla="*/ 914400 h 914400"/>
                <a:gd name="connsiteX0" fmla="*/ 1111389 w 1309509"/>
                <a:gd name="connsiteY0" fmla="*/ 914400 h 914400"/>
                <a:gd name="connsiteX1" fmla="*/ 1197640 w 1309509"/>
                <a:gd name="connsiteY1" fmla="*/ 698742 h 914400"/>
                <a:gd name="connsiteX2" fmla="*/ 1287598 w 1309509"/>
                <a:gd name="connsiteY2" fmla="*/ 484551 h 914400"/>
                <a:gd name="connsiteX3" fmla="*/ 1309509 w 1309509"/>
                <a:gd name="connsiteY3" fmla="*/ 449580 h 914400"/>
                <a:gd name="connsiteX4" fmla="*/ 463689 w 1309509"/>
                <a:gd name="connsiteY4" fmla="*/ 0 h 914400"/>
                <a:gd name="connsiteX5" fmla="*/ 347494 w 1309509"/>
                <a:gd name="connsiteY5" fmla="*/ 201505 h 914400"/>
                <a:gd name="connsiteX6" fmla="*/ 0 w 1309509"/>
                <a:gd name="connsiteY6" fmla="*/ 27769 h 914400"/>
                <a:gd name="connsiteX7" fmla="*/ 29331 w 1309509"/>
                <a:gd name="connsiteY7" fmla="*/ 220980 h 914400"/>
                <a:gd name="connsiteX8" fmla="*/ 410349 w 1309509"/>
                <a:gd name="connsiteY8" fmla="*/ 464820 h 914400"/>
                <a:gd name="connsiteX9" fmla="*/ 524649 w 1309509"/>
                <a:gd name="connsiteY9" fmla="*/ 586740 h 914400"/>
                <a:gd name="connsiteX10" fmla="*/ 1111389 w 1309509"/>
                <a:gd name="connsiteY10" fmla="*/ 914400 h 914400"/>
                <a:gd name="connsiteX0" fmla="*/ 1111389 w 1674417"/>
                <a:gd name="connsiteY0" fmla="*/ 914400 h 914400"/>
                <a:gd name="connsiteX1" fmla="*/ 1674417 w 1674417"/>
                <a:gd name="connsiteY1" fmla="*/ 666841 h 914400"/>
                <a:gd name="connsiteX2" fmla="*/ 1287598 w 1674417"/>
                <a:gd name="connsiteY2" fmla="*/ 484551 h 914400"/>
                <a:gd name="connsiteX3" fmla="*/ 1309509 w 1674417"/>
                <a:gd name="connsiteY3" fmla="*/ 449580 h 914400"/>
                <a:gd name="connsiteX4" fmla="*/ 463689 w 1674417"/>
                <a:gd name="connsiteY4" fmla="*/ 0 h 914400"/>
                <a:gd name="connsiteX5" fmla="*/ 347494 w 1674417"/>
                <a:gd name="connsiteY5" fmla="*/ 201505 h 914400"/>
                <a:gd name="connsiteX6" fmla="*/ 0 w 1674417"/>
                <a:gd name="connsiteY6" fmla="*/ 27769 h 914400"/>
                <a:gd name="connsiteX7" fmla="*/ 29331 w 1674417"/>
                <a:gd name="connsiteY7" fmla="*/ 220980 h 914400"/>
                <a:gd name="connsiteX8" fmla="*/ 410349 w 1674417"/>
                <a:gd name="connsiteY8" fmla="*/ 464820 h 914400"/>
                <a:gd name="connsiteX9" fmla="*/ 524649 w 1674417"/>
                <a:gd name="connsiteY9" fmla="*/ 586740 h 914400"/>
                <a:gd name="connsiteX10" fmla="*/ 1111389 w 1674417"/>
                <a:gd name="connsiteY10" fmla="*/ 914400 h 914400"/>
                <a:gd name="connsiteX0" fmla="*/ 1111389 w 1674417"/>
                <a:gd name="connsiteY0" fmla="*/ 914400 h 914400"/>
                <a:gd name="connsiteX1" fmla="*/ 1427033 w 1674417"/>
                <a:gd name="connsiteY1" fmla="*/ 771658 h 914400"/>
                <a:gd name="connsiteX2" fmla="*/ 1674417 w 1674417"/>
                <a:gd name="connsiteY2" fmla="*/ 666841 h 914400"/>
                <a:gd name="connsiteX3" fmla="*/ 1287598 w 1674417"/>
                <a:gd name="connsiteY3" fmla="*/ 484551 h 914400"/>
                <a:gd name="connsiteX4" fmla="*/ 1309509 w 1674417"/>
                <a:gd name="connsiteY4" fmla="*/ 449580 h 914400"/>
                <a:gd name="connsiteX5" fmla="*/ 463689 w 1674417"/>
                <a:gd name="connsiteY5" fmla="*/ 0 h 914400"/>
                <a:gd name="connsiteX6" fmla="*/ 347494 w 1674417"/>
                <a:gd name="connsiteY6" fmla="*/ 201505 h 914400"/>
                <a:gd name="connsiteX7" fmla="*/ 0 w 1674417"/>
                <a:gd name="connsiteY7" fmla="*/ 27769 h 914400"/>
                <a:gd name="connsiteX8" fmla="*/ 29331 w 1674417"/>
                <a:gd name="connsiteY8" fmla="*/ 220980 h 914400"/>
                <a:gd name="connsiteX9" fmla="*/ 410349 w 1674417"/>
                <a:gd name="connsiteY9" fmla="*/ 464820 h 914400"/>
                <a:gd name="connsiteX10" fmla="*/ 524649 w 1674417"/>
                <a:gd name="connsiteY10" fmla="*/ 586740 h 914400"/>
                <a:gd name="connsiteX11" fmla="*/ 1111389 w 1674417"/>
                <a:gd name="connsiteY11" fmla="*/ 914400 h 914400"/>
                <a:gd name="connsiteX0" fmla="*/ 1111389 w 2034250"/>
                <a:gd name="connsiteY0" fmla="*/ 914400 h 1168138"/>
                <a:gd name="connsiteX1" fmla="*/ 2034250 w 2034250"/>
                <a:gd name="connsiteY1" fmla="*/ 1168138 h 1168138"/>
                <a:gd name="connsiteX2" fmla="*/ 1674417 w 2034250"/>
                <a:gd name="connsiteY2" fmla="*/ 666841 h 1168138"/>
                <a:gd name="connsiteX3" fmla="*/ 1287598 w 2034250"/>
                <a:gd name="connsiteY3" fmla="*/ 484551 h 1168138"/>
                <a:gd name="connsiteX4" fmla="*/ 1309509 w 2034250"/>
                <a:gd name="connsiteY4" fmla="*/ 449580 h 1168138"/>
                <a:gd name="connsiteX5" fmla="*/ 463689 w 2034250"/>
                <a:gd name="connsiteY5" fmla="*/ 0 h 1168138"/>
                <a:gd name="connsiteX6" fmla="*/ 347494 w 2034250"/>
                <a:gd name="connsiteY6" fmla="*/ 201505 h 1168138"/>
                <a:gd name="connsiteX7" fmla="*/ 0 w 2034250"/>
                <a:gd name="connsiteY7" fmla="*/ 27769 h 1168138"/>
                <a:gd name="connsiteX8" fmla="*/ 29331 w 2034250"/>
                <a:gd name="connsiteY8" fmla="*/ 220980 h 1168138"/>
                <a:gd name="connsiteX9" fmla="*/ 410349 w 2034250"/>
                <a:gd name="connsiteY9" fmla="*/ 464820 h 1168138"/>
                <a:gd name="connsiteX10" fmla="*/ 524649 w 2034250"/>
                <a:gd name="connsiteY10" fmla="*/ 586740 h 1168138"/>
                <a:gd name="connsiteX11" fmla="*/ 1111389 w 2034250"/>
                <a:gd name="connsiteY11" fmla="*/ 914400 h 1168138"/>
                <a:gd name="connsiteX0" fmla="*/ 1111389 w 2034250"/>
                <a:gd name="connsiteY0" fmla="*/ 914400 h 1168138"/>
                <a:gd name="connsiteX1" fmla="*/ 2034250 w 2034250"/>
                <a:gd name="connsiteY1" fmla="*/ 1168138 h 1168138"/>
                <a:gd name="connsiteX2" fmla="*/ 1827346 w 2034250"/>
                <a:gd name="connsiteY2" fmla="*/ 862803 h 1168138"/>
                <a:gd name="connsiteX3" fmla="*/ 1674417 w 2034250"/>
                <a:gd name="connsiteY3" fmla="*/ 666841 h 1168138"/>
                <a:gd name="connsiteX4" fmla="*/ 1287598 w 2034250"/>
                <a:gd name="connsiteY4" fmla="*/ 484551 h 1168138"/>
                <a:gd name="connsiteX5" fmla="*/ 1309509 w 2034250"/>
                <a:gd name="connsiteY5" fmla="*/ 449580 h 1168138"/>
                <a:gd name="connsiteX6" fmla="*/ 463689 w 2034250"/>
                <a:gd name="connsiteY6" fmla="*/ 0 h 1168138"/>
                <a:gd name="connsiteX7" fmla="*/ 347494 w 2034250"/>
                <a:gd name="connsiteY7" fmla="*/ 201505 h 1168138"/>
                <a:gd name="connsiteX8" fmla="*/ 0 w 2034250"/>
                <a:gd name="connsiteY8" fmla="*/ 27769 h 1168138"/>
                <a:gd name="connsiteX9" fmla="*/ 29331 w 2034250"/>
                <a:gd name="connsiteY9" fmla="*/ 220980 h 1168138"/>
                <a:gd name="connsiteX10" fmla="*/ 410349 w 2034250"/>
                <a:gd name="connsiteY10" fmla="*/ 464820 h 1168138"/>
                <a:gd name="connsiteX11" fmla="*/ 524649 w 2034250"/>
                <a:gd name="connsiteY11" fmla="*/ 586740 h 1168138"/>
                <a:gd name="connsiteX12" fmla="*/ 1111389 w 2034250"/>
                <a:gd name="connsiteY12" fmla="*/ 914400 h 1168138"/>
                <a:gd name="connsiteX0" fmla="*/ 1111389 w 2034250"/>
                <a:gd name="connsiteY0" fmla="*/ 914400 h 1168138"/>
                <a:gd name="connsiteX1" fmla="*/ 2034250 w 2034250"/>
                <a:gd name="connsiteY1" fmla="*/ 1168138 h 1168138"/>
                <a:gd name="connsiteX2" fmla="*/ 1651928 w 2034250"/>
                <a:gd name="connsiteY2" fmla="*/ 771658 h 1168138"/>
                <a:gd name="connsiteX3" fmla="*/ 1674417 w 2034250"/>
                <a:gd name="connsiteY3" fmla="*/ 666841 h 1168138"/>
                <a:gd name="connsiteX4" fmla="*/ 1287598 w 2034250"/>
                <a:gd name="connsiteY4" fmla="*/ 484551 h 1168138"/>
                <a:gd name="connsiteX5" fmla="*/ 1309509 w 2034250"/>
                <a:gd name="connsiteY5" fmla="*/ 449580 h 1168138"/>
                <a:gd name="connsiteX6" fmla="*/ 463689 w 2034250"/>
                <a:gd name="connsiteY6" fmla="*/ 0 h 1168138"/>
                <a:gd name="connsiteX7" fmla="*/ 347494 w 2034250"/>
                <a:gd name="connsiteY7" fmla="*/ 201505 h 1168138"/>
                <a:gd name="connsiteX8" fmla="*/ 0 w 2034250"/>
                <a:gd name="connsiteY8" fmla="*/ 27769 h 1168138"/>
                <a:gd name="connsiteX9" fmla="*/ 29331 w 2034250"/>
                <a:gd name="connsiteY9" fmla="*/ 220980 h 1168138"/>
                <a:gd name="connsiteX10" fmla="*/ 410349 w 2034250"/>
                <a:gd name="connsiteY10" fmla="*/ 464820 h 1168138"/>
                <a:gd name="connsiteX11" fmla="*/ 524649 w 2034250"/>
                <a:gd name="connsiteY11" fmla="*/ 586740 h 1168138"/>
                <a:gd name="connsiteX12" fmla="*/ 1111389 w 2034250"/>
                <a:gd name="connsiteY12" fmla="*/ 914400 h 1168138"/>
                <a:gd name="connsiteX0" fmla="*/ 1111389 w 2034250"/>
                <a:gd name="connsiteY0" fmla="*/ 914400 h 1168138"/>
                <a:gd name="connsiteX1" fmla="*/ 2034250 w 2034250"/>
                <a:gd name="connsiteY1" fmla="*/ 1168138 h 1168138"/>
                <a:gd name="connsiteX2" fmla="*/ 1800358 w 2034250"/>
                <a:gd name="connsiteY2" fmla="*/ 926605 h 1168138"/>
                <a:gd name="connsiteX3" fmla="*/ 1651928 w 2034250"/>
                <a:gd name="connsiteY3" fmla="*/ 771658 h 1168138"/>
                <a:gd name="connsiteX4" fmla="*/ 1674417 w 2034250"/>
                <a:gd name="connsiteY4" fmla="*/ 666841 h 1168138"/>
                <a:gd name="connsiteX5" fmla="*/ 1287598 w 2034250"/>
                <a:gd name="connsiteY5" fmla="*/ 484551 h 1168138"/>
                <a:gd name="connsiteX6" fmla="*/ 1309509 w 2034250"/>
                <a:gd name="connsiteY6" fmla="*/ 449580 h 1168138"/>
                <a:gd name="connsiteX7" fmla="*/ 463689 w 2034250"/>
                <a:gd name="connsiteY7" fmla="*/ 0 h 1168138"/>
                <a:gd name="connsiteX8" fmla="*/ 347494 w 2034250"/>
                <a:gd name="connsiteY8" fmla="*/ 201505 h 1168138"/>
                <a:gd name="connsiteX9" fmla="*/ 0 w 2034250"/>
                <a:gd name="connsiteY9" fmla="*/ 27769 h 1168138"/>
                <a:gd name="connsiteX10" fmla="*/ 29331 w 2034250"/>
                <a:gd name="connsiteY10" fmla="*/ 220980 h 1168138"/>
                <a:gd name="connsiteX11" fmla="*/ 410349 w 2034250"/>
                <a:gd name="connsiteY11" fmla="*/ 464820 h 1168138"/>
                <a:gd name="connsiteX12" fmla="*/ 524649 w 2034250"/>
                <a:gd name="connsiteY12" fmla="*/ 586740 h 1168138"/>
                <a:gd name="connsiteX13" fmla="*/ 1111389 w 2034250"/>
                <a:gd name="connsiteY13" fmla="*/ 914400 h 1168138"/>
                <a:gd name="connsiteX0" fmla="*/ 1111389 w 2070232"/>
                <a:gd name="connsiteY0" fmla="*/ 914400 h 1168138"/>
                <a:gd name="connsiteX1" fmla="*/ 2034250 w 2070232"/>
                <a:gd name="connsiteY1" fmla="*/ 1168138 h 1168138"/>
                <a:gd name="connsiteX2" fmla="*/ 2070232 w 2070232"/>
                <a:gd name="connsiteY2" fmla="*/ 1072437 h 1168138"/>
                <a:gd name="connsiteX3" fmla="*/ 1651928 w 2070232"/>
                <a:gd name="connsiteY3" fmla="*/ 771658 h 1168138"/>
                <a:gd name="connsiteX4" fmla="*/ 1674417 w 2070232"/>
                <a:gd name="connsiteY4" fmla="*/ 666841 h 1168138"/>
                <a:gd name="connsiteX5" fmla="*/ 1287598 w 2070232"/>
                <a:gd name="connsiteY5" fmla="*/ 484551 h 1168138"/>
                <a:gd name="connsiteX6" fmla="*/ 1309509 w 2070232"/>
                <a:gd name="connsiteY6" fmla="*/ 449580 h 1168138"/>
                <a:gd name="connsiteX7" fmla="*/ 463689 w 2070232"/>
                <a:gd name="connsiteY7" fmla="*/ 0 h 1168138"/>
                <a:gd name="connsiteX8" fmla="*/ 347494 w 2070232"/>
                <a:gd name="connsiteY8" fmla="*/ 201505 h 1168138"/>
                <a:gd name="connsiteX9" fmla="*/ 0 w 2070232"/>
                <a:gd name="connsiteY9" fmla="*/ 27769 h 1168138"/>
                <a:gd name="connsiteX10" fmla="*/ 29331 w 2070232"/>
                <a:gd name="connsiteY10" fmla="*/ 220980 h 1168138"/>
                <a:gd name="connsiteX11" fmla="*/ 410349 w 2070232"/>
                <a:gd name="connsiteY11" fmla="*/ 464820 h 1168138"/>
                <a:gd name="connsiteX12" fmla="*/ 524649 w 2070232"/>
                <a:gd name="connsiteY12" fmla="*/ 586740 h 1168138"/>
                <a:gd name="connsiteX13" fmla="*/ 1111389 w 2070232"/>
                <a:gd name="connsiteY13" fmla="*/ 914400 h 1168138"/>
                <a:gd name="connsiteX0" fmla="*/ 1111389 w 2070232"/>
                <a:gd name="connsiteY0" fmla="*/ 914400 h 1168138"/>
                <a:gd name="connsiteX1" fmla="*/ 2034250 w 2070232"/>
                <a:gd name="connsiteY1" fmla="*/ 1168138 h 1168138"/>
                <a:gd name="connsiteX2" fmla="*/ 2070232 w 2070232"/>
                <a:gd name="connsiteY2" fmla="*/ 1072437 h 1168138"/>
                <a:gd name="connsiteX3" fmla="*/ 1831843 w 2070232"/>
                <a:gd name="connsiteY3" fmla="*/ 903818 h 1168138"/>
                <a:gd name="connsiteX4" fmla="*/ 1651928 w 2070232"/>
                <a:gd name="connsiteY4" fmla="*/ 771658 h 1168138"/>
                <a:gd name="connsiteX5" fmla="*/ 1674417 w 2070232"/>
                <a:gd name="connsiteY5" fmla="*/ 666841 h 1168138"/>
                <a:gd name="connsiteX6" fmla="*/ 1287598 w 2070232"/>
                <a:gd name="connsiteY6" fmla="*/ 484551 h 1168138"/>
                <a:gd name="connsiteX7" fmla="*/ 1309509 w 2070232"/>
                <a:gd name="connsiteY7" fmla="*/ 449580 h 1168138"/>
                <a:gd name="connsiteX8" fmla="*/ 463689 w 2070232"/>
                <a:gd name="connsiteY8" fmla="*/ 0 h 1168138"/>
                <a:gd name="connsiteX9" fmla="*/ 347494 w 2070232"/>
                <a:gd name="connsiteY9" fmla="*/ 201505 h 1168138"/>
                <a:gd name="connsiteX10" fmla="*/ 0 w 2070232"/>
                <a:gd name="connsiteY10" fmla="*/ 27769 h 1168138"/>
                <a:gd name="connsiteX11" fmla="*/ 29331 w 2070232"/>
                <a:gd name="connsiteY11" fmla="*/ 220980 h 1168138"/>
                <a:gd name="connsiteX12" fmla="*/ 410349 w 2070232"/>
                <a:gd name="connsiteY12" fmla="*/ 464820 h 1168138"/>
                <a:gd name="connsiteX13" fmla="*/ 524649 w 2070232"/>
                <a:gd name="connsiteY13" fmla="*/ 586740 h 1168138"/>
                <a:gd name="connsiteX14" fmla="*/ 1111389 w 2070232"/>
                <a:gd name="connsiteY14" fmla="*/ 914400 h 1168138"/>
                <a:gd name="connsiteX0" fmla="*/ 1111389 w 2070232"/>
                <a:gd name="connsiteY0" fmla="*/ 914400 h 1168138"/>
                <a:gd name="connsiteX1" fmla="*/ 2034250 w 2070232"/>
                <a:gd name="connsiteY1" fmla="*/ 1168138 h 1168138"/>
                <a:gd name="connsiteX2" fmla="*/ 2070232 w 2070232"/>
                <a:gd name="connsiteY2" fmla="*/ 1072437 h 1168138"/>
                <a:gd name="connsiteX3" fmla="*/ 1692408 w 2070232"/>
                <a:gd name="connsiteY3" fmla="*/ 849131 h 1168138"/>
                <a:gd name="connsiteX4" fmla="*/ 1651928 w 2070232"/>
                <a:gd name="connsiteY4" fmla="*/ 771658 h 1168138"/>
                <a:gd name="connsiteX5" fmla="*/ 1674417 w 2070232"/>
                <a:gd name="connsiteY5" fmla="*/ 666841 h 1168138"/>
                <a:gd name="connsiteX6" fmla="*/ 1287598 w 2070232"/>
                <a:gd name="connsiteY6" fmla="*/ 484551 h 1168138"/>
                <a:gd name="connsiteX7" fmla="*/ 1309509 w 2070232"/>
                <a:gd name="connsiteY7" fmla="*/ 449580 h 1168138"/>
                <a:gd name="connsiteX8" fmla="*/ 463689 w 2070232"/>
                <a:gd name="connsiteY8" fmla="*/ 0 h 1168138"/>
                <a:gd name="connsiteX9" fmla="*/ 347494 w 2070232"/>
                <a:gd name="connsiteY9" fmla="*/ 201505 h 1168138"/>
                <a:gd name="connsiteX10" fmla="*/ 0 w 2070232"/>
                <a:gd name="connsiteY10" fmla="*/ 27769 h 1168138"/>
                <a:gd name="connsiteX11" fmla="*/ 29331 w 2070232"/>
                <a:gd name="connsiteY11" fmla="*/ 220980 h 1168138"/>
                <a:gd name="connsiteX12" fmla="*/ 410349 w 2070232"/>
                <a:gd name="connsiteY12" fmla="*/ 464820 h 1168138"/>
                <a:gd name="connsiteX13" fmla="*/ 524649 w 2070232"/>
                <a:gd name="connsiteY13" fmla="*/ 586740 h 1168138"/>
                <a:gd name="connsiteX14" fmla="*/ 1111389 w 2070232"/>
                <a:gd name="connsiteY14" fmla="*/ 914400 h 1168138"/>
                <a:gd name="connsiteX0" fmla="*/ 1111389 w 2070232"/>
                <a:gd name="connsiteY0" fmla="*/ 914400 h 1168138"/>
                <a:gd name="connsiteX1" fmla="*/ 2034250 w 2070232"/>
                <a:gd name="connsiteY1" fmla="*/ 1168138 h 1168138"/>
                <a:gd name="connsiteX2" fmla="*/ 2070232 w 2070232"/>
                <a:gd name="connsiteY2" fmla="*/ 1072437 h 1168138"/>
                <a:gd name="connsiteX3" fmla="*/ 1908307 w 2070232"/>
                <a:gd name="connsiteY3" fmla="*/ 976734 h 1168138"/>
                <a:gd name="connsiteX4" fmla="*/ 1692408 w 2070232"/>
                <a:gd name="connsiteY4" fmla="*/ 849131 h 1168138"/>
                <a:gd name="connsiteX5" fmla="*/ 1651928 w 2070232"/>
                <a:gd name="connsiteY5" fmla="*/ 771658 h 1168138"/>
                <a:gd name="connsiteX6" fmla="*/ 1674417 w 2070232"/>
                <a:gd name="connsiteY6" fmla="*/ 666841 h 1168138"/>
                <a:gd name="connsiteX7" fmla="*/ 1287598 w 2070232"/>
                <a:gd name="connsiteY7" fmla="*/ 484551 h 1168138"/>
                <a:gd name="connsiteX8" fmla="*/ 1309509 w 2070232"/>
                <a:gd name="connsiteY8" fmla="*/ 449580 h 1168138"/>
                <a:gd name="connsiteX9" fmla="*/ 463689 w 2070232"/>
                <a:gd name="connsiteY9" fmla="*/ 0 h 1168138"/>
                <a:gd name="connsiteX10" fmla="*/ 347494 w 2070232"/>
                <a:gd name="connsiteY10" fmla="*/ 201505 h 1168138"/>
                <a:gd name="connsiteX11" fmla="*/ 0 w 2070232"/>
                <a:gd name="connsiteY11" fmla="*/ 27769 h 1168138"/>
                <a:gd name="connsiteX12" fmla="*/ 29331 w 2070232"/>
                <a:gd name="connsiteY12" fmla="*/ 220980 h 1168138"/>
                <a:gd name="connsiteX13" fmla="*/ 410349 w 2070232"/>
                <a:gd name="connsiteY13" fmla="*/ 464820 h 1168138"/>
                <a:gd name="connsiteX14" fmla="*/ 524649 w 2070232"/>
                <a:gd name="connsiteY14" fmla="*/ 586740 h 1168138"/>
                <a:gd name="connsiteX15" fmla="*/ 1111389 w 2070232"/>
                <a:gd name="connsiteY15" fmla="*/ 914400 h 1168138"/>
                <a:gd name="connsiteX0" fmla="*/ 1111389 w 2070232"/>
                <a:gd name="connsiteY0" fmla="*/ 914400 h 1168138"/>
                <a:gd name="connsiteX1" fmla="*/ 2034250 w 2070232"/>
                <a:gd name="connsiteY1" fmla="*/ 1168138 h 1168138"/>
                <a:gd name="connsiteX2" fmla="*/ 2070232 w 2070232"/>
                <a:gd name="connsiteY2" fmla="*/ 1072437 h 1168138"/>
                <a:gd name="connsiteX3" fmla="*/ 1885817 w 2070232"/>
                <a:gd name="connsiteY3" fmla="*/ 981291 h 1168138"/>
                <a:gd name="connsiteX4" fmla="*/ 1692408 w 2070232"/>
                <a:gd name="connsiteY4" fmla="*/ 849131 h 1168138"/>
                <a:gd name="connsiteX5" fmla="*/ 1651928 w 2070232"/>
                <a:gd name="connsiteY5" fmla="*/ 771658 h 1168138"/>
                <a:gd name="connsiteX6" fmla="*/ 1674417 w 2070232"/>
                <a:gd name="connsiteY6" fmla="*/ 666841 h 1168138"/>
                <a:gd name="connsiteX7" fmla="*/ 1287598 w 2070232"/>
                <a:gd name="connsiteY7" fmla="*/ 484551 h 1168138"/>
                <a:gd name="connsiteX8" fmla="*/ 1309509 w 2070232"/>
                <a:gd name="connsiteY8" fmla="*/ 449580 h 1168138"/>
                <a:gd name="connsiteX9" fmla="*/ 463689 w 2070232"/>
                <a:gd name="connsiteY9" fmla="*/ 0 h 1168138"/>
                <a:gd name="connsiteX10" fmla="*/ 347494 w 2070232"/>
                <a:gd name="connsiteY10" fmla="*/ 201505 h 1168138"/>
                <a:gd name="connsiteX11" fmla="*/ 0 w 2070232"/>
                <a:gd name="connsiteY11" fmla="*/ 27769 h 1168138"/>
                <a:gd name="connsiteX12" fmla="*/ 29331 w 2070232"/>
                <a:gd name="connsiteY12" fmla="*/ 220980 h 1168138"/>
                <a:gd name="connsiteX13" fmla="*/ 410349 w 2070232"/>
                <a:gd name="connsiteY13" fmla="*/ 464820 h 1168138"/>
                <a:gd name="connsiteX14" fmla="*/ 524649 w 2070232"/>
                <a:gd name="connsiteY14" fmla="*/ 586740 h 1168138"/>
                <a:gd name="connsiteX15" fmla="*/ 1111389 w 2070232"/>
                <a:gd name="connsiteY15" fmla="*/ 914400 h 1168138"/>
                <a:gd name="connsiteX0" fmla="*/ 1111389 w 2070232"/>
                <a:gd name="connsiteY0" fmla="*/ 914400 h 1168138"/>
                <a:gd name="connsiteX1" fmla="*/ 1669920 w 2070232"/>
                <a:gd name="connsiteY1" fmla="*/ 1063322 h 1168138"/>
                <a:gd name="connsiteX2" fmla="*/ 2034250 w 2070232"/>
                <a:gd name="connsiteY2" fmla="*/ 1168138 h 1168138"/>
                <a:gd name="connsiteX3" fmla="*/ 2070232 w 2070232"/>
                <a:gd name="connsiteY3" fmla="*/ 1072437 h 1168138"/>
                <a:gd name="connsiteX4" fmla="*/ 1885817 w 2070232"/>
                <a:gd name="connsiteY4" fmla="*/ 981291 h 1168138"/>
                <a:gd name="connsiteX5" fmla="*/ 1692408 w 2070232"/>
                <a:gd name="connsiteY5" fmla="*/ 849131 h 1168138"/>
                <a:gd name="connsiteX6" fmla="*/ 1651928 w 2070232"/>
                <a:gd name="connsiteY6" fmla="*/ 771658 h 1168138"/>
                <a:gd name="connsiteX7" fmla="*/ 1674417 w 2070232"/>
                <a:gd name="connsiteY7" fmla="*/ 666841 h 1168138"/>
                <a:gd name="connsiteX8" fmla="*/ 1287598 w 2070232"/>
                <a:gd name="connsiteY8" fmla="*/ 484551 h 1168138"/>
                <a:gd name="connsiteX9" fmla="*/ 1309509 w 2070232"/>
                <a:gd name="connsiteY9" fmla="*/ 449580 h 1168138"/>
                <a:gd name="connsiteX10" fmla="*/ 463689 w 2070232"/>
                <a:gd name="connsiteY10" fmla="*/ 0 h 1168138"/>
                <a:gd name="connsiteX11" fmla="*/ 347494 w 2070232"/>
                <a:gd name="connsiteY11" fmla="*/ 201505 h 1168138"/>
                <a:gd name="connsiteX12" fmla="*/ 0 w 2070232"/>
                <a:gd name="connsiteY12" fmla="*/ 27769 h 1168138"/>
                <a:gd name="connsiteX13" fmla="*/ 29331 w 2070232"/>
                <a:gd name="connsiteY13" fmla="*/ 220980 h 1168138"/>
                <a:gd name="connsiteX14" fmla="*/ 410349 w 2070232"/>
                <a:gd name="connsiteY14" fmla="*/ 464820 h 1168138"/>
                <a:gd name="connsiteX15" fmla="*/ 524649 w 2070232"/>
                <a:gd name="connsiteY15" fmla="*/ 586740 h 1168138"/>
                <a:gd name="connsiteX16" fmla="*/ 1111389 w 2070232"/>
                <a:gd name="connsiteY16" fmla="*/ 914400 h 1168138"/>
                <a:gd name="connsiteX0" fmla="*/ 1111389 w 2070232"/>
                <a:gd name="connsiteY0" fmla="*/ 914400 h 1168138"/>
                <a:gd name="connsiteX1" fmla="*/ 1620443 w 2070232"/>
                <a:gd name="connsiteY1" fmla="*/ 1008635 h 1168138"/>
                <a:gd name="connsiteX2" fmla="*/ 2034250 w 2070232"/>
                <a:gd name="connsiteY2" fmla="*/ 1168138 h 1168138"/>
                <a:gd name="connsiteX3" fmla="*/ 2070232 w 2070232"/>
                <a:gd name="connsiteY3" fmla="*/ 1072437 h 1168138"/>
                <a:gd name="connsiteX4" fmla="*/ 1885817 w 2070232"/>
                <a:gd name="connsiteY4" fmla="*/ 981291 h 1168138"/>
                <a:gd name="connsiteX5" fmla="*/ 1692408 w 2070232"/>
                <a:gd name="connsiteY5" fmla="*/ 849131 h 1168138"/>
                <a:gd name="connsiteX6" fmla="*/ 1651928 w 2070232"/>
                <a:gd name="connsiteY6" fmla="*/ 771658 h 1168138"/>
                <a:gd name="connsiteX7" fmla="*/ 1674417 w 2070232"/>
                <a:gd name="connsiteY7" fmla="*/ 666841 h 1168138"/>
                <a:gd name="connsiteX8" fmla="*/ 1287598 w 2070232"/>
                <a:gd name="connsiteY8" fmla="*/ 484551 h 1168138"/>
                <a:gd name="connsiteX9" fmla="*/ 1309509 w 2070232"/>
                <a:gd name="connsiteY9" fmla="*/ 449580 h 1168138"/>
                <a:gd name="connsiteX10" fmla="*/ 463689 w 2070232"/>
                <a:gd name="connsiteY10" fmla="*/ 0 h 1168138"/>
                <a:gd name="connsiteX11" fmla="*/ 347494 w 2070232"/>
                <a:gd name="connsiteY11" fmla="*/ 201505 h 1168138"/>
                <a:gd name="connsiteX12" fmla="*/ 0 w 2070232"/>
                <a:gd name="connsiteY12" fmla="*/ 27769 h 1168138"/>
                <a:gd name="connsiteX13" fmla="*/ 29331 w 2070232"/>
                <a:gd name="connsiteY13" fmla="*/ 220980 h 1168138"/>
                <a:gd name="connsiteX14" fmla="*/ 410349 w 2070232"/>
                <a:gd name="connsiteY14" fmla="*/ 464820 h 1168138"/>
                <a:gd name="connsiteX15" fmla="*/ 524649 w 2070232"/>
                <a:gd name="connsiteY15" fmla="*/ 586740 h 1168138"/>
                <a:gd name="connsiteX16" fmla="*/ 1111389 w 2070232"/>
                <a:gd name="connsiteY16" fmla="*/ 914400 h 1168138"/>
                <a:gd name="connsiteX0" fmla="*/ 1111389 w 2070232"/>
                <a:gd name="connsiteY0" fmla="*/ 914400 h 1168138"/>
                <a:gd name="connsiteX1" fmla="*/ 1391049 w 2070232"/>
                <a:gd name="connsiteY1" fmla="*/ 958506 h 1168138"/>
                <a:gd name="connsiteX2" fmla="*/ 1620443 w 2070232"/>
                <a:gd name="connsiteY2" fmla="*/ 1008635 h 1168138"/>
                <a:gd name="connsiteX3" fmla="*/ 2034250 w 2070232"/>
                <a:gd name="connsiteY3" fmla="*/ 1168138 h 1168138"/>
                <a:gd name="connsiteX4" fmla="*/ 2070232 w 2070232"/>
                <a:gd name="connsiteY4" fmla="*/ 1072437 h 1168138"/>
                <a:gd name="connsiteX5" fmla="*/ 1885817 w 2070232"/>
                <a:gd name="connsiteY5" fmla="*/ 981291 h 1168138"/>
                <a:gd name="connsiteX6" fmla="*/ 1692408 w 2070232"/>
                <a:gd name="connsiteY6" fmla="*/ 849131 h 1168138"/>
                <a:gd name="connsiteX7" fmla="*/ 1651928 w 2070232"/>
                <a:gd name="connsiteY7" fmla="*/ 771658 h 1168138"/>
                <a:gd name="connsiteX8" fmla="*/ 1674417 w 2070232"/>
                <a:gd name="connsiteY8" fmla="*/ 666841 h 1168138"/>
                <a:gd name="connsiteX9" fmla="*/ 1287598 w 2070232"/>
                <a:gd name="connsiteY9" fmla="*/ 484551 h 1168138"/>
                <a:gd name="connsiteX10" fmla="*/ 1309509 w 2070232"/>
                <a:gd name="connsiteY10" fmla="*/ 449580 h 1168138"/>
                <a:gd name="connsiteX11" fmla="*/ 463689 w 2070232"/>
                <a:gd name="connsiteY11" fmla="*/ 0 h 1168138"/>
                <a:gd name="connsiteX12" fmla="*/ 347494 w 2070232"/>
                <a:gd name="connsiteY12" fmla="*/ 201505 h 1168138"/>
                <a:gd name="connsiteX13" fmla="*/ 0 w 2070232"/>
                <a:gd name="connsiteY13" fmla="*/ 27769 h 1168138"/>
                <a:gd name="connsiteX14" fmla="*/ 29331 w 2070232"/>
                <a:gd name="connsiteY14" fmla="*/ 220980 h 1168138"/>
                <a:gd name="connsiteX15" fmla="*/ 410349 w 2070232"/>
                <a:gd name="connsiteY15" fmla="*/ 464820 h 1168138"/>
                <a:gd name="connsiteX16" fmla="*/ 524649 w 2070232"/>
                <a:gd name="connsiteY16" fmla="*/ 586740 h 1168138"/>
                <a:gd name="connsiteX17" fmla="*/ 1111389 w 2070232"/>
                <a:gd name="connsiteY17" fmla="*/ 914400 h 1168138"/>
                <a:gd name="connsiteX0" fmla="*/ 1111389 w 2070232"/>
                <a:gd name="connsiteY0" fmla="*/ 914400 h 1168138"/>
                <a:gd name="connsiteX1" fmla="*/ 1476510 w 2070232"/>
                <a:gd name="connsiteY1" fmla="*/ 1127123 h 1168138"/>
                <a:gd name="connsiteX2" fmla="*/ 1620443 w 2070232"/>
                <a:gd name="connsiteY2" fmla="*/ 1008635 h 1168138"/>
                <a:gd name="connsiteX3" fmla="*/ 2034250 w 2070232"/>
                <a:gd name="connsiteY3" fmla="*/ 1168138 h 1168138"/>
                <a:gd name="connsiteX4" fmla="*/ 2070232 w 2070232"/>
                <a:gd name="connsiteY4" fmla="*/ 1072437 h 1168138"/>
                <a:gd name="connsiteX5" fmla="*/ 1885817 w 2070232"/>
                <a:gd name="connsiteY5" fmla="*/ 981291 h 1168138"/>
                <a:gd name="connsiteX6" fmla="*/ 1692408 w 2070232"/>
                <a:gd name="connsiteY6" fmla="*/ 849131 h 1168138"/>
                <a:gd name="connsiteX7" fmla="*/ 1651928 w 2070232"/>
                <a:gd name="connsiteY7" fmla="*/ 771658 h 1168138"/>
                <a:gd name="connsiteX8" fmla="*/ 1674417 w 2070232"/>
                <a:gd name="connsiteY8" fmla="*/ 666841 h 1168138"/>
                <a:gd name="connsiteX9" fmla="*/ 1287598 w 2070232"/>
                <a:gd name="connsiteY9" fmla="*/ 484551 h 1168138"/>
                <a:gd name="connsiteX10" fmla="*/ 1309509 w 2070232"/>
                <a:gd name="connsiteY10" fmla="*/ 449580 h 1168138"/>
                <a:gd name="connsiteX11" fmla="*/ 463689 w 2070232"/>
                <a:gd name="connsiteY11" fmla="*/ 0 h 1168138"/>
                <a:gd name="connsiteX12" fmla="*/ 347494 w 2070232"/>
                <a:gd name="connsiteY12" fmla="*/ 201505 h 1168138"/>
                <a:gd name="connsiteX13" fmla="*/ 0 w 2070232"/>
                <a:gd name="connsiteY13" fmla="*/ 27769 h 1168138"/>
                <a:gd name="connsiteX14" fmla="*/ 29331 w 2070232"/>
                <a:gd name="connsiteY14" fmla="*/ 220980 h 1168138"/>
                <a:gd name="connsiteX15" fmla="*/ 410349 w 2070232"/>
                <a:gd name="connsiteY15" fmla="*/ 464820 h 1168138"/>
                <a:gd name="connsiteX16" fmla="*/ 524649 w 2070232"/>
                <a:gd name="connsiteY16" fmla="*/ 586740 h 1168138"/>
                <a:gd name="connsiteX17" fmla="*/ 1111389 w 2070232"/>
                <a:gd name="connsiteY17" fmla="*/ 914400 h 1168138"/>
                <a:gd name="connsiteX0" fmla="*/ 1111389 w 2070232"/>
                <a:gd name="connsiteY0" fmla="*/ 914400 h 1168138"/>
                <a:gd name="connsiteX1" fmla="*/ 1476510 w 2070232"/>
                <a:gd name="connsiteY1" fmla="*/ 1127123 h 1168138"/>
                <a:gd name="connsiteX2" fmla="*/ 1539480 w 2070232"/>
                <a:gd name="connsiteY2" fmla="*/ 1058764 h 1168138"/>
                <a:gd name="connsiteX3" fmla="*/ 1620443 w 2070232"/>
                <a:gd name="connsiteY3" fmla="*/ 1008635 h 1168138"/>
                <a:gd name="connsiteX4" fmla="*/ 2034250 w 2070232"/>
                <a:gd name="connsiteY4" fmla="*/ 1168138 h 1168138"/>
                <a:gd name="connsiteX5" fmla="*/ 2070232 w 2070232"/>
                <a:gd name="connsiteY5" fmla="*/ 1072437 h 1168138"/>
                <a:gd name="connsiteX6" fmla="*/ 1885817 w 2070232"/>
                <a:gd name="connsiteY6" fmla="*/ 981291 h 1168138"/>
                <a:gd name="connsiteX7" fmla="*/ 1692408 w 2070232"/>
                <a:gd name="connsiteY7" fmla="*/ 849131 h 1168138"/>
                <a:gd name="connsiteX8" fmla="*/ 1651928 w 2070232"/>
                <a:gd name="connsiteY8" fmla="*/ 771658 h 1168138"/>
                <a:gd name="connsiteX9" fmla="*/ 1674417 w 2070232"/>
                <a:gd name="connsiteY9" fmla="*/ 666841 h 1168138"/>
                <a:gd name="connsiteX10" fmla="*/ 1287598 w 2070232"/>
                <a:gd name="connsiteY10" fmla="*/ 484551 h 1168138"/>
                <a:gd name="connsiteX11" fmla="*/ 1309509 w 2070232"/>
                <a:gd name="connsiteY11" fmla="*/ 449580 h 1168138"/>
                <a:gd name="connsiteX12" fmla="*/ 463689 w 2070232"/>
                <a:gd name="connsiteY12" fmla="*/ 0 h 1168138"/>
                <a:gd name="connsiteX13" fmla="*/ 347494 w 2070232"/>
                <a:gd name="connsiteY13" fmla="*/ 201505 h 1168138"/>
                <a:gd name="connsiteX14" fmla="*/ 0 w 2070232"/>
                <a:gd name="connsiteY14" fmla="*/ 27769 h 1168138"/>
                <a:gd name="connsiteX15" fmla="*/ 29331 w 2070232"/>
                <a:gd name="connsiteY15" fmla="*/ 220980 h 1168138"/>
                <a:gd name="connsiteX16" fmla="*/ 410349 w 2070232"/>
                <a:gd name="connsiteY16" fmla="*/ 464820 h 1168138"/>
                <a:gd name="connsiteX17" fmla="*/ 524649 w 2070232"/>
                <a:gd name="connsiteY17" fmla="*/ 586740 h 1168138"/>
                <a:gd name="connsiteX18" fmla="*/ 1111389 w 2070232"/>
                <a:gd name="connsiteY18" fmla="*/ 914400 h 1168138"/>
                <a:gd name="connsiteX0" fmla="*/ 1111389 w 2070232"/>
                <a:gd name="connsiteY0" fmla="*/ 914400 h 1168138"/>
                <a:gd name="connsiteX1" fmla="*/ 1476510 w 2070232"/>
                <a:gd name="connsiteY1" fmla="*/ 1127123 h 1168138"/>
                <a:gd name="connsiteX2" fmla="*/ 1530484 w 2070232"/>
                <a:gd name="connsiteY2" fmla="*/ 1013192 h 1168138"/>
                <a:gd name="connsiteX3" fmla="*/ 1620443 w 2070232"/>
                <a:gd name="connsiteY3" fmla="*/ 1008635 h 1168138"/>
                <a:gd name="connsiteX4" fmla="*/ 2034250 w 2070232"/>
                <a:gd name="connsiteY4" fmla="*/ 1168138 h 1168138"/>
                <a:gd name="connsiteX5" fmla="*/ 2070232 w 2070232"/>
                <a:gd name="connsiteY5" fmla="*/ 1072437 h 1168138"/>
                <a:gd name="connsiteX6" fmla="*/ 1885817 w 2070232"/>
                <a:gd name="connsiteY6" fmla="*/ 981291 h 1168138"/>
                <a:gd name="connsiteX7" fmla="*/ 1692408 w 2070232"/>
                <a:gd name="connsiteY7" fmla="*/ 849131 h 1168138"/>
                <a:gd name="connsiteX8" fmla="*/ 1651928 w 2070232"/>
                <a:gd name="connsiteY8" fmla="*/ 771658 h 1168138"/>
                <a:gd name="connsiteX9" fmla="*/ 1674417 w 2070232"/>
                <a:gd name="connsiteY9" fmla="*/ 666841 h 1168138"/>
                <a:gd name="connsiteX10" fmla="*/ 1287598 w 2070232"/>
                <a:gd name="connsiteY10" fmla="*/ 484551 h 1168138"/>
                <a:gd name="connsiteX11" fmla="*/ 1309509 w 2070232"/>
                <a:gd name="connsiteY11" fmla="*/ 449580 h 1168138"/>
                <a:gd name="connsiteX12" fmla="*/ 463689 w 2070232"/>
                <a:gd name="connsiteY12" fmla="*/ 0 h 1168138"/>
                <a:gd name="connsiteX13" fmla="*/ 347494 w 2070232"/>
                <a:gd name="connsiteY13" fmla="*/ 201505 h 1168138"/>
                <a:gd name="connsiteX14" fmla="*/ 0 w 2070232"/>
                <a:gd name="connsiteY14" fmla="*/ 27769 h 1168138"/>
                <a:gd name="connsiteX15" fmla="*/ 29331 w 2070232"/>
                <a:gd name="connsiteY15" fmla="*/ 220980 h 1168138"/>
                <a:gd name="connsiteX16" fmla="*/ 410349 w 2070232"/>
                <a:gd name="connsiteY16" fmla="*/ 464820 h 1168138"/>
                <a:gd name="connsiteX17" fmla="*/ 524649 w 2070232"/>
                <a:gd name="connsiteY17" fmla="*/ 586740 h 1168138"/>
                <a:gd name="connsiteX18" fmla="*/ 1111389 w 2070232"/>
                <a:gd name="connsiteY18" fmla="*/ 914400 h 1168138"/>
                <a:gd name="connsiteX0" fmla="*/ 1111389 w 2070232"/>
                <a:gd name="connsiteY0" fmla="*/ 914400 h 1175316"/>
                <a:gd name="connsiteX1" fmla="*/ 1476510 w 2070232"/>
                <a:gd name="connsiteY1" fmla="*/ 1127123 h 1175316"/>
                <a:gd name="connsiteX2" fmla="*/ 1530484 w 2070232"/>
                <a:gd name="connsiteY2" fmla="*/ 1013192 h 1175316"/>
                <a:gd name="connsiteX3" fmla="*/ 1620443 w 2070232"/>
                <a:gd name="connsiteY3" fmla="*/ 1008635 h 1175316"/>
                <a:gd name="connsiteX4" fmla="*/ 2034250 w 2070232"/>
                <a:gd name="connsiteY4" fmla="*/ 1175316 h 1175316"/>
                <a:gd name="connsiteX5" fmla="*/ 2070232 w 2070232"/>
                <a:gd name="connsiteY5" fmla="*/ 1072437 h 1175316"/>
                <a:gd name="connsiteX6" fmla="*/ 1885817 w 2070232"/>
                <a:gd name="connsiteY6" fmla="*/ 981291 h 1175316"/>
                <a:gd name="connsiteX7" fmla="*/ 1692408 w 2070232"/>
                <a:gd name="connsiteY7" fmla="*/ 849131 h 1175316"/>
                <a:gd name="connsiteX8" fmla="*/ 1651928 w 2070232"/>
                <a:gd name="connsiteY8" fmla="*/ 771658 h 1175316"/>
                <a:gd name="connsiteX9" fmla="*/ 1674417 w 2070232"/>
                <a:gd name="connsiteY9" fmla="*/ 666841 h 1175316"/>
                <a:gd name="connsiteX10" fmla="*/ 1287598 w 2070232"/>
                <a:gd name="connsiteY10" fmla="*/ 484551 h 1175316"/>
                <a:gd name="connsiteX11" fmla="*/ 1309509 w 2070232"/>
                <a:gd name="connsiteY11" fmla="*/ 449580 h 1175316"/>
                <a:gd name="connsiteX12" fmla="*/ 463689 w 2070232"/>
                <a:gd name="connsiteY12" fmla="*/ 0 h 1175316"/>
                <a:gd name="connsiteX13" fmla="*/ 347494 w 2070232"/>
                <a:gd name="connsiteY13" fmla="*/ 201505 h 1175316"/>
                <a:gd name="connsiteX14" fmla="*/ 0 w 2070232"/>
                <a:gd name="connsiteY14" fmla="*/ 27769 h 1175316"/>
                <a:gd name="connsiteX15" fmla="*/ 29331 w 2070232"/>
                <a:gd name="connsiteY15" fmla="*/ 220980 h 1175316"/>
                <a:gd name="connsiteX16" fmla="*/ 410349 w 2070232"/>
                <a:gd name="connsiteY16" fmla="*/ 464820 h 1175316"/>
                <a:gd name="connsiteX17" fmla="*/ 524649 w 2070232"/>
                <a:gd name="connsiteY17" fmla="*/ 586740 h 1175316"/>
                <a:gd name="connsiteX18" fmla="*/ 1111389 w 2070232"/>
                <a:gd name="connsiteY18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620443 w 2077298"/>
                <a:gd name="connsiteY3" fmla="*/ 1008635 h 1175316"/>
                <a:gd name="connsiteX4" fmla="*/ 2034250 w 2077298"/>
                <a:gd name="connsiteY4" fmla="*/ 1175316 h 1175316"/>
                <a:gd name="connsiteX5" fmla="*/ 2077298 w 2077298"/>
                <a:gd name="connsiteY5" fmla="*/ 1077222 h 1175316"/>
                <a:gd name="connsiteX6" fmla="*/ 1885817 w 2077298"/>
                <a:gd name="connsiteY6" fmla="*/ 981291 h 1175316"/>
                <a:gd name="connsiteX7" fmla="*/ 1692408 w 2077298"/>
                <a:gd name="connsiteY7" fmla="*/ 849131 h 1175316"/>
                <a:gd name="connsiteX8" fmla="*/ 1651928 w 2077298"/>
                <a:gd name="connsiteY8" fmla="*/ 771658 h 1175316"/>
                <a:gd name="connsiteX9" fmla="*/ 1674417 w 2077298"/>
                <a:gd name="connsiteY9" fmla="*/ 666841 h 1175316"/>
                <a:gd name="connsiteX10" fmla="*/ 1287598 w 2077298"/>
                <a:gd name="connsiteY10" fmla="*/ 484551 h 1175316"/>
                <a:gd name="connsiteX11" fmla="*/ 1309509 w 2077298"/>
                <a:gd name="connsiteY11" fmla="*/ 449580 h 1175316"/>
                <a:gd name="connsiteX12" fmla="*/ 463689 w 2077298"/>
                <a:gd name="connsiteY12" fmla="*/ 0 h 1175316"/>
                <a:gd name="connsiteX13" fmla="*/ 347494 w 2077298"/>
                <a:gd name="connsiteY13" fmla="*/ 201505 h 1175316"/>
                <a:gd name="connsiteX14" fmla="*/ 0 w 2077298"/>
                <a:gd name="connsiteY14" fmla="*/ 27769 h 1175316"/>
                <a:gd name="connsiteX15" fmla="*/ 29331 w 2077298"/>
                <a:gd name="connsiteY15" fmla="*/ 220980 h 1175316"/>
                <a:gd name="connsiteX16" fmla="*/ 410349 w 2077298"/>
                <a:gd name="connsiteY16" fmla="*/ 464820 h 1175316"/>
                <a:gd name="connsiteX17" fmla="*/ 524649 w 2077298"/>
                <a:gd name="connsiteY17" fmla="*/ 586740 h 1175316"/>
                <a:gd name="connsiteX18" fmla="*/ 1111389 w 2077298"/>
                <a:gd name="connsiteY18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620443 w 2077298"/>
                <a:gd name="connsiteY3" fmla="*/ 1008635 h 1175316"/>
                <a:gd name="connsiteX4" fmla="*/ 2034250 w 2077298"/>
                <a:gd name="connsiteY4" fmla="*/ 1175316 h 1175316"/>
                <a:gd name="connsiteX5" fmla="*/ 2077298 w 2077298"/>
                <a:gd name="connsiteY5" fmla="*/ 1077222 h 1175316"/>
                <a:gd name="connsiteX6" fmla="*/ 1885817 w 2077298"/>
                <a:gd name="connsiteY6" fmla="*/ 981291 h 1175316"/>
                <a:gd name="connsiteX7" fmla="*/ 1831566 w 2077298"/>
                <a:gd name="connsiteY7" fmla="*/ 947681 h 1175316"/>
                <a:gd name="connsiteX8" fmla="*/ 1692408 w 2077298"/>
                <a:gd name="connsiteY8" fmla="*/ 849131 h 1175316"/>
                <a:gd name="connsiteX9" fmla="*/ 1651928 w 2077298"/>
                <a:gd name="connsiteY9" fmla="*/ 771658 h 1175316"/>
                <a:gd name="connsiteX10" fmla="*/ 1674417 w 2077298"/>
                <a:gd name="connsiteY10" fmla="*/ 666841 h 1175316"/>
                <a:gd name="connsiteX11" fmla="*/ 1287598 w 2077298"/>
                <a:gd name="connsiteY11" fmla="*/ 484551 h 1175316"/>
                <a:gd name="connsiteX12" fmla="*/ 1309509 w 2077298"/>
                <a:gd name="connsiteY12" fmla="*/ 449580 h 1175316"/>
                <a:gd name="connsiteX13" fmla="*/ 463689 w 2077298"/>
                <a:gd name="connsiteY13" fmla="*/ 0 h 1175316"/>
                <a:gd name="connsiteX14" fmla="*/ 347494 w 2077298"/>
                <a:gd name="connsiteY14" fmla="*/ 201505 h 1175316"/>
                <a:gd name="connsiteX15" fmla="*/ 0 w 2077298"/>
                <a:gd name="connsiteY15" fmla="*/ 27769 h 1175316"/>
                <a:gd name="connsiteX16" fmla="*/ 29331 w 2077298"/>
                <a:gd name="connsiteY16" fmla="*/ 220980 h 1175316"/>
                <a:gd name="connsiteX17" fmla="*/ 410349 w 2077298"/>
                <a:gd name="connsiteY17" fmla="*/ 464820 h 1175316"/>
                <a:gd name="connsiteX18" fmla="*/ 524649 w 2077298"/>
                <a:gd name="connsiteY18" fmla="*/ 586740 h 1175316"/>
                <a:gd name="connsiteX19" fmla="*/ 1111389 w 2077298"/>
                <a:gd name="connsiteY19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620443 w 2077298"/>
                <a:gd name="connsiteY3" fmla="*/ 1008635 h 1175316"/>
                <a:gd name="connsiteX4" fmla="*/ 2034250 w 2077298"/>
                <a:gd name="connsiteY4" fmla="*/ 1175316 h 1175316"/>
                <a:gd name="connsiteX5" fmla="*/ 2077298 w 2077298"/>
                <a:gd name="connsiteY5" fmla="*/ 1077222 h 1175316"/>
                <a:gd name="connsiteX6" fmla="*/ 1885817 w 2077298"/>
                <a:gd name="connsiteY6" fmla="*/ 981291 h 1175316"/>
                <a:gd name="connsiteX7" fmla="*/ 1888092 w 2077298"/>
                <a:gd name="connsiteY7" fmla="*/ 945289 h 1175316"/>
                <a:gd name="connsiteX8" fmla="*/ 1692408 w 2077298"/>
                <a:gd name="connsiteY8" fmla="*/ 849131 h 1175316"/>
                <a:gd name="connsiteX9" fmla="*/ 1651928 w 2077298"/>
                <a:gd name="connsiteY9" fmla="*/ 771658 h 1175316"/>
                <a:gd name="connsiteX10" fmla="*/ 1674417 w 2077298"/>
                <a:gd name="connsiteY10" fmla="*/ 666841 h 1175316"/>
                <a:gd name="connsiteX11" fmla="*/ 1287598 w 2077298"/>
                <a:gd name="connsiteY11" fmla="*/ 484551 h 1175316"/>
                <a:gd name="connsiteX12" fmla="*/ 1309509 w 2077298"/>
                <a:gd name="connsiteY12" fmla="*/ 449580 h 1175316"/>
                <a:gd name="connsiteX13" fmla="*/ 463689 w 2077298"/>
                <a:gd name="connsiteY13" fmla="*/ 0 h 1175316"/>
                <a:gd name="connsiteX14" fmla="*/ 347494 w 2077298"/>
                <a:gd name="connsiteY14" fmla="*/ 201505 h 1175316"/>
                <a:gd name="connsiteX15" fmla="*/ 0 w 2077298"/>
                <a:gd name="connsiteY15" fmla="*/ 27769 h 1175316"/>
                <a:gd name="connsiteX16" fmla="*/ 29331 w 2077298"/>
                <a:gd name="connsiteY16" fmla="*/ 220980 h 1175316"/>
                <a:gd name="connsiteX17" fmla="*/ 410349 w 2077298"/>
                <a:gd name="connsiteY17" fmla="*/ 464820 h 1175316"/>
                <a:gd name="connsiteX18" fmla="*/ 524649 w 2077298"/>
                <a:gd name="connsiteY18" fmla="*/ 586740 h 1175316"/>
                <a:gd name="connsiteX19" fmla="*/ 1111389 w 2077298"/>
                <a:gd name="connsiteY19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620443 w 2077298"/>
                <a:gd name="connsiteY3" fmla="*/ 1008635 h 1175316"/>
                <a:gd name="connsiteX4" fmla="*/ 1730290 w 2077298"/>
                <a:gd name="connsiteY4" fmla="*/ 1048169 h 1175316"/>
                <a:gd name="connsiteX5" fmla="*/ 2034250 w 2077298"/>
                <a:gd name="connsiteY5" fmla="*/ 1175316 h 1175316"/>
                <a:gd name="connsiteX6" fmla="*/ 2077298 w 2077298"/>
                <a:gd name="connsiteY6" fmla="*/ 1077222 h 1175316"/>
                <a:gd name="connsiteX7" fmla="*/ 1885817 w 2077298"/>
                <a:gd name="connsiteY7" fmla="*/ 981291 h 1175316"/>
                <a:gd name="connsiteX8" fmla="*/ 1888092 w 2077298"/>
                <a:gd name="connsiteY8" fmla="*/ 945289 h 1175316"/>
                <a:gd name="connsiteX9" fmla="*/ 1692408 w 2077298"/>
                <a:gd name="connsiteY9" fmla="*/ 849131 h 1175316"/>
                <a:gd name="connsiteX10" fmla="*/ 1651928 w 2077298"/>
                <a:gd name="connsiteY10" fmla="*/ 771658 h 1175316"/>
                <a:gd name="connsiteX11" fmla="*/ 1674417 w 2077298"/>
                <a:gd name="connsiteY11" fmla="*/ 666841 h 1175316"/>
                <a:gd name="connsiteX12" fmla="*/ 1287598 w 2077298"/>
                <a:gd name="connsiteY12" fmla="*/ 484551 h 1175316"/>
                <a:gd name="connsiteX13" fmla="*/ 1309509 w 2077298"/>
                <a:gd name="connsiteY13" fmla="*/ 449580 h 1175316"/>
                <a:gd name="connsiteX14" fmla="*/ 463689 w 2077298"/>
                <a:gd name="connsiteY14" fmla="*/ 0 h 1175316"/>
                <a:gd name="connsiteX15" fmla="*/ 347494 w 2077298"/>
                <a:gd name="connsiteY15" fmla="*/ 201505 h 1175316"/>
                <a:gd name="connsiteX16" fmla="*/ 0 w 2077298"/>
                <a:gd name="connsiteY16" fmla="*/ 27769 h 1175316"/>
                <a:gd name="connsiteX17" fmla="*/ 29331 w 2077298"/>
                <a:gd name="connsiteY17" fmla="*/ 220980 h 1175316"/>
                <a:gd name="connsiteX18" fmla="*/ 410349 w 2077298"/>
                <a:gd name="connsiteY18" fmla="*/ 464820 h 1175316"/>
                <a:gd name="connsiteX19" fmla="*/ 524649 w 2077298"/>
                <a:gd name="connsiteY19" fmla="*/ 586740 h 1175316"/>
                <a:gd name="connsiteX20" fmla="*/ 1111389 w 2077298"/>
                <a:gd name="connsiteY20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620443 w 2077298"/>
                <a:gd name="connsiteY3" fmla="*/ 1008635 h 1175316"/>
                <a:gd name="connsiteX4" fmla="*/ 1840987 w 2077298"/>
                <a:gd name="connsiteY4" fmla="*/ 1076880 h 1175316"/>
                <a:gd name="connsiteX5" fmla="*/ 2034250 w 2077298"/>
                <a:gd name="connsiteY5" fmla="*/ 1175316 h 1175316"/>
                <a:gd name="connsiteX6" fmla="*/ 2077298 w 2077298"/>
                <a:gd name="connsiteY6" fmla="*/ 1077222 h 1175316"/>
                <a:gd name="connsiteX7" fmla="*/ 1885817 w 2077298"/>
                <a:gd name="connsiteY7" fmla="*/ 981291 h 1175316"/>
                <a:gd name="connsiteX8" fmla="*/ 1888092 w 2077298"/>
                <a:gd name="connsiteY8" fmla="*/ 945289 h 1175316"/>
                <a:gd name="connsiteX9" fmla="*/ 1692408 w 2077298"/>
                <a:gd name="connsiteY9" fmla="*/ 849131 h 1175316"/>
                <a:gd name="connsiteX10" fmla="*/ 1651928 w 2077298"/>
                <a:gd name="connsiteY10" fmla="*/ 771658 h 1175316"/>
                <a:gd name="connsiteX11" fmla="*/ 1674417 w 2077298"/>
                <a:gd name="connsiteY11" fmla="*/ 666841 h 1175316"/>
                <a:gd name="connsiteX12" fmla="*/ 1287598 w 2077298"/>
                <a:gd name="connsiteY12" fmla="*/ 484551 h 1175316"/>
                <a:gd name="connsiteX13" fmla="*/ 1309509 w 2077298"/>
                <a:gd name="connsiteY13" fmla="*/ 449580 h 1175316"/>
                <a:gd name="connsiteX14" fmla="*/ 463689 w 2077298"/>
                <a:gd name="connsiteY14" fmla="*/ 0 h 1175316"/>
                <a:gd name="connsiteX15" fmla="*/ 347494 w 2077298"/>
                <a:gd name="connsiteY15" fmla="*/ 201505 h 1175316"/>
                <a:gd name="connsiteX16" fmla="*/ 0 w 2077298"/>
                <a:gd name="connsiteY16" fmla="*/ 27769 h 1175316"/>
                <a:gd name="connsiteX17" fmla="*/ 29331 w 2077298"/>
                <a:gd name="connsiteY17" fmla="*/ 220980 h 1175316"/>
                <a:gd name="connsiteX18" fmla="*/ 410349 w 2077298"/>
                <a:gd name="connsiteY18" fmla="*/ 464820 h 1175316"/>
                <a:gd name="connsiteX19" fmla="*/ 524649 w 2077298"/>
                <a:gd name="connsiteY19" fmla="*/ 586740 h 1175316"/>
                <a:gd name="connsiteX20" fmla="*/ 1111389 w 2077298"/>
                <a:gd name="connsiteY20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620443 w 2077298"/>
                <a:gd name="connsiteY3" fmla="*/ 1008635 h 1175316"/>
                <a:gd name="connsiteX4" fmla="*/ 1725580 w 2077298"/>
                <a:gd name="connsiteY4" fmla="*/ 1040991 h 1175316"/>
                <a:gd name="connsiteX5" fmla="*/ 1840987 w 2077298"/>
                <a:gd name="connsiteY5" fmla="*/ 1076880 h 1175316"/>
                <a:gd name="connsiteX6" fmla="*/ 2034250 w 2077298"/>
                <a:gd name="connsiteY6" fmla="*/ 1175316 h 1175316"/>
                <a:gd name="connsiteX7" fmla="*/ 2077298 w 2077298"/>
                <a:gd name="connsiteY7" fmla="*/ 1077222 h 1175316"/>
                <a:gd name="connsiteX8" fmla="*/ 1885817 w 2077298"/>
                <a:gd name="connsiteY8" fmla="*/ 981291 h 1175316"/>
                <a:gd name="connsiteX9" fmla="*/ 1888092 w 2077298"/>
                <a:gd name="connsiteY9" fmla="*/ 945289 h 1175316"/>
                <a:gd name="connsiteX10" fmla="*/ 1692408 w 2077298"/>
                <a:gd name="connsiteY10" fmla="*/ 849131 h 1175316"/>
                <a:gd name="connsiteX11" fmla="*/ 1651928 w 2077298"/>
                <a:gd name="connsiteY11" fmla="*/ 771658 h 1175316"/>
                <a:gd name="connsiteX12" fmla="*/ 1674417 w 2077298"/>
                <a:gd name="connsiteY12" fmla="*/ 666841 h 1175316"/>
                <a:gd name="connsiteX13" fmla="*/ 1287598 w 2077298"/>
                <a:gd name="connsiteY13" fmla="*/ 484551 h 1175316"/>
                <a:gd name="connsiteX14" fmla="*/ 1309509 w 2077298"/>
                <a:gd name="connsiteY14" fmla="*/ 449580 h 1175316"/>
                <a:gd name="connsiteX15" fmla="*/ 463689 w 2077298"/>
                <a:gd name="connsiteY15" fmla="*/ 0 h 1175316"/>
                <a:gd name="connsiteX16" fmla="*/ 347494 w 2077298"/>
                <a:gd name="connsiteY16" fmla="*/ 201505 h 1175316"/>
                <a:gd name="connsiteX17" fmla="*/ 0 w 2077298"/>
                <a:gd name="connsiteY17" fmla="*/ 27769 h 1175316"/>
                <a:gd name="connsiteX18" fmla="*/ 29331 w 2077298"/>
                <a:gd name="connsiteY18" fmla="*/ 220980 h 1175316"/>
                <a:gd name="connsiteX19" fmla="*/ 410349 w 2077298"/>
                <a:gd name="connsiteY19" fmla="*/ 464820 h 1175316"/>
                <a:gd name="connsiteX20" fmla="*/ 524649 w 2077298"/>
                <a:gd name="connsiteY20" fmla="*/ 586740 h 1175316"/>
                <a:gd name="connsiteX21" fmla="*/ 1111389 w 2077298"/>
                <a:gd name="connsiteY21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620443 w 2077298"/>
                <a:gd name="connsiteY3" fmla="*/ 1008635 h 1175316"/>
                <a:gd name="connsiteX4" fmla="*/ 1812725 w 2077298"/>
                <a:gd name="connsiteY4" fmla="*/ 1105590 h 1175316"/>
                <a:gd name="connsiteX5" fmla="*/ 1840987 w 2077298"/>
                <a:gd name="connsiteY5" fmla="*/ 1076880 h 1175316"/>
                <a:gd name="connsiteX6" fmla="*/ 2034250 w 2077298"/>
                <a:gd name="connsiteY6" fmla="*/ 1175316 h 1175316"/>
                <a:gd name="connsiteX7" fmla="*/ 2077298 w 2077298"/>
                <a:gd name="connsiteY7" fmla="*/ 1077222 h 1175316"/>
                <a:gd name="connsiteX8" fmla="*/ 1885817 w 2077298"/>
                <a:gd name="connsiteY8" fmla="*/ 981291 h 1175316"/>
                <a:gd name="connsiteX9" fmla="*/ 1888092 w 2077298"/>
                <a:gd name="connsiteY9" fmla="*/ 945289 h 1175316"/>
                <a:gd name="connsiteX10" fmla="*/ 1692408 w 2077298"/>
                <a:gd name="connsiteY10" fmla="*/ 849131 h 1175316"/>
                <a:gd name="connsiteX11" fmla="*/ 1651928 w 2077298"/>
                <a:gd name="connsiteY11" fmla="*/ 771658 h 1175316"/>
                <a:gd name="connsiteX12" fmla="*/ 1674417 w 2077298"/>
                <a:gd name="connsiteY12" fmla="*/ 666841 h 1175316"/>
                <a:gd name="connsiteX13" fmla="*/ 1287598 w 2077298"/>
                <a:gd name="connsiteY13" fmla="*/ 484551 h 1175316"/>
                <a:gd name="connsiteX14" fmla="*/ 1309509 w 2077298"/>
                <a:gd name="connsiteY14" fmla="*/ 449580 h 1175316"/>
                <a:gd name="connsiteX15" fmla="*/ 463689 w 2077298"/>
                <a:gd name="connsiteY15" fmla="*/ 0 h 1175316"/>
                <a:gd name="connsiteX16" fmla="*/ 347494 w 2077298"/>
                <a:gd name="connsiteY16" fmla="*/ 201505 h 1175316"/>
                <a:gd name="connsiteX17" fmla="*/ 0 w 2077298"/>
                <a:gd name="connsiteY17" fmla="*/ 27769 h 1175316"/>
                <a:gd name="connsiteX18" fmla="*/ 29331 w 2077298"/>
                <a:gd name="connsiteY18" fmla="*/ 220980 h 1175316"/>
                <a:gd name="connsiteX19" fmla="*/ 410349 w 2077298"/>
                <a:gd name="connsiteY19" fmla="*/ 464820 h 1175316"/>
                <a:gd name="connsiteX20" fmla="*/ 524649 w 2077298"/>
                <a:gd name="connsiteY20" fmla="*/ 586740 h 1175316"/>
                <a:gd name="connsiteX21" fmla="*/ 1111389 w 2077298"/>
                <a:gd name="connsiteY21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579553 w 2077298"/>
                <a:gd name="connsiteY3" fmla="*/ 1009888 h 1175316"/>
                <a:gd name="connsiteX4" fmla="*/ 1620443 w 2077298"/>
                <a:gd name="connsiteY4" fmla="*/ 1008635 h 1175316"/>
                <a:gd name="connsiteX5" fmla="*/ 1812725 w 2077298"/>
                <a:gd name="connsiteY5" fmla="*/ 1105590 h 1175316"/>
                <a:gd name="connsiteX6" fmla="*/ 1840987 w 2077298"/>
                <a:gd name="connsiteY6" fmla="*/ 1076880 h 1175316"/>
                <a:gd name="connsiteX7" fmla="*/ 2034250 w 2077298"/>
                <a:gd name="connsiteY7" fmla="*/ 1175316 h 1175316"/>
                <a:gd name="connsiteX8" fmla="*/ 2077298 w 2077298"/>
                <a:gd name="connsiteY8" fmla="*/ 1077222 h 1175316"/>
                <a:gd name="connsiteX9" fmla="*/ 1885817 w 2077298"/>
                <a:gd name="connsiteY9" fmla="*/ 981291 h 1175316"/>
                <a:gd name="connsiteX10" fmla="*/ 1888092 w 2077298"/>
                <a:gd name="connsiteY10" fmla="*/ 945289 h 1175316"/>
                <a:gd name="connsiteX11" fmla="*/ 1692408 w 2077298"/>
                <a:gd name="connsiteY11" fmla="*/ 849131 h 1175316"/>
                <a:gd name="connsiteX12" fmla="*/ 1651928 w 2077298"/>
                <a:gd name="connsiteY12" fmla="*/ 771658 h 1175316"/>
                <a:gd name="connsiteX13" fmla="*/ 1674417 w 2077298"/>
                <a:gd name="connsiteY13" fmla="*/ 666841 h 1175316"/>
                <a:gd name="connsiteX14" fmla="*/ 1287598 w 2077298"/>
                <a:gd name="connsiteY14" fmla="*/ 484551 h 1175316"/>
                <a:gd name="connsiteX15" fmla="*/ 1309509 w 2077298"/>
                <a:gd name="connsiteY15" fmla="*/ 449580 h 1175316"/>
                <a:gd name="connsiteX16" fmla="*/ 463689 w 2077298"/>
                <a:gd name="connsiteY16" fmla="*/ 0 h 1175316"/>
                <a:gd name="connsiteX17" fmla="*/ 347494 w 2077298"/>
                <a:gd name="connsiteY17" fmla="*/ 201505 h 1175316"/>
                <a:gd name="connsiteX18" fmla="*/ 0 w 2077298"/>
                <a:gd name="connsiteY18" fmla="*/ 27769 h 1175316"/>
                <a:gd name="connsiteX19" fmla="*/ 29331 w 2077298"/>
                <a:gd name="connsiteY19" fmla="*/ 220980 h 1175316"/>
                <a:gd name="connsiteX20" fmla="*/ 410349 w 2077298"/>
                <a:gd name="connsiteY20" fmla="*/ 464820 h 1175316"/>
                <a:gd name="connsiteX21" fmla="*/ 524649 w 2077298"/>
                <a:gd name="connsiteY21" fmla="*/ 586740 h 1175316"/>
                <a:gd name="connsiteX22" fmla="*/ 1111389 w 2077298"/>
                <a:gd name="connsiteY22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605461 w 2077298"/>
                <a:gd name="connsiteY3" fmla="*/ 1052954 h 1175316"/>
                <a:gd name="connsiteX4" fmla="*/ 1620443 w 2077298"/>
                <a:gd name="connsiteY4" fmla="*/ 1008635 h 1175316"/>
                <a:gd name="connsiteX5" fmla="*/ 1812725 w 2077298"/>
                <a:gd name="connsiteY5" fmla="*/ 1105590 h 1175316"/>
                <a:gd name="connsiteX6" fmla="*/ 1840987 w 2077298"/>
                <a:gd name="connsiteY6" fmla="*/ 1076880 h 1175316"/>
                <a:gd name="connsiteX7" fmla="*/ 2034250 w 2077298"/>
                <a:gd name="connsiteY7" fmla="*/ 1175316 h 1175316"/>
                <a:gd name="connsiteX8" fmla="*/ 2077298 w 2077298"/>
                <a:gd name="connsiteY8" fmla="*/ 1077222 h 1175316"/>
                <a:gd name="connsiteX9" fmla="*/ 1885817 w 2077298"/>
                <a:gd name="connsiteY9" fmla="*/ 981291 h 1175316"/>
                <a:gd name="connsiteX10" fmla="*/ 1888092 w 2077298"/>
                <a:gd name="connsiteY10" fmla="*/ 945289 h 1175316"/>
                <a:gd name="connsiteX11" fmla="*/ 1692408 w 2077298"/>
                <a:gd name="connsiteY11" fmla="*/ 849131 h 1175316"/>
                <a:gd name="connsiteX12" fmla="*/ 1651928 w 2077298"/>
                <a:gd name="connsiteY12" fmla="*/ 771658 h 1175316"/>
                <a:gd name="connsiteX13" fmla="*/ 1674417 w 2077298"/>
                <a:gd name="connsiteY13" fmla="*/ 666841 h 1175316"/>
                <a:gd name="connsiteX14" fmla="*/ 1287598 w 2077298"/>
                <a:gd name="connsiteY14" fmla="*/ 484551 h 1175316"/>
                <a:gd name="connsiteX15" fmla="*/ 1309509 w 2077298"/>
                <a:gd name="connsiteY15" fmla="*/ 449580 h 1175316"/>
                <a:gd name="connsiteX16" fmla="*/ 463689 w 2077298"/>
                <a:gd name="connsiteY16" fmla="*/ 0 h 1175316"/>
                <a:gd name="connsiteX17" fmla="*/ 347494 w 2077298"/>
                <a:gd name="connsiteY17" fmla="*/ 201505 h 1175316"/>
                <a:gd name="connsiteX18" fmla="*/ 0 w 2077298"/>
                <a:gd name="connsiteY18" fmla="*/ 27769 h 1175316"/>
                <a:gd name="connsiteX19" fmla="*/ 29331 w 2077298"/>
                <a:gd name="connsiteY19" fmla="*/ 220980 h 1175316"/>
                <a:gd name="connsiteX20" fmla="*/ 410349 w 2077298"/>
                <a:gd name="connsiteY20" fmla="*/ 464820 h 1175316"/>
                <a:gd name="connsiteX21" fmla="*/ 524649 w 2077298"/>
                <a:gd name="connsiteY21" fmla="*/ 586740 h 1175316"/>
                <a:gd name="connsiteX22" fmla="*/ 1111389 w 2077298"/>
                <a:gd name="connsiteY22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605461 w 2077298"/>
                <a:gd name="connsiteY3" fmla="*/ 1052954 h 1175316"/>
                <a:gd name="connsiteX4" fmla="*/ 1620443 w 2077298"/>
                <a:gd name="connsiteY4" fmla="*/ 1008635 h 1175316"/>
                <a:gd name="connsiteX5" fmla="*/ 1812725 w 2077298"/>
                <a:gd name="connsiteY5" fmla="*/ 1105590 h 1175316"/>
                <a:gd name="connsiteX6" fmla="*/ 1840987 w 2077298"/>
                <a:gd name="connsiteY6" fmla="*/ 1076880 h 1175316"/>
                <a:gd name="connsiteX7" fmla="*/ 2034250 w 2077298"/>
                <a:gd name="connsiteY7" fmla="*/ 1175316 h 1175316"/>
                <a:gd name="connsiteX8" fmla="*/ 2077298 w 2077298"/>
                <a:gd name="connsiteY8" fmla="*/ 1077222 h 1175316"/>
                <a:gd name="connsiteX9" fmla="*/ 1885817 w 2077298"/>
                <a:gd name="connsiteY9" fmla="*/ 981291 h 1175316"/>
                <a:gd name="connsiteX10" fmla="*/ 1888092 w 2077298"/>
                <a:gd name="connsiteY10" fmla="*/ 945289 h 1175316"/>
                <a:gd name="connsiteX11" fmla="*/ 1692408 w 2077298"/>
                <a:gd name="connsiteY11" fmla="*/ 849131 h 1175316"/>
                <a:gd name="connsiteX12" fmla="*/ 1678475 w 2077298"/>
                <a:gd name="connsiteY12" fmla="*/ 818484 h 1175316"/>
                <a:gd name="connsiteX13" fmla="*/ 1651928 w 2077298"/>
                <a:gd name="connsiteY13" fmla="*/ 771658 h 1175316"/>
                <a:gd name="connsiteX14" fmla="*/ 1674417 w 2077298"/>
                <a:gd name="connsiteY14" fmla="*/ 666841 h 1175316"/>
                <a:gd name="connsiteX15" fmla="*/ 1287598 w 2077298"/>
                <a:gd name="connsiteY15" fmla="*/ 484551 h 1175316"/>
                <a:gd name="connsiteX16" fmla="*/ 1309509 w 2077298"/>
                <a:gd name="connsiteY16" fmla="*/ 449580 h 1175316"/>
                <a:gd name="connsiteX17" fmla="*/ 463689 w 2077298"/>
                <a:gd name="connsiteY17" fmla="*/ 0 h 1175316"/>
                <a:gd name="connsiteX18" fmla="*/ 347494 w 2077298"/>
                <a:gd name="connsiteY18" fmla="*/ 201505 h 1175316"/>
                <a:gd name="connsiteX19" fmla="*/ 0 w 2077298"/>
                <a:gd name="connsiteY19" fmla="*/ 27769 h 1175316"/>
                <a:gd name="connsiteX20" fmla="*/ 29331 w 2077298"/>
                <a:gd name="connsiteY20" fmla="*/ 220980 h 1175316"/>
                <a:gd name="connsiteX21" fmla="*/ 410349 w 2077298"/>
                <a:gd name="connsiteY21" fmla="*/ 464820 h 1175316"/>
                <a:gd name="connsiteX22" fmla="*/ 524649 w 2077298"/>
                <a:gd name="connsiteY22" fmla="*/ 586740 h 1175316"/>
                <a:gd name="connsiteX23" fmla="*/ 1111389 w 2077298"/>
                <a:gd name="connsiteY23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605461 w 2077298"/>
                <a:gd name="connsiteY3" fmla="*/ 1052954 h 1175316"/>
                <a:gd name="connsiteX4" fmla="*/ 1620443 w 2077298"/>
                <a:gd name="connsiteY4" fmla="*/ 1008635 h 1175316"/>
                <a:gd name="connsiteX5" fmla="*/ 1812725 w 2077298"/>
                <a:gd name="connsiteY5" fmla="*/ 1105590 h 1175316"/>
                <a:gd name="connsiteX6" fmla="*/ 1840987 w 2077298"/>
                <a:gd name="connsiteY6" fmla="*/ 1076880 h 1175316"/>
                <a:gd name="connsiteX7" fmla="*/ 2034250 w 2077298"/>
                <a:gd name="connsiteY7" fmla="*/ 1175316 h 1175316"/>
                <a:gd name="connsiteX8" fmla="*/ 2077298 w 2077298"/>
                <a:gd name="connsiteY8" fmla="*/ 1077222 h 1175316"/>
                <a:gd name="connsiteX9" fmla="*/ 1885817 w 2077298"/>
                <a:gd name="connsiteY9" fmla="*/ 981291 h 1175316"/>
                <a:gd name="connsiteX10" fmla="*/ 1888092 w 2077298"/>
                <a:gd name="connsiteY10" fmla="*/ 945289 h 1175316"/>
                <a:gd name="connsiteX11" fmla="*/ 1692408 w 2077298"/>
                <a:gd name="connsiteY11" fmla="*/ 849131 h 1175316"/>
                <a:gd name="connsiteX12" fmla="*/ 1713804 w 2077298"/>
                <a:gd name="connsiteY12" fmla="*/ 806521 h 1175316"/>
                <a:gd name="connsiteX13" fmla="*/ 1651928 w 2077298"/>
                <a:gd name="connsiteY13" fmla="*/ 771658 h 1175316"/>
                <a:gd name="connsiteX14" fmla="*/ 1674417 w 2077298"/>
                <a:gd name="connsiteY14" fmla="*/ 666841 h 1175316"/>
                <a:gd name="connsiteX15" fmla="*/ 1287598 w 2077298"/>
                <a:gd name="connsiteY15" fmla="*/ 484551 h 1175316"/>
                <a:gd name="connsiteX16" fmla="*/ 1309509 w 2077298"/>
                <a:gd name="connsiteY16" fmla="*/ 449580 h 1175316"/>
                <a:gd name="connsiteX17" fmla="*/ 463689 w 2077298"/>
                <a:gd name="connsiteY17" fmla="*/ 0 h 1175316"/>
                <a:gd name="connsiteX18" fmla="*/ 347494 w 2077298"/>
                <a:gd name="connsiteY18" fmla="*/ 201505 h 1175316"/>
                <a:gd name="connsiteX19" fmla="*/ 0 w 2077298"/>
                <a:gd name="connsiteY19" fmla="*/ 27769 h 1175316"/>
                <a:gd name="connsiteX20" fmla="*/ 29331 w 2077298"/>
                <a:gd name="connsiteY20" fmla="*/ 220980 h 1175316"/>
                <a:gd name="connsiteX21" fmla="*/ 410349 w 2077298"/>
                <a:gd name="connsiteY21" fmla="*/ 464820 h 1175316"/>
                <a:gd name="connsiteX22" fmla="*/ 524649 w 2077298"/>
                <a:gd name="connsiteY22" fmla="*/ 586740 h 1175316"/>
                <a:gd name="connsiteX23" fmla="*/ 1111389 w 2077298"/>
                <a:gd name="connsiteY23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605461 w 2077298"/>
                <a:gd name="connsiteY3" fmla="*/ 1052954 h 1175316"/>
                <a:gd name="connsiteX4" fmla="*/ 1620443 w 2077298"/>
                <a:gd name="connsiteY4" fmla="*/ 1008635 h 1175316"/>
                <a:gd name="connsiteX5" fmla="*/ 1812725 w 2077298"/>
                <a:gd name="connsiteY5" fmla="*/ 1105590 h 1175316"/>
                <a:gd name="connsiteX6" fmla="*/ 1840987 w 2077298"/>
                <a:gd name="connsiteY6" fmla="*/ 1076880 h 1175316"/>
                <a:gd name="connsiteX7" fmla="*/ 2034250 w 2077298"/>
                <a:gd name="connsiteY7" fmla="*/ 1175316 h 1175316"/>
                <a:gd name="connsiteX8" fmla="*/ 2077298 w 2077298"/>
                <a:gd name="connsiteY8" fmla="*/ 1077222 h 1175316"/>
                <a:gd name="connsiteX9" fmla="*/ 1885817 w 2077298"/>
                <a:gd name="connsiteY9" fmla="*/ 981291 h 1175316"/>
                <a:gd name="connsiteX10" fmla="*/ 1888092 w 2077298"/>
                <a:gd name="connsiteY10" fmla="*/ 945289 h 1175316"/>
                <a:gd name="connsiteX11" fmla="*/ 1692408 w 2077298"/>
                <a:gd name="connsiteY11" fmla="*/ 849131 h 1175316"/>
                <a:gd name="connsiteX12" fmla="*/ 1713804 w 2077298"/>
                <a:gd name="connsiteY12" fmla="*/ 806521 h 1175316"/>
                <a:gd name="connsiteX13" fmla="*/ 1651928 w 2077298"/>
                <a:gd name="connsiteY13" fmla="*/ 771658 h 1175316"/>
                <a:gd name="connsiteX14" fmla="*/ 1674417 w 2077298"/>
                <a:gd name="connsiteY14" fmla="*/ 666841 h 1175316"/>
                <a:gd name="connsiteX15" fmla="*/ 1287598 w 2077298"/>
                <a:gd name="connsiteY15" fmla="*/ 484551 h 1175316"/>
                <a:gd name="connsiteX16" fmla="*/ 1309509 w 2077298"/>
                <a:gd name="connsiteY16" fmla="*/ 449580 h 1175316"/>
                <a:gd name="connsiteX17" fmla="*/ 463689 w 2077298"/>
                <a:gd name="connsiteY17" fmla="*/ 0 h 1175316"/>
                <a:gd name="connsiteX18" fmla="*/ 347494 w 2077298"/>
                <a:gd name="connsiteY18" fmla="*/ 201505 h 1175316"/>
                <a:gd name="connsiteX19" fmla="*/ 0 w 2077298"/>
                <a:gd name="connsiteY19" fmla="*/ 27769 h 1175316"/>
                <a:gd name="connsiteX20" fmla="*/ 29331 w 2077298"/>
                <a:gd name="connsiteY20" fmla="*/ 220980 h 1175316"/>
                <a:gd name="connsiteX21" fmla="*/ 410349 w 2077298"/>
                <a:gd name="connsiteY21" fmla="*/ 464820 h 1175316"/>
                <a:gd name="connsiteX22" fmla="*/ 524649 w 2077298"/>
                <a:gd name="connsiteY22" fmla="*/ 586740 h 1175316"/>
                <a:gd name="connsiteX23" fmla="*/ 931859 w 2077298"/>
                <a:gd name="connsiteY23" fmla="*/ 813698 h 1175316"/>
                <a:gd name="connsiteX24" fmla="*/ 1111389 w 2077298"/>
                <a:gd name="connsiteY24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605461 w 2077298"/>
                <a:gd name="connsiteY3" fmla="*/ 1052954 h 1175316"/>
                <a:gd name="connsiteX4" fmla="*/ 1620443 w 2077298"/>
                <a:gd name="connsiteY4" fmla="*/ 1008635 h 1175316"/>
                <a:gd name="connsiteX5" fmla="*/ 1812725 w 2077298"/>
                <a:gd name="connsiteY5" fmla="*/ 1105590 h 1175316"/>
                <a:gd name="connsiteX6" fmla="*/ 1840987 w 2077298"/>
                <a:gd name="connsiteY6" fmla="*/ 1076880 h 1175316"/>
                <a:gd name="connsiteX7" fmla="*/ 2034250 w 2077298"/>
                <a:gd name="connsiteY7" fmla="*/ 1175316 h 1175316"/>
                <a:gd name="connsiteX8" fmla="*/ 2077298 w 2077298"/>
                <a:gd name="connsiteY8" fmla="*/ 1077222 h 1175316"/>
                <a:gd name="connsiteX9" fmla="*/ 1885817 w 2077298"/>
                <a:gd name="connsiteY9" fmla="*/ 981291 h 1175316"/>
                <a:gd name="connsiteX10" fmla="*/ 1888092 w 2077298"/>
                <a:gd name="connsiteY10" fmla="*/ 945289 h 1175316"/>
                <a:gd name="connsiteX11" fmla="*/ 1692408 w 2077298"/>
                <a:gd name="connsiteY11" fmla="*/ 849131 h 1175316"/>
                <a:gd name="connsiteX12" fmla="*/ 1713804 w 2077298"/>
                <a:gd name="connsiteY12" fmla="*/ 806521 h 1175316"/>
                <a:gd name="connsiteX13" fmla="*/ 1651928 w 2077298"/>
                <a:gd name="connsiteY13" fmla="*/ 771658 h 1175316"/>
                <a:gd name="connsiteX14" fmla="*/ 1674417 w 2077298"/>
                <a:gd name="connsiteY14" fmla="*/ 666841 h 1175316"/>
                <a:gd name="connsiteX15" fmla="*/ 1287598 w 2077298"/>
                <a:gd name="connsiteY15" fmla="*/ 484551 h 1175316"/>
                <a:gd name="connsiteX16" fmla="*/ 1309509 w 2077298"/>
                <a:gd name="connsiteY16" fmla="*/ 449580 h 1175316"/>
                <a:gd name="connsiteX17" fmla="*/ 463689 w 2077298"/>
                <a:gd name="connsiteY17" fmla="*/ 0 h 1175316"/>
                <a:gd name="connsiteX18" fmla="*/ 347494 w 2077298"/>
                <a:gd name="connsiteY18" fmla="*/ 201505 h 1175316"/>
                <a:gd name="connsiteX19" fmla="*/ 0 w 2077298"/>
                <a:gd name="connsiteY19" fmla="*/ 27769 h 1175316"/>
                <a:gd name="connsiteX20" fmla="*/ 29331 w 2077298"/>
                <a:gd name="connsiteY20" fmla="*/ 220980 h 1175316"/>
                <a:gd name="connsiteX21" fmla="*/ 410349 w 2077298"/>
                <a:gd name="connsiteY21" fmla="*/ 464820 h 1175316"/>
                <a:gd name="connsiteX22" fmla="*/ 524649 w 2077298"/>
                <a:gd name="connsiteY22" fmla="*/ 586740 h 1175316"/>
                <a:gd name="connsiteX23" fmla="*/ 884753 w 2077298"/>
                <a:gd name="connsiteY23" fmla="*/ 823269 h 1175316"/>
                <a:gd name="connsiteX24" fmla="*/ 1111389 w 2077298"/>
                <a:gd name="connsiteY24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605461 w 2077298"/>
                <a:gd name="connsiteY3" fmla="*/ 1052954 h 1175316"/>
                <a:gd name="connsiteX4" fmla="*/ 1620443 w 2077298"/>
                <a:gd name="connsiteY4" fmla="*/ 1008635 h 1175316"/>
                <a:gd name="connsiteX5" fmla="*/ 1812725 w 2077298"/>
                <a:gd name="connsiteY5" fmla="*/ 1105590 h 1175316"/>
                <a:gd name="connsiteX6" fmla="*/ 1840987 w 2077298"/>
                <a:gd name="connsiteY6" fmla="*/ 1076880 h 1175316"/>
                <a:gd name="connsiteX7" fmla="*/ 2034250 w 2077298"/>
                <a:gd name="connsiteY7" fmla="*/ 1175316 h 1175316"/>
                <a:gd name="connsiteX8" fmla="*/ 2077298 w 2077298"/>
                <a:gd name="connsiteY8" fmla="*/ 1077222 h 1175316"/>
                <a:gd name="connsiteX9" fmla="*/ 1885817 w 2077298"/>
                <a:gd name="connsiteY9" fmla="*/ 981291 h 1175316"/>
                <a:gd name="connsiteX10" fmla="*/ 1888092 w 2077298"/>
                <a:gd name="connsiteY10" fmla="*/ 945289 h 1175316"/>
                <a:gd name="connsiteX11" fmla="*/ 1692408 w 2077298"/>
                <a:gd name="connsiteY11" fmla="*/ 849131 h 1175316"/>
                <a:gd name="connsiteX12" fmla="*/ 1713804 w 2077298"/>
                <a:gd name="connsiteY12" fmla="*/ 806521 h 1175316"/>
                <a:gd name="connsiteX13" fmla="*/ 1651928 w 2077298"/>
                <a:gd name="connsiteY13" fmla="*/ 771658 h 1175316"/>
                <a:gd name="connsiteX14" fmla="*/ 1674417 w 2077298"/>
                <a:gd name="connsiteY14" fmla="*/ 666841 h 1175316"/>
                <a:gd name="connsiteX15" fmla="*/ 1287598 w 2077298"/>
                <a:gd name="connsiteY15" fmla="*/ 484551 h 1175316"/>
                <a:gd name="connsiteX16" fmla="*/ 1309509 w 2077298"/>
                <a:gd name="connsiteY16" fmla="*/ 449580 h 1175316"/>
                <a:gd name="connsiteX17" fmla="*/ 463689 w 2077298"/>
                <a:gd name="connsiteY17" fmla="*/ 0 h 1175316"/>
                <a:gd name="connsiteX18" fmla="*/ 347494 w 2077298"/>
                <a:gd name="connsiteY18" fmla="*/ 201505 h 1175316"/>
                <a:gd name="connsiteX19" fmla="*/ 0 w 2077298"/>
                <a:gd name="connsiteY19" fmla="*/ 27769 h 1175316"/>
                <a:gd name="connsiteX20" fmla="*/ 29331 w 2077298"/>
                <a:gd name="connsiteY20" fmla="*/ 220980 h 1175316"/>
                <a:gd name="connsiteX21" fmla="*/ 410349 w 2077298"/>
                <a:gd name="connsiteY21" fmla="*/ 464820 h 1175316"/>
                <a:gd name="connsiteX22" fmla="*/ 524649 w 2077298"/>
                <a:gd name="connsiteY22" fmla="*/ 586740 h 1175316"/>
                <a:gd name="connsiteX23" fmla="*/ 592702 w 2077298"/>
                <a:gd name="connsiteY23" fmla="*/ 636650 h 1175316"/>
                <a:gd name="connsiteX24" fmla="*/ 884753 w 2077298"/>
                <a:gd name="connsiteY24" fmla="*/ 823269 h 1175316"/>
                <a:gd name="connsiteX25" fmla="*/ 1111389 w 2077298"/>
                <a:gd name="connsiteY25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605461 w 2077298"/>
                <a:gd name="connsiteY3" fmla="*/ 1052954 h 1175316"/>
                <a:gd name="connsiteX4" fmla="*/ 1620443 w 2077298"/>
                <a:gd name="connsiteY4" fmla="*/ 1008635 h 1175316"/>
                <a:gd name="connsiteX5" fmla="*/ 1812725 w 2077298"/>
                <a:gd name="connsiteY5" fmla="*/ 1105590 h 1175316"/>
                <a:gd name="connsiteX6" fmla="*/ 1840987 w 2077298"/>
                <a:gd name="connsiteY6" fmla="*/ 1076880 h 1175316"/>
                <a:gd name="connsiteX7" fmla="*/ 2034250 w 2077298"/>
                <a:gd name="connsiteY7" fmla="*/ 1175316 h 1175316"/>
                <a:gd name="connsiteX8" fmla="*/ 2077298 w 2077298"/>
                <a:gd name="connsiteY8" fmla="*/ 1077222 h 1175316"/>
                <a:gd name="connsiteX9" fmla="*/ 1885817 w 2077298"/>
                <a:gd name="connsiteY9" fmla="*/ 981291 h 1175316"/>
                <a:gd name="connsiteX10" fmla="*/ 1888092 w 2077298"/>
                <a:gd name="connsiteY10" fmla="*/ 945289 h 1175316"/>
                <a:gd name="connsiteX11" fmla="*/ 1692408 w 2077298"/>
                <a:gd name="connsiteY11" fmla="*/ 849131 h 1175316"/>
                <a:gd name="connsiteX12" fmla="*/ 1713804 w 2077298"/>
                <a:gd name="connsiteY12" fmla="*/ 806521 h 1175316"/>
                <a:gd name="connsiteX13" fmla="*/ 1651928 w 2077298"/>
                <a:gd name="connsiteY13" fmla="*/ 771658 h 1175316"/>
                <a:gd name="connsiteX14" fmla="*/ 1674417 w 2077298"/>
                <a:gd name="connsiteY14" fmla="*/ 666841 h 1175316"/>
                <a:gd name="connsiteX15" fmla="*/ 1287598 w 2077298"/>
                <a:gd name="connsiteY15" fmla="*/ 484551 h 1175316"/>
                <a:gd name="connsiteX16" fmla="*/ 1309509 w 2077298"/>
                <a:gd name="connsiteY16" fmla="*/ 449580 h 1175316"/>
                <a:gd name="connsiteX17" fmla="*/ 463689 w 2077298"/>
                <a:gd name="connsiteY17" fmla="*/ 0 h 1175316"/>
                <a:gd name="connsiteX18" fmla="*/ 347494 w 2077298"/>
                <a:gd name="connsiteY18" fmla="*/ 201505 h 1175316"/>
                <a:gd name="connsiteX19" fmla="*/ 0 w 2077298"/>
                <a:gd name="connsiteY19" fmla="*/ 27769 h 1175316"/>
                <a:gd name="connsiteX20" fmla="*/ 29331 w 2077298"/>
                <a:gd name="connsiteY20" fmla="*/ 220980 h 1175316"/>
                <a:gd name="connsiteX21" fmla="*/ 410349 w 2077298"/>
                <a:gd name="connsiteY21" fmla="*/ 464820 h 1175316"/>
                <a:gd name="connsiteX22" fmla="*/ 524649 w 2077298"/>
                <a:gd name="connsiteY22" fmla="*/ 586740 h 1175316"/>
                <a:gd name="connsiteX23" fmla="*/ 726951 w 2077298"/>
                <a:gd name="connsiteY23" fmla="*/ 682109 h 1175316"/>
                <a:gd name="connsiteX24" fmla="*/ 884753 w 2077298"/>
                <a:gd name="connsiteY24" fmla="*/ 823269 h 1175316"/>
                <a:gd name="connsiteX25" fmla="*/ 1111389 w 2077298"/>
                <a:gd name="connsiteY25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605461 w 2077298"/>
                <a:gd name="connsiteY3" fmla="*/ 1052954 h 1175316"/>
                <a:gd name="connsiteX4" fmla="*/ 1620443 w 2077298"/>
                <a:gd name="connsiteY4" fmla="*/ 1008635 h 1175316"/>
                <a:gd name="connsiteX5" fmla="*/ 1812725 w 2077298"/>
                <a:gd name="connsiteY5" fmla="*/ 1105590 h 1175316"/>
                <a:gd name="connsiteX6" fmla="*/ 1840987 w 2077298"/>
                <a:gd name="connsiteY6" fmla="*/ 1076880 h 1175316"/>
                <a:gd name="connsiteX7" fmla="*/ 2034250 w 2077298"/>
                <a:gd name="connsiteY7" fmla="*/ 1175316 h 1175316"/>
                <a:gd name="connsiteX8" fmla="*/ 2077298 w 2077298"/>
                <a:gd name="connsiteY8" fmla="*/ 1077222 h 1175316"/>
                <a:gd name="connsiteX9" fmla="*/ 1885817 w 2077298"/>
                <a:gd name="connsiteY9" fmla="*/ 981291 h 1175316"/>
                <a:gd name="connsiteX10" fmla="*/ 1888092 w 2077298"/>
                <a:gd name="connsiteY10" fmla="*/ 945289 h 1175316"/>
                <a:gd name="connsiteX11" fmla="*/ 1692408 w 2077298"/>
                <a:gd name="connsiteY11" fmla="*/ 849131 h 1175316"/>
                <a:gd name="connsiteX12" fmla="*/ 1713804 w 2077298"/>
                <a:gd name="connsiteY12" fmla="*/ 806521 h 1175316"/>
                <a:gd name="connsiteX13" fmla="*/ 1651928 w 2077298"/>
                <a:gd name="connsiteY13" fmla="*/ 771658 h 1175316"/>
                <a:gd name="connsiteX14" fmla="*/ 1674417 w 2077298"/>
                <a:gd name="connsiteY14" fmla="*/ 666841 h 1175316"/>
                <a:gd name="connsiteX15" fmla="*/ 1287598 w 2077298"/>
                <a:gd name="connsiteY15" fmla="*/ 484551 h 1175316"/>
                <a:gd name="connsiteX16" fmla="*/ 1309509 w 2077298"/>
                <a:gd name="connsiteY16" fmla="*/ 449580 h 1175316"/>
                <a:gd name="connsiteX17" fmla="*/ 463689 w 2077298"/>
                <a:gd name="connsiteY17" fmla="*/ 0 h 1175316"/>
                <a:gd name="connsiteX18" fmla="*/ 347494 w 2077298"/>
                <a:gd name="connsiteY18" fmla="*/ 201505 h 1175316"/>
                <a:gd name="connsiteX19" fmla="*/ 0 w 2077298"/>
                <a:gd name="connsiteY19" fmla="*/ 27769 h 1175316"/>
                <a:gd name="connsiteX20" fmla="*/ 29331 w 2077298"/>
                <a:gd name="connsiteY20" fmla="*/ 220980 h 1175316"/>
                <a:gd name="connsiteX21" fmla="*/ 410349 w 2077298"/>
                <a:gd name="connsiteY21" fmla="*/ 464820 h 1175316"/>
                <a:gd name="connsiteX22" fmla="*/ 524649 w 2077298"/>
                <a:gd name="connsiteY22" fmla="*/ 586740 h 1175316"/>
                <a:gd name="connsiteX23" fmla="*/ 726951 w 2077298"/>
                <a:gd name="connsiteY23" fmla="*/ 682109 h 1175316"/>
                <a:gd name="connsiteX24" fmla="*/ 762280 w 2077298"/>
                <a:gd name="connsiteY24" fmla="*/ 713212 h 1175316"/>
                <a:gd name="connsiteX25" fmla="*/ 884753 w 2077298"/>
                <a:gd name="connsiteY25" fmla="*/ 823269 h 1175316"/>
                <a:gd name="connsiteX26" fmla="*/ 1111389 w 2077298"/>
                <a:gd name="connsiteY26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605461 w 2077298"/>
                <a:gd name="connsiteY3" fmla="*/ 1052954 h 1175316"/>
                <a:gd name="connsiteX4" fmla="*/ 1620443 w 2077298"/>
                <a:gd name="connsiteY4" fmla="*/ 1008635 h 1175316"/>
                <a:gd name="connsiteX5" fmla="*/ 1812725 w 2077298"/>
                <a:gd name="connsiteY5" fmla="*/ 1105590 h 1175316"/>
                <a:gd name="connsiteX6" fmla="*/ 1840987 w 2077298"/>
                <a:gd name="connsiteY6" fmla="*/ 1076880 h 1175316"/>
                <a:gd name="connsiteX7" fmla="*/ 2034250 w 2077298"/>
                <a:gd name="connsiteY7" fmla="*/ 1175316 h 1175316"/>
                <a:gd name="connsiteX8" fmla="*/ 2077298 w 2077298"/>
                <a:gd name="connsiteY8" fmla="*/ 1077222 h 1175316"/>
                <a:gd name="connsiteX9" fmla="*/ 1885817 w 2077298"/>
                <a:gd name="connsiteY9" fmla="*/ 981291 h 1175316"/>
                <a:gd name="connsiteX10" fmla="*/ 1888092 w 2077298"/>
                <a:gd name="connsiteY10" fmla="*/ 945289 h 1175316"/>
                <a:gd name="connsiteX11" fmla="*/ 1692408 w 2077298"/>
                <a:gd name="connsiteY11" fmla="*/ 849131 h 1175316"/>
                <a:gd name="connsiteX12" fmla="*/ 1713804 w 2077298"/>
                <a:gd name="connsiteY12" fmla="*/ 806521 h 1175316"/>
                <a:gd name="connsiteX13" fmla="*/ 1651928 w 2077298"/>
                <a:gd name="connsiteY13" fmla="*/ 771658 h 1175316"/>
                <a:gd name="connsiteX14" fmla="*/ 1674417 w 2077298"/>
                <a:gd name="connsiteY14" fmla="*/ 666841 h 1175316"/>
                <a:gd name="connsiteX15" fmla="*/ 1287598 w 2077298"/>
                <a:gd name="connsiteY15" fmla="*/ 484551 h 1175316"/>
                <a:gd name="connsiteX16" fmla="*/ 1309509 w 2077298"/>
                <a:gd name="connsiteY16" fmla="*/ 449580 h 1175316"/>
                <a:gd name="connsiteX17" fmla="*/ 463689 w 2077298"/>
                <a:gd name="connsiteY17" fmla="*/ 0 h 1175316"/>
                <a:gd name="connsiteX18" fmla="*/ 347494 w 2077298"/>
                <a:gd name="connsiteY18" fmla="*/ 201505 h 1175316"/>
                <a:gd name="connsiteX19" fmla="*/ 0 w 2077298"/>
                <a:gd name="connsiteY19" fmla="*/ 27769 h 1175316"/>
                <a:gd name="connsiteX20" fmla="*/ 29331 w 2077298"/>
                <a:gd name="connsiteY20" fmla="*/ 220980 h 1175316"/>
                <a:gd name="connsiteX21" fmla="*/ 410349 w 2077298"/>
                <a:gd name="connsiteY21" fmla="*/ 464820 h 1175316"/>
                <a:gd name="connsiteX22" fmla="*/ 524649 w 2077298"/>
                <a:gd name="connsiteY22" fmla="*/ 586740 h 1175316"/>
                <a:gd name="connsiteX23" fmla="*/ 726951 w 2077298"/>
                <a:gd name="connsiteY23" fmla="*/ 682109 h 1175316"/>
                <a:gd name="connsiteX24" fmla="*/ 715175 w 2077298"/>
                <a:gd name="connsiteY24" fmla="*/ 713212 h 1175316"/>
                <a:gd name="connsiteX25" fmla="*/ 884753 w 2077298"/>
                <a:gd name="connsiteY25" fmla="*/ 823269 h 1175316"/>
                <a:gd name="connsiteX26" fmla="*/ 1111389 w 2077298"/>
                <a:gd name="connsiteY26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605461 w 2077298"/>
                <a:gd name="connsiteY3" fmla="*/ 1052954 h 1175316"/>
                <a:gd name="connsiteX4" fmla="*/ 1620443 w 2077298"/>
                <a:gd name="connsiteY4" fmla="*/ 1008635 h 1175316"/>
                <a:gd name="connsiteX5" fmla="*/ 1812725 w 2077298"/>
                <a:gd name="connsiteY5" fmla="*/ 1105590 h 1175316"/>
                <a:gd name="connsiteX6" fmla="*/ 1840987 w 2077298"/>
                <a:gd name="connsiteY6" fmla="*/ 1076880 h 1175316"/>
                <a:gd name="connsiteX7" fmla="*/ 2034250 w 2077298"/>
                <a:gd name="connsiteY7" fmla="*/ 1175316 h 1175316"/>
                <a:gd name="connsiteX8" fmla="*/ 2077298 w 2077298"/>
                <a:gd name="connsiteY8" fmla="*/ 1077222 h 1175316"/>
                <a:gd name="connsiteX9" fmla="*/ 1885817 w 2077298"/>
                <a:gd name="connsiteY9" fmla="*/ 981291 h 1175316"/>
                <a:gd name="connsiteX10" fmla="*/ 1888092 w 2077298"/>
                <a:gd name="connsiteY10" fmla="*/ 945289 h 1175316"/>
                <a:gd name="connsiteX11" fmla="*/ 1692408 w 2077298"/>
                <a:gd name="connsiteY11" fmla="*/ 849131 h 1175316"/>
                <a:gd name="connsiteX12" fmla="*/ 1713804 w 2077298"/>
                <a:gd name="connsiteY12" fmla="*/ 806521 h 1175316"/>
                <a:gd name="connsiteX13" fmla="*/ 1651928 w 2077298"/>
                <a:gd name="connsiteY13" fmla="*/ 771658 h 1175316"/>
                <a:gd name="connsiteX14" fmla="*/ 1674417 w 2077298"/>
                <a:gd name="connsiteY14" fmla="*/ 666841 h 1175316"/>
                <a:gd name="connsiteX15" fmla="*/ 1287598 w 2077298"/>
                <a:gd name="connsiteY15" fmla="*/ 484551 h 1175316"/>
                <a:gd name="connsiteX16" fmla="*/ 1309509 w 2077298"/>
                <a:gd name="connsiteY16" fmla="*/ 437618 h 1175316"/>
                <a:gd name="connsiteX17" fmla="*/ 463689 w 2077298"/>
                <a:gd name="connsiteY17" fmla="*/ 0 h 1175316"/>
                <a:gd name="connsiteX18" fmla="*/ 347494 w 2077298"/>
                <a:gd name="connsiteY18" fmla="*/ 201505 h 1175316"/>
                <a:gd name="connsiteX19" fmla="*/ 0 w 2077298"/>
                <a:gd name="connsiteY19" fmla="*/ 27769 h 1175316"/>
                <a:gd name="connsiteX20" fmla="*/ 29331 w 2077298"/>
                <a:gd name="connsiteY20" fmla="*/ 220980 h 1175316"/>
                <a:gd name="connsiteX21" fmla="*/ 410349 w 2077298"/>
                <a:gd name="connsiteY21" fmla="*/ 464820 h 1175316"/>
                <a:gd name="connsiteX22" fmla="*/ 524649 w 2077298"/>
                <a:gd name="connsiteY22" fmla="*/ 586740 h 1175316"/>
                <a:gd name="connsiteX23" fmla="*/ 726951 w 2077298"/>
                <a:gd name="connsiteY23" fmla="*/ 682109 h 1175316"/>
                <a:gd name="connsiteX24" fmla="*/ 715175 w 2077298"/>
                <a:gd name="connsiteY24" fmla="*/ 713212 h 1175316"/>
                <a:gd name="connsiteX25" fmla="*/ 884753 w 2077298"/>
                <a:gd name="connsiteY25" fmla="*/ 823269 h 1175316"/>
                <a:gd name="connsiteX26" fmla="*/ 1111389 w 2077298"/>
                <a:gd name="connsiteY26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605461 w 2077298"/>
                <a:gd name="connsiteY3" fmla="*/ 1052954 h 1175316"/>
                <a:gd name="connsiteX4" fmla="*/ 1620443 w 2077298"/>
                <a:gd name="connsiteY4" fmla="*/ 1008635 h 1175316"/>
                <a:gd name="connsiteX5" fmla="*/ 1812725 w 2077298"/>
                <a:gd name="connsiteY5" fmla="*/ 1105590 h 1175316"/>
                <a:gd name="connsiteX6" fmla="*/ 1840987 w 2077298"/>
                <a:gd name="connsiteY6" fmla="*/ 1076880 h 1175316"/>
                <a:gd name="connsiteX7" fmla="*/ 2034250 w 2077298"/>
                <a:gd name="connsiteY7" fmla="*/ 1175316 h 1175316"/>
                <a:gd name="connsiteX8" fmla="*/ 2077298 w 2077298"/>
                <a:gd name="connsiteY8" fmla="*/ 1077222 h 1175316"/>
                <a:gd name="connsiteX9" fmla="*/ 1885817 w 2077298"/>
                <a:gd name="connsiteY9" fmla="*/ 981291 h 1175316"/>
                <a:gd name="connsiteX10" fmla="*/ 1888092 w 2077298"/>
                <a:gd name="connsiteY10" fmla="*/ 945289 h 1175316"/>
                <a:gd name="connsiteX11" fmla="*/ 1692408 w 2077298"/>
                <a:gd name="connsiteY11" fmla="*/ 849131 h 1175316"/>
                <a:gd name="connsiteX12" fmla="*/ 1713804 w 2077298"/>
                <a:gd name="connsiteY12" fmla="*/ 806521 h 1175316"/>
                <a:gd name="connsiteX13" fmla="*/ 1651928 w 2077298"/>
                <a:gd name="connsiteY13" fmla="*/ 771658 h 1175316"/>
                <a:gd name="connsiteX14" fmla="*/ 1674417 w 2077298"/>
                <a:gd name="connsiteY14" fmla="*/ 666841 h 1175316"/>
                <a:gd name="connsiteX15" fmla="*/ 1292308 w 2077298"/>
                <a:gd name="connsiteY15" fmla="*/ 489337 h 1175316"/>
                <a:gd name="connsiteX16" fmla="*/ 1309509 w 2077298"/>
                <a:gd name="connsiteY16" fmla="*/ 437618 h 1175316"/>
                <a:gd name="connsiteX17" fmla="*/ 463689 w 2077298"/>
                <a:gd name="connsiteY17" fmla="*/ 0 h 1175316"/>
                <a:gd name="connsiteX18" fmla="*/ 347494 w 2077298"/>
                <a:gd name="connsiteY18" fmla="*/ 201505 h 1175316"/>
                <a:gd name="connsiteX19" fmla="*/ 0 w 2077298"/>
                <a:gd name="connsiteY19" fmla="*/ 27769 h 1175316"/>
                <a:gd name="connsiteX20" fmla="*/ 29331 w 2077298"/>
                <a:gd name="connsiteY20" fmla="*/ 220980 h 1175316"/>
                <a:gd name="connsiteX21" fmla="*/ 410349 w 2077298"/>
                <a:gd name="connsiteY21" fmla="*/ 464820 h 1175316"/>
                <a:gd name="connsiteX22" fmla="*/ 524649 w 2077298"/>
                <a:gd name="connsiteY22" fmla="*/ 586740 h 1175316"/>
                <a:gd name="connsiteX23" fmla="*/ 726951 w 2077298"/>
                <a:gd name="connsiteY23" fmla="*/ 682109 h 1175316"/>
                <a:gd name="connsiteX24" fmla="*/ 715175 w 2077298"/>
                <a:gd name="connsiteY24" fmla="*/ 713212 h 1175316"/>
                <a:gd name="connsiteX25" fmla="*/ 884753 w 2077298"/>
                <a:gd name="connsiteY25" fmla="*/ 823269 h 1175316"/>
                <a:gd name="connsiteX26" fmla="*/ 1111389 w 2077298"/>
                <a:gd name="connsiteY26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605461 w 2077298"/>
                <a:gd name="connsiteY3" fmla="*/ 1052954 h 1175316"/>
                <a:gd name="connsiteX4" fmla="*/ 1620443 w 2077298"/>
                <a:gd name="connsiteY4" fmla="*/ 1008635 h 1175316"/>
                <a:gd name="connsiteX5" fmla="*/ 1812725 w 2077298"/>
                <a:gd name="connsiteY5" fmla="*/ 1105590 h 1175316"/>
                <a:gd name="connsiteX6" fmla="*/ 1840987 w 2077298"/>
                <a:gd name="connsiteY6" fmla="*/ 1076880 h 1175316"/>
                <a:gd name="connsiteX7" fmla="*/ 2034250 w 2077298"/>
                <a:gd name="connsiteY7" fmla="*/ 1175316 h 1175316"/>
                <a:gd name="connsiteX8" fmla="*/ 2077298 w 2077298"/>
                <a:gd name="connsiteY8" fmla="*/ 1077222 h 1175316"/>
                <a:gd name="connsiteX9" fmla="*/ 1885817 w 2077298"/>
                <a:gd name="connsiteY9" fmla="*/ 981291 h 1175316"/>
                <a:gd name="connsiteX10" fmla="*/ 1888092 w 2077298"/>
                <a:gd name="connsiteY10" fmla="*/ 945289 h 1175316"/>
                <a:gd name="connsiteX11" fmla="*/ 1692408 w 2077298"/>
                <a:gd name="connsiteY11" fmla="*/ 849131 h 1175316"/>
                <a:gd name="connsiteX12" fmla="*/ 1713804 w 2077298"/>
                <a:gd name="connsiteY12" fmla="*/ 806521 h 1175316"/>
                <a:gd name="connsiteX13" fmla="*/ 1651928 w 2077298"/>
                <a:gd name="connsiteY13" fmla="*/ 771658 h 1175316"/>
                <a:gd name="connsiteX14" fmla="*/ 1674417 w 2077298"/>
                <a:gd name="connsiteY14" fmla="*/ 666841 h 1175316"/>
                <a:gd name="connsiteX15" fmla="*/ 1527738 w 2077298"/>
                <a:gd name="connsiteY15" fmla="*/ 600761 h 1175316"/>
                <a:gd name="connsiteX16" fmla="*/ 1292308 w 2077298"/>
                <a:gd name="connsiteY16" fmla="*/ 489337 h 1175316"/>
                <a:gd name="connsiteX17" fmla="*/ 1309509 w 2077298"/>
                <a:gd name="connsiteY17" fmla="*/ 437618 h 1175316"/>
                <a:gd name="connsiteX18" fmla="*/ 463689 w 2077298"/>
                <a:gd name="connsiteY18" fmla="*/ 0 h 1175316"/>
                <a:gd name="connsiteX19" fmla="*/ 347494 w 2077298"/>
                <a:gd name="connsiteY19" fmla="*/ 201505 h 1175316"/>
                <a:gd name="connsiteX20" fmla="*/ 0 w 2077298"/>
                <a:gd name="connsiteY20" fmla="*/ 27769 h 1175316"/>
                <a:gd name="connsiteX21" fmla="*/ 29331 w 2077298"/>
                <a:gd name="connsiteY21" fmla="*/ 220980 h 1175316"/>
                <a:gd name="connsiteX22" fmla="*/ 410349 w 2077298"/>
                <a:gd name="connsiteY22" fmla="*/ 464820 h 1175316"/>
                <a:gd name="connsiteX23" fmla="*/ 524649 w 2077298"/>
                <a:gd name="connsiteY23" fmla="*/ 586740 h 1175316"/>
                <a:gd name="connsiteX24" fmla="*/ 726951 w 2077298"/>
                <a:gd name="connsiteY24" fmla="*/ 682109 h 1175316"/>
                <a:gd name="connsiteX25" fmla="*/ 715175 w 2077298"/>
                <a:gd name="connsiteY25" fmla="*/ 713212 h 1175316"/>
                <a:gd name="connsiteX26" fmla="*/ 884753 w 2077298"/>
                <a:gd name="connsiteY26" fmla="*/ 823269 h 1175316"/>
                <a:gd name="connsiteX27" fmla="*/ 1111389 w 2077298"/>
                <a:gd name="connsiteY27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605461 w 2077298"/>
                <a:gd name="connsiteY3" fmla="*/ 1052954 h 1175316"/>
                <a:gd name="connsiteX4" fmla="*/ 1620443 w 2077298"/>
                <a:gd name="connsiteY4" fmla="*/ 1008635 h 1175316"/>
                <a:gd name="connsiteX5" fmla="*/ 1812725 w 2077298"/>
                <a:gd name="connsiteY5" fmla="*/ 1105590 h 1175316"/>
                <a:gd name="connsiteX6" fmla="*/ 1840987 w 2077298"/>
                <a:gd name="connsiteY6" fmla="*/ 1076880 h 1175316"/>
                <a:gd name="connsiteX7" fmla="*/ 2034250 w 2077298"/>
                <a:gd name="connsiteY7" fmla="*/ 1175316 h 1175316"/>
                <a:gd name="connsiteX8" fmla="*/ 2077298 w 2077298"/>
                <a:gd name="connsiteY8" fmla="*/ 1077222 h 1175316"/>
                <a:gd name="connsiteX9" fmla="*/ 1885817 w 2077298"/>
                <a:gd name="connsiteY9" fmla="*/ 981291 h 1175316"/>
                <a:gd name="connsiteX10" fmla="*/ 1888092 w 2077298"/>
                <a:gd name="connsiteY10" fmla="*/ 945289 h 1175316"/>
                <a:gd name="connsiteX11" fmla="*/ 1692408 w 2077298"/>
                <a:gd name="connsiteY11" fmla="*/ 849131 h 1175316"/>
                <a:gd name="connsiteX12" fmla="*/ 1713804 w 2077298"/>
                <a:gd name="connsiteY12" fmla="*/ 806521 h 1175316"/>
                <a:gd name="connsiteX13" fmla="*/ 1651928 w 2077298"/>
                <a:gd name="connsiteY13" fmla="*/ 771658 h 1175316"/>
                <a:gd name="connsiteX14" fmla="*/ 1674417 w 2077298"/>
                <a:gd name="connsiteY14" fmla="*/ 666841 h 1175316"/>
                <a:gd name="connsiteX15" fmla="*/ 1487699 w 2077298"/>
                <a:gd name="connsiteY15" fmla="*/ 581621 h 1175316"/>
                <a:gd name="connsiteX16" fmla="*/ 1292308 w 2077298"/>
                <a:gd name="connsiteY16" fmla="*/ 489337 h 1175316"/>
                <a:gd name="connsiteX17" fmla="*/ 1309509 w 2077298"/>
                <a:gd name="connsiteY17" fmla="*/ 437618 h 1175316"/>
                <a:gd name="connsiteX18" fmla="*/ 463689 w 2077298"/>
                <a:gd name="connsiteY18" fmla="*/ 0 h 1175316"/>
                <a:gd name="connsiteX19" fmla="*/ 347494 w 2077298"/>
                <a:gd name="connsiteY19" fmla="*/ 201505 h 1175316"/>
                <a:gd name="connsiteX20" fmla="*/ 0 w 2077298"/>
                <a:gd name="connsiteY20" fmla="*/ 27769 h 1175316"/>
                <a:gd name="connsiteX21" fmla="*/ 29331 w 2077298"/>
                <a:gd name="connsiteY21" fmla="*/ 220980 h 1175316"/>
                <a:gd name="connsiteX22" fmla="*/ 410349 w 2077298"/>
                <a:gd name="connsiteY22" fmla="*/ 464820 h 1175316"/>
                <a:gd name="connsiteX23" fmla="*/ 524649 w 2077298"/>
                <a:gd name="connsiteY23" fmla="*/ 586740 h 1175316"/>
                <a:gd name="connsiteX24" fmla="*/ 726951 w 2077298"/>
                <a:gd name="connsiteY24" fmla="*/ 682109 h 1175316"/>
                <a:gd name="connsiteX25" fmla="*/ 715175 w 2077298"/>
                <a:gd name="connsiteY25" fmla="*/ 713212 h 1175316"/>
                <a:gd name="connsiteX26" fmla="*/ 884753 w 2077298"/>
                <a:gd name="connsiteY26" fmla="*/ 823269 h 1175316"/>
                <a:gd name="connsiteX27" fmla="*/ 1111389 w 2077298"/>
                <a:gd name="connsiteY27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605461 w 2077298"/>
                <a:gd name="connsiteY3" fmla="*/ 1052954 h 1175316"/>
                <a:gd name="connsiteX4" fmla="*/ 1620443 w 2077298"/>
                <a:gd name="connsiteY4" fmla="*/ 1008635 h 1175316"/>
                <a:gd name="connsiteX5" fmla="*/ 1812725 w 2077298"/>
                <a:gd name="connsiteY5" fmla="*/ 1105590 h 1175316"/>
                <a:gd name="connsiteX6" fmla="*/ 1840987 w 2077298"/>
                <a:gd name="connsiteY6" fmla="*/ 1076880 h 1175316"/>
                <a:gd name="connsiteX7" fmla="*/ 2034250 w 2077298"/>
                <a:gd name="connsiteY7" fmla="*/ 1175316 h 1175316"/>
                <a:gd name="connsiteX8" fmla="*/ 2077298 w 2077298"/>
                <a:gd name="connsiteY8" fmla="*/ 1077222 h 1175316"/>
                <a:gd name="connsiteX9" fmla="*/ 1885817 w 2077298"/>
                <a:gd name="connsiteY9" fmla="*/ 981291 h 1175316"/>
                <a:gd name="connsiteX10" fmla="*/ 1888092 w 2077298"/>
                <a:gd name="connsiteY10" fmla="*/ 945289 h 1175316"/>
                <a:gd name="connsiteX11" fmla="*/ 1692408 w 2077298"/>
                <a:gd name="connsiteY11" fmla="*/ 849131 h 1175316"/>
                <a:gd name="connsiteX12" fmla="*/ 1713804 w 2077298"/>
                <a:gd name="connsiteY12" fmla="*/ 806521 h 1175316"/>
                <a:gd name="connsiteX13" fmla="*/ 1651928 w 2077298"/>
                <a:gd name="connsiteY13" fmla="*/ 771658 h 1175316"/>
                <a:gd name="connsiteX14" fmla="*/ 1674417 w 2077298"/>
                <a:gd name="connsiteY14" fmla="*/ 666841 h 1175316"/>
                <a:gd name="connsiteX15" fmla="*/ 1605461 w 2077298"/>
                <a:gd name="connsiteY15" fmla="*/ 629472 h 1175316"/>
                <a:gd name="connsiteX16" fmla="*/ 1487699 w 2077298"/>
                <a:gd name="connsiteY16" fmla="*/ 581621 h 1175316"/>
                <a:gd name="connsiteX17" fmla="*/ 1292308 w 2077298"/>
                <a:gd name="connsiteY17" fmla="*/ 489337 h 1175316"/>
                <a:gd name="connsiteX18" fmla="*/ 1309509 w 2077298"/>
                <a:gd name="connsiteY18" fmla="*/ 437618 h 1175316"/>
                <a:gd name="connsiteX19" fmla="*/ 463689 w 2077298"/>
                <a:gd name="connsiteY19" fmla="*/ 0 h 1175316"/>
                <a:gd name="connsiteX20" fmla="*/ 347494 w 2077298"/>
                <a:gd name="connsiteY20" fmla="*/ 201505 h 1175316"/>
                <a:gd name="connsiteX21" fmla="*/ 0 w 2077298"/>
                <a:gd name="connsiteY21" fmla="*/ 27769 h 1175316"/>
                <a:gd name="connsiteX22" fmla="*/ 29331 w 2077298"/>
                <a:gd name="connsiteY22" fmla="*/ 220980 h 1175316"/>
                <a:gd name="connsiteX23" fmla="*/ 410349 w 2077298"/>
                <a:gd name="connsiteY23" fmla="*/ 464820 h 1175316"/>
                <a:gd name="connsiteX24" fmla="*/ 524649 w 2077298"/>
                <a:gd name="connsiteY24" fmla="*/ 586740 h 1175316"/>
                <a:gd name="connsiteX25" fmla="*/ 726951 w 2077298"/>
                <a:gd name="connsiteY25" fmla="*/ 682109 h 1175316"/>
                <a:gd name="connsiteX26" fmla="*/ 715175 w 2077298"/>
                <a:gd name="connsiteY26" fmla="*/ 713212 h 1175316"/>
                <a:gd name="connsiteX27" fmla="*/ 884753 w 2077298"/>
                <a:gd name="connsiteY27" fmla="*/ 823269 h 1175316"/>
                <a:gd name="connsiteX28" fmla="*/ 1111389 w 2077298"/>
                <a:gd name="connsiteY28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605461 w 2077298"/>
                <a:gd name="connsiteY3" fmla="*/ 1052954 h 1175316"/>
                <a:gd name="connsiteX4" fmla="*/ 1620443 w 2077298"/>
                <a:gd name="connsiteY4" fmla="*/ 1008635 h 1175316"/>
                <a:gd name="connsiteX5" fmla="*/ 1812725 w 2077298"/>
                <a:gd name="connsiteY5" fmla="*/ 1105590 h 1175316"/>
                <a:gd name="connsiteX6" fmla="*/ 1840987 w 2077298"/>
                <a:gd name="connsiteY6" fmla="*/ 1076880 h 1175316"/>
                <a:gd name="connsiteX7" fmla="*/ 2034250 w 2077298"/>
                <a:gd name="connsiteY7" fmla="*/ 1175316 h 1175316"/>
                <a:gd name="connsiteX8" fmla="*/ 2077298 w 2077298"/>
                <a:gd name="connsiteY8" fmla="*/ 1077222 h 1175316"/>
                <a:gd name="connsiteX9" fmla="*/ 1885817 w 2077298"/>
                <a:gd name="connsiteY9" fmla="*/ 981291 h 1175316"/>
                <a:gd name="connsiteX10" fmla="*/ 1888092 w 2077298"/>
                <a:gd name="connsiteY10" fmla="*/ 945289 h 1175316"/>
                <a:gd name="connsiteX11" fmla="*/ 1692408 w 2077298"/>
                <a:gd name="connsiteY11" fmla="*/ 849131 h 1175316"/>
                <a:gd name="connsiteX12" fmla="*/ 1713804 w 2077298"/>
                <a:gd name="connsiteY12" fmla="*/ 806521 h 1175316"/>
                <a:gd name="connsiteX13" fmla="*/ 1651928 w 2077298"/>
                <a:gd name="connsiteY13" fmla="*/ 771658 h 1175316"/>
                <a:gd name="connsiteX14" fmla="*/ 1674417 w 2077298"/>
                <a:gd name="connsiteY14" fmla="*/ 666841 h 1175316"/>
                <a:gd name="connsiteX15" fmla="*/ 1506540 w 2077298"/>
                <a:gd name="connsiteY15" fmla="*/ 569658 h 1175316"/>
                <a:gd name="connsiteX16" fmla="*/ 1487699 w 2077298"/>
                <a:gd name="connsiteY16" fmla="*/ 581621 h 1175316"/>
                <a:gd name="connsiteX17" fmla="*/ 1292308 w 2077298"/>
                <a:gd name="connsiteY17" fmla="*/ 489337 h 1175316"/>
                <a:gd name="connsiteX18" fmla="*/ 1309509 w 2077298"/>
                <a:gd name="connsiteY18" fmla="*/ 437618 h 1175316"/>
                <a:gd name="connsiteX19" fmla="*/ 463689 w 2077298"/>
                <a:gd name="connsiteY19" fmla="*/ 0 h 1175316"/>
                <a:gd name="connsiteX20" fmla="*/ 347494 w 2077298"/>
                <a:gd name="connsiteY20" fmla="*/ 201505 h 1175316"/>
                <a:gd name="connsiteX21" fmla="*/ 0 w 2077298"/>
                <a:gd name="connsiteY21" fmla="*/ 27769 h 1175316"/>
                <a:gd name="connsiteX22" fmla="*/ 29331 w 2077298"/>
                <a:gd name="connsiteY22" fmla="*/ 220980 h 1175316"/>
                <a:gd name="connsiteX23" fmla="*/ 410349 w 2077298"/>
                <a:gd name="connsiteY23" fmla="*/ 464820 h 1175316"/>
                <a:gd name="connsiteX24" fmla="*/ 524649 w 2077298"/>
                <a:gd name="connsiteY24" fmla="*/ 586740 h 1175316"/>
                <a:gd name="connsiteX25" fmla="*/ 726951 w 2077298"/>
                <a:gd name="connsiteY25" fmla="*/ 682109 h 1175316"/>
                <a:gd name="connsiteX26" fmla="*/ 715175 w 2077298"/>
                <a:gd name="connsiteY26" fmla="*/ 713212 h 1175316"/>
                <a:gd name="connsiteX27" fmla="*/ 884753 w 2077298"/>
                <a:gd name="connsiteY27" fmla="*/ 823269 h 1175316"/>
                <a:gd name="connsiteX28" fmla="*/ 1111389 w 2077298"/>
                <a:gd name="connsiteY28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605461 w 2077298"/>
                <a:gd name="connsiteY3" fmla="*/ 1052954 h 1175316"/>
                <a:gd name="connsiteX4" fmla="*/ 1620443 w 2077298"/>
                <a:gd name="connsiteY4" fmla="*/ 1008635 h 1175316"/>
                <a:gd name="connsiteX5" fmla="*/ 1812725 w 2077298"/>
                <a:gd name="connsiteY5" fmla="*/ 1105590 h 1175316"/>
                <a:gd name="connsiteX6" fmla="*/ 1840987 w 2077298"/>
                <a:gd name="connsiteY6" fmla="*/ 1076880 h 1175316"/>
                <a:gd name="connsiteX7" fmla="*/ 2034250 w 2077298"/>
                <a:gd name="connsiteY7" fmla="*/ 1175316 h 1175316"/>
                <a:gd name="connsiteX8" fmla="*/ 2077298 w 2077298"/>
                <a:gd name="connsiteY8" fmla="*/ 1077222 h 1175316"/>
                <a:gd name="connsiteX9" fmla="*/ 1885817 w 2077298"/>
                <a:gd name="connsiteY9" fmla="*/ 981291 h 1175316"/>
                <a:gd name="connsiteX10" fmla="*/ 1888092 w 2077298"/>
                <a:gd name="connsiteY10" fmla="*/ 945289 h 1175316"/>
                <a:gd name="connsiteX11" fmla="*/ 1692408 w 2077298"/>
                <a:gd name="connsiteY11" fmla="*/ 849131 h 1175316"/>
                <a:gd name="connsiteX12" fmla="*/ 1713804 w 2077298"/>
                <a:gd name="connsiteY12" fmla="*/ 806521 h 1175316"/>
                <a:gd name="connsiteX13" fmla="*/ 1651928 w 2077298"/>
                <a:gd name="connsiteY13" fmla="*/ 771658 h 1175316"/>
                <a:gd name="connsiteX14" fmla="*/ 1661988 w 2077298"/>
                <a:gd name="connsiteY14" fmla="*/ 725174 h 1175316"/>
                <a:gd name="connsiteX15" fmla="*/ 1674417 w 2077298"/>
                <a:gd name="connsiteY15" fmla="*/ 666841 h 1175316"/>
                <a:gd name="connsiteX16" fmla="*/ 1506540 w 2077298"/>
                <a:gd name="connsiteY16" fmla="*/ 569658 h 1175316"/>
                <a:gd name="connsiteX17" fmla="*/ 1487699 w 2077298"/>
                <a:gd name="connsiteY17" fmla="*/ 581621 h 1175316"/>
                <a:gd name="connsiteX18" fmla="*/ 1292308 w 2077298"/>
                <a:gd name="connsiteY18" fmla="*/ 489337 h 1175316"/>
                <a:gd name="connsiteX19" fmla="*/ 1309509 w 2077298"/>
                <a:gd name="connsiteY19" fmla="*/ 437618 h 1175316"/>
                <a:gd name="connsiteX20" fmla="*/ 463689 w 2077298"/>
                <a:gd name="connsiteY20" fmla="*/ 0 h 1175316"/>
                <a:gd name="connsiteX21" fmla="*/ 347494 w 2077298"/>
                <a:gd name="connsiteY21" fmla="*/ 201505 h 1175316"/>
                <a:gd name="connsiteX22" fmla="*/ 0 w 2077298"/>
                <a:gd name="connsiteY22" fmla="*/ 27769 h 1175316"/>
                <a:gd name="connsiteX23" fmla="*/ 29331 w 2077298"/>
                <a:gd name="connsiteY23" fmla="*/ 220980 h 1175316"/>
                <a:gd name="connsiteX24" fmla="*/ 410349 w 2077298"/>
                <a:gd name="connsiteY24" fmla="*/ 464820 h 1175316"/>
                <a:gd name="connsiteX25" fmla="*/ 524649 w 2077298"/>
                <a:gd name="connsiteY25" fmla="*/ 586740 h 1175316"/>
                <a:gd name="connsiteX26" fmla="*/ 726951 w 2077298"/>
                <a:gd name="connsiteY26" fmla="*/ 682109 h 1175316"/>
                <a:gd name="connsiteX27" fmla="*/ 715175 w 2077298"/>
                <a:gd name="connsiteY27" fmla="*/ 713212 h 1175316"/>
                <a:gd name="connsiteX28" fmla="*/ 884753 w 2077298"/>
                <a:gd name="connsiteY28" fmla="*/ 823269 h 1175316"/>
                <a:gd name="connsiteX29" fmla="*/ 1111389 w 2077298"/>
                <a:gd name="connsiteY29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605461 w 2077298"/>
                <a:gd name="connsiteY3" fmla="*/ 1052954 h 1175316"/>
                <a:gd name="connsiteX4" fmla="*/ 1620443 w 2077298"/>
                <a:gd name="connsiteY4" fmla="*/ 1008635 h 1175316"/>
                <a:gd name="connsiteX5" fmla="*/ 1812725 w 2077298"/>
                <a:gd name="connsiteY5" fmla="*/ 1105590 h 1175316"/>
                <a:gd name="connsiteX6" fmla="*/ 1840987 w 2077298"/>
                <a:gd name="connsiteY6" fmla="*/ 1076880 h 1175316"/>
                <a:gd name="connsiteX7" fmla="*/ 2034250 w 2077298"/>
                <a:gd name="connsiteY7" fmla="*/ 1175316 h 1175316"/>
                <a:gd name="connsiteX8" fmla="*/ 2077298 w 2077298"/>
                <a:gd name="connsiteY8" fmla="*/ 1077222 h 1175316"/>
                <a:gd name="connsiteX9" fmla="*/ 1885817 w 2077298"/>
                <a:gd name="connsiteY9" fmla="*/ 981291 h 1175316"/>
                <a:gd name="connsiteX10" fmla="*/ 1888092 w 2077298"/>
                <a:gd name="connsiteY10" fmla="*/ 945289 h 1175316"/>
                <a:gd name="connsiteX11" fmla="*/ 1692408 w 2077298"/>
                <a:gd name="connsiteY11" fmla="*/ 849131 h 1175316"/>
                <a:gd name="connsiteX12" fmla="*/ 1713804 w 2077298"/>
                <a:gd name="connsiteY12" fmla="*/ 806521 h 1175316"/>
                <a:gd name="connsiteX13" fmla="*/ 1651928 w 2077298"/>
                <a:gd name="connsiteY13" fmla="*/ 771658 h 1175316"/>
                <a:gd name="connsiteX14" fmla="*/ 1645502 w 2077298"/>
                <a:gd name="connsiteY14" fmla="*/ 710818 h 1175316"/>
                <a:gd name="connsiteX15" fmla="*/ 1674417 w 2077298"/>
                <a:gd name="connsiteY15" fmla="*/ 666841 h 1175316"/>
                <a:gd name="connsiteX16" fmla="*/ 1506540 w 2077298"/>
                <a:gd name="connsiteY16" fmla="*/ 569658 h 1175316"/>
                <a:gd name="connsiteX17" fmla="*/ 1487699 w 2077298"/>
                <a:gd name="connsiteY17" fmla="*/ 581621 h 1175316"/>
                <a:gd name="connsiteX18" fmla="*/ 1292308 w 2077298"/>
                <a:gd name="connsiteY18" fmla="*/ 489337 h 1175316"/>
                <a:gd name="connsiteX19" fmla="*/ 1309509 w 2077298"/>
                <a:gd name="connsiteY19" fmla="*/ 437618 h 1175316"/>
                <a:gd name="connsiteX20" fmla="*/ 463689 w 2077298"/>
                <a:gd name="connsiteY20" fmla="*/ 0 h 1175316"/>
                <a:gd name="connsiteX21" fmla="*/ 347494 w 2077298"/>
                <a:gd name="connsiteY21" fmla="*/ 201505 h 1175316"/>
                <a:gd name="connsiteX22" fmla="*/ 0 w 2077298"/>
                <a:gd name="connsiteY22" fmla="*/ 27769 h 1175316"/>
                <a:gd name="connsiteX23" fmla="*/ 29331 w 2077298"/>
                <a:gd name="connsiteY23" fmla="*/ 220980 h 1175316"/>
                <a:gd name="connsiteX24" fmla="*/ 410349 w 2077298"/>
                <a:gd name="connsiteY24" fmla="*/ 464820 h 1175316"/>
                <a:gd name="connsiteX25" fmla="*/ 524649 w 2077298"/>
                <a:gd name="connsiteY25" fmla="*/ 586740 h 1175316"/>
                <a:gd name="connsiteX26" fmla="*/ 726951 w 2077298"/>
                <a:gd name="connsiteY26" fmla="*/ 682109 h 1175316"/>
                <a:gd name="connsiteX27" fmla="*/ 715175 w 2077298"/>
                <a:gd name="connsiteY27" fmla="*/ 713212 h 1175316"/>
                <a:gd name="connsiteX28" fmla="*/ 884753 w 2077298"/>
                <a:gd name="connsiteY28" fmla="*/ 823269 h 1175316"/>
                <a:gd name="connsiteX29" fmla="*/ 1111389 w 2077298"/>
                <a:gd name="connsiteY29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605461 w 2077298"/>
                <a:gd name="connsiteY3" fmla="*/ 1052954 h 1175316"/>
                <a:gd name="connsiteX4" fmla="*/ 1620443 w 2077298"/>
                <a:gd name="connsiteY4" fmla="*/ 1008635 h 1175316"/>
                <a:gd name="connsiteX5" fmla="*/ 1812725 w 2077298"/>
                <a:gd name="connsiteY5" fmla="*/ 1105590 h 1175316"/>
                <a:gd name="connsiteX6" fmla="*/ 1840987 w 2077298"/>
                <a:gd name="connsiteY6" fmla="*/ 1076880 h 1175316"/>
                <a:gd name="connsiteX7" fmla="*/ 2034250 w 2077298"/>
                <a:gd name="connsiteY7" fmla="*/ 1175316 h 1175316"/>
                <a:gd name="connsiteX8" fmla="*/ 2077298 w 2077298"/>
                <a:gd name="connsiteY8" fmla="*/ 1077222 h 1175316"/>
                <a:gd name="connsiteX9" fmla="*/ 1885817 w 2077298"/>
                <a:gd name="connsiteY9" fmla="*/ 981291 h 1175316"/>
                <a:gd name="connsiteX10" fmla="*/ 1888092 w 2077298"/>
                <a:gd name="connsiteY10" fmla="*/ 945289 h 1175316"/>
                <a:gd name="connsiteX11" fmla="*/ 1692408 w 2077298"/>
                <a:gd name="connsiteY11" fmla="*/ 849131 h 1175316"/>
                <a:gd name="connsiteX12" fmla="*/ 1713804 w 2077298"/>
                <a:gd name="connsiteY12" fmla="*/ 806521 h 1175316"/>
                <a:gd name="connsiteX13" fmla="*/ 1651928 w 2077298"/>
                <a:gd name="connsiteY13" fmla="*/ 771658 h 1175316"/>
                <a:gd name="connsiteX14" fmla="*/ 1643146 w 2077298"/>
                <a:gd name="connsiteY14" fmla="*/ 751493 h 1175316"/>
                <a:gd name="connsiteX15" fmla="*/ 1645502 w 2077298"/>
                <a:gd name="connsiteY15" fmla="*/ 710818 h 1175316"/>
                <a:gd name="connsiteX16" fmla="*/ 1674417 w 2077298"/>
                <a:gd name="connsiteY16" fmla="*/ 666841 h 1175316"/>
                <a:gd name="connsiteX17" fmla="*/ 1506540 w 2077298"/>
                <a:gd name="connsiteY17" fmla="*/ 569658 h 1175316"/>
                <a:gd name="connsiteX18" fmla="*/ 1487699 w 2077298"/>
                <a:gd name="connsiteY18" fmla="*/ 581621 h 1175316"/>
                <a:gd name="connsiteX19" fmla="*/ 1292308 w 2077298"/>
                <a:gd name="connsiteY19" fmla="*/ 489337 h 1175316"/>
                <a:gd name="connsiteX20" fmla="*/ 1309509 w 2077298"/>
                <a:gd name="connsiteY20" fmla="*/ 437618 h 1175316"/>
                <a:gd name="connsiteX21" fmla="*/ 463689 w 2077298"/>
                <a:gd name="connsiteY21" fmla="*/ 0 h 1175316"/>
                <a:gd name="connsiteX22" fmla="*/ 347494 w 2077298"/>
                <a:gd name="connsiteY22" fmla="*/ 201505 h 1175316"/>
                <a:gd name="connsiteX23" fmla="*/ 0 w 2077298"/>
                <a:gd name="connsiteY23" fmla="*/ 27769 h 1175316"/>
                <a:gd name="connsiteX24" fmla="*/ 29331 w 2077298"/>
                <a:gd name="connsiteY24" fmla="*/ 220980 h 1175316"/>
                <a:gd name="connsiteX25" fmla="*/ 410349 w 2077298"/>
                <a:gd name="connsiteY25" fmla="*/ 464820 h 1175316"/>
                <a:gd name="connsiteX26" fmla="*/ 524649 w 2077298"/>
                <a:gd name="connsiteY26" fmla="*/ 586740 h 1175316"/>
                <a:gd name="connsiteX27" fmla="*/ 726951 w 2077298"/>
                <a:gd name="connsiteY27" fmla="*/ 682109 h 1175316"/>
                <a:gd name="connsiteX28" fmla="*/ 715175 w 2077298"/>
                <a:gd name="connsiteY28" fmla="*/ 713212 h 1175316"/>
                <a:gd name="connsiteX29" fmla="*/ 884753 w 2077298"/>
                <a:gd name="connsiteY29" fmla="*/ 823269 h 1175316"/>
                <a:gd name="connsiteX30" fmla="*/ 1111389 w 2077298"/>
                <a:gd name="connsiteY30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605461 w 2077298"/>
                <a:gd name="connsiteY3" fmla="*/ 1052954 h 1175316"/>
                <a:gd name="connsiteX4" fmla="*/ 1620443 w 2077298"/>
                <a:gd name="connsiteY4" fmla="*/ 1008635 h 1175316"/>
                <a:gd name="connsiteX5" fmla="*/ 1812725 w 2077298"/>
                <a:gd name="connsiteY5" fmla="*/ 1105590 h 1175316"/>
                <a:gd name="connsiteX6" fmla="*/ 1840987 w 2077298"/>
                <a:gd name="connsiteY6" fmla="*/ 1076880 h 1175316"/>
                <a:gd name="connsiteX7" fmla="*/ 2034250 w 2077298"/>
                <a:gd name="connsiteY7" fmla="*/ 1175316 h 1175316"/>
                <a:gd name="connsiteX8" fmla="*/ 2077298 w 2077298"/>
                <a:gd name="connsiteY8" fmla="*/ 1077222 h 1175316"/>
                <a:gd name="connsiteX9" fmla="*/ 1885817 w 2077298"/>
                <a:gd name="connsiteY9" fmla="*/ 981291 h 1175316"/>
                <a:gd name="connsiteX10" fmla="*/ 1888092 w 2077298"/>
                <a:gd name="connsiteY10" fmla="*/ 945289 h 1175316"/>
                <a:gd name="connsiteX11" fmla="*/ 1692408 w 2077298"/>
                <a:gd name="connsiteY11" fmla="*/ 849131 h 1175316"/>
                <a:gd name="connsiteX12" fmla="*/ 1713804 w 2077298"/>
                <a:gd name="connsiteY12" fmla="*/ 806521 h 1175316"/>
                <a:gd name="connsiteX13" fmla="*/ 1651928 w 2077298"/>
                <a:gd name="connsiteY13" fmla="*/ 771658 h 1175316"/>
                <a:gd name="connsiteX14" fmla="*/ 1671410 w 2077298"/>
                <a:gd name="connsiteY14" fmla="*/ 722782 h 1175316"/>
                <a:gd name="connsiteX15" fmla="*/ 1645502 w 2077298"/>
                <a:gd name="connsiteY15" fmla="*/ 710818 h 1175316"/>
                <a:gd name="connsiteX16" fmla="*/ 1674417 w 2077298"/>
                <a:gd name="connsiteY16" fmla="*/ 666841 h 1175316"/>
                <a:gd name="connsiteX17" fmla="*/ 1506540 w 2077298"/>
                <a:gd name="connsiteY17" fmla="*/ 569658 h 1175316"/>
                <a:gd name="connsiteX18" fmla="*/ 1487699 w 2077298"/>
                <a:gd name="connsiteY18" fmla="*/ 581621 h 1175316"/>
                <a:gd name="connsiteX19" fmla="*/ 1292308 w 2077298"/>
                <a:gd name="connsiteY19" fmla="*/ 489337 h 1175316"/>
                <a:gd name="connsiteX20" fmla="*/ 1309509 w 2077298"/>
                <a:gd name="connsiteY20" fmla="*/ 437618 h 1175316"/>
                <a:gd name="connsiteX21" fmla="*/ 463689 w 2077298"/>
                <a:gd name="connsiteY21" fmla="*/ 0 h 1175316"/>
                <a:gd name="connsiteX22" fmla="*/ 347494 w 2077298"/>
                <a:gd name="connsiteY22" fmla="*/ 201505 h 1175316"/>
                <a:gd name="connsiteX23" fmla="*/ 0 w 2077298"/>
                <a:gd name="connsiteY23" fmla="*/ 27769 h 1175316"/>
                <a:gd name="connsiteX24" fmla="*/ 29331 w 2077298"/>
                <a:gd name="connsiteY24" fmla="*/ 220980 h 1175316"/>
                <a:gd name="connsiteX25" fmla="*/ 410349 w 2077298"/>
                <a:gd name="connsiteY25" fmla="*/ 464820 h 1175316"/>
                <a:gd name="connsiteX26" fmla="*/ 524649 w 2077298"/>
                <a:gd name="connsiteY26" fmla="*/ 586740 h 1175316"/>
                <a:gd name="connsiteX27" fmla="*/ 726951 w 2077298"/>
                <a:gd name="connsiteY27" fmla="*/ 682109 h 1175316"/>
                <a:gd name="connsiteX28" fmla="*/ 715175 w 2077298"/>
                <a:gd name="connsiteY28" fmla="*/ 713212 h 1175316"/>
                <a:gd name="connsiteX29" fmla="*/ 884753 w 2077298"/>
                <a:gd name="connsiteY29" fmla="*/ 823269 h 1175316"/>
                <a:gd name="connsiteX30" fmla="*/ 1111389 w 2077298"/>
                <a:gd name="connsiteY30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605461 w 2077298"/>
                <a:gd name="connsiteY3" fmla="*/ 1052954 h 1175316"/>
                <a:gd name="connsiteX4" fmla="*/ 1620443 w 2077298"/>
                <a:gd name="connsiteY4" fmla="*/ 1008635 h 1175316"/>
                <a:gd name="connsiteX5" fmla="*/ 1812725 w 2077298"/>
                <a:gd name="connsiteY5" fmla="*/ 1105590 h 1175316"/>
                <a:gd name="connsiteX6" fmla="*/ 1840987 w 2077298"/>
                <a:gd name="connsiteY6" fmla="*/ 1076880 h 1175316"/>
                <a:gd name="connsiteX7" fmla="*/ 2034250 w 2077298"/>
                <a:gd name="connsiteY7" fmla="*/ 1175316 h 1175316"/>
                <a:gd name="connsiteX8" fmla="*/ 2077298 w 2077298"/>
                <a:gd name="connsiteY8" fmla="*/ 1077222 h 1175316"/>
                <a:gd name="connsiteX9" fmla="*/ 1885817 w 2077298"/>
                <a:gd name="connsiteY9" fmla="*/ 981291 h 1175316"/>
                <a:gd name="connsiteX10" fmla="*/ 1888092 w 2077298"/>
                <a:gd name="connsiteY10" fmla="*/ 945289 h 1175316"/>
                <a:gd name="connsiteX11" fmla="*/ 1692408 w 2077298"/>
                <a:gd name="connsiteY11" fmla="*/ 849131 h 1175316"/>
                <a:gd name="connsiteX12" fmla="*/ 1713804 w 2077298"/>
                <a:gd name="connsiteY12" fmla="*/ 806521 h 1175316"/>
                <a:gd name="connsiteX13" fmla="*/ 1651928 w 2077298"/>
                <a:gd name="connsiteY13" fmla="*/ 771658 h 1175316"/>
                <a:gd name="connsiteX14" fmla="*/ 1671410 w 2077298"/>
                <a:gd name="connsiteY14" fmla="*/ 722782 h 1175316"/>
                <a:gd name="connsiteX15" fmla="*/ 1645502 w 2077298"/>
                <a:gd name="connsiteY15" fmla="*/ 710818 h 1175316"/>
                <a:gd name="connsiteX16" fmla="*/ 1674417 w 2077298"/>
                <a:gd name="connsiteY16" fmla="*/ 654878 h 1175316"/>
                <a:gd name="connsiteX17" fmla="*/ 1506540 w 2077298"/>
                <a:gd name="connsiteY17" fmla="*/ 569658 h 1175316"/>
                <a:gd name="connsiteX18" fmla="*/ 1487699 w 2077298"/>
                <a:gd name="connsiteY18" fmla="*/ 581621 h 1175316"/>
                <a:gd name="connsiteX19" fmla="*/ 1292308 w 2077298"/>
                <a:gd name="connsiteY19" fmla="*/ 489337 h 1175316"/>
                <a:gd name="connsiteX20" fmla="*/ 1309509 w 2077298"/>
                <a:gd name="connsiteY20" fmla="*/ 437618 h 1175316"/>
                <a:gd name="connsiteX21" fmla="*/ 463689 w 2077298"/>
                <a:gd name="connsiteY21" fmla="*/ 0 h 1175316"/>
                <a:gd name="connsiteX22" fmla="*/ 347494 w 2077298"/>
                <a:gd name="connsiteY22" fmla="*/ 201505 h 1175316"/>
                <a:gd name="connsiteX23" fmla="*/ 0 w 2077298"/>
                <a:gd name="connsiteY23" fmla="*/ 27769 h 1175316"/>
                <a:gd name="connsiteX24" fmla="*/ 29331 w 2077298"/>
                <a:gd name="connsiteY24" fmla="*/ 220980 h 1175316"/>
                <a:gd name="connsiteX25" fmla="*/ 410349 w 2077298"/>
                <a:gd name="connsiteY25" fmla="*/ 464820 h 1175316"/>
                <a:gd name="connsiteX26" fmla="*/ 524649 w 2077298"/>
                <a:gd name="connsiteY26" fmla="*/ 586740 h 1175316"/>
                <a:gd name="connsiteX27" fmla="*/ 726951 w 2077298"/>
                <a:gd name="connsiteY27" fmla="*/ 682109 h 1175316"/>
                <a:gd name="connsiteX28" fmla="*/ 715175 w 2077298"/>
                <a:gd name="connsiteY28" fmla="*/ 713212 h 1175316"/>
                <a:gd name="connsiteX29" fmla="*/ 884753 w 2077298"/>
                <a:gd name="connsiteY29" fmla="*/ 823269 h 1175316"/>
                <a:gd name="connsiteX30" fmla="*/ 1111389 w 2077298"/>
                <a:gd name="connsiteY30" fmla="*/ 914400 h 1175316"/>
                <a:gd name="connsiteX0" fmla="*/ 1111389 w 2077298"/>
                <a:gd name="connsiteY0" fmla="*/ 914400 h 1175316"/>
                <a:gd name="connsiteX1" fmla="*/ 1476510 w 2077298"/>
                <a:gd name="connsiteY1" fmla="*/ 1127123 h 1175316"/>
                <a:gd name="connsiteX2" fmla="*/ 1530484 w 2077298"/>
                <a:gd name="connsiteY2" fmla="*/ 1013192 h 1175316"/>
                <a:gd name="connsiteX3" fmla="*/ 1605461 w 2077298"/>
                <a:gd name="connsiteY3" fmla="*/ 1052954 h 1175316"/>
                <a:gd name="connsiteX4" fmla="*/ 1620443 w 2077298"/>
                <a:gd name="connsiteY4" fmla="*/ 1008635 h 1175316"/>
                <a:gd name="connsiteX5" fmla="*/ 1812725 w 2077298"/>
                <a:gd name="connsiteY5" fmla="*/ 1105590 h 1175316"/>
                <a:gd name="connsiteX6" fmla="*/ 1840987 w 2077298"/>
                <a:gd name="connsiteY6" fmla="*/ 1076880 h 1175316"/>
                <a:gd name="connsiteX7" fmla="*/ 2034250 w 2077298"/>
                <a:gd name="connsiteY7" fmla="*/ 1175316 h 1175316"/>
                <a:gd name="connsiteX8" fmla="*/ 2077298 w 2077298"/>
                <a:gd name="connsiteY8" fmla="*/ 1077222 h 1175316"/>
                <a:gd name="connsiteX9" fmla="*/ 1885817 w 2077298"/>
                <a:gd name="connsiteY9" fmla="*/ 981291 h 1175316"/>
                <a:gd name="connsiteX10" fmla="*/ 1888092 w 2077298"/>
                <a:gd name="connsiteY10" fmla="*/ 945289 h 1175316"/>
                <a:gd name="connsiteX11" fmla="*/ 1692408 w 2077298"/>
                <a:gd name="connsiteY11" fmla="*/ 849131 h 1175316"/>
                <a:gd name="connsiteX12" fmla="*/ 1713804 w 2077298"/>
                <a:gd name="connsiteY12" fmla="*/ 806521 h 1175316"/>
                <a:gd name="connsiteX13" fmla="*/ 1651928 w 2077298"/>
                <a:gd name="connsiteY13" fmla="*/ 771658 h 1175316"/>
                <a:gd name="connsiteX14" fmla="*/ 1671410 w 2077298"/>
                <a:gd name="connsiteY14" fmla="*/ 722782 h 1175316"/>
                <a:gd name="connsiteX15" fmla="*/ 1645502 w 2077298"/>
                <a:gd name="connsiteY15" fmla="*/ 710818 h 1175316"/>
                <a:gd name="connsiteX16" fmla="*/ 1674417 w 2077298"/>
                <a:gd name="connsiteY16" fmla="*/ 654878 h 1175316"/>
                <a:gd name="connsiteX17" fmla="*/ 1506540 w 2077298"/>
                <a:gd name="connsiteY17" fmla="*/ 569658 h 1175316"/>
                <a:gd name="connsiteX18" fmla="*/ 1487699 w 2077298"/>
                <a:gd name="connsiteY18" fmla="*/ 581621 h 1175316"/>
                <a:gd name="connsiteX19" fmla="*/ 1292308 w 2077298"/>
                <a:gd name="connsiteY19" fmla="*/ 489337 h 1175316"/>
                <a:gd name="connsiteX20" fmla="*/ 1309509 w 2077298"/>
                <a:gd name="connsiteY20" fmla="*/ 437618 h 1175316"/>
                <a:gd name="connsiteX21" fmla="*/ 463689 w 2077298"/>
                <a:gd name="connsiteY21" fmla="*/ 0 h 1175316"/>
                <a:gd name="connsiteX22" fmla="*/ 373402 w 2077298"/>
                <a:gd name="connsiteY22" fmla="*/ 189543 h 1175316"/>
                <a:gd name="connsiteX23" fmla="*/ 0 w 2077298"/>
                <a:gd name="connsiteY23" fmla="*/ 27769 h 1175316"/>
                <a:gd name="connsiteX24" fmla="*/ 29331 w 2077298"/>
                <a:gd name="connsiteY24" fmla="*/ 220980 h 1175316"/>
                <a:gd name="connsiteX25" fmla="*/ 410349 w 2077298"/>
                <a:gd name="connsiteY25" fmla="*/ 464820 h 1175316"/>
                <a:gd name="connsiteX26" fmla="*/ 524649 w 2077298"/>
                <a:gd name="connsiteY26" fmla="*/ 586740 h 1175316"/>
                <a:gd name="connsiteX27" fmla="*/ 726951 w 2077298"/>
                <a:gd name="connsiteY27" fmla="*/ 682109 h 1175316"/>
                <a:gd name="connsiteX28" fmla="*/ 715175 w 2077298"/>
                <a:gd name="connsiteY28" fmla="*/ 713212 h 1175316"/>
                <a:gd name="connsiteX29" fmla="*/ 884753 w 2077298"/>
                <a:gd name="connsiteY29" fmla="*/ 823269 h 1175316"/>
                <a:gd name="connsiteX30" fmla="*/ 1111389 w 2077298"/>
                <a:gd name="connsiteY30" fmla="*/ 914400 h 1175316"/>
                <a:gd name="connsiteX0" fmla="*/ 1101968 w 2067877"/>
                <a:gd name="connsiteY0" fmla="*/ 924912 h 1185828"/>
                <a:gd name="connsiteX1" fmla="*/ 1467089 w 2067877"/>
                <a:gd name="connsiteY1" fmla="*/ 1137635 h 1185828"/>
                <a:gd name="connsiteX2" fmla="*/ 1521063 w 2067877"/>
                <a:gd name="connsiteY2" fmla="*/ 1023704 h 1185828"/>
                <a:gd name="connsiteX3" fmla="*/ 1596040 w 2067877"/>
                <a:gd name="connsiteY3" fmla="*/ 1063466 h 1185828"/>
                <a:gd name="connsiteX4" fmla="*/ 1611022 w 2067877"/>
                <a:gd name="connsiteY4" fmla="*/ 1019147 h 1185828"/>
                <a:gd name="connsiteX5" fmla="*/ 1803304 w 2067877"/>
                <a:gd name="connsiteY5" fmla="*/ 1116102 h 1185828"/>
                <a:gd name="connsiteX6" fmla="*/ 1831566 w 2067877"/>
                <a:gd name="connsiteY6" fmla="*/ 1087392 h 1185828"/>
                <a:gd name="connsiteX7" fmla="*/ 2024829 w 2067877"/>
                <a:gd name="connsiteY7" fmla="*/ 1185828 h 1185828"/>
                <a:gd name="connsiteX8" fmla="*/ 2067877 w 2067877"/>
                <a:gd name="connsiteY8" fmla="*/ 1087734 h 1185828"/>
                <a:gd name="connsiteX9" fmla="*/ 1876396 w 2067877"/>
                <a:gd name="connsiteY9" fmla="*/ 991803 h 1185828"/>
                <a:gd name="connsiteX10" fmla="*/ 1878671 w 2067877"/>
                <a:gd name="connsiteY10" fmla="*/ 955801 h 1185828"/>
                <a:gd name="connsiteX11" fmla="*/ 1682987 w 2067877"/>
                <a:gd name="connsiteY11" fmla="*/ 859643 h 1185828"/>
                <a:gd name="connsiteX12" fmla="*/ 1704383 w 2067877"/>
                <a:gd name="connsiteY12" fmla="*/ 817033 h 1185828"/>
                <a:gd name="connsiteX13" fmla="*/ 1642507 w 2067877"/>
                <a:gd name="connsiteY13" fmla="*/ 782170 h 1185828"/>
                <a:gd name="connsiteX14" fmla="*/ 1661989 w 2067877"/>
                <a:gd name="connsiteY14" fmla="*/ 733294 h 1185828"/>
                <a:gd name="connsiteX15" fmla="*/ 1636081 w 2067877"/>
                <a:gd name="connsiteY15" fmla="*/ 721330 h 1185828"/>
                <a:gd name="connsiteX16" fmla="*/ 1664996 w 2067877"/>
                <a:gd name="connsiteY16" fmla="*/ 665390 h 1185828"/>
                <a:gd name="connsiteX17" fmla="*/ 1497119 w 2067877"/>
                <a:gd name="connsiteY17" fmla="*/ 580170 h 1185828"/>
                <a:gd name="connsiteX18" fmla="*/ 1478278 w 2067877"/>
                <a:gd name="connsiteY18" fmla="*/ 592133 h 1185828"/>
                <a:gd name="connsiteX19" fmla="*/ 1282887 w 2067877"/>
                <a:gd name="connsiteY19" fmla="*/ 499849 h 1185828"/>
                <a:gd name="connsiteX20" fmla="*/ 1300088 w 2067877"/>
                <a:gd name="connsiteY20" fmla="*/ 448130 h 1185828"/>
                <a:gd name="connsiteX21" fmla="*/ 454268 w 2067877"/>
                <a:gd name="connsiteY21" fmla="*/ 10512 h 1185828"/>
                <a:gd name="connsiteX22" fmla="*/ 363981 w 2067877"/>
                <a:gd name="connsiteY22" fmla="*/ 200055 h 1185828"/>
                <a:gd name="connsiteX23" fmla="*/ 0 w 2067877"/>
                <a:gd name="connsiteY23" fmla="*/ 0 h 1185828"/>
                <a:gd name="connsiteX24" fmla="*/ 19910 w 2067877"/>
                <a:gd name="connsiteY24" fmla="*/ 231492 h 1185828"/>
                <a:gd name="connsiteX25" fmla="*/ 400928 w 2067877"/>
                <a:gd name="connsiteY25" fmla="*/ 475332 h 1185828"/>
                <a:gd name="connsiteX26" fmla="*/ 515228 w 2067877"/>
                <a:gd name="connsiteY26" fmla="*/ 597252 h 1185828"/>
                <a:gd name="connsiteX27" fmla="*/ 717530 w 2067877"/>
                <a:gd name="connsiteY27" fmla="*/ 692621 h 1185828"/>
                <a:gd name="connsiteX28" fmla="*/ 705754 w 2067877"/>
                <a:gd name="connsiteY28" fmla="*/ 723724 h 1185828"/>
                <a:gd name="connsiteX29" fmla="*/ 875332 w 2067877"/>
                <a:gd name="connsiteY29" fmla="*/ 833781 h 1185828"/>
                <a:gd name="connsiteX30" fmla="*/ 1101968 w 2067877"/>
                <a:gd name="connsiteY30" fmla="*/ 924912 h 1185828"/>
                <a:gd name="connsiteX0" fmla="*/ 1117386 w 2083295"/>
                <a:gd name="connsiteY0" fmla="*/ 924912 h 1185828"/>
                <a:gd name="connsiteX1" fmla="*/ 1482507 w 2083295"/>
                <a:gd name="connsiteY1" fmla="*/ 1137635 h 1185828"/>
                <a:gd name="connsiteX2" fmla="*/ 1536481 w 2083295"/>
                <a:gd name="connsiteY2" fmla="*/ 1023704 h 1185828"/>
                <a:gd name="connsiteX3" fmla="*/ 1611458 w 2083295"/>
                <a:gd name="connsiteY3" fmla="*/ 1063466 h 1185828"/>
                <a:gd name="connsiteX4" fmla="*/ 1626440 w 2083295"/>
                <a:gd name="connsiteY4" fmla="*/ 1019147 h 1185828"/>
                <a:gd name="connsiteX5" fmla="*/ 1818722 w 2083295"/>
                <a:gd name="connsiteY5" fmla="*/ 1116102 h 1185828"/>
                <a:gd name="connsiteX6" fmla="*/ 1846984 w 2083295"/>
                <a:gd name="connsiteY6" fmla="*/ 1087392 h 1185828"/>
                <a:gd name="connsiteX7" fmla="*/ 2040247 w 2083295"/>
                <a:gd name="connsiteY7" fmla="*/ 1185828 h 1185828"/>
                <a:gd name="connsiteX8" fmla="*/ 2083295 w 2083295"/>
                <a:gd name="connsiteY8" fmla="*/ 1087734 h 1185828"/>
                <a:gd name="connsiteX9" fmla="*/ 1891814 w 2083295"/>
                <a:gd name="connsiteY9" fmla="*/ 991803 h 1185828"/>
                <a:gd name="connsiteX10" fmla="*/ 1894089 w 2083295"/>
                <a:gd name="connsiteY10" fmla="*/ 955801 h 1185828"/>
                <a:gd name="connsiteX11" fmla="*/ 1698405 w 2083295"/>
                <a:gd name="connsiteY11" fmla="*/ 859643 h 1185828"/>
                <a:gd name="connsiteX12" fmla="*/ 1719801 w 2083295"/>
                <a:gd name="connsiteY12" fmla="*/ 817033 h 1185828"/>
                <a:gd name="connsiteX13" fmla="*/ 1657925 w 2083295"/>
                <a:gd name="connsiteY13" fmla="*/ 782170 h 1185828"/>
                <a:gd name="connsiteX14" fmla="*/ 1677407 w 2083295"/>
                <a:gd name="connsiteY14" fmla="*/ 733294 h 1185828"/>
                <a:gd name="connsiteX15" fmla="*/ 1651499 w 2083295"/>
                <a:gd name="connsiteY15" fmla="*/ 721330 h 1185828"/>
                <a:gd name="connsiteX16" fmla="*/ 1680414 w 2083295"/>
                <a:gd name="connsiteY16" fmla="*/ 665390 h 1185828"/>
                <a:gd name="connsiteX17" fmla="*/ 1512537 w 2083295"/>
                <a:gd name="connsiteY17" fmla="*/ 580170 h 1185828"/>
                <a:gd name="connsiteX18" fmla="*/ 1493696 w 2083295"/>
                <a:gd name="connsiteY18" fmla="*/ 592133 h 1185828"/>
                <a:gd name="connsiteX19" fmla="*/ 1298305 w 2083295"/>
                <a:gd name="connsiteY19" fmla="*/ 499849 h 1185828"/>
                <a:gd name="connsiteX20" fmla="*/ 1315506 w 2083295"/>
                <a:gd name="connsiteY20" fmla="*/ 448130 h 1185828"/>
                <a:gd name="connsiteX21" fmla="*/ 469686 w 2083295"/>
                <a:gd name="connsiteY21" fmla="*/ 10512 h 1185828"/>
                <a:gd name="connsiteX22" fmla="*/ 379399 w 2083295"/>
                <a:gd name="connsiteY22" fmla="*/ 200055 h 1185828"/>
                <a:gd name="connsiteX23" fmla="*/ 15418 w 2083295"/>
                <a:gd name="connsiteY23" fmla="*/ 0 h 1185828"/>
                <a:gd name="connsiteX24" fmla="*/ 0 w 2083295"/>
                <a:gd name="connsiteY24" fmla="*/ 178855 h 1185828"/>
                <a:gd name="connsiteX25" fmla="*/ 416346 w 2083295"/>
                <a:gd name="connsiteY25" fmla="*/ 475332 h 1185828"/>
                <a:gd name="connsiteX26" fmla="*/ 530646 w 2083295"/>
                <a:gd name="connsiteY26" fmla="*/ 597252 h 1185828"/>
                <a:gd name="connsiteX27" fmla="*/ 732948 w 2083295"/>
                <a:gd name="connsiteY27" fmla="*/ 692621 h 1185828"/>
                <a:gd name="connsiteX28" fmla="*/ 721172 w 2083295"/>
                <a:gd name="connsiteY28" fmla="*/ 723724 h 1185828"/>
                <a:gd name="connsiteX29" fmla="*/ 890750 w 2083295"/>
                <a:gd name="connsiteY29" fmla="*/ 833781 h 1185828"/>
                <a:gd name="connsiteX30" fmla="*/ 1117386 w 2083295"/>
                <a:gd name="connsiteY30" fmla="*/ 924912 h 1185828"/>
                <a:gd name="connsiteX0" fmla="*/ 1117386 w 2083295"/>
                <a:gd name="connsiteY0" fmla="*/ 924912 h 1185828"/>
                <a:gd name="connsiteX1" fmla="*/ 1482507 w 2083295"/>
                <a:gd name="connsiteY1" fmla="*/ 1137635 h 1185828"/>
                <a:gd name="connsiteX2" fmla="*/ 1536481 w 2083295"/>
                <a:gd name="connsiteY2" fmla="*/ 1023704 h 1185828"/>
                <a:gd name="connsiteX3" fmla="*/ 1611458 w 2083295"/>
                <a:gd name="connsiteY3" fmla="*/ 1063466 h 1185828"/>
                <a:gd name="connsiteX4" fmla="*/ 1626440 w 2083295"/>
                <a:gd name="connsiteY4" fmla="*/ 1019147 h 1185828"/>
                <a:gd name="connsiteX5" fmla="*/ 1818722 w 2083295"/>
                <a:gd name="connsiteY5" fmla="*/ 1116102 h 1185828"/>
                <a:gd name="connsiteX6" fmla="*/ 1846984 w 2083295"/>
                <a:gd name="connsiteY6" fmla="*/ 1087392 h 1185828"/>
                <a:gd name="connsiteX7" fmla="*/ 2040247 w 2083295"/>
                <a:gd name="connsiteY7" fmla="*/ 1185828 h 1185828"/>
                <a:gd name="connsiteX8" fmla="*/ 2083295 w 2083295"/>
                <a:gd name="connsiteY8" fmla="*/ 1087734 h 1185828"/>
                <a:gd name="connsiteX9" fmla="*/ 1891814 w 2083295"/>
                <a:gd name="connsiteY9" fmla="*/ 991803 h 1185828"/>
                <a:gd name="connsiteX10" fmla="*/ 1894089 w 2083295"/>
                <a:gd name="connsiteY10" fmla="*/ 955801 h 1185828"/>
                <a:gd name="connsiteX11" fmla="*/ 1698405 w 2083295"/>
                <a:gd name="connsiteY11" fmla="*/ 859643 h 1185828"/>
                <a:gd name="connsiteX12" fmla="*/ 1719801 w 2083295"/>
                <a:gd name="connsiteY12" fmla="*/ 817033 h 1185828"/>
                <a:gd name="connsiteX13" fmla="*/ 1657925 w 2083295"/>
                <a:gd name="connsiteY13" fmla="*/ 782170 h 1185828"/>
                <a:gd name="connsiteX14" fmla="*/ 1677407 w 2083295"/>
                <a:gd name="connsiteY14" fmla="*/ 733294 h 1185828"/>
                <a:gd name="connsiteX15" fmla="*/ 1651499 w 2083295"/>
                <a:gd name="connsiteY15" fmla="*/ 721330 h 1185828"/>
                <a:gd name="connsiteX16" fmla="*/ 1680414 w 2083295"/>
                <a:gd name="connsiteY16" fmla="*/ 665390 h 1185828"/>
                <a:gd name="connsiteX17" fmla="*/ 1512537 w 2083295"/>
                <a:gd name="connsiteY17" fmla="*/ 580170 h 1185828"/>
                <a:gd name="connsiteX18" fmla="*/ 1493696 w 2083295"/>
                <a:gd name="connsiteY18" fmla="*/ 592133 h 1185828"/>
                <a:gd name="connsiteX19" fmla="*/ 1298305 w 2083295"/>
                <a:gd name="connsiteY19" fmla="*/ 499849 h 1185828"/>
                <a:gd name="connsiteX20" fmla="*/ 1315506 w 2083295"/>
                <a:gd name="connsiteY20" fmla="*/ 448130 h 1185828"/>
                <a:gd name="connsiteX21" fmla="*/ 469686 w 2083295"/>
                <a:gd name="connsiteY21" fmla="*/ 10512 h 1185828"/>
                <a:gd name="connsiteX22" fmla="*/ 379399 w 2083295"/>
                <a:gd name="connsiteY22" fmla="*/ 200055 h 1185828"/>
                <a:gd name="connsiteX23" fmla="*/ 15418 w 2083295"/>
                <a:gd name="connsiteY23" fmla="*/ 0 h 1185828"/>
                <a:gd name="connsiteX24" fmla="*/ 0 w 2083295"/>
                <a:gd name="connsiteY24" fmla="*/ 178855 h 1185828"/>
                <a:gd name="connsiteX25" fmla="*/ 224213 w 2083295"/>
                <a:gd name="connsiteY25" fmla="*/ 336129 h 1185828"/>
                <a:gd name="connsiteX26" fmla="*/ 416346 w 2083295"/>
                <a:gd name="connsiteY26" fmla="*/ 475332 h 1185828"/>
                <a:gd name="connsiteX27" fmla="*/ 530646 w 2083295"/>
                <a:gd name="connsiteY27" fmla="*/ 597252 h 1185828"/>
                <a:gd name="connsiteX28" fmla="*/ 732948 w 2083295"/>
                <a:gd name="connsiteY28" fmla="*/ 692621 h 1185828"/>
                <a:gd name="connsiteX29" fmla="*/ 721172 w 2083295"/>
                <a:gd name="connsiteY29" fmla="*/ 723724 h 1185828"/>
                <a:gd name="connsiteX30" fmla="*/ 890750 w 2083295"/>
                <a:gd name="connsiteY30" fmla="*/ 833781 h 1185828"/>
                <a:gd name="connsiteX31" fmla="*/ 1117386 w 2083295"/>
                <a:gd name="connsiteY31" fmla="*/ 924912 h 1185828"/>
                <a:gd name="connsiteX0" fmla="*/ 1117386 w 2083295"/>
                <a:gd name="connsiteY0" fmla="*/ 924912 h 1185828"/>
                <a:gd name="connsiteX1" fmla="*/ 1482507 w 2083295"/>
                <a:gd name="connsiteY1" fmla="*/ 1137635 h 1185828"/>
                <a:gd name="connsiteX2" fmla="*/ 1536481 w 2083295"/>
                <a:gd name="connsiteY2" fmla="*/ 1023704 h 1185828"/>
                <a:gd name="connsiteX3" fmla="*/ 1611458 w 2083295"/>
                <a:gd name="connsiteY3" fmla="*/ 1063466 h 1185828"/>
                <a:gd name="connsiteX4" fmla="*/ 1626440 w 2083295"/>
                <a:gd name="connsiteY4" fmla="*/ 1019147 h 1185828"/>
                <a:gd name="connsiteX5" fmla="*/ 1818722 w 2083295"/>
                <a:gd name="connsiteY5" fmla="*/ 1116102 h 1185828"/>
                <a:gd name="connsiteX6" fmla="*/ 1846984 w 2083295"/>
                <a:gd name="connsiteY6" fmla="*/ 1087392 h 1185828"/>
                <a:gd name="connsiteX7" fmla="*/ 2040247 w 2083295"/>
                <a:gd name="connsiteY7" fmla="*/ 1185828 h 1185828"/>
                <a:gd name="connsiteX8" fmla="*/ 2083295 w 2083295"/>
                <a:gd name="connsiteY8" fmla="*/ 1087734 h 1185828"/>
                <a:gd name="connsiteX9" fmla="*/ 1891814 w 2083295"/>
                <a:gd name="connsiteY9" fmla="*/ 991803 h 1185828"/>
                <a:gd name="connsiteX10" fmla="*/ 1894089 w 2083295"/>
                <a:gd name="connsiteY10" fmla="*/ 955801 h 1185828"/>
                <a:gd name="connsiteX11" fmla="*/ 1698405 w 2083295"/>
                <a:gd name="connsiteY11" fmla="*/ 859643 h 1185828"/>
                <a:gd name="connsiteX12" fmla="*/ 1719801 w 2083295"/>
                <a:gd name="connsiteY12" fmla="*/ 817033 h 1185828"/>
                <a:gd name="connsiteX13" fmla="*/ 1657925 w 2083295"/>
                <a:gd name="connsiteY13" fmla="*/ 782170 h 1185828"/>
                <a:gd name="connsiteX14" fmla="*/ 1677407 w 2083295"/>
                <a:gd name="connsiteY14" fmla="*/ 733294 h 1185828"/>
                <a:gd name="connsiteX15" fmla="*/ 1651499 w 2083295"/>
                <a:gd name="connsiteY15" fmla="*/ 721330 h 1185828"/>
                <a:gd name="connsiteX16" fmla="*/ 1680414 w 2083295"/>
                <a:gd name="connsiteY16" fmla="*/ 665390 h 1185828"/>
                <a:gd name="connsiteX17" fmla="*/ 1512537 w 2083295"/>
                <a:gd name="connsiteY17" fmla="*/ 580170 h 1185828"/>
                <a:gd name="connsiteX18" fmla="*/ 1493696 w 2083295"/>
                <a:gd name="connsiteY18" fmla="*/ 592133 h 1185828"/>
                <a:gd name="connsiteX19" fmla="*/ 1298305 w 2083295"/>
                <a:gd name="connsiteY19" fmla="*/ 499849 h 1185828"/>
                <a:gd name="connsiteX20" fmla="*/ 1315506 w 2083295"/>
                <a:gd name="connsiteY20" fmla="*/ 448130 h 1185828"/>
                <a:gd name="connsiteX21" fmla="*/ 469686 w 2083295"/>
                <a:gd name="connsiteY21" fmla="*/ 10512 h 1185828"/>
                <a:gd name="connsiteX22" fmla="*/ 379399 w 2083295"/>
                <a:gd name="connsiteY22" fmla="*/ 200055 h 1185828"/>
                <a:gd name="connsiteX23" fmla="*/ 15418 w 2083295"/>
                <a:gd name="connsiteY23" fmla="*/ 0 h 1185828"/>
                <a:gd name="connsiteX24" fmla="*/ 0 w 2083295"/>
                <a:gd name="connsiteY24" fmla="*/ 178855 h 1185828"/>
                <a:gd name="connsiteX25" fmla="*/ 108806 w 2083295"/>
                <a:gd name="connsiteY25" fmla="*/ 240427 h 1185828"/>
                <a:gd name="connsiteX26" fmla="*/ 416346 w 2083295"/>
                <a:gd name="connsiteY26" fmla="*/ 475332 h 1185828"/>
                <a:gd name="connsiteX27" fmla="*/ 530646 w 2083295"/>
                <a:gd name="connsiteY27" fmla="*/ 597252 h 1185828"/>
                <a:gd name="connsiteX28" fmla="*/ 732948 w 2083295"/>
                <a:gd name="connsiteY28" fmla="*/ 692621 h 1185828"/>
                <a:gd name="connsiteX29" fmla="*/ 721172 w 2083295"/>
                <a:gd name="connsiteY29" fmla="*/ 723724 h 1185828"/>
                <a:gd name="connsiteX30" fmla="*/ 890750 w 2083295"/>
                <a:gd name="connsiteY30" fmla="*/ 833781 h 1185828"/>
                <a:gd name="connsiteX31" fmla="*/ 1117386 w 2083295"/>
                <a:gd name="connsiteY31" fmla="*/ 924912 h 1185828"/>
                <a:gd name="connsiteX0" fmla="*/ 1117386 w 2083295"/>
                <a:gd name="connsiteY0" fmla="*/ 924912 h 1185828"/>
                <a:gd name="connsiteX1" fmla="*/ 1482507 w 2083295"/>
                <a:gd name="connsiteY1" fmla="*/ 1137635 h 1185828"/>
                <a:gd name="connsiteX2" fmla="*/ 1536481 w 2083295"/>
                <a:gd name="connsiteY2" fmla="*/ 1023704 h 1185828"/>
                <a:gd name="connsiteX3" fmla="*/ 1611458 w 2083295"/>
                <a:gd name="connsiteY3" fmla="*/ 1063466 h 1185828"/>
                <a:gd name="connsiteX4" fmla="*/ 1626440 w 2083295"/>
                <a:gd name="connsiteY4" fmla="*/ 1019147 h 1185828"/>
                <a:gd name="connsiteX5" fmla="*/ 1818722 w 2083295"/>
                <a:gd name="connsiteY5" fmla="*/ 1116102 h 1185828"/>
                <a:gd name="connsiteX6" fmla="*/ 1846984 w 2083295"/>
                <a:gd name="connsiteY6" fmla="*/ 1087392 h 1185828"/>
                <a:gd name="connsiteX7" fmla="*/ 2040247 w 2083295"/>
                <a:gd name="connsiteY7" fmla="*/ 1185828 h 1185828"/>
                <a:gd name="connsiteX8" fmla="*/ 2083295 w 2083295"/>
                <a:gd name="connsiteY8" fmla="*/ 1087734 h 1185828"/>
                <a:gd name="connsiteX9" fmla="*/ 1891814 w 2083295"/>
                <a:gd name="connsiteY9" fmla="*/ 991803 h 1185828"/>
                <a:gd name="connsiteX10" fmla="*/ 1894089 w 2083295"/>
                <a:gd name="connsiteY10" fmla="*/ 955801 h 1185828"/>
                <a:gd name="connsiteX11" fmla="*/ 1698405 w 2083295"/>
                <a:gd name="connsiteY11" fmla="*/ 859643 h 1185828"/>
                <a:gd name="connsiteX12" fmla="*/ 1719801 w 2083295"/>
                <a:gd name="connsiteY12" fmla="*/ 817033 h 1185828"/>
                <a:gd name="connsiteX13" fmla="*/ 1657925 w 2083295"/>
                <a:gd name="connsiteY13" fmla="*/ 782170 h 1185828"/>
                <a:gd name="connsiteX14" fmla="*/ 1677407 w 2083295"/>
                <a:gd name="connsiteY14" fmla="*/ 733294 h 1185828"/>
                <a:gd name="connsiteX15" fmla="*/ 1651499 w 2083295"/>
                <a:gd name="connsiteY15" fmla="*/ 721330 h 1185828"/>
                <a:gd name="connsiteX16" fmla="*/ 1680414 w 2083295"/>
                <a:gd name="connsiteY16" fmla="*/ 665390 h 1185828"/>
                <a:gd name="connsiteX17" fmla="*/ 1512537 w 2083295"/>
                <a:gd name="connsiteY17" fmla="*/ 580170 h 1185828"/>
                <a:gd name="connsiteX18" fmla="*/ 1493696 w 2083295"/>
                <a:gd name="connsiteY18" fmla="*/ 592133 h 1185828"/>
                <a:gd name="connsiteX19" fmla="*/ 1298305 w 2083295"/>
                <a:gd name="connsiteY19" fmla="*/ 499849 h 1185828"/>
                <a:gd name="connsiteX20" fmla="*/ 1315506 w 2083295"/>
                <a:gd name="connsiteY20" fmla="*/ 448130 h 1185828"/>
                <a:gd name="connsiteX21" fmla="*/ 469686 w 2083295"/>
                <a:gd name="connsiteY21" fmla="*/ 10512 h 1185828"/>
                <a:gd name="connsiteX22" fmla="*/ 379399 w 2083295"/>
                <a:gd name="connsiteY22" fmla="*/ 200055 h 1185828"/>
                <a:gd name="connsiteX23" fmla="*/ 15418 w 2083295"/>
                <a:gd name="connsiteY23" fmla="*/ 0 h 1185828"/>
                <a:gd name="connsiteX24" fmla="*/ 0 w 2083295"/>
                <a:gd name="connsiteY24" fmla="*/ 178855 h 1185828"/>
                <a:gd name="connsiteX25" fmla="*/ 108806 w 2083295"/>
                <a:gd name="connsiteY25" fmla="*/ 240427 h 1185828"/>
                <a:gd name="connsiteX26" fmla="*/ 245410 w 2083295"/>
                <a:gd name="connsiteY26" fmla="*/ 350485 h 1185828"/>
                <a:gd name="connsiteX27" fmla="*/ 416346 w 2083295"/>
                <a:gd name="connsiteY27" fmla="*/ 475332 h 1185828"/>
                <a:gd name="connsiteX28" fmla="*/ 530646 w 2083295"/>
                <a:gd name="connsiteY28" fmla="*/ 597252 h 1185828"/>
                <a:gd name="connsiteX29" fmla="*/ 732948 w 2083295"/>
                <a:gd name="connsiteY29" fmla="*/ 692621 h 1185828"/>
                <a:gd name="connsiteX30" fmla="*/ 721172 w 2083295"/>
                <a:gd name="connsiteY30" fmla="*/ 723724 h 1185828"/>
                <a:gd name="connsiteX31" fmla="*/ 890750 w 2083295"/>
                <a:gd name="connsiteY31" fmla="*/ 833781 h 1185828"/>
                <a:gd name="connsiteX32" fmla="*/ 1117386 w 2083295"/>
                <a:gd name="connsiteY32" fmla="*/ 924912 h 1185828"/>
                <a:gd name="connsiteX0" fmla="*/ 1117386 w 2083295"/>
                <a:gd name="connsiteY0" fmla="*/ 924912 h 1185828"/>
                <a:gd name="connsiteX1" fmla="*/ 1482507 w 2083295"/>
                <a:gd name="connsiteY1" fmla="*/ 1137635 h 1185828"/>
                <a:gd name="connsiteX2" fmla="*/ 1536481 w 2083295"/>
                <a:gd name="connsiteY2" fmla="*/ 1023704 h 1185828"/>
                <a:gd name="connsiteX3" fmla="*/ 1611458 w 2083295"/>
                <a:gd name="connsiteY3" fmla="*/ 1063466 h 1185828"/>
                <a:gd name="connsiteX4" fmla="*/ 1626440 w 2083295"/>
                <a:gd name="connsiteY4" fmla="*/ 1019147 h 1185828"/>
                <a:gd name="connsiteX5" fmla="*/ 1818722 w 2083295"/>
                <a:gd name="connsiteY5" fmla="*/ 1116102 h 1185828"/>
                <a:gd name="connsiteX6" fmla="*/ 1846984 w 2083295"/>
                <a:gd name="connsiteY6" fmla="*/ 1087392 h 1185828"/>
                <a:gd name="connsiteX7" fmla="*/ 2040247 w 2083295"/>
                <a:gd name="connsiteY7" fmla="*/ 1185828 h 1185828"/>
                <a:gd name="connsiteX8" fmla="*/ 2083295 w 2083295"/>
                <a:gd name="connsiteY8" fmla="*/ 1087734 h 1185828"/>
                <a:gd name="connsiteX9" fmla="*/ 1891814 w 2083295"/>
                <a:gd name="connsiteY9" fmla="*/ 991803 h 1185828"/>
                <a:gd name="connsiteX10" fmla="*/ 1894089 w 2083295"/>
                <a:gd name="connsiteY10" fmla="*/ 955801 h 1185828"/>
                <a:gd name="connsiteX11" fmla="*/ 1698405 w 2083295"/>
                <a:gd name="connsiteY11" fmla="*/ 859643 h 1185828"/>
                <a:gd name="connsiteX12" fmla="*/ 1719801 w 2083295"/>
                <a:gd name="connsiteY12" fmla="*/ 817033 h 1185828"/>
                <a:gd name="connsiteX13" fmla="*/ 1657925 w 2083295"/>
                <a:gd name="connsiteY13" fmla="*/ 782170 h 1185828"/>
                <a:gd name="connsiteX14" fmla="*/ 1677407 w 2083295"/>
                <a:gd name="connsiteY14" fmla="*/ 733294 h 1185828"/>
                <a:gd name="connsiteX15" fmla="*/ 1651499 w 2083295"/>
                <a:gd name="connsiteY15" fmla="*/ 721330 h 1185828"/>
                <a:gd name="connsiteX16" fmla="*/ 1680414 w 2083295"/>
                <a:gd name="connsiteY16" fmla="*/ 665390 h 1185828"/>
                <a:gd name="connsiteX17" fmla="*/ 1512537 w 2083295"/>
                <a:gd name="connsiteY17" fmla="*/ 580170 h 1185828"/>
                <a:gd name="connsiteX18" fmla="*/ 1493696 w 2083295"/>
                <a:gd name="connsiteY18" fmla="*/ 592133 h 1185828"/>
                <a:gd name="connsiteX19" fmla="*/ 1298305 w 2083295"/>
                <a:gd name="connsiteY19" fmla="*/ 499849 h 1185828"/>
                <a:gd name="connsiteX20" fmla="*/ 1315506 w 2083295"/>
                <a:gd name="connsiteY20" fmla="*/ 448130 h 1185828"/>
                <a:gd name="connsiteX21" fmla="*/ 469686 w 2083295"/>
                <a:gd name="connsiteY21" fmla="*/ 10512 h 1185828"/>
                <a:gd name="connsiteX22" fmla="*/ 379399 w 2083295"/>
                <a:gd name="connsiteY22" fmla="*/ 200055 h 1185828"/>
                <a:gd name="connsiteX23" fmla="*/ 15418 w 2083295"/>
                <a:gd name="connsiteY23" fmla="*/ 0 h 1185828"/>
                <a:gd name="connsiteX24" fmla="*/ 0 w 2083295"/>
                <a:gd name="connsiteY24" fmla="*/ 178855 h 1185828"/>
                <a:gd name="connsiteX25" fmla="*/ 108806 w 2083295"/>
                <a:gd name="connsiteY25" fmla="*/ 240427 h 1185828"/>
                <a:gd name="connsiteX26" fmla="*/ 309001 w 2083295"/>
                <a:gd name="connsiteY26" fmla="*/ 340915 h 1185828"/>
                <a:gd name="connsiteX27" fmla="*/ 416346 w 2083295"/>
                <a:gd name="connsiteY27" fmla="*/ 475332 h 1185828"/>
                <a:gd name="connsiteX28" fmla="*/ 530646 w 2083295"/>
                <a:gd name="connsiteY28" fmla="*/ 597252 h 1185828"/>
                <a:gd name="connsiteX29" fmla="*/ 732948 w 2083295"/>
                <a:gd name="connsiteY29" fmla="*/ 692621 h 1185828"/>
                <a:gd name="connsiteX30" fmla="*/ 721172 w 2083295"/>
                <a:gd name="connsiteY30" fmla="*/ 723724 h 1185828"/>
                <a:gd name="connsiteX31" fmla="*/ 890750 w 2083295"/>
                <a:gd name="connsiteY31" fmla="*/ 833781 h 1185828"/>
                <a:gd name="connsiteX32" fmla="*/ 1117386 w 2083295"/>
                <a:gd name="connsiteY32" fmla="*/ 924912 h 1185828"/>
                <a:gd name="connsiteX0" fmla="*/ 1117386 w 2083295"/>
                <a:gd name="connsiteY0" fmla="*/ 924912 h 1185828"/>
                <a:gd name="connsiteX1" fmla="*/ 1482507 w 2083295"/>
                <a:gd name="connsiteY1" fmla="*/ 1137635 h 1185828"/>
                <a:gd name="connsiteX2" fmla="*/ 1536481 w 2083295"/>
                <a:gd name="connsiteY2" fmla="*/ 1023704 h 1185828"/>
                <a:gd name="connsiteX3" fmla="*/ 1611458 w 2083295"/>
                <a:gd name="connsiteY3" fmla="*/ 1063466 h 1185828"/>
                <a:gd name="connsiteX4" fmla="*/ 1626440 w 2083295"/>
                <a:gd name="connsiteY4" fmla="*/ 1019147 h 1185828"/>
                <a:gd name="connsiteX5" fmla="*/ 1818722 w 2083295"/>
                <a:gd name="connsiteY5" fmla="*/ 1116102 h 1185828"/>
                <a:gd name="connsiteX6" fmla="*/ 1846984 w 2083295"/>
                <a:gd name="connsiteY6" fmla="*/ 1087392 h 1185828"/>
                <a:gd name="connsiteX7" fmla="*/ 2040247 w 2083295"/>
                <a:gd name="connsiteY7" fmla="*/ 1185828 h 1185828"/>
                <a:gd name="connsiteX8" fmla="*/ 2083295 w 2083295"/>
                <a:gd name="connsiteY8" fmla="*/ 1087734 h 1185828"/>
                <a:gd name="connsiteX9" fmla="*/ 1891814 w 2083295"/>
                <a:gd name="connsiteY9" fmla="*/ 991803 h 1185828"/>
                <a:gd name="connsiteX10" fmla="*/ 1894089 w 2083295"/>
                <a:gd name="connsiteY10" fmla="*/ 955801 h 1185828"/>
                <a:gd name="connsiteX11" fmla="*/ 1698405 w 2083295"/>
                <a:gd name="connsiteY11" fmla="*/ 859643 h 1185828"/>
                <a:gd name="connsiteX12" fmla="*/ 1719801 w 2083295"/>
                <a:gd name="connsiteY12" fmla="*/ 817033 h 1185828"/>
                <a:gd name="connsiteX13" fmla="*/ 1657925 w 2083295"/>
                <a:gd name="connsiteY13" fmla="*/ 782170 h 1185828"/>
                <a:gd name="connsiteX14" fmla="*/ 1677407 w 2083295"/>
                <a:gd name="connsiteY14" fmla="*/ 733294 h 1185828"/>
                <a:gd name="connsiteX15" fmla="*/ 1651499 w 2083295"/>
                <a:gd name="connsiteY15" fmla="*/ 721330 h 1185828"/>
                <a:gd name="connsiteX16" fmla="*/ 1680414 w 2083295"/>
                <a:gd name="connsiteY16" fmla="*/ 665390 h 1185828"/>
                <a:gd name="connsiteX17" fmla="*/ 1512537 w 2083295"/>
                <a:gd name="connsiteY17" fmla="*/ 580170 h 1185828"/>
                <a:gd name="connsiteX18" fmla="*/ 1493696 w 2083295"/>
                <a:gd name="connsiteY18" fmla="*/ 592133 h 1185828"/>
                <a:gd name="connsiteX19" fmla="*/ 1298305 w 2083295"/>
                <a:gd name="connsiteY19" fmla="*/ 499849 h 1185828"/>
                <a:gd name="connsiteX20" fmla="*/ 1315506 w 2083295"/>
                <a:gd name="connsiteY20" fmla="*/ 448130 h 1185828"/>
                <a:gd name="connsiteX21" fmla="*/ 469686 w 2083295"/>
                <a:gd name="connsiteY21" fmla="*/ 10512 h 1185828"/>
                <a:gd name="connsiteX22" fmla="*/ 379399 w 2083295"/>
                <a:gd name="connsiteY22" fmla="*/ 200055 h 1185828"/>
                <a:gd name="connsiteX23" fmla="*/ 15418 w 2083295"/>
                <a:gd name="connsiteY23" fmla="*/ 0 h 1185828"/>
                <a:gd name="connsiteX24" fmla="*/ 0 w 2083295"/>
                <a:gd name="connsiteY24" fmla="*/ 178855 h 1185828"/>
                <a:gd name="connsiteX25" fmla="*/ 108806 w 2083295"/>
                <a:gd name="connsiteY25" fmla="*/ 240427 h 1185828"/>
                <a:gd name="connsiteX26" fmla="*/ 309001 w 2083295"/>
                <a:gd name="connsiteY26" fmla="*/ 340915 h 1185828"/>
                <a:gd name="connsiteX27" fmla="*/ 425767 w 2083295"/>
                <a:gd name="connsiteY27" fmla="*/ 472939 h 1185828"/>
                <a:gd name="connsiteX28" fmla="*/ 530646 w 2083295"/>
                <a:gd name="connsiteY28" fmla="*/ 597252 h 1185828"/>
                <a:gd name="connsiteX29" fmla="*/ 732948 w 2083295"/>
                <a:gd name="connsiteY29" fmla="*/ 692621 h 1185828"/>
                <a:gd name="connsiteX30" fmla="*/ 721172 w 2083295"/>
                <a:gd name="connsiteY30" fmla="*/ 723724 h 1185828"/>
                <a:gd name="connsiteX31" fmla="*/ 890750 w 2083295"/>
                <a:gd name="connsiteY31" fmla="*/ 833781 h 1185828"/>
                <a:gd name="connsiteX32" fmla="*/ 1117386 w 2083295"/>
                <a:gd name="connsiteY32" fmla="*/ 924912 h 1185828"/>
                <a:gd name="connsiteX0" fmla="*/ 1117386 w 2083295"/>
                <a:gd name="connsiteY0" fmla="*/ 924912 h 1185828"/>
                <a:gd name="connsiteX1" fmla="*/ 1482507 w 2083295"/>
                <a:gd name="connsiteY1" fmla="*/ 1137635 h 1185828"/>
                <a:gd name="connsiteX2" fmla="*/ 1536481 w 2083295"/>
                <a:gd name="connsiteY2" fmla="*/ 1023704 h 1185828"/>
                <a:gd name="connsiteX3" fmla="*/ 1611458 w 2083295"/>
                <a:gd name="connsiteY3" fmla="*/ 1063466 h 1185828"/>
                <a:gd name="connsiteX4" fmla="*/ 1626440 w 2083295"/>
                <a:gd name="connsiteY4" fmla="*/ 1019147 h 1185828"/>
                <a:gd name="connsiteX5" fmla="*/ 1818722 w 2083295"/>
                <a:gd name="connsiteY5" fmla="*/ 1116102 h 1185828"/>
                <a:gd name="connsiteX6" fmla="*/ 1846984 w 2083295"/>
                <a:gd name="connsiteY6" fmla="*/ 1087392 h 1185828"/>
                <a:gd name="connsiteX7" fmla="*/ 2040247 w 2083295"/>
                <a:gd name="connsiteY7" fmla="*/ 1185828 h 1185828"/>
                <a:gd name="connsiteX8" fmla="*/ 2083295 w 2083295"/>
                <a:gd name="connsiteY8" fmla="*/ 1087734 h 1185828"/>
                <a:gd name="connsiteX9" fmla="*/ 1891814 w 2083295"/>
                <a:gd name="connsiteY9" fmla="*/ 991803 h 1185828"/>
                <a:gd name="connsiteX10" fmla="*/ 1894089 w 2083295"/>
                <a:gd name="connsiteY10" fmla="*/ 955801 h 1185828"/>
                <a:gd name="connsiteX11" fmla="*/ 1698405 w 2083295"/>
                <a:gd name="connsiteY11" fmla="*/ 859643 h 1185828"/>
                <a:gd name="connsiteX12" fmla="*/ 1719801 w 2083295"/>
                <a:gd name="connsiteY12" fmla="*/ 817033 h 1185828"/>
                <a:gd name="connsiteX13" fmla="*/ 1650860 w 2083295"/>
                <a:gd name="connsiteY13" fmla="*/ 782170 h 1185828"/>
                <a:gd name="connsiteX14" fmla="*/ 1677407 w 2083295"/>
                <a:gd name="connsiteY14" fmla="*/ 733294 h 1185828"/>
                <a:gd name="connsiteX15" fmla="*/ 1651499 w 2083295"/>
                <a:gd name="connsiteY15" fmla="*/ 721330 h 1185828"/>
                <a:gd name="connsiteX16" fmla="*/ 1680414 w 2083295"/>
                <a:gd name="connsiteY16" fmla="*/ 665390 h 1185828"/>
                <a:gd name="connsiteX17" fmla="*/ 1512537 w 2083295"/>
                <a:gd name="connsiteY17" fmla="*/ 580170 h 1185828"/>
                <a:gd name="connsiteX18" fmla="*/ 1493696 w 2083295"/>
                <a:gd name="connsiteY18" fmla="*/ 592133 h 1185828"/>
                <a:gd name="connsiteX19" fmla="*/ 1298305 w 2083295"/>
                <a:gd name="connsiteY19" fmla="*/ 499849 h 1185828"/>
                <a:gd name="connsiteX20" fmla="*/ 1315506 w 2083295"/>
                <a:gd name="connsiteY20" fmla="*/ 448130 h 1185828"/>
                <a:gd name="connsiteX21" fmla="*/ 469686 w 2083295"/>
                <a:gd name="connsiteY21" fmla="*/ 10512 h 1185828"/>
                <a:gd name="connsiteX22" fmla="*/ 379399 w 2083295"/>
                <a:gd name="connsiteY22" fmla="*/ 200055 h 1185828"/>
                <a:gd name="connsiteX23" fmla="*/ 15418 w 2083295"/>
                <a:gd name="connsiteY23" fmla="*/ 0 h 1185828"/>
                <a:gd name="connsiteX24" fmla="*/ 0 w 2083295"/>
                <a:gd name="connsiteY24" fmla="*/ 178855 h 1185828"/>
                <a:gd name="connsiteX25" fmla="*/ 108806 w 2083295"/>
                <a:gd name="connsiteY25" fmla="*/ 240427 h 1185828"/>
                <a:gd name="connsiteX26" fmla="*/ 309001 w 2083295"/>
                <a:gd name="connsiteY26" fmla="*/ 340915 h 1185828"/>
                <a:gd name="connsiteX27" fmla="*/ 425767 w 2083295"/>
                <a:gd name="connsiteY27" fmla="*/ 472939 h 1185828"/>
                <a:gd name="connsiteX28" fmla="*/ 530646 w 2083295"/>
                <a:gd name="connsiteY28" fmla="*/ 597252 h 1185828"/>
                <a:gd name="connsiteX29" fmla="*/ 732948 w 2083295"/>
                <a:gd name="connsiteY29" fmla="*/ 692621 h 1185828"/>
                <a:gd name="connsiteX30" fmla="*/ 721172 w 2083295"/>
                <a:gd name="connsiteY30" fmla="*/ 723724 h 1185828"/>
                <a:gd name="connsiteX31" fmla="*/ 890750 w 2083295"/>
                <a:gd name="connsiteY31" fmla="*/ 833781 h 1185828"/>
                <a:gd name="connsiteX32" fmla="*/ 1117386 w 2083295"/>
                <a:gd name="connsiteY32" fmla="*/ 924912 h 1185828"/>
                <a:gd name="connsiteX0" fmla="*/ 1117386 w 2083295"/>
                <a:gd name="connsiteY0" fmla="*/ 924912 h 1185828"/>
                <a:gd name="connsiteX1" fmla="*/ 1185157 w 2083295"/>
                <a:gd name="connsiteY1" fmla="*/ 962979 h 1185828"/>
                <a:gd name="connsiteX2" fmla="*/ 1482507 w 2083295"/>
                <a:gd name="connsiteY2" fmla="*/ 1137635 h 1185828"/>
                <a:gd name="connsiteX3" fmla="*/ 1536481 w 2083295"/>
                <a:gd name="connsiteY3" fmla="*/ 1023704 h 1185828"/>
                <a:gd name="connsiteX4" fmla="*/ 1611458 w 2083295"/>
                <a:gd name="connsiteY4" fmla="*/ 1063466 h 1185828"/>
                <a:gd name="connsiteX5" fmla="*/ 1626440 w 2083295"/>
                <a:gd name="connsiteY5" fmla="*/ 1019147 h 1185828"/>
                <a:gd name="connsiteX6" fmla="*/ 1818722 w 2083295"/>
                <a:gd name="connsiteY6" fmla="*/ 1116102 h 1185828"/>
                <a:gd name="connsiteX7" fmla="*/ 1846984 w 2083295"/>
                <a:gd name="connsiteY7" fmla="*/ 1087392 h 1185828"/>
                <a:gd name="connsiteX8" fmla="*/ 2040247 w 2083295"/>
                <a:gd name="connsiteY8" fmla="*/ 1185828 h 1185828"/>
                <a:gd name="connsiteX9" fmla="*/ 2083295 w 2083295"/>
                <a:gd name="connsiteY9" fmla="*/ 1087734 h 1185828"/>
                <a:gd name="connsiteX10" fmla="*/ 1891814 w 2083295"/>
                <a:gd name="connsiteY10" fmla="*/ 991803 h 1185828"/>
                <a:gd name="connsiteX11" fmla="*/ 1894089 w 2083295"/>
                <a:gd name="connsiteY11" fmla="*/ 955801 h 1185828"/>
                <a:gd name="connsiteX12" fmla="*/ 1698405 w 2083295"/>
                <a:gd name="connsiteY12" fmla="*/ 859643 h 1185828"/>
                <a:gd name="connsiteX13" fmla="*/ 1719801 w 2083295"/>
                <a:gd name="connsiteY13" fmla="*/ 817033 h 1185828"/>
                <a:gd name="connsiteX14" fmla="*/ 1650860 w 2083295"/>
                <a:gd name="connsiteY14" fmla="*/ 782170 h 1185828"/>
                <a:gd name="connsiteX15" fmla="*/ 1677407 w 2083295"/>
                <a:gd name="connsiteY15" fmla="*/ 733294 h 1185828"/>
                <a:gd name="connsiteX16" fmla="*/ 1651499 w 2083295"/>
                <a:gd name="connsiteY16" fmla="*/ 721330 h 1185828"/>
                <a:gd name="connsiteX17" fmla="*/ 1680414 w 2083295"/>
                <a:gd name="connsiteY17" fmla="*/ 665390 h 1185828"/>
                <a:gd name="connsiteX18" fmla="*/ 1512537 w 2083295"/>
                <a:gd name="connsiteY18" fmla="*/ 580170 h 1185828"/>
                <a:gd name="connsiteX19" fmla="*/ 1493696 w 2083295"/>
                <a:gd name="connsiteY19" fmla="*/ 592133 h 1185828"/>
                <a:gd name="connsiteX20" fmla="*/ 1298305 w 2083295"/>
                <a:gd name="connsiteY20" fmla="*/ 499849 h 1185828"/>
                <a:gd name="connsiteX21" fmla="*/ 1315506 w 2083295"/>
                <a:gd name="connsiteY21" fmla="*/ 448130 h 1185828"/>
                <a:gd name="connsiteX22" fmla="*/ 469686 w 2083295"/>
                <a:gd name="connsiteY22" fmla="*/ 10512 h 1185828"/>
                <a:gd name="connsiteX23" fmla="*/ 379399 w 2083295"/>
                <a:gd name="connsiteY23" fmla="*/ 200055 h 1185828"/>
                <a:gd name="connsiteX24" fmla="*/ 15418 w 2083295"/>
                <a:gd name="connsiteY24" fmla="*/ 0 h 1185828"/>
                <a:gd name="connsiteX25" fmla="*/ 0 w 2083295"/>
                <a:gd name="connsiteY25" fmla="*/ 178855 h 1185828"/>
                <a:gd name="connsiteX26" fmla="*/ 108806 w 2083295"/>
                <a:gd name="connsiteY26" fmla="*/ 240427 h 1185828"/>
                <a:gd name="connsiteX27" fmla="*/ 309001 w 2083295"/>
                <a:gd name="connsiteY27" fmla="*/ 340915 h 1185828"/>
                <a:gd name="connsiteX28" fmla="*/ 425767 w 2083295"/>
                <a:gd name="connsiteY28" fmla="*/ 472939 h 1185828"/>
                <a:gd name="connsiteX29" fmla="*/ 530646 w 2083295"/>
                <a:gd name="connsiteY29" fmla="*/ 597252 h 1185828"/>
                <a:gd name="connsiteX30" fmla="*/ 732948 w 2083295"/>
                <a:gd name="connsiteY30" fmla="*/ 692621 h 1185828"/>
                <a:gd name="connsiteX31" fmla="*/ 721172 w 2083295"/>
                <a:gd name="connsiteY31" fmla="*/ 723724 h 1185828"/>
                <a:gd name="connsiteX32" fmla="*/ 890750 w 2083295"/>
                <a:gd name="connsiteY32" fmla="*/ 833781 h 1185828"/>
                <a:gd name="connsiteX33" fmla="*/ 1117386 w 2083295"/>
                <a:gd name="connsiteY33" fmla="*/ 924912 h 1185828"/>
                <a:gd name="connsiteX0" fmla="*/ 1117386 w 2083295"/>
                <a:gd name="connsiteY0" fmla="*/ 924912 h 1185828"/>
                <a:gd name="connsiteX1" fmla="*/ 1291144 w 2083295"/>
                <a:gd name="connsiteY1" fmla="*/ 1037147 h 1185828"/>
                <a:gd name="connsiteX2" fmla="*/ 1482507 w 2083295"/>
                <a:gd name="connsiteY2" fmla="*/ 1137635 h 1185828"/>
                <a:gd name="connsiteX3" fmla="*/ 1536481 w 2083295"/>
                <a:gd name="connsiteY3" fmla="*/ 1023704 h 1185828"/>
                <a:gd name="connsiteX4" fmla="*/ 1611458 w 2083295"/>
                <a:gd name="connsiteY4" fmla="*/ 1063466 h 1185828"/>
                <a:gd name="connsiteX5" fmla="*/ 1626440 w 2083295"/>
                <a:gd name="connsiteY5" fmla="*/ 1019147 h 1185828"/>
                <a:gd name="connsiteX6" fmla="*/ 1818722 w 2083295"/>
                <a:gd name="connsiteY6" fmla="*/ 1116102 h 1185828"/>
                <a:gd name="connsiteX7" fmla="*/ 1846984 w 2083295"/>
                <a:gd name="connsiteY7" fmla="*/ 1087392 h 1185828"/>
                <a:gd name="connsiteX8" fmla="*/ 2040247 w 2083295"/>
                <a:gd name="connsiteY8" fmla="*/ 1185828 h 1185828"/>
                <a:gd name="connsiteX9" fmla="*/ 2083295 w 2083295"/>
                <a:gd name="connsiteY9" fmla="*/ 1087734 h 1185828"/>
                <a:gd name="connsiteX10" fmla="*/ 1891814 w 2083295"/>
                <a:gd name="connsiteY10" fmla="*/ 991803 h 1185828"/>
                <a:gd name="connsiteX11" fmla="*/ 1894089 w 2083295"/>
                <a:gd name="connsiteY11" fmla="*/ 955801 h 1185828"/>
                <a:gd name="connsiteX12" fmla="*/ 1698405 w 2083295"/>
                <a:gd name="connsiteY12" fmla="*/ 859643 h 1185828"/>
                <a:gd name="connsiteX13" fmla="*/ 1719801 w 2083295"/>
                <a:gd name="connsiteY13" fmla="*/ 817033 h 1185828"/>
                <a:gd name="connsiteX14" fmla="*/ 1650860 w 2083295"/>
                <a:gd name="connsiteY14" fmla="*/ 782170 h 1185828"/>
                <a:gd name="connsiteX15" fmla="*/ 1677407 w 2083295"/>
                <a:gd name="connsiteY15" fmla="*/ 733294 h 1185828"/>
                <a:gd name="connsiteX16" fmla="*/ 1651499 w 2083295"/>
                <a:gd name="connsiteY16" fmla="*/ 721330 h 1185828"/>
                <a:gd name="connsiteX17" fmla="*/ 1680414 w 2083295"/>
                <a:gd name="connsiteY17" fmla="*/ 665390 h 1185828"/>
                <a:gd name="connsiteX18" fmla="*/ 1512537 w 2083295"/>
                <a:gd name="connsiteY18" fmla="*/ 580170 h 1185828"/>
                <a:gd name="connsiteX19" fmla="*/ 1493696 w 2083295"/>
                <a:gd name="connsiteY19" fmla="*/ 592133 h 1185828"/>
                <a:gd name="connsiteX20" fmla="*/ 1298305 w 2083295"/>
                <a:gd name="connsiteY20" fmla="*/ 499849 h 1185828"/>
                <a:gd name="connsiteX21" fmla="*/ 1315506 w 2083295"/>
                <a:gd name="connsiteY21" fmla="*/ 448130 h 1185828"/>
                <a:gd name="connsiteX22" fmla="*/ 469686 w 2083295"/>
                <a:gd name="connsiteY22" fmla="*/ 10512 h 1185828"/>
                <a:gd name="connsiteX23" fmla="*/ 379399 w 2083295"/>
                <a:gd name="connsiteY23" fmla="*/ 200055 h 1185828"/>
                <a:gd name="connsiteX24" fmla="*/ 15418 w 2083295"/>
                <a:gd name="connsiteY24" fmla="*/ 0 h 1185828"/>
                <a:gd name="connsiteX25" fmla="*/ 0 w 2083295"/>
                <a:gd name="connsiteY25" fmla="*/ 178855 h 1185828"/>
                <a:gd name="connsiteX26" fmla="*/ 108806 w 2083295"/>
                <a:gd name="connsiteY26" fmla="*/ 240427 h 1185828"/>
                <a:gd name="connsiteX27" fmla="*/ 309001 w 2083295"/>
                <a:gd name="connsiteY27" fmla="*/ 340915 h 1185828"/>
                <a:gd name="connsiteX28" fmla="*/ 425767 w 2083295"/>
                <a:gd name="connsiteY28" fmla="*/ 472939 h 1185828"/>
                <a:gd name="connsiteX29" fmla="*/ 530646 w 2083295"/>
                <a:gd name="connsiteY29" fmla="*/ 597252 h 1185828"/>
                <a:gd name="connsiteX30" fmla="*/ 732948 w 2083295"/>
                <a:gd name="connsiteY30" fmla="*/ 692621 h 1185828"/>
                <a:gd name="connsiteX31" fmla="*/ 721172 w 2083295"/>
                <a:gd name="connsiteY31" fmla="*/ 723724 h 1185828"/>
                <a:gd name="connsiteX32" fmla="*/ 890750 w 2083295"/>
                <a:gd name="connsiteY32" fmla="*/ 833781 h 1185828"/>
                <a:gd name="connsiteX33" fmla="*/ 1117386 w 2083295"/>
                <a:gd name="connsiteY33" fmla="*/ 924912 h 1185828"/>
                <a:gd name="connsiteX0" fmla="*/ 1284610 w 2083295"/>
                <a:gd name="connsiteY0" fmla="*/ 1015829 h 1185828"/>
                <a:gd name="connsiteX1" fmla="*/ 1291144 w 2083295"/>
                <a:gd name="connsiteY1" fmla="*/ 1037147 h 1185828"/>
                <a:gd name="connsiteX2" fmla="*/ 1482507 w 2083295"/>
                <a:gd name="connsiteY2" fmla="*/ 1137635 h 1185828"/>
                <a:gd name="connsiteX3" fmla="*/ 1536481 w 2083295"/>
                <a:gd name="connsiteY3" fmla="*/ 1023704 h 1185828"/>
                <a:gd name="connsiteX4" fmla="*/ 1611458 w 2083295"/>
                <a:gd name="connsiteY4" fmla="*/ 1063466 h 1185828"/>
                <a:gd name="connsiteX5" fmla="*/ 1626440 w 2083295"/>
                <a:gd name="connsiteY5" fmla="*/ 1019147 h 1185828"/>
                <a:gd name="connsiteX6" fmla="*/ 1818722 w 2083295"/>
                <a:gd name="connsiteY6" fmla="*/ 1116102 h 1185828"/>
                <a:gd name="connsiteX7" fmla="*/ 1846984 w 2083295"/>
                <a:gd name="connsiteY7" fmla="*/ 1087392 h 1185828"/>
                <a:gd name="connsiteX8" fmla="*/ 2040247 w 2083295"/>
                <a:gd name="connsiteY8" fmla="*/ 1185828 h 1185828"/>
                <a:gd name="connsiteX9" fmla="*/ 2083295 w 2083295"/>
                <a:gd name="connsiteY9" fmla="*/ 1087734 h 1185828"/>
                <a:gd name="connsiteX10" fmla="*/ 1891814 w 2083295"/>
                <a:gd name="connsiteY10" fmla="*/ 991803 h 1185828"/>
                <a:gd name="connsiteX11" fmla="*/ 1894089 w 2083295"/>
                <a:gd name="connsiteY11" fmla="*/ 955801 h 1185828"/>
                <a:gd name="connsiteX12" fmla="*/ 1698405 w 2083295"/>
                <a:gd name="connsiteY12" fmla="*/ 859643 h 1185828"/>
                <a:gd name="connsiteX13" fmla="*/ 1719801 w 2083295"/>
                <a:gd name="connsiteY13" fmla="*/ 817033 h 1185828"/>
                <a:gd name="connsiteX14" fmla="*/ 1650860 w 2083295"/>
                <a:gd name="connsiteY14" fmla="*/ 782170 h 1185828"/>
                <a:gd name="connsiteX15" fmla="*/ 1677407 w 2083295"/>
                <a:gd name="connsiteY15" fmla="*/ 733294 h 1185828"/>
                <a:gd name="connsiteX16" fmla="*/ 1651499 w 2083295"/>
                <a:gd name="connsiteY16" fmla="*/ 721330 h 1185828"/>
                <a:gd name="connsiteX17" fmla="*/ 1680414 w 2083295"/>
                <a:gd name="connsiteY17" fmla="*/ 665390 h 1185828"/>
                <a:gd name="connsiteX18" fmla="*/ 1512537 w 2083295"/>
                <a:gd name="connsiteY18" fmla="*/ 580170 h 1185828"/>
                <a:gd name="connsiteX19" fmla="*/ 1493696 w 2083295"/>
                <a:gd name="connsiteY19" fmla="*/ 592133 h 1185828"/>
                <a:gd name="connsiteX20" fmla="*/ 1298305 w 2083295"/>
                <a:gd name="connsiteY20" fmla="*/ 499849 h 1185828"/>
                <a:gd name="connsiteX21" fmla="*/ 1315506 w 2083295"/>
                <a:gd name="connsiteY21" fmla="*/ 448130 h 1185828"/>
                <a:gd name="connsiteX22" fmla="*/ 469686 w 2083295"/>
                <a:gd name="connsiteY22" fmla="*/ 10512 h 1185828"/>
                <a:gd name="connsiteX23" fmla="*/ 379399 w 2083295"/>
                <a:gd name="connsiteY23" fmla="*/ 200055 h 1185828"/>
                <a:gd name="connsiteX24" fmla="*/ 15418 w 2083295"/>
                <a:gd name="connsiteY24" fmla="*/ 0 h 1185828"/>
                <a:gd name="connsiteX25" fmla="*/ 0 w 2083295"/>
                <a:gd name="connsiteY25" fmla="*/ 178855 h 1185828"/>
                <a:gd name="connsiteX26" fmla="*/ 108806 w 2083295"/>
                <a:gd name="connsiteY26" fmla="*/ 240427 h 1185828"/>
                <a:gd name="connsiteX27" fmla="*/ 309001 w 2083295"/>
                <a:gd name="connsiteY27" fmla="*/ 340915 h 1185828"/>
                <a:gd name="connsiteX28" fmla="*/ 425767 w 2083295"/>
                <a:gd name="connsiteY28" fmla="*/ 472939 h 1185828"/>
                <a:gd name="connsiteX29" fmla="*/ 530646 w 2083295"/>
                <a:gd name="connsiteY29" fmla="*/ 597252 h 1185828"/>
                <a:gd name="connsiteX30" fmla="*/ 732948 w 2083295"/>
                <a:gd name="connsiteY30" fmla="*/ 692621 h 1185828"/>
                <a:gd name="connsiteX31" fmla="*/ 721172 w 2083295"/>
                <a:gd name="connsiteY31" fmla="*/ 723724 h 1185828"/>
                <a:gd name="connsiteX32" fmla="*/ 890750 w 2083295"/>
                <a:gd name="connsiteY32" fmla="*/ 833781 h 1185828"/>
                <a:gd name="connsiteX33" fmla="*/ 1284610 w 2083295"/>
                <a:gd name="connsiteY33" fmla="*/ 1015829 h 1185828"/>
                <a:gd name="connsiteX0" fmla="*/ 1284610 w 2083295"/>
                <a:gd name="connsiteY0" fmla="*/ 1015829 h 1185828"/>
                <a:gd name="connsiteX1" fmla="*/ 1291144 w 2083295"/>
                <a:gd name="connsiteY1" fmla="*/ 1037147 h 1185828"/>
                <a:gd name="connsiteX2" fmla="*/ 1482507 w 2083295"/>
                <a:gd name="connsiteY2" fmla="*/ 1137635 h 1185828"/>
                <a:gd name="connsiteX3" fmla="*/ 1536481 w 2083295"/>
                <a:gd name="connsiteY3" fmla="*/ 1023704 h 1185828"/>
                <a:gd name="connsiteX4" fmla="*/ 1611458 w 2083295"/>
                <a:gd name="connsiteY4" fmla="*/ 1063466 h 1185828"/>
                <a:gd name="connsiteX5" fmla="*/ 1626440 w 2083295"/>
                <a:gd name="connsiteY5" fmla="*/ 1019147 h 1185828"/>
                <a:gd name="connsiteX6" fmla="*/ 1818722 w 2083295"/>
                <a:gd name="connsiteY6" fmla="*/ 1116102 h 1185828"/>
                <a:gd name="connsiteX7" fmla="*/ 1846984 w 2083295"/>
                <a:gd name="connsiteY7" fmla="*/ 1087392 h 1185828"/>
                <a:gd name="connsiteX8" fmla="*/ 2040247 w 2083295"/>
                <a:gd name="connsiteY8" fmla="*/ 1185828 h 1185828"/>
                <a:gd name="connsiteX9" fmla="*/ 2083295 w 2083295"/>
                <a:gd name="connsiteY9" fmla="*/ 1087734 h 1185828"/>
                <a:gd name="connsiteX10" fmla="*/ 1891814 w 2083295"/>
                <a:gd name="connsiteY10" fmla="*/ 991803 h 1185828"/>
                <a:gd name="connsiteX11" fmla="*/ 1894089 w 2083295"/>
                <a:gd name="connsiteY11" fmla="*/ 955801 h 1185828"/>
                <a:gd name="connsiteX12" fmla="*/ 1698405 w 2083295"/>
                <a:gd name="connsiteY12" fmla="*/ 859643 h 1185828"/>
                <a:gd name="connsiteX13" fmla="*/ 1719801 w 2083295"/>
                <a:gd name="connsiteY13" fmla="*/ 817033 h 1185828"/>
                <a:gd name="connsiteX14" fmla="*/ 1650860 w 2083295"/>
                <a:gd name="connsiteY14" fmla="*/ 782170 h 1185828"/>
                <a:gd name="connsiteX15" fmla="*/ 1672698 w 2083295"/>
                <a:gd name="connsiteY15" fmla="*/ 733294 h 1185828"/>
                <a:gd name="connsiteX16" fmla="*/ 1651499 w 2083295"/>
                <a:gd name="connsiteY16" fmla="*/ 721330 h 1185828"/>
                <a:gd name="connsiteX17" fmla="*/ 1680414 w 2083295"/>
                <a:gd name="connsiteY17" fmla="*/ 665390 h 1185828"/>
                <a:gd name="connsiteX18" fmla="*/ 1512537 w 2083295"/>
                <a:gd name="connsiteY18" fmla="*/ 580170 h 1185828"/>
                <a:gd name="connsiteX19" fmla="*/ 1493696 w 2083295"/>
                <a:gd name="connsiteY19" fmla="*/ 592133 h 1185828"/>
                <a:gd name="connsiteX20" fmla="*/ 1298305 w 2083295"/>
                <a:gd name="connsiteY20" fmla="*/ 499849 h 1185828"/>
                <a:gd name="connsiteX21" fmla="*/ 1315506 w 2083295"/>
                <a:gd name="connsiteY21" fmla="*/ 448130 h 1185828"/>
                <a:gd name="connsiteX22" fmla="*/ 469686 w 2083295"/>
                <a:gd name="connsiteY22" fmla="*/ 10512 h 1185828"/>
                <a:gd name="connsiteX23" fmla="*/ 379399 w 2083295"/>
                <a:gd name="connsiteY23" fmla="*/ 200055 h 1185828"/>
                <a:gd name="connsiteX24" fmla="*/ 15418 w 2083295"/>
                <a:gd name="connsiteY24" fmla="*/ 0 h 1185828"/>
                <a:gd name="connsiteX25" fmla="*/ 0 w 2083295"/>
                <a:gd name="connsiteY25" fmla="*/ 178855 h 1185828"/>
                <a:gd name="connsiteX26" fmla="*/ 108806 w 2083295"/>
                <a:gd name="connsiteY26" fmla="*/ 240427 h 1185828"/>
                <a:gd name="connsiteX27" fmla="*/ 309001 w 2083295"/>
                <a:gd name="connsiteY27" fmla="*/ 340915 h 1185828"/>
                <a:gd name="connsiteX28" fmla="*/ 425767 w 2083295"/>
                <a:gd name="connsiteY28" fmla="*/ 472939 h 1185828"/>
                <a:gd name="connsiteX29" fmla="*/ 530646 w 2083295"/>
                <a:gd name="connsiteY29" fmla="*/ 597252 h 1185828"/>
                <a:gd name="connsiteX30" fmla="*/ 732948 w 2083295"/>
                <a:gd name="connsiteY30" fmla="*/ 692621 h 1185828"/>
                <a:gd name="connsiteX31" fmla="*/ 721172 w 2083295"/>
                <a:gd name="connsiteY31" fmla="*/ 723724 h 1185828"/>
                <a:gd name="connsiteX32" fmla="*/ 890750 w 2083295"/>
                <a:gd name="connsiteY32" fmla="*/ 833781 h 1185828"/>
                <a:gd name="connsiteX33" fmla="*/ 1284610 w 2083295"/>
                <a:gd name="connsiteY33" fmla="*/ 1015829 h 1185828"/>
                <a:gd name="connsiteX0" fmla="*/ 1284610 w 2083295"/>
                <a:gd name="connsiteY0" fmla="*/ 1015829 h 1185828"/>
                <a:gd name="connsiteX1" fmla="*/ 1291144 w 2083295"/>
                <a:gd name="connsiteY1" fmla="*/ 1037147 h 1185828"/>
                <a:gd name="connsiteX2" fmla="*/ 1482507 w 2083295"/>
                <a:gd name="connsiteY2" fmla="*/ 1137635 h 1185828"/>
                <a:gd name="connsiteX3" fmla="*/ 1536481 w 2083295"/>
                <a:gd name="connsiteY3" fmla="*/ 1023704 h 1185828"/>
                <a:gd name="connsiteX4" fmla="*/ 1613813 w 2083295"/>
                <a:gd name="connsiteY4" fmla="*/ 1068250 h 1185828"/>
                <a:gd name="connsiteX5" fmla="*/ 1626440 w 2083295"/>
                <a:gd name="connsiteY5" fmla="*/ 1019147 h 1185828"/>
                <a:gd name="connsiteX6" fmla="*/ 1818722 w 2083295"/>
                <a:gd name="connsiteY6" fmla="*/ 1116102 h 1185828"/>
                <a:gd name="connsiteX7" fmla="*/ 1846984 w 2083295"/>
                <a:gd name="connsiteY7" fmla="*/ 1087392 h 1185828"/>
                <a:gd name="connsiteX8" fmla="*/ 2040247 w 2083295"/>
                <a:gd name="connsiteY8" fmla="*/ 1185828 h 1185828"/>
                <a:gd name="connsiteX9" fmla="*/ 2083295 w 2083295"/>
                <a:gd name="connsiteY9" fmla="*/ 1087734 h 1185828"/>
                <a:gd name="connsiteX10" fmla="*/ 1891814 w 2083295"/>
                <a:gd name="connsiteY10" fmla="*/ 991803 h 1185828"/>
                <a:gd name="connsiteX11" fmla="*/ 1894089 w 2083295"/>
                <a:gd name="connsiteY11" fmla="*/ 955801 h 1185828"/>
                <a:gd name="connsiteX12" fmla="*/ 1698405 w 2083295"/>
                <a:gd name="connsiteY12" fmla="*/ 859643 h 1185828"/>
                <a:gd name="connsiteX13" fmla="*/ 1719801 w 2083295"/>
                <a:gd name="connsiteY13" fmla="*/ 817033 h 1185828"/>
                <a:gd name="connsiteX14" fmla="*/ 1650860 w 2083295"/>
                <a:gd name="connsiteY14" fmla="*/ 782170 h 1185828"/>
                <a:gd name="connsiteX15" fmla="*/ 1672698 w 2083295"/>
                <a:gd name="connsiteY15" fmla="*/ 733294 h 1185828"/>
                <a:gd name="connsiteX16" fmla="*/ 1651499 w 2083295"/>
                <a:gd name="connsiteY16" fmla="*/ 721330 h 1185828"/>
                <a:gd name="connsiteX17" fmla="*/ 1680414 w 2083295"/>
                <a:gd name="connsiteY17" fmla="*/ 665390 h 1185828"/>
                <a:gd name="connsiteX18" fmla="*/ 1512537 w 2083295"/>
                <a:gd name="connsiteY18" fmla="*/ 580170 h 1185828"/>
                <a:gd name="connsiteX19" fmla="*/ 1493696 w 2083295"/>
                <a:gd name="connsiteY19" fmla="*/ 592133 h 1185828"/>
                <a:gd name="connsiteX20" fmla="*/ 1298305 w 2083295"/>
                <a:gd name="connsiteY20" fmla="*/ 499849 h 1185828"/>
                <a:gd name="connsiteX21" fmla="*/ 1315506 w 2083295"/>
                <a:gd name="connsiteY21" fmla="*/ 448130 h 1185828"/>
                <a:gd name="connsiteX22" fmla="*/ 469686 w 2083295"/>
                <a:gd name="connsiteY22" fmla="*/ 10512 h 1185828"/>
                <a:gd name="connsiteX23" fmla="*/ 379399 w 2083295"/>
                <a:gd name="connsiteY23" fmla="*/ 200055 h 1185828"/>
                <a:gd name="connsiteX24" fmla="*/ 15418 w 2083295"/>
                <a:gd name="connsiteY24" fmla="*/ 0 h 1185828"/>
                <a:gd name="connsiteX25" fmla="*/ 0 w 2083295"/>
                <a:gd name="connsiteY25" fmla="*/ 178855 h 1185828"/>
                <a:gd name="connsiteX26" fmla="*/ 108806 w 2083295"/>
                <a:gd name="connsiteY26" fmla="*/ 240427 h 1185828"/>
                <a:gd name="connsiteX27" fmla="*/ 309001 w 2083295"/>
                <a:gd name="connsiteY27" fmla="*/ 340915 h 1185828"/>
                <a:gd name="connsiteX28" fmla="*/ 425767 w 2083295"/>
                <a:gd name="connsiteY28" fmla="*/ 472939 h 1185828"/>
                <a:gd name="connsiteX29" fmla="*/ 530646 w 2083295"/>
                <a:gd name="connsiteY29" fmla="*/ 597252 h 1185828"/>
                <a:gd name="connsiteX30" fmla="*/ 732948 w 2083295"/>
                <a:gd name="connsiteY30" fmla="*/ 692621 h 1185828"/>
                <a:gd name="connsiteX31" fmla="*/ 721172 w 2083295"/>
                <a:gd name="connsiteY31" fmla="*/ 723724 h 1185828"/>
                <a:gd name="connsiteX32" fmla="*/ 890750 w 2083295"/>
                <a:gd name="connsiteY32" fmla="*/ 833781 h 1185828"/>
                <a:gd name="connsiteX33" fmla="*/ 1284610 w 2083295"/>
                <a:gd name="connsiteY33" fmla="*/ 1015829 h 1185828"/>
                <a:gd name="connsiteX0" fmla="*/ 1284610 w 2083295"/>
                <a:gd name="connsiteY0" fmla="*/ 1015829 h 1185828"/>
                <a:gd name="connsiteX1" fmla="*/ 1291144 w 2083295"/>
                <a:gd name="connsiteY1" fmla="*/ 1037147 h 1185828"/>
                <a:gd name="connsiteX2" fmla="*/ 1482507 w 2083295"/>
                <a:gd name="connsiteY2" fmla="*/ 1137635 h 1185828"/>
                <a:gd name="connsiteX3" fmla="*/ 1536481 w 2083295"/>
                <a:gd name="connsiteY3" fmla="*/ 1023704 h 1185828"/>
                <a:gd name="connsiteX4" fmla="*/ 1613813 w 2083295"/>
                <a:gd name="connsiteY4" fmla="*/ 1068250 h 1185828"/>
                <a:gd name="connsiteX5" fmla="*/ 1626440 w 2083295"/>
                <a:gd name="connsiteY5" fmla="*/ 1019147 h 1185828"/>
                <a:gd name="connsiteX6" fmla="*/ 1832853 w 2083295"/>
                <a:gd name="connsiteY6" fmla="*/ 1118495 h 1185828"/>
                <a:gd name="connsiteX7" fmla="*/ 1846984 w 2083295"/>
                <a:gd name="connsiteY7" fmla="*/ 1087392 h 1185828"/>
                <a:gd name="connsiteX8" fmla="*/ 2040247 w 2083295"/>
                <a:gd name="connsiteY8" fmla="*/ 1185828 h 1185828"/>
                <a:gd name="connsiteX9" fmla="*/ 2083295 w 2083295"/>
                <a:gd name="connsiteY9" fmla="*/ 1087734 h 1185828"/>
                <a:gd name="connsiteX10" fmla="*/ 1891814 w 2083295"/>
                <a:gd name="connsiteY10" fmla="*/ 991803 h 1185828"/>
                <a:gd name="connsiteX11" fmla="*/ 1894089 w 2083295"/>
                <a:gd name="connsiteY11" fmla="*/ 955801 h 1185828"/>
                <a:gd name="connsiteX12" fmla="*/ 1698405 w 2083295"/>
                <a:gd name="connsiteY12" fmla="*/ 859643 h 1185828"/>
                <a:gd name="connsiteX13" fmla="*/ 1719801 w 2083295"/>
                <a:gd name="connsiteY13" fmla="*/ 817033 h 1185828"/>
                <a:gd name="connsiteX14" fmla="*/ 1650860 w 2083295"/>
                <a:gd name="connsiteY14" fmla="*/ 782170 h 1185828"/>
                <a:gd name="connsiteX15" fmla="*/ 1672698 w 2083295"/>
                <a:gd name="connsiteY15" fmla="*/ 733294 h 1185828"/>
                <a:gd name="connsiteX16" fmla="*/ 1651499 w 2083295"/>
                <a:gd name="connsiteY16" fmla="*/ 721330 h 1185828"/>
                <a:gd name="connsiteX17" fmla="*/ 1680414 w 2083295"/>
                <a:gd name="connsiteY17" fmla="*/ 665390 h 1185828"/>
                <a:gd name="connsiteX18" fmla="*/ 1512537 w 2083295"/>
                <a:gd name="connsiteY18" fmla="*/ 580170 h 1185828"/>
                <a:gd name="connsiteX19" fmla="*/ 1493696 w 2083295"/>
                <a:gd name="connsiteY19" fmla="*/ 592133 h 1185828"/>
                <a:gd name="connsiteX20" fmla="*/ 1298305 w 2083295"/>
                <a:gd name="connsiteY20" fmla="*/ 499849 h 1185828"/>
                <a:gd name="connsiteX21" fmla="*/ 1315506 w 2083295"/>
                <a:gd name="connsiteY21" fmla="*/ 448130 h 1185828"/>
                <a:gd name="connsiteX22" fmla="*/ 469686 w 2083295"/>
                <a:gd name="connsiteY22" fmla="*/ 10512 h 1185828"/>
                <a:gd name="connsiteX23" fmla="*/ 379399 w 2083295"/>
                <a:gd name="connsiteY23" fmla="*/ 200055 h 1185828"/>
                <a:gd name="connsiteX24" fmla="*/ 15418 w 2083295"/>
                <a:gd name="connsiteY24" fmla="*/ 0 h 1185828"/>
                <a:gd name="connsiteX25" fmla="*/ 0 w 2083295"/>
                <a:gd name="connsiteY25" fmla="*/ 178855 h 1185828"/>
                <a:gd name="connsiteX26" fmla="*/ 108806 w 2083295"/>
                <a:gd name="connsiteY26" fmla="*/ 240427 h 1185828"/>
                <a:gd name="connsiteX27" fmla="*/ 309001 w 2083295"/>
                <a:gd name="connsiteY27" fmla="*/ 340915 h 1185828"/>
                <a:gd name="connsiteX28" fmla="*/ 425767 w 2083295"/>
                <a:gd name="connsiteY28" fmla="*/ 472939 h 1185828"/>
                <a:gd name="connsiteX29" fmla="*/ 530646 w 2083295"/>
                <a:gd name="connsiteY29" fmla="*/ 597252 h 1185828"/>
                <a:gd name="connsiteX30" fmla="*/ 732948 w 2083295"/>
                <a:gd name="connsiteY30" fmla="*/ 692621 h 1185828"/>
                <a:gd name="connsiteX31" fmla="*/ 721172 w 2083295"/>
                <a:gd name="connsiteY31" fmla="*/ 723724 h 1185828"/>
                <a:gd name="connsiteX32" fmla="*/ 890750 w 2083295"/>
                <a:gd name="connsiteY32" fmla="*/ 833781 h 1185828"/>
                <a:gd name="connsiteX33" fmla="*/ 1284610 w 2083295"/>
                <a:gd name="connsiteY33" fmla="*/ 1015829 h 1185828"/>
                <a:gd name="connsiteX0" fmla="*/ 1284610 w 2083295"/>
                <a:gd name="connsiteY0" fmla="*/ 1005317 h 1175316"/>
                <a:gd name="connsiteX1" fmla="*/ 1291144 w 2083295"/>
                <a:gd name="connsiteY1" fmla="*/ 1026635 h 1175316"/>
                <a:gd name="connsiteX2" fmla="*/ 1482507 w 2083295"/>
                <a:gd name="connsiteY2" fmla="*/ 1127123 h 1175316"/>
                <a:gd name="connsiteX3" fmla="*/ 1536481 w 2083295"/>
                <a:gd name="connsiteY3" fmla="*/ 1013192 h 1175316"/>
                <a:gd name="connsiteX4" fmla="*/ 1613813 w 2083295"/>
                <a:gd name="connsiteY4" fmla="*/ 1057738 h 1175316"/>
                <a:gd name="connsiteX5" fmla="*/ 1626440 w 2083295"/>
                <a:gd name="connsiteY5" fmla="*/ 1008635 h 1175316"/>
                <a:gd name="connsiteX6" fmla="*/ 1832853 w 2083295"/>
                <a:gd name="connsiteY6" fmla="*/ 1107983 h 1175316"/>
                <a:gd name="connsiteX7" fmla="*/ 1846984 w 2083295"/>
                <a:gd name="connsiteY7" fmla="*/ 1076880 h 1175316"/>
                <a:gd name="connsiteX8" fmla="*/ 2040247 w 2083295"/>
                <a:gd name="connsiteY8" fmla="*/ 1175316 h 1175316"/>
                <a:gd name="connsiteX9" fmla="*/ 2083295 w 2083295"/>
                <a:gd name="connsiteY9" fmla="*/ 1077222 h 1175316"/>
                <a:gd name="connsiteX10" fmla="*/ 1891814 w 2083295"/>
                <a:gd name="connsiteY10" fmla="*/ 981291 h 1175316"/>
                <a:gd name="connsiteX11" fmla="*/ 1894089 w 2083295"/>
                <a:gd name="connsiteY11" fmla="*/ 945289 h 1175316"/>
                <a:gd name="connsiteX12" fmla="*/ 1698405 w 2083295"/>
                <a:gd name="connsiteY12" fmla="*/ 849131 h 1175316"/>
                <a:gd name="connsiteX13" fmla="*/ 1719801 w 2083295"/>
                <a:gd name="connsiteY13" fmla="*/ 806521 h 1175316"/>
                <a:gd name="connsiteX14" fmla="*/ 1650860 w 2083295"/>
                <a:gd name="connsiteY14" fmla="*/ 771658 h 1175316"/>
                <a:gd name="connsiteX15" fmla="*/ 1672698 w 2083295"/>
                <a:gd name="connsiteY15" fmla="*/ 722782 h 1175316"/>
                <a:gd name="connsiteX16" fmla="*/ 1651499 w 2083295"/>
                <a:gd name="connsiteY16" fmla="*/ 710818 h 1175316"/>
                <a:gd name="connsiteX17" fmla="*/ 1680414 w 2083295"/>
                <a:gd name="connsiteY17" fmla="*/ 654878 h 1175316"/>
                <a:gd name="connsiteX18" fmla="*/ 1512537 w 2083295"/>
                <a:gd name="connsiteY18" fmla="*/ 569658 h 1175316"/>
                <a:gd name="connsiteX19" fmla="*/ 1493696 w 2083295"/>
                <a:gd name="connsiteY19" fmla="*/ 581621 h 1175316"/>
                <a:gd name="connsiteX20" fmla="*/ 1298305 w 2083295"/>
                <a:gd name="connsiteY20" fmla="*/ 489337 h 1175316"/>
                <a:gd name="connsiteX21" fmla="*/ 1315506 w 2083295"/>
                <a:gd name="connsiteY21" fmla="*/ 437618 h 1175316"/>
                <a:gd name="connsiteX22" fmla="*/ 469686 w 2083295"/>
                <a:gd name="connsiteY22" fmla="*/ 0 h 1175316"/>
                <a:gd name="connsiteX23" fmla="*/ 379399 w 2083295"/>
                <a:gd name="connsiteY23" fmla="*/ 189543 h 1175316"/>
                <a:gd name="connsiteX24" fmla="*/ 0 w 2083295"/>
                <a:gd name="connsiteY24" fmla="*/ 168343 h 1175316"/>
                <a:gd name="connsiteX25" fmla="*/ 108806 w 2083295"/>
                <a:gd name="connsiteY25" fmla="*/ 229915 h 1175316"/>
                <a:gd name="connsiteX26" fmla="*/ 309001 w 2083295"/>
                <a:gd name="connsiteY26" fmla="*/ 330403 h 1175316"/>
                <a:gd name="connsiteX27" fmla="*/ 425767 w 2083295"/>
                <a:gd name="connsiteY27" fmla="*/ 462427 h 1175316"/>
                <a:gd name="connsiteX28" fmla="*/ 530646 w 2083295"/>
                <a:gd name="connsiteY28" fmla="*/ 586740 h 1175316"/>
                <a:gd name="connsiteX29" fmla="*/ 732948 w 2083295"/>
                <a:gd name="connsiteY29" fmla="*/ 682109 h 1175316"/>
                <a:gd name="connsiteX30" fmla="*/ 721172 w 2083295"/>
                <a:gd name="connsiteY30" fmla="*/ 713212 h 1175316"/>
                <a:gd name="connsiteX31" fmla="*/ 890750 w 2083295"/>
                <a:gd name="connsiteY31" fmla="*/ 823269 h 1175316"/>
                <a:gd name="connsiteX32" fmla="*/ 1284610 w 2083295"/>
                <a:gd name="connsiteY32" fmla="*/ 1005317 h 1175316"/>
                <a:gd name="connsiteX0" fmla="*/ 1175804 w 1974489"/>
                <a:gd name="connsiteY0" fmla="*/ 1005317 h 1175316"/>
                <a:gd name="connsiteX1" fmla="*/ 1182338 w 1974489"/>
                <a:gd name="connsiteY1" fmla="*/ 1026635 h 1175316"/>
                <a:gd name="connsiteX2" fmla="*/ 1373701 w 1974489"/>
                <a:gd name="connsiteY2" fmla="*/ 1127123 h 1175316"/>
                <a:gd name="connsiteX3" fmla="*/ 1427675 w 1974489"/>
                <a:gd name="connsiteY3" fmla="*/ 1013192 h 1175316"/>
                <a:gd name="connsiteX4" fmla="*/ 1505007 w 1974489"/>
                <a:gd name="connsiteY4" fmla="*/ 1057738 h 1175316"/>
                <a:gd name="connsiteX5" fmla="*/ 1517634 w 1974489"/>
                <a:gd name="connsiteY5" fmla="*/ 1008635 h 1175316"/>
                <a:gd name="connsiteX6" fmla="*/ 1724047 w 1974489"/>
                <a:gd name="connsiteY6" fmla="*/ 1107983 h 1175316"/>
                <a:gd name="connsiteX7" fmla="*/ 1738178 w 1974489"/>
                <a:gd name="connsiteY7" fmla="*/ 1076880 h 1175316"/>
                <a:gd name="connsiteX8" fmla="*/ 1931441 w 1974489"/>
                <a:gd name="connsiteY8" fmla="*/ 1175316 h 1175316"/>
                <a:gd name="connsiteX9" fmla="*/ 1974489 w 1974489"/>
                <a:gd name="connsiteY9" fmla="*/ 1077222 h 1175316"/>
                <a:gd name="connsiteX10" fmla="*/ 1783008 w 1974489"/>
                <a:gd name="connsiteY10" fmla="*/ 981291 h 1175316"/>
                <a:gd name="connsiteX11" fmla="*/ 1785283 w 1974489"/>
                <a:gd name="connsiteY11" fmla="*/ 945289 h 1175316"/>
                <a:gd name="connsiteX12" fmla="*/ 1589599 w 1974489"/>
                <a:gd name="connsiteY12" fmla="*/ 849131 h 1175316"/>
                <a:gd name="connsiteX13" fmla="*/ 1610995 w 1974489"/>
                <a:gd name="connsiteY13" fmla="*/ 806521 h 1175316"/>
                <a:gd name="connsiteX14" fmla="*/ 1542054 w 1974489"/>
                <a:gd name="connsiteY14" fmla="*/ 771658 h 1175316"/>
                <a:gd name="connsiteX15" fmla="*/ 1563892 w 1974489"/>
                <a:gd name="connsiteY15" fmla="*/ 722782 h 1175316"/>
                <a:gd name="connsiteX16" fmla="*/ 1542693 w 1974489"/>
                <a:gd name="connsiteY16" fmla="*/ 710818 h 1175316"/>
                <a:gd name="connsiteX17" fmla="*/ 1571608 w 1974489"/>
                <a:gd name="connsiteY17" fmla="*/ 654878 h 1175316"/>
                <a:gd name="connsiteX18" fmla="*/ 1403731 w 1974489"/>
                <a:gd name="connsiteY18" fmla="*/ 569658 h 1175316"/>
                <a:gd name="connsiteX19" fmla="*/ 1384890 w 1974489"/>
                <a:gd name="connsiteY19" fmla="*/ 581621 h 1175316"/>
                <a:gd name="connsiteX20" fmla="*/ 1189499 w 1974489"/>
                <a:gd name="connsiteY20" fmla="*/ 489337 h 1175316"/>
                <a:gd name="connsiteX21" fmla="*/ 1206700 w 1974489"/>
                <a:gd name="connsiteY21" fmla="*/ 437618 h 1175316"/>
                <a:gd name="connsiteX22" fmla="*/ 360880 w 1974489"/>
                <a:gd name="connsiteY22" fmla="*/ 0 h 1175316"/>
                <a:gd name="connsiteX23" fmla="*/ 270593 w 1974489"/>
                <a:gd name="connsiteY23" fmla="*/ 189543 h 1175316"/>
                <a:gd name="connsiteX24" fmla="*/ 0 w 1974489"/>
                <a:gd name="connsiteY24" fmla="*/ 229915 h 1175316"/>
                <a:gd name="connsiteX25" fmla="*/ 200195 w 1974489"/>
                <a:gd name="connsiteY25" fmla="*/ 330403 h 1175316"/>
                <a:gd name="connsiteX26" fmla="*/ 316961 w 1974489"/>
                <a:gd name="connsiteY26" fmla="*/ 462427 h 1175316"/>
                <a:gd name="connsiteX27" fmla="*/ 421840 w 1974489"/>
                <a:gd name="connsiteY27" fmla="*/ 586740 h 1175316"/>
                <a:gd name="connsiteX28" fmla="*/ 624142 w 1974489"/>
                <a:gd name="connsiteY28" fmla="*/ 682109 h 1175316"/>
                <a:gd name="connsiteX29" fmla="*/ 612366 w 1974489"/>
                <a:gd name="connsiteY29" fmla="*/ 713212 h 1175316"/>
                <a:gd name="connsiteX30" fmla="*/ 781944 w 1974489"/>
                <a:gd name="connsiteY30" fmla="*/ 823269 h 1175316"/>
                <a:gd name="connsiteX31" fmla="*/ 1175804 w 1974489"/>
                <a:gd name="connsiteY31" fmla="*/ 1005317 h 1175316"/>
                <a:gd name="connsiteX0" fmla="*/ 975609 w 1774294"/>
                <a:gd name="connsiteY0" fmla="*/ 1005317 h 1175316"/>
                <a:gd name="connsiteX1" fmla="*/ 982143 w 1774294"/>
                <a:gd name="connsiteY1" fmla="*/ 1026635 h 1175316"/>
                <a:gd name="connsiteX2" fmla="*/ 1173506 w 1774294"/>
                <a:gd name="connsiteY2" fmla="*/ 1127123 h 1175316"/>
                <a:gd name="connsiteX3" fmla="*/ 1227480 w 1774294"/>
                <a:gd name="connsiteY3" fmla="*/ 1013192 h 1175316"/>
                <a:gd name="connsiteX4" fmla="*/ 1304812 w 1774294"/>
                <a:gd name="connsiteY4" fmla="*/ 1057738 h 1175316"/>
                <a:gd name="connsiteX5" fmla="*/ 1317439 w 1774294"/>
                <a:gd name="connsiteY5" fmla="*/ 1008635 h 1175316"/>
                <a:gd name="connsiteX6" fmla="*/ 1523852 w 1774294"/>
                <a:gd name="connsiteY6" fmla="*/ 1107983 h 1175316"/>
                <a:gd name="connsiteX7" fmla="*/ 1537983 w 1774294"/>
                <a:gd name="connsiteY7" fmla="*/ 1076880 h 1175316"/>
                <a:gd name="connsiteX8" fmla="*/ 1731246 w 1774294"/>
                <a:gd name="connsiteY8" fmla="*/ 1175316 h 1175316"/>
                <a:gd name="connsiteX9" fmla="*/ 1774294 w 1774294"/>
                <a:gd name="connsiteY9" fmla="*/ 1077222 h 1175316"/>
                <a:gd name="connsiteX10" fmla="*/ 1582813 w 1774294"/>
                <a:gd name="connsiteY10" fmla="*/ 981291 h 1175316"/>
                <a:gd name="connsiteX11" fmla="*/ 1585088 w 1774294"/>
                <a:gd name="connsiteY11" fmla="*/ 945289 h 1175316"/>
                <a:gd name="connsiteX12" fmla="*/ 1389404 w 1774294"/>
                <a:gd name="connsiteY12" fmla="*/ 849131 h 1175316"/>
                <a:gd name="connsiteX13" fmla="*/ 1410800 w 1774294"/>
                <a:gd name="connsiteY13" fmla="*/ 806521 h 1175316"/>
                <a:gd name="connsiteX14" fmla="*/ 1341859 w 1774294"/>
                <a:gd name="connsiteY14" fmla="*/ 771658 h 1175316"/>
                <a:gd name="connsiteX15" fmla="*/ 1363697 w 1774294"/>
                <a:gd name="connsiteY15" fmla="*/ 722782 h 1175316"/>
                <a:gd name="connsiteX16" fmla="*/ 1342498 w 1774294"/>
                <a:gd name="connsiteY16" fmla="*/ 710818 h 1175316"/>
                <a:gd name="connsiteX17" fmla="*/ 1371413 w 1774294"/>
                <a:gd name="connsiteY17" fmla="*/ 654878 h 1175316"/>
                <a:gd name="connsiteX18" fmla="*/ 1203536 w 1774294"/>
                <a:gd name="connsiteY18" fmla="*/ 569658 h 1175316"/>
                <a:gd name="connsiteX19" fmla="*/ 1184695 w 1774294"/>
                <a:gd name="connsiteY19" fmla="*/ 581621 h 1175316"/>
                <a:gd name="connsiteX20" fmla="*/ 989304 w 1774294"/>
                <a:gd name="connsiteY20" fmla="*/ 489337 h 1175316"/>
                <a:gd name="connsiteX21" fmla="*/ 1006505 w 1774294"/>
                <a:gd name="connsiteY21" fmla="*/ 437618 h 1175316"/>
                <a:gd name="connsiteX22" fmla="*/ 160685 w 1774294"/>
                <a:gd name="connsiteY22" fmla="*/ 0 h 1175316"/>
                <a:gd name="connsiteX23" fmla="*/ 70398 w 1774294"/>
                <a:gd name="connsiteY23" fmla="*/ 189543 h 1175316"/>
                <a:gd name="connsiteX24" fmla="*/ 0 w 1774294"/>
                <a:gd name="connsiteY24" fmla="*/ 330403 h 1175316"/>
                <a:gd name="connsiteX25" fmla="*/ 116766 w 1774294"/>
                <a:gd name="connsiteY25" fmla="*/ 462427 h 1175316"/>
                <a:gd name="connsiteX26" fmla="*/ 221645 w 1774294"/>
                <a:gd name="connsiteY26" fmla="*/ 586740 h 1175316"/>
                <a:gd name="connsiteX27" fmla="*/ 423947 w 1774294"/>
                <a:gd name="connsiteY27" fmla="*/ 682109 h 1175316"/>
                <a:gd name="connsiteX28" fmla="*/ 412171 w 1774294"/>
                <a:gd name="connsiteY28" fmla="*/ 713212 h 1175316"/>
                <a:gd name="connsiteX29" fmla="*/ 581749 w 1774294"/>
                <a:gd name="connsiteY29" fmla="*/ 823269 h 1175316"/>
                <a:gd name="connsiteX30" fmla="*/ 975609 w 1774294"/>
                <a:gd name="connsiteY30" fmla="*/ 1005317 h 1175316"/>
                <a:gd name="connsiteX0" fmla="*/ 975609 w 1774294"/>
                <a:gd name="connsiteY0" fmla="*/ 995748 h 1165747"/>
                <a:gd name="connsiteX1" fmla="*/ 982143 w 1774294"/>
                <a:gd name="connsiteY1" fmla="*/ 1017066 h 1165747"/>
                <a:gd name="connsiteX2" fmla="*/ 1173506 w 1774294"/>
                <a:gd name="connsiteY2" fmla="*/ 1117554 h 1165747"/>
                <a:gd name="connsiteX3" fmla="*/ 1227480 w 1774294"/>
                <a:gd name="connsiteY3" fmla="*/ 1003623 h 1165747"/>
                <a:gd name="connsiteX4" fmla="*/ 1304812 w 1774294"/>
                <a:gd name="connsiteY4" fmla="*/ 1048169 h 1165747"/>
                <a:gd name="connsiteX5" fmla="*/ 1317439 w 1774294"/>
                <a:gd name="connsiteY5" fmla="*/ 999066 h 1165747"/>
                <a:gd name="connsiteX6" fmla="*/ 1523852 w 1774294"/>
                <a:gd name="connsiteY6" fmla="*/ 1098414 h 1165747"/>
                <a:gd name="connsiteX7" fmla="*/ 1537983 w 1774294"/>
                <a:gd name="connsiteY7" fmla="*/ 1067311 h 1165747"/>
                <a:gd name="connsiteX8" fmla="*/ 1731246 w 1774294"/>
                <a:gd name="connsiteY8" fmla="*/ 1165747 h 1165747"/>
                <a:gd name="connsiteX9" fmla="*/ 1774294 w 1774294"/>
                <a:gd name="connsiteY9" fmla="*/ 1067653 h 1165747"/>
                <a:gd name="connsiteX10" fmla="*/ 1582813 w 1774294"/>
                <a:gd name="connsiteY10" fmla="*/ 971722 h 1165747"/>
                <a:gd name="connsiteX11" fmla="*/ 1585088 w 1774294"/>
                <a:gd name="connsiteY11" fmla="*/ 935720 h 1165747"/>
                <a:gd name="connsiteX12" fmla="*/ 1389404 w 1774294"/>
                <a:gd name="connsiteY12" fmla="*/ 839562 h 1165747"/>
                <a:gd name="connsiteX13" fmla="*/ 1410800 w 1774294"/>
                <a:gd name="connsiteY13" fmla="*/ 796952 h 1165747"/>
                <a:gd name="connsiteX14" fmla="*/ 1341859 w 1774294"/>
                <a:gd name="connsiteY14" fmla="*/ 762089 h 1165747"/>
                <a:gd name="connsiteX15" fmla="*/ 1363697 w 1774294"/>
                <a:gd name="connsiteY15" fmla="*/ 713213 h 1165747"/>
                <a:gd name="connsiteX16" fmla="*/ 1342498 w 1774294"/>
                <a:gd name="connsiteY16" fmla="*/ 701249 h 1165747"/>
                <a:gd name="connsiteX17" fmla="*/ 1371413 w 1774294"/>
                <a:gd name="connsiteY17" fmla="*/ 645309 h 1165747"/>
                <a:gd name="connsiteX18" fmla="*/ 1203536 w 1774294"/>
                <a:gd name="connsiteY18" fmla="*/ 560089 h 1165747"/>
                <a:gd name="connsiteX19" fmla="*/ 1184695 w 1774294"/>
                <a:gd name="connsiteY19" fmla="*/ 572052 h 1165747"/>
                <a:gd name="connsiteX20" fmla="*/ 989304 w 1774294"/>
                <a:gd name="connsiteY20" fmla="*/ 479768 h 1165747"/>
                <a:gd name="connsiteX21" fmla="*/ 1006505 w 1774294"/>
                <a:gd name="connsiteY21" fmla="*/ 428049 h 1165747"/>
                <a:gd name="connsiteX22" fmla="*/ 155972 w 1774294"/>
                <a:gd name="connsiteY22" fmla="*/ 0 h 1165747"/>
                <a:gd name="connsiteX23" fmla="*/ 70398 w 1774294"/>
                <a:gd name="connsiteY23" fmla="*/ 179974 h 1165747"/>
                <a:gd name="connsiteX24" fmla="*/ 0 w 1774294"/>
                <a:gd name="connsiteY24" fmla="*/ 320834 h 1165747"/>
                <a:gd name="connsiteX25" fmla="*/ 116766 w 1774294"/>
                <a:gd name="connsiteY25" fmla="*/ 452858 h 1165747"/>
                <a:gd name="connsiteX26" fmla="*/ 221645 w 1774294"/>
                <a:gd name="connsiteY26" fmla="*/ 577171 h 1165747"/>
                <a:gd name="connsiteX27" fmla="*/ 423947 w 1774294"/>
                <a:gd name="connsiteY27" fmla="*/ 672540 h 1165747"/>
                <a:gd name="connsiteX28" fmla="*/ 412171 w 1774294"/>
                <a:gd name="connsiteY28" fmla="*/ 703643 h 1165747"/>
                <a:gd name="connsiteX29" fmla="*/ 581749 w 1774294"/>
                <a:gd name="connsiteY29" fmla="*/ 813700 h 1165747"/>
                <a:gd name="connsiteX30" fmla="*/ 975609 w 1774294"/>
                <a:gd name="connsiteY30" fmla="*/ 995748 h 1165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774294" h="1165747">
                  <a:moveTo>
                    <a:pt x="975609" y="995748"/>
                  </a:moveTo>
                  <a:lnTo>
                    <a:pt x="982143" y="1017066"/>
                  </a:lnTo>
                  <a:lnTo>
                    <a:pt x="1173506" y="1117554"/>
                  </a:lnTo>
                  <a:lnTo>
                    <a:pt x="1227480" y="1003623"/>
                  </a:lnTo>
                  <a:lnTo>
                    <a:pt x="1304812" y="1048169"/>
                  </a:lnTo>
                  <a:lnTo>
                    <a:pt x="1317439" y="999066"/>
                  </a:lnTo>
                  <a:lnTo>
                    <a:pt x="1523852" y="1098414"/>
                  </a:lnTo>
                  <a:lnTo>
                    <a:pt x="1537983" y="1067311"/>
                  </a:lnTo>
                  <a:lnTo>
                    <a:pt x="1731246" y="1165747"/>
                  </a:lnTo>
                  <a:lnTo>
                    <a:pt x="1774294" y="1067653"/>
                  </a:lnTo>
                  <a:lnTo>
                    <a:pt x="1582813" y="971722"/>
                  </a:lnTo>
                  <a:lnTo>
                    <a:pt x="1585088" y="935720"/>
                  </a:lnTo>
                  <a:lnTo>
                    <a:pt x="1389404" y="839562"/>
                  </a:lnTo>
                  <a:lnTo>
                    <a:pt x="1410800" y="796952"/>
                  </a:lnTo>
                  <a:lnTo>
                    <a:pt x="1341859" y="762089"/>
                  </a:lnTo>
                  <a:lnTo>
                    <a:pt x="1363697" y="713213"/>
                  </a:lnTo>
                  <a:lnTo>
                    <a:pt x="1342498" y="701249"/>
                  </a:lnTo>
                  <a:lnTo>
                    <a:pt x="1371413" y="645309"/>
                  </a:lnTo>
                  <a:lnTo>
                    <a:pt x="1203536" y="560089"/>
                  </a:lnTo>
                  <a:lnTo>
                    <a:pt x="1184695" y="572052"/>
                  </a:lnTo>
                  <a:lnTo>
                    <a:pt x="989304" y="479768"/>
                  </a:lnTo>
                  <a:lnTo>
                    <a:pt x="1006505" y="428049"/>
                  </a:lnTo>
                  <a:lnTo>
                    <a:pt x="155972" y="0"/>
                  </a:lnTo>
                  <a:lnTo>
                    <a:pt x="70398" y="179974"/>
                  </a:lnTo>
                  <a:lnTo>
                    <a:pt x="0" y="320834"/>
                  </a:lnTo>
                  <a:lnTo>
                    <a:pt x="116766" y="452858"/>
                  </a:lnTo>
                  <a:lnTo>
                    <a:pt x="221645" y="577171"/>
                  </a:lnTo>
                  <a:lnTo>
                    <a:pt x="423947" y="672540"/>
                  </a:lnTo>
                  <a:lnTo>
                    <a:pt x="412171" y="703643"/>
                  </a:lnTo>
                  <a:lnTo>
                    <a:pt x="581749" y="813700"/>
                  </a:lnTo>
                  <a:lnTo>
                    <a:pt x="975609" y="995748"/>
                  </a:lnTo>
                  <a:close/>
                </a:path>
              </a:pathLst>
            </a:custGeom>
            <a:solidFill>
              <a:srgbClr val="008000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DE" sz="6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6" name="Text_G014/T112S">
              <a:extLst>
                <a:ext uri="{FF2B5EF4-FFF2-40B4-BE49-F238E27FC236}">
                  <a16:creationId xmlns:a16="http://schemas.microsoft.com/office/drawing/2014/main" id="{162C5E44-66D8-417A-A1E8-3ADBA391C83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366917" y="5654373"/>
              <a:ext cx="25024" cy="24243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de-DE" dirty="0"/>
            </a:p>
          </p:txBody>
        </p:sp>
        <p:sp>
          <p:nvSpPr>
            <p:cNvPr id="37" name="Text_G014/T112S">
              <a:extLst>
                <a:ext uri="{FF2B5EF4-FFF2-40B4-BE49-F238E27FC236}">
                  <a16:creationId xmlns:a16="http://schemas.microsoft.com/office/drawing/2014/main" id="{E7D66DD5-D67A-419D-8B40-4C867D5CDEDC}"/>
                </a:ext>
              </a:extLst>
            </p:cNvPr>
            <p:cNvSpPr/>
            <p:nvPr/>
          </p:nvSpPr>
          <p:spPr>
            <a:xfrm>
              <a:off x="8615743" y="5550032"/>
              <a:ext cx="932637" cy="189624"/>
            </a:xfrm>
            <a:prstGeom prst="borderCallout1">
              <a:avLst>
                <a:gd name="adj1" fmla="val 46220"/>
                <a:gd name="adj2" fmla="val -43"/>
                <a:gd name="adj3" fmla="val 62304"/>
                <a:gd name="adj4" fmla="val -133310"/>
              </a:avLst>
            </a:prstGeom>
            <a:solidFill>
              <a:schemeClr val="tx2">
                <a:lumMod val="20000"/>
                <a:lumOff val="80000"/>
              </a:schemeClr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257312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 smtClean="0">
                  <a:solidFill>
                    <a:sysClr val="windowText" lastClr="000000"/>
                  </a:solidFill>
                </a:rPr>
                <a:t>(G014</a:t>
              </a:r>
              <a:r>
                <a:rPr lang="de-DE" sz="800" dirty="0">
                  <a:solidFill>
                    <a:sysClr val="windowText" lastClr="000000"/>
                  </a:solidFill>
                </a:rPr>
                <a:t>)</a:t>
              </a:r>
            </a:p>
          </p:txBody>
        </p:sp>
        <p:sp>
          <p:nvSpPr>
            <p:cNvPr id="38" name="Text_G004/T104N/T112N">
              <a:extLst>
                <a:ext uri="{FF2B5EF4-FFF2-40B4-BE49-F238E27FC236}">
                  <a16:creationId xmlns:a16="http://schemas.microsoft.com/office/drawing/2014/main" id="{D0076D72-366B-4442-8D2B-31C50674F81A}"/>
                </a:ext>
              </a:extLst>
            </p:cNvPr>
            <p:cNvSpPr/>
            <p:nvPr/>
          </p:nvSpPr>
          <p:spPr>
            <a:xfrm>
              <a:off x="5051817" y="5390608"/>
              <a:ext cx="938888" cy="196286"/>
            </a:xfrm>
            <a:prstGeom prst="borderCallout1">
              <a:avLst>
                <a:gd name="adj1" fmla="val -261"/>
                <a:gd name="adj2" fmla="val 75658"/>
                <a:gd name="adj3" fmla="val -168832"/>
                <a:gd name="adj4" fmla="val 92947"/>
              </a:avLst>
            </a:prstGeom>
            <a:solidFill>
              <a:schemeClr val="tx2">
                <a:lumMod val="20000"/>
                <a:lumOff val="80000"/>
              </a:schemeClr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257312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>
                  <a:solidFill>
                    <a:sysClr val="windowText" lastClr="000000"/>
                  </a:solidFill>
                </a:rPr>
                <a:t>H0705A (G004)</a:t>
              </a:r>
            </a:p>
          </p:txBody>
        </p:sp>
        <p:sp>
          <p:nvSpPr>
            <p:cNvPr id="39" name="Text_G004/T104N/T112N">
              <a:extLst>
                <a:ext uri="{FF2B5EF4-FFF2-40B4-BE49-F238E27FC236}">
                  <a16:creationId xmlns:a16="http://schemas.microsoft.com/office/drawing/2014/main" id="{2F1F664A-6D0E-4BC8-978D-928D4A628E3E}"/>
                </a:ext>
              </a:extLst>
            </p:cNvPr>
            <p:cNvSpPr/>
            <p:nvPr/>
          </p:nvSpPr>
          <p:spPr>
            <a:xfrm>
              <a:off x="8190634" y="5290528"/>
              <a:ext cx="931173" cy="170627"/>
            </a:xfrm>
            <a:prstGeom prst="borderCallout1">
              <a:avLst>
                <a:gd name="adj1" fmla="val 53627"/>
                <a:gd name="adj2" fmla="val -177"/>
                <a:gd name="adj3" fmla="val 104709"/>
                <a:gd name="adj4" fmla="val -181522"/>
              </a:avLst>
            </a:prstGeom>
            <a:solidFill>
              <a:schemeClr val="tx2">
                <a:lumMod val="20000"/>
                <a:lumOff val="80000"/>
              </a:schemeClr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257312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>
                  <a:solidFill>
                    <a:sysClr val="windowText" lastClr="000000"/>
                  </a:solidFill>
                </a:rPr>
                <a:t>K0617A (T104)</a:t>
              </a:r>
            </a:p>
          </p:txBody>
        </p:sp>
        <p:sp>
          <p:nvSpPr>
            <p:cNvPr id="40" name="Text_G004/T104N/T112N">
              <a:extLst>
                <a:ext uri="{FF2B5EF4-FFF2-40B4-BE49-F238E27FC236}">
                  <a16:creationId xmlns:a16="http://schemas.microsoft.com/office/drawing/2014/main" id="{B3A32146-612D-4FC5-92B3-2D1467C22A06}"/>
                </a:ext>
              </a:extLst>
            </p:cNvPr>
            <p:cNvSpPr/>
            <p:nvPr/>
          </p:nvSpPr>
          <p:spPr>
            <a:xfrm>
              <a:off x="8193258" y="5070127"/>
              <a:ext cx="931173" cy="172505"/>
            </a:xfrm>
            <a:prstGeom prst="borderCallout1">
              <a:avLst>
                <a:gd name="adj1" fmla="val 81984"/>
                <a:gd name="adj2" fmla="val -676"/>
                <a:gd name="adj3" fmla="val 138545"/>
                <a:gd name="adj4" fmla="val -175621"/>
              </a:avLst>
            </a:prstGeom>
            <a:solidFill>
              <a:schemeClr val="tx2">
                <a:lumMod val="20000"/>
                <a:lumOff val="80000"/>
              </a:schemeClr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257312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DE" sz="8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1" name="Text_G004/T104N/T112N">
              <a:extLst>
                <a:ext uri="{FF2B5EF4-FFF2-40B4-BE49-F238E27FC236}">
                  <a16:creationId xmlns:a16="http://schemas.microsoft.com/office/drawing/2014/main" id="{B6399FAA-6A41-4A8C-B6E8-C22E256CA7A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908764" y="5052509"/>
              <a:ext cx="25011" cy="24041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de-DE" dirty="0"/>
            </a:p>
          </p:txBody>
        </p:sp>
        <p:sp>
          <p:nvSpPr>
            <p:cNvPr id="42" name="Text_G004/T104N/T112N">
              <a:extLst>
                <a:ext uri="{FF2B5EF4-FFF2-40B4-BE49-F238E27FC236}">
                  <a16:creationId xmlns:a16="http://schemas.microsoft.com/office/drawing/2014/main" id="{52A280CE-1D0F-4C8D-819C-D4206C63CB8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469570" y="5452571"/>
              <a:ext cx="25011" cy="24041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de-DE" dirty="0"/>
            </a:p>
          </p:txBody>
        </p:sp>
        <p:sp>
          <p:nvSpPr>
            <p:cNvPr id="43" name="Text_G004/T104N/T112N">
              <a:extLst>
                <a:ext uri="{FF2B5EF4-FFF2-40B4-BE49-F238E27FC236}">
                  <a16:creationId xmlns:a16="http://schemas.microsoft.com/office/drawing/2014/main" id="{046F0816-41C2-4B95-9F72-CD51BF1CB7B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41492" y="5295384"/>
              <a:ext cx="25011" cy="24041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de-DE" dirty="0"/>
            </a:p>
          </p:txBody>
        </p:sp>
        <p:sp>
          <p:nvSpPr>
            <p:cNvPr id="44" name="Text_G004A/T101">
              <a:extLst>
                <a:ext uri="{FF2B5EF4-FFF2-40B4-BE49-F238E27FC236}">
                  <a16:creationId xmlns:a16="http://schemas.microsoft.com/office/drawing/2014/main" id="{F40603CA-490B-43DD-982A-6682D17D7FF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631009" y="5248928"/>
              <a:ext cx="24872" cy="24576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de-DE" dirty="0"/>
            </a:p>
          </p:txBody>
        </p:sp>
        <p:sp>
          <p:nvSpPr>
            <p:cNvPr id="45" name="Text_G004A/T101">
              <a:extLst>
                <a:ext uri="{FF2B5EF4-FFF2-40B4-BE49-F238E27FC236}">
                  <a16:creationId xmlns:a16="http://schemas.microsoft.com/office/drawing/2014/main" id="{2D142CFA-7EAE-4D7D-96DD-13B9A575649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80222" y="5016728"/>
              <a:ext cx="24872" cy="24576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de-DE" dirty="0"/>
            </a:p>
          </p:txBody>
        </p:sp>
        <p:sp>
          <p:nvSpPr>
            <p:cNvPr id="46" name="Text_G004A/T101">
              <a:extLst>
                <a:ext uri="{FF2B5EF4-FFF2-40B4-BE49-F238E27FC236}">
                  <a16:creationId xmlns:a16="http://schemas.microsoft.com/office/drawing/2014/main" id="{8F2E6405-3A18-4506-81C1-48A5C3ACE7D9}"/>
                </a:ext>
              </a:extLst>
            </p:cNvPr>
            <p:cNvSpPr/>
            <p:nvPr/>
          </p:nvSpPr>
          <p:spPr>
            <a:xfrm>
              <a:off x="3257090" y="5201846"/>
              <a:ext cx="926729" cy="184153"/>
            </a:xfrm>
            <a:prstGeom prst="borderCallout1">
              <a:avLst>
                <a:gd name="adj1" fmla="val 51773"/>
                <a:gd name="adj2" fmla="val 99537"/>
                <a:gd name="adj3" fmla="val 30028"/>
                <a:gd name="adj4" fmla="val 148292"/>
              </a:avLst>
            </a:prstGeom>
            <a:solidFill>
              <a:schemeClr val="tx2">
                <a:lumMod val="20000"/>
                <a:lumOff val="80000"/>
              </a:schemeClr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257312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>
                  <a:solidFill>
                    <a:sysClr val="windowText" lastClr="000000"/>
                  </a:solidFill>
                </a:rPr>
                <a:t>G0702A (T101)</a:t>
              </a:r>
            </a:p>
          </p:txBody>
        </p:sp>
        <p:sp>
          <p:nvSpPr>
            <p:cNvPr id="47" name="Text_T110S">
              <a:extLst>
                <a:ext uri="{FF2B5EF4-FFF2-40B4-BE49-F238E27FC236}">
                  <a16:creationId xmlns:a16="http://schemas.microsoft.com/office/drawing/2014/main" id="{39299311-FE7E-43D7-8270-5CFDDA3A61EF}"/>
                </a:ext>
              </a:extLst>
            </p:cNvPr>
            <p:cNvSpPr/>
            <p:nvPr/>
          </p:nvSpPr>
          <p:spPr>
            <a:xfrm>
              <a:off x="8065349" y="4242234"/>
              <a:ext cx="403893" cy="189245"/>
            </a:xfrm>
            <a:prstGeom prst="borderCallout2">
              <a:avLst>
                <a:gd name="adj1" fmla="val 48865"/>
                <a:gd name="adj2" fmla="val 23"/>
                <a:gd name="adj3" fmla="val 51375"/>
                <a:gd name="adj4" fmla="val -387089"/>
                <a:gd name="adj5" fmla="val 250531"/>
                <a:gd name="adj6" fmla="val -435307"/>
              </a:avLst>
            </a:prstGeom>
            <a:solidFill>
              <a:schemeClr val="tx2">
                <a:lumMod val="20000"/>
                <a:lumOff val="80000"/>
              </a:schemeClr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50400" rIns="50400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sz="800" dirty="0">
                  <a:solidFill>
                    <a:sysClr val="windowText" lastClr="000000"/>
                  </a:solidFill>
                </a:rPr>
                <a:t>T110S</a:t>
              </a:r>
            </a:p>
          </p:txBody>
        </p:sp>
        <p:sp>
          <p:nvSpPr>
            <p:cNvPr id="48" name="Text_T110S">
              <a:extLst>
                <a:ext uri="{FF2B5EF4-FFF2-40B4-BE49-F238E27FC236}">
                  <a16:creationId xmlns:a16="http://schemas.microsoft.com/office/drawing/2014/main" id="{B6C13848-DEAF-47ED-937B-09B81F9DCB7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06343" y="4706430"/>
              <a:ext cx="25109" cy="24564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de-DE" dirty="0"/>
            </a:p>
          </p:txBody>
        </p:sp>
        <p:grpSp>
          <p:nvGrpSpPr>
            <p:cNvPr id="49" name="G018/T103N/T113/T104S">
              <a:extLst>
                <a:ext uri="{FF2B5EF4-FFF2-40B4-BE49-F238E27FC236}">
                  <a16:creationId xmlns:a16="http://schemas.microsoft.com/office/drawing/2014/main" id="{A721E198-7DAD-4811-A8F5-18A8E6B3AE86}"/>
                </a:ext>
              </a:extLst>
            </p:cNvPr>
            <p:cNvGrpSpPr/>
            <p:nvPr/>
          </p:nvGrpSpPr>
          <p:grpSpPr>
            <a:xfrm>
              <a:off x="6213351" y="5458826"/>
              <a:ext cx="968736" cy="1644898"/>
              <a:chOff x="2204278" y="539572"/>
              <a:chExt cx="664246" cy="1247663"/>
            </a:xfrm>
            <a:solidFill>
              <a:srgbClr val="FFFF00"/>
            </a:solidFill>
          </p:grpSpPr>
          <p:sp>
            <p:nvSpPr>
              <p:cNvPr id="110" name="G018">
                <a:extLst>
                  <a:ext uri="{FF2B5EF4-FFF2-40B4-BE49-F238E27FC236}">
                    <a16:creationId xmlns:a16="http://schemas.microsoft.com/office/drawing/2014/main" id="{EF93B550-FB53-4565-AAD5-2D337894340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429224" y="539572"/>
                <a:ext cx="439300" cy="771436"/>
              </a:xfrm>
              <a:custGeom>
                <a:avLst/>
                <a:gdLst>
                  <a:gd name="connsiteX0" fmla="*/ 236220 w 807720"/>
                  <a:gd name="connsiteY0" fmla="*/ 1341120 h 1341120"/>
                  <a:gd name="connsiteX1" fmla="*/ 800100 w 807720"/>
                  <a:gd name="connsiteY1" fmla="*/ 1219200 h 1341120"/>
                  <a:gd name="connsiteX2" fmla="*/ 807720 w 807720"/>
                  <a:gd name="connsiteY2" fmla="*/ 1089660 h 1341120"/>
                  <a:gd name="connsiteX3" fmla="*/ 647700 w 807720"/>
                  <a:gd name="connsiteY3" fmla="*/ 312420 h 1341120"/>
                  <a:gd name="connsiteX4" fmla="*/ 160020 w 807720"/>
                  <a:gd name="connsiteY4" fmla="*/ 0 h 1341120"/>
                  <a:gd name="connsiteX5" fmla="*/ 0 w 807720"/>
                  <a:gd name="connsiteY5" fmla="*/ 160020 h 1341120"/>
                  <a:gd name="connsiteX6" fmla="*/ 236220 w 807720"/>
                  <a:gd name="connsiteY6" fmla="*/ 1341120 h 1341120"/>
                  <a:gd name="connsiteX0" fmla="*/ 236220 w 807720"/>
                  <a:gd name="connsiteY0" fmla="*/ 1341120 h 1341120"/>
                  <a:gd name="connsiteX1" fmla="*/ 739140 w 807720"/>
                  <a:gd name="connsiteY1" fmla="*/ 1242060 h 1341120"/>
                  <a:gd name="connsiteX2" fmla="*/ 800100 w 807720"/>
                  <a:gd name="connsiteY2" fmla="*/ 1219200 h 1341120"/>
                  <a:gd name="connsiteX3" fmla="*/ 807720 w 807720"/>
                  <a:gd name="connsiteY3" fmla="*/ 1089660 h 1341120"/>
                  <a:gd name="connsiteX4" fmla="*/ 647700 w 807720"/>
                  <a:gd name="connsiteY4" fmla="*/ 312420 h 1341120"/>
                  <a:gd name="connsiteX5" fmla="*/ 160020 w 807720"/>
                  <a:gd name="connsiteY5" fmla="*/ 0 h 1341120"/>
                  <a:gd name="connsiteX6" fmla="*/ 0 w 807720"/>
                  <a:gd name="connsiteY6" fmla="*/ 160020 h 1341120"/>
                  <a:gd name="connsiteX7" fmla="*/ 236220 w 807720"/>
                  <a:gd name="connsiteY7" fmla="*/ 1341120 h 1341120"/>
                  <a:gd name="connsiteX0" fmla="*/ 236220 w 807720"/>
                  <a:gd name="connsiteY0" fmla="*/ 1341120 h 1341120"/>
                  <a:gd name="connsiteX1" fmla="*/ 739140 w 807720"/>
                  <a:gd name="connsiteY1" fmla="*/ 1242060 h 1341120"/>
                  <a:gd name="connsiteX2" fmla="*/ 807720 w 807720"/>
                  <a:gd name="connsiteY2" fmla="*/ 1188720 h 1341120"/>
                  <a:gd name="connsiteX3" fmla="*/ 807720 w 807720"/>
                  <a:gd name="connsiteY3" fmla="*/ 1089660 h 1341120"/>
                  <a:gd name="connsiteX4" fmla="*/ 647700 w 807720"/>
                  <a:gd name="connsiteY4" fmla="*/ 312420 h 1341120"/>
                  <a:gd name="connsiteX5" fmla="*/ 160020 w 807720"/>
                  <a:gd name="connsiteY5" fmla="*/ 0 h 1341120"/>
                  <a:gd name="connsiteX6" fmla="*/ 0 w 807720"/>
                  <a:gd name="connsiteY6" fmla="*/ 160020 h 1341120"/>
                  <a:gd name="connsiteX7" fmla="*/ 236220 w 807720"/>
                  <a:gd name="connsiteY7" fmla="*/ 1341120 h 1341120"/>
                  <a:gd name="connsiteX0" fmla="*/ 236220 w 807720"/>
                  <a:gd name="connsiteY0" fmla="*/ 1341120 h 1341120"/>
                  <a:gd name="connsiteX1" fmla="*/ 739140 w 807720"/>
                  <a:gd name="connsiteY1" fmla="*/ 1242060 h 1341120"/>
                  <a:gd name="connsiteX2" fmla="*/ 807720 w 807720"/>
                  <a:gd name="connsiteY2" fmla="*/ 1188720 h 1341120"/>
                  <a:gd name="connsiteX3" fmla="*/ 807720 w 807720"/>
                  <a:gd name="connsiteY3" fmla="*/ 1089660 h 1341120"/>
                  <a:gd name="connsiteX4" fmla="*/ 670560 w 807720"/>
                  <a:gd name="connsiteY4" fmla="*/ 396240 h 1341120"/>
                  <a:gd name="connsiteX5" fmla="*/ 647700 w 807720"/>
                  <a:gd name="connsiteY5" fmla="*/ 312420 h 1341120"/>
                  <a:gd name="connsiteX6" fmla="*/ 160020 w 807720"/>
                  <a:gd name="connsiteY6" fmla="*/ 0 h 1341120"/>
                  <a:gd name="connsiteX7" fmla="*/ 0 w 807720"/>
                  <a:gd name="connsiteY7" fmla="*/ 160020 h 1341120"/>
                  <a:gd name="connsiteX8" fmla="*/ 236220 w 807720"/>
                  <a:gd name="connsiteY8" fmla="*/ 1341120 h 1341120"/>
                  <a:gd name="connsiteX0" fmla="*/ 236220 w 807720"/>
                  <a:gd name="connsiteY0" fmla="*/ 1341120 h 1341120"/>
                  <a:gd name="connsiteX1" fmla="*/ 739140 w 807720"/>
                  <a:gd name="connsiteY1" fmla="*/ 1242060 h 1341120"/>
                  <a:gd name="connsiteX2" fmla="*/ 807720 w 807720"/>
                  <a:gd name="connsiteY2" fmla="*/ 1188720 h 1341120"/>
                  <a:gd name="connsiteX3" fmla="*/ 807720 w 807720"/>
                  <a:gd name="connsiteY3" fmla="*/ 1089660 h 1341120"/>
                  <a:gd name="connsiteX4" fmla="*/ 670560 w 807720"/>
                  <a:gd name="connsiteY4" fmla="*/ 396240 h 1341120"/>
                  <a:gd name="connsiteX5" fmla="*/ 647700 w 807720"/>
                  <a:gd name="connsiteY5" fmla="*/ 312420 h 1341120"/>
                  <a:gd name="connsiteX6" fmla="*/ 441960 w 807720"/>
                  <a:gd name="connsiteY6" fmla="*/ 190500 h 1341120"/>
                  <a:gd name="connsiteX7" fmla="*/ 160020 w 807720"/>
                  <a:gd name="connsiteY7" fmla="*/ 0 h 1341120"/>
                  <a:gd name="connsiteX8" fmla="*/ 0 w 807720"/>
                  <a:gd name="connsiteY8" fmla="*/ 160020 h 1341120"/>
                  <a:gd name="connsiteX9" fmla="*/ 236220 w 807720"/>
                  <a:gd name="connsiteY9" fmla="*/ 1341120 h 1341120"/>
                  <a:gd name="connsiteX0" fmla="*/ 236220 w 807720"/>
                  <a:gd name="connsiteY0" fmla="*/ 1341120 h 1341120"/>
                  <a:gd name="connsiteX1" fmla="*/ 739140 w 807720"/>
                  <a:gd name="connsiteY1" fmla="*/ 1242060 h 1341120"/>
                  <a:gd name="connsiteX2" fmla="*/ 807720 w 807720"/>
                  <a:gd name="connsiteY2" fmla="*/ 1188720 h 1341120"/>
                  <a:gd name="connsiteX3" fmla="*/ 807720 w 807720"/>
                  <a:gd name="connsiteY3" fmla="*/ 1089660 h 1341120"/>
                  <a:gd name="connsiteX4" fmla="*/ 670560 w 807720"/>
                  <a:gd name="connsiteY4" fmla="*/ 396240 h 1341120"/>
                  <a:gd name="connsiteX5" fmla="*/ 609600 w 807720"/>
                  <a:gd name="connsiteY5" fmla="*/ 259080 h 1341120"/>
                  <a:gd name="connsiteX6" fmla="*/ 441960 w 807720"/>
                  <a:gd name="connsiteY6" fmla="*/ 190500 h 1341120"/>
                  <a:gd name="connsiteX7" fmla="*/ 160020 w 807720"/>
                  <a:gd name="connsiteY7" fmla="*/ 0 h 1341120"/>
                  <a:gd name="connsiteX8" fmla="*/ 0 w 807720"/>
                  <a:gd name="connsiteY8" fmla="*/ 160020 h 1341120"/>
                  <a:gd name="connsiteX9" fmla="*/ 236220 w 807720"/>
                  <a:gd name="connsiteY9" fmla="*/ 1341120 h 1341120"/>
                  <a:gd name="connsiteX0" fmla="*/ 236220 w 807720"/>
                  <a:gd name="connsiteY0" fmla="*/ 1341120 h 1341120"/>
                  <a:gd name="connsiteX1" fmla="*/ 739140 w 807720"/>
                  <a:gd name="connsiteY1" fmla="*/ 1242060 h 1341120"/>
                  <a:gd name="connsiteX2" fmla="*/ 807720 w 807720"/>
                  <a:gd name="connsiteY2" fmla="*/ 1188720 h 1341120"/>
                  <a:gd name="connsiteX3" fmla="*/ 807720 w 807720"/>
                  <a:gd name="connsiteY3" fmla="*/ 1089660 h 1341120"/>
                  <a:gd name="connsiteX4" fmla="*/ 670560 w 807720"/>
                  <a:gd name="connsiteY4" fmla="*/ 396240 h 1341120"/>
                  <a:gd name="connsiteX5" fmla="*/ 609600 w 807720"/>
                  <a:gd name="connsiteY5" fmla="*/ 259080 h 1341120"/>
                  <a:gd name="connsiteX6" fmla="*/ 396240 w 807720"/>
                  <a:gd name="connsiteY6" fmla="*/ 160020 h 1341120"/>
                  <a:gd name="connsiteX7" fmla="*/ 160020 w 807720"/>
                  <a:gd name="connsiteY7" fmla="*/ 0 h 1341120"/>
                  <a:gd name="connsiteX8" fmla="*/ 0 w 807720"/>
                  <a:gd name="connsiteY8" fmla="*/ 160020 h 1341120"/>
                  <a:gd name="connsiteX9" fmla="*/ 236220 w 807720"/>
                  <a:gd name="connsiteY9" fmla="*/ 1341120 h 1341120"/>
                  <a:gd name="connsiteX0" fmla="*/ 236220 w 807720"/>
                  <a:gd name="connsiteY0" fmla="*/ 1341120 h 1341120"/>
                  <a:gd name="connsiteX1" fmla="*/ 739140 w 807720"/>
                  <a:gd name="connsiteY1" fmla="*/ 1242060 h 1341120"/>
                  <a:gd name="connsiteX2" fmla="*/ 807720 w 807720"/>
                  <a:gd name="connsiteY2" fmla="*/ 1188720 h 1341120"/>
                  <a:gd name="connsiteX3" fmla="*/ 807720 w 807720"/>
                  <a:gd name="connsiteY3" fmla="*/ 1089660 h 1341120"/>
                  <a:gd name="connsiteX4" fmla="*/ 670560 w 807720"/>
                  <a:gd name="connsiteY4" fmla="*/ 396240 h 1341120"/>
                  <a:gd name="connsiteX5" fmla="*/ 609600 w 807720"/>
                  <a:gd name="connsiteY5" fmla="*/ 259080 h 1341120"/>
                  <a:gd name="connsiteX6" fmla="*/ 388620 w 807720"/>
                  <a:gd name="connsiteY6" fmla="*/ 129540 h 1341120"/>
                  <a:gd name="connsiteX7" fmla="*/ 160020 w 807720"/>
                  <a:gd name="connsiteY7" fmla="*/ 0 h 1341120"/>
                  <a:gd name="connsiteX8" fmla="*/ 0 w 807720"/>
                  <a:gd name="connsiteY8" fmla="*/ 160020 h 1341120"/>
                  <a:gd name="connsiteX9" fmla="*/ 236220 w 807720"/>
                  <a:gd name="connsiteY9" fmla="*/ 1341120 h 1341120"/>
                  <a:gd name="connsiteX0" fmla="*/ 236220 w 807720"/>
                  <a:gd name="connsiteY0" fmla="*/ 1341120 h 1341120"/>
                  <a:gd name="connsiteX1" fmla="*/ 739140 w 807720"/>
                  <a:gd name="connsiteY1" fmla="*/ 1242060 h 1341120"/>
                  <a:gd name="connsiteX2" fmla="*/ 807720 w 807720"/>
                  <a:gd name="connsiteY2" fmla="*/ 1188720 h 1341120"/>
                  <a:gd name="connsiteX3" fmla="*/ 807720 w 807720"/>
                  <a:gd name="connsiteY3" fmla="*/ 1089660 h 1341120"/>
                  <a:gd name="connsiteX4" fmla="*/ 670560 w 807720"/>
                  <a:gd name="connsiteY4" fmla="*/ 396240 h 1341120"/>
                  <a:gd name="connsiteX5" fmla="*/ 609600 w 807720"/>
                  <a:gd name="connsiteY5" fmla="*/ 281940 h 1341120"/>
                  <a:gd name="connsiteX6" fmla="*/ 388620 w 807720"/>
                  <a:gd name="connsiteY6" fmla="*/ 129540 h 1341120"/>
                  <a:gd name="connsiteX7" fmla="*/ 160020 w 807720"/>
                  <a:gd name="connsiteY7" fmla="*/ 0 h 1341120"/>
                  <a:gd name="connsiteX8" fmla="*/ 0 w 807720"/>
                  <a:gd name="connsiteY8" fmla="*/ 160020 h 1341120"/>
                  <a:gd name="connsiteX9" fmla="*/ 236220 w 807720"/>
                  <a:gd name="connsiteY9" fmla="*/ 1341120 h 1341120"/>
                  <a:gd name="connsiteX0" fmla="*/ 236220 w 807720"/>
                  <a:gd name="connsiteY0" fmla="*/ 1341120 h 1341120"/>
                  <a:gd name="connsiteX1" fmla="*/ 716280 w 807720"/>
                  <a:gd name="connsiteY1" fmla="*/ 1242060 h 1341120"/>
                  <a:gd name="connsiteX2" fmla="*/ 807720 w 807720"/>
                  <a:gd name="connsiteY2" fmla="*/ 1188720 h 1341120"/>
                  <a:gd name="connsiteX3" fmla="*/ 807720 w 807720"/>
                  <a:gd name="connsiteY3" fmla="*/ 1089660 h 1341120"/>
                  <a:gd name="connsiteX4" fmla="*/ 670560 w 807720"/>
                  <a:gd name="connsiteY4" fmla="*/ 396240 h 1341120"/>
                  <a:gd name="connsiteX5" fmla="*/ 609600 w 807720"/>
                  <a:gd name="connsiteY5" fmla="*/ 281940 h 1341120"/>
                  <a:gd name="connsiteX6" fmla="*/ 388620 w 807720"/>
                  <a:gd name="connsiteY6" fmla="*/ 129540 h 1341120"/>
                  <a:gd name="connsiteX7" fmla="*/ 160020 w 807720"/>
                  <a:gd name="connsiteY7" fmla="*/ 0 h 1341120"/>
                  <a:gd name="connsiteX8" fmla="*/ 0 w 807720"/>
                  <a:gd name="connsiteY8" fmla="*/ 160020 h 1341120"/>
                  <a:gd name="connsiteX9" fmla="*/ 236220 w 807720"/>
                  <a:gd name="connsiteY9" fmla="*/ 1341120 h 1341120"/>
                  <a:gd name="connsiteX0" fmla="*/ 297180 w 807720"/>
                  <a:gd name="connsiteY0" fmla="*/ 1652924 h 1652924"/>
                  <a:gd name="connsiteX1" fmla="*/ 716280 w 807720"/>
                  <a:gd name="connsiteY1" fmla="*/ 1242060 h 1652924"/>
                  <a:gd name="connsiteX2" fmla="*/ 807720 w 807720"/>
                  <a:gd name="connsiteY2" fmla="*/ 1188720 h 1652924"/>
                  <a:gd name="connsiteX3" fmla="*/ 807720 w 807720"/>
                  <a:gd name="connsiteY3" fmla="*/ 1089660 h 1652924"/>
                  <a:gd name="connsiteX4" fmla="*/ 670560 w 807720"/>
                  <a:gd name="connsiteY4" fmla="*/ 396240 h 1652924"/>
                  <a:gd name="connsiteX5" fmla="*/ 609600 w 807720"/>
                  <a:gd name="connsiteY5" fmla="*/ 281940 h 1652924"/>
                  <a:gd name="connsiteX6" fmla="*/ 388620 w 807720"/>
                  <a:gd name="connsiteY6" fmla="*/ 129540 h 1652924"/>
                  <a:gd name="connsiteX7" fmla="*/ 160020 w 807720"/>
                  <a:gd name="connsiteY7" fmla="*/ 0 h 1652924"/>
                  <a:gd name="connsiteX8" fmla="*/ 0 w 807720"/>
                  <a:gd name="connsiteY8" fmla="*/ 160020 h 1652924"/>
                  <a:gd name="connsiteX9" fmla="*/ 297180 w 807720"/>
                  <a:gd name="connsiteY9" fmla="*/ 1652924 h 1652924"/>
                  <a:gd name="connsiteX0" fmla="*/ 297180 w 807720"/>
                  <a:gd name="connsiteY0" fmla="*/ 1652924 h 1652924"/>
                  <a:gd name="connsiteX1" fmla="*/ 670560 w 807720"/>
                  <a:gd name="connsiteY1" fmla="*/ 1599494 h 1652924"/>
                  <a:gd name="connsiteX2" fmla="*/ 807720 w 807720"/>
                  <a:gd name="connsiteY2" fmla="*/ 1188720 h 1652924"/>
                  <a:gd name="connsiteX3" fmla="*/ 807720 w 807720"/>
                  <a:gd name="connsiteY3" fmla="*/ 1089660 h 1652924"/>
                  <a:gd name="connsiteX4" fmla="*/ 670560 w 807720"/>
                  <a:gd name="connsiteY4" fmla="*/ 396240 h 1652924"/>
                  <a:gd name="connsiteX5" fmla="*/ 609600 w 807720"/>
                  <a:gd name="connsiteY5" fmla="*/ 281940 h 1652924"/>
                  <a:gd name="connsiteX6" fmla="*/ 388620 w 807720"/>
                  <a:gd name="connsiteY6" fmla="*/ 129540 h 1652924"/>
                  <a:gd name="connsiteX7" fmla="*/ 160020 w 807720"/>
                  <a:gd name="connsiteY7" fmla="*/ 0 h 1652924"/>
                  <a:gd name="connsiteX8" fmla="*/ 0 w 807720"/>
                  <a:gd name="connsiteY8" fmla="*/ 160020 h 1652924"/>
                  <a:gd name="connsiteX9" fmla="*/ 297180 w 807720"/>
                  <a:gd name="connsiteY9" fmla="*/ 1652924 h 1652924"/>
                  <a:gd name="connsiteX0" fmla="*/ 297180 w 807720"/>
                  <a:gd name="connsiteY0" fmla="*/ 1668134 h 1668134"/>
                  <a:gd name="connsiteX1" fmla="*/ 670560 w 807720"/>
                  <a:gd name="connsiteY1" fmla="*/ 1614704 h 1668134"/>
                  <a:gd name="connsiteX2" fmla="*/ 807720 w 807720"/>
                  <a:gd name="connsiteY2" fmla="*/ 1203930 h 1668134"/>
                  <a:gd name="connsiteX3" fmla="*/ 807720 w 807720"/>
                  <a:gd name="connsiteY3" fmla="*/ 1104870 h 1668134"/>
                  <a:gd name="connsiteX4" fmla="*/ 670560 w 807720"/>
                  <a:gd name="connsiteY4" fmla="*/ 411450 h 1668134"/>
                  <a:gd name="connsiteX5" fmla="*/ 609600 w 807720"/>
                  <a:gd name="connsiteY5" fmla="*/ 297150 h 1668134"/>
                  <a:gd name="connsiteX6" fmla="*/ 388620 w 807720"/>
                  <a:gd name="connsiteY6" fmla="*/ 144750 h 1668134"/>
                  <a:gd name="connsiteX7" fmla="*/ 137160 w 807720"/>
                  <a:gd name="connsiteY7" fmla="*/ 0 h 1668134"/>
                  <a:gd name="connsiteX8" fmla="*/ 0 w 807720"/>
                  <a:gd name="connsiteY8" fmla="*/ 175230 h 1668134"/>
                  <a:gd name="connsiteX9" fmla="*/ 297180 w 807720"/>
                  <a:gd name="connsiteY9" fmla="*/ 1668134 h 1668134"/>
                  <a:gd name="connsiteX0" fmla="*/ 297180 w 807720"/>
                  <a:gd name="connsiteY0" fmla="*/ 1668134 h 1668134"/>
                  <a:gd name="connsiteX1" fmla="*/ 670560 w 807720"/>
                  <a:gd name="connsiteY1" fmla="*/ 1614704 h 1668134"/>
                  <a:gd name="connsiteX2" fmla="*/ 807720 w 807720"/>
                  <a:gd name="connsiteY2" fmla="*/ 1203930 h 1668134"/>
                  <a:gd name="connsiteX3" fmla="*/ 807720 w 807720"/>
                  <a:gd name="connsiteY3" fmla="*/ 1104870 h 1668134"/>
                  <a:gd name="connsiteX4" fmla="*/ 670560 w 807720"/>
                  <a:gd name="connsiteY4" fmla="*/ 411450 h 1668134"/>
                  <a:gd name="connsiteX5" fmla="*/ 609600 w 807720"/>
                  <a:gd name="connsiteY5" fmla="*/ 274335 h 1668134"/>
                  <a:gd name="connsiteX6" fmla="*/ 388620 w 807720"/>
                  <a:gd name="connsiteY6" fmla="*/ 144750 h 1668134"/>
                  <a:gd name="connsiteX7" fmla="*/ 137160 w 807720"/>
                  <a:gd name="connsiteY7" fmla="*/ 0 h 1668134"/>
                  <a:gd name="connsiteX8" fmla="*/ 0 w 807720"/>
                  <a:gd name="connsiteY8" fmla="*/ 175230 h 1668134"/>
                  <a:gd name="connsiteX9" fmla="*/ 297180 w 807720"/>
                  <a:gd name="connsiteY9" fmla="*/ 1668134 h 1668134"/>
                  <a:gd name="connsiteX0" fmla="*/ 579451 w 1089991"/>
                  <a:gd name="connsiteY0" fmla="*/ 1706985 h 1706985"/>
                  <a:gd name="connsiteX1" fmla="*/ 952831 w 1089991"/>
                  <a:gd name="connsiteY1" fmla="*/ 1653555 h 1706985"/>
                  <a:gd name="connsiteX2" fmla="*/ 1089991 w 1089991"/>
                  <a:gd name="connsiteY2" fmla="*/ 1242781 h 1706985"/>
                  <a:gd name="connsiteX3" fmla="*/ 1089991 w 1089991"/>
                  <a:gd name="connsiteY3" fmla="*/ 1143721 h 1706985"/>
                  <a:gd name="connsiteX4" fmla="*/ 952831 w 1089991"/>
                  <a:gd name="connsiteY4" fmla="*/ 450301 h 1706985"/>
                  <a:gd name="connsiteX5" fmla="*/ 891871 w 1089991"/>
                  <a:gd name="connsiteY5" fmla="*/ 313186 h 1706985"/>
                  <a:gd name="connsiteX6" fmla="*/ 670891 w 1089991"/>
                  <a:gd name="connsiteY6" fmla="*/ 183601 h 1706985"/>
                  <a:gd name="connsiteX7" fmla="*/ 419431 w 1089991"/>
                  <a:gd name="connsiteY7" fmla="*/ 38851 h 1706985"/>
                  <a:gd name="connsiteX8" fmla="*/ 0 w 1089991"/>
                  <a:gd name="connsiteY8" fmla="*/ 0 h 1706985"/>
                  <a:gd name="connsiteX9" fmla="*/ 579451 w 1089991"/>
                  <a:gd name="connsiteY9" fmla="*/ 1706985 h 1706985"/>
                  <a:gd name="connsiteX0" fmla="*/ 579451 w 1089991"/>
                  <a:gd name="connsiteY0" fmla="*/ 1706985 h 1706985"/>
                  <a:gd name="connsiteX1" fmla="*/ 952831 w 1089991"/>
                  <a:gd name="connsiteY1" fmla="*/ 1653555 h 1706985"/>
                  <a:gd name="connsiteX2" fmla="*/ 1089991 w 1089991"/>
                  <a:gd name="connsiteY2" fmla="*/ 1242781 h 1706985"/>
                  <a:gd name="connsiteX3" fmla="*/ 1089991 w 1089991"/>
                  <a:gd name="connsiteY3" fmla="*/ 1143721 h 1706985"/>
                  <a:gd name="connsiteX4" fmla="*/ 952831 w 1089991"/>
                  <a:gd name="connsiteY4" fmla="*/ 450301 h 1706985"/>
                  <a:gd name="connsiteX5" fmla="*/ 891871 w 1089991"/>
                  <a:gd name="connsiteY5" fmla="*/ 313186 h 1706985"/>
                  <a:gd name="connsiteX6" fmla="*/ 670891 w 1089991"/>
                  <a:gd name="connsiteY6" fmla="*/ 183601 h 1706985"/>
                  <a:gd name="connsiteX7" fmla="*/ 419431 w 1089991"/>
                  <a:gd name="connsiteY7" fmla="*/ 38851 h 1706985"/>
                  <a:gd name="connsiteX8" fmla="*/ 0 w 1089991"/>
                  <a:gd name="connsiteY8" fmla="*/ 0 h 1706985"/>
                  <a:gd name="connsiteX9" fmla="*/ 150445 w 1089991"/>
                  <a:gd name="connsiteY9" fmla="*/ 468527 h 1706985"/>
                  <a:gd name="connsiteX10" fmla="*/ 579451 w 1089991"/>
                  <a:gd name="connsiteY10" fmla="*/ 1706985 h 1706985"/>
                  <a:gd name="connsiteX0" fmla="*/ 579451 w 1089991"/>
                  <a:gd name="connsiteY0" fmla="*/ 1706985 h 1706985"/>
                  <a:gd name="connsiteX1" fmla="*/ 952831 w 1089991"/>
                  <a:gd name="connsiteY1" fmla="*/ 1653555 h 1706985"/>
                  <a:gd name="connsiteX2" fmla="*/ 1089991 w 1089991"/>
                  <a:gd name="connsiteY2" fmla="*/ 1242781 h 1706985"/>
                  <a:gd name="connsiteX3" fmla="*/ 1089991 w 1089991"/>
                  <a:gd name="connsiteY3" fmla="*/ 1143721 h 1706985"/>
                  <a:gd name="connsiteX4" fmla="*/ 952831 w 1089991"/>
                  <a:gd name="connsiteY4" fmla="*/ 450301 h 1706985"/>
                  <a:gd name="connsiteX5" fmla="*/ 891871 w 1089991"/>
                  <a:gd name="connsiteY5" fmla="*/ 313186 h 1706985"/>
                  <a:gd name="connsiteX6" fmla="*/ 670891 w 1089991"/>
                  <a:gd name="connsiteY6" fmla="*/ 183601 h 1706985"/>
                  <a:gd name="connsiteX7" fmla="*/ 419431 w 1089991"/>
                  <a:gd name="connsiteY7" fmla="*/ 38851 h 1706985"/>
                  <a:gd name="connsiteX8" fmla="*/ 0 w 1089991"/>
                  <a:gd name="connsiteY8" fmla="*/ 0 h 1706985"/>
                  <a:gd name="connsiteX9" fmla="*/ 95457 w 1089991"/>
                  <a:gd name="connsiteY9" fmla="*/ 105354 h 1706985"/>
                  <a:gd name="connsiteX10" fmla="*/ 579451 w 1089991"/>
                  <a:gd name="connsiteY10" fmla="*/ 1706985 h 1706985"/>
                  <a:gd name="connsiteX0" fmla="*/ 579451 w 1089991"/>
                  <a:gd name="connsiteY0" fmla="*/ 1706985 h 1706985"/>
                  <a:gd name="connsiteX1" fmla="*/ 952831 w 1089991"/>
                  <a:gd name="connsiteY1" fmla="*/ 1653555 h 1706985"/>
                  <a:gd name="connsiteX2" fmla="*/ 1089991 w 1089991"/>
                  <a:gd name="connsiteY2" fmla="*/ 1242781 h 1706985"/>
                  <a:gd name="connsiteX3" fmla="*/ 1089991 w 1089991"/>
                  <a:gd name="connsiteY3" fmla="*/ 1143721 h 1706985"/>
                  <a:gd name="connsiteX4" fmla="*/ 952831 w 1089991"/>
                  <a:gd name="connsiteY4" fmla="*/ 450301 h 1706985"/>
                  <a:gd name="connsiteX5" fmla="*/ 891871 w 1089991"/>
                  <a:gd name="connsiteY5" fmla="*/ 313186 h 1706985"/>
                  <a:gd name="connsiteX6" fmla="*/ 670891 w 1089991"/>
                  <a:gd name="connsiteY6" fmla="*/ 183601 h 1706985"/>
                  <a:gd name="connsiteX7" fmla="*/ 419431 w 1089991"/>
                  <a:gd name="connsiteY7" fmla="*/ 38851 h 1706985"/>
                  <a:gd name="connsiteX8" fmla="*/ 0 w 1089991"/>
                  <a:gd name="connsiteY8" fmla="*/ 0 h 1706985"/>
                  <a:gd name="connsiteX9" fmla="*/ 95457 w 1089991"/>
                  <a:gd name="connsiteY9" fmla="*/ 105354 h 1706985"/>
                  <a:gd name="connsiteX10" fmla="*/ 234759 w 1089991"/>
                  <a:gd name="connsiteY10" fmla="*/ 556453 h 1706985"/>
                  <a:gd name="connsiteX11" fmla="*/ 579451 w 1089991"/>
                  <a:gd name="connsiteY11" fmla="*/ 1706985 h 1706985"/>
                  <a:gd name="connsiteX0" fmla="*/ 579451 w 1089991"/>
                  <a:gd name="connsiteY0" fmla="*/ 1706985 h 1706985"/>
                  <a:gd name="connsiteX1" fmla="*/ 952831 w 1089991"/>
                  <a:gd name="connsiteY1" fmla="*/ 1653555 h 1706985"/>
                  <a:gd name="connsiteX2" fmla="*/ 1089991 w 1089991"/>
                  <a:gd name="connsiteY2" fmla="*/ 1242781 h 1706985"/>
                  <a:gd name="connsiteX3" fmla="*/ 1089991 w 1089991"/>
                  <a:gd name="connsiteY3" fmla="*/ 1143721 h 1706985"/>
                  <a:gd name="connsiteX4" fmla="*/ 952831 w 1089991"/>
                  <a:gd name="connsiteY4" fmla="*/ 450301 h 1706985"/>
                  <a:gd name="connsiteX5" fmla="*/ 891871 w 1089991"/>
                  <a:gd name="connsiteY5" fmla="*/ 313186 h 1706985"/>
                  <a:gd name="connsiteX6" fmla="*/ 670891 w 1089991"/>
                  <a:gd name="connsiteY6" fmla="*/ 183601 h 1706985"/>
                  <a:gd name="connsiteX7" fmla="*/ 419431 w 1089991"/>
                  <a:gd name="connsiteY7" fmla="*/ 38851 h 1706985"/>
                  <a:gd name="connsiteX8" fmla="*/ 0 w 1089991"/>
                  <a:gd name="connsiteY8" fmla="*/ 0 h 1706985"/>
                  <a:gd name="connsiteX9" fmla="*/ 95457 w 1089991"/>
                  <a:gd name="connsiteY9" fmla="*/ 105354 h 1706985"/>
                  <a:gd name="connsiteX10" fmla="*/ 7476 w 1089991"/>
                  <a:gd name="connsiteY10" fmla="*/ 223863 h 1706985"/>
                  <a:gd name="connsiteX11" fmla="*/ 579451 w 1089991"/>
                  <a:gd name="connsiteY11" fmla="*/ 1706985 h 1706985"/>
                  <a:gd name="connsiteX0" fmla="*/ 579451 w 1089991"/>
                  <a:gd name="connsiteY0" fmla="*/ 1706985 h 1706985"/>
                  <a:gd name="connsiteX1" fmla="*/ 952831 w 1089991"/>
                  <a:gd name="connsiteY1" fmla="*/ 1653555 h 1706985"/>
                  <a:gd name="connsiteX2" fmla="*/ 1089991 w 1089991"/>
                  <a:gd name="connsiteY2" fmla="*/ 1242781 h 1706985"/>
                  <a:gd name="connsiteX3" fmla="*/ 1089991 w 1089991"/>
                  <a:gd name="connsiteY3" fmla="*/ 1143721 h 1706985"/>
                  <a:gd name="connsiteX4" fmla="*/ 952831 w 1089991"/>
                  <a:gd name="connsiteY4" fmla="*/ 450301 h 1706985"/>
                  <a:gd name="connsiteX5" fmla="*/ 891871 w 1089991"/>
                  <a:gd name="connsiteY5" fmla="*/ 313186 h 1706985"/>
                  <a:gd name="connsiteX6" fmla="*/ 670891 w 1089991"/>
                  <a:gd name="connsiteY6" fmla="*/ 183601 h 1706985"/>
                  <a:gd name="connsiteX7" fmla="*/ 419431 w 1089991"/>
                  <a:gd name="connsiteY7" fmla="*/ 38851 h 1706985"/>
                  <a:gd name="connsiteX8" fmla="*/ 0 w 1089991"/>
                  <a:gd name="connsiteY8" fmla="*/ 0 h 1706985"/>
                  <a:gd name="connsiteX9" fmla="*/ 95457 w 1089991"/>
                  <a:gd name="connsiteY9" fmla="*/ 105354 h 1706985"/>
                  <a:gd name="connsiteX10" fmla="*/ 7476 w 1089991"/>
                  <a:gd name="connsiteY10" fmla="*/ 223863 h 1706985"/>
                  <a:gd name="connsiteX11" fmla="*/ 300745 w 1089991"/>
                  <a:gd name="connsiteY11" fmla="*/ 976969 h 1706985"/>
                  <a:gd name="connsiteX12" fmla="*/ 579451 w 1089991"/>
                  <a:gd name="connsiteY12" fmla="*/ 1706985 h 1706985"/>
                  <a:gd name="connsiteX0" fmla="*/ 579451 w 1089991"/>
                  <a:gd name="connsiteY0" fmla="*/ 1706985 h 1706985"/>
                  <a:gd name="connsiteX1" fmla="*/ 952831 w 1089991"/>
                  <a:gd name="connsiteY1" fmla="*/ 1653555 h 1706985"/>
                  <a:gd name="connsiteX2" fmla="*/ 1089991 w 1089991"/>
                  <a:gd name="connsiteY2" fmla="*/ 1242781 h 1706985"/>
                  <a:gd name="connsiteX3" fmla="*/ 1089991 w 1089991"/>
                  <a:gd name="connsiteY3" fmla="*/ 1143721 h 1706985"/>
                  <a:gd name="connsiteX4" fmla="*/ 952831 w 1089991"/>
                  <a:gd name="connsiteY4" fmla="*/ 450301 h 1706985"/>
                  <a:gd name="connsiteX5" fmla="*/ 891871 w 1089991"/>
                  <a:gd name="connsiteY5" fmla="*/ 313186 h 1706985"/>
                  <a:gd name="connsiteX6" fmla="*/ 670891 w 1089991"/>
                  <a:gd name="connsiteY6" fmla="*/ 183601 h 1706985"/>
                  <a:gd name="connsiteX7" fmla="*/ 419431 w 1089991"/>
                  <a:gd name="connsiteY7" fmla="*/ 38851 h 1706985"/>
                  <a:gd name="connsiteX8" fmla="*/ 0 w 1089991"/>
                  <a:gd name="connsiteY8" fmla="*/ 0 h 1706985"/>
                  <a:gd name="connsiteX9" fmla="*/ 95457 w 1089991"/>
                  <a:gd name="connsiteY9" fmla="*/ 105354 h 1706985"/>
                  <a:gd name="connsiteX10" fmla="*/ 7476 w 1089991"/>
                  <a:gd name="connsiteY10" fmla="*/ 223863 h 1706985"/>
                  <a:gd name="connsiteX11" fmla="*/ 47801 w 1089991"/>
                  <a:gd name="connsiteY11" fmla="*/ 1542754 h 1706985"/>
                  <a:gd name="connsiteX12" fmla="*/ 579451 w 1089991"/>
                  <a:gd name="connsiteY12" fmla="*/ 1706985 h 1706985"/>
                  <a:gd name="connsiteX0" fmla="*/ 579451 w 1089991"/>
                  <a:gd name="connsiteY0" fmla="*/ 1706985 h 1706985"/>
                  <a:gd name="connsiteX1" fmla="*/ 952831 w 1089991"/>
                  <a:gd name="connsiteY1" fmla="*/ 1653555 h 1706985"/>
                  <a:gd name="connsiteX2" fmla="*/ 1089991 w 1089991"/>
                  <a:gd name="connsiteY2" fmla="*/ 1242781 h 1706985"/>
                  <a:gd name="connsiteX3" fmla="*/ 1089991 w 1089991"/>
                  <a:gd name="connsiteY3" fmla="*/ 1143721 h 1706985"/>
                  <a:gd name="connsiteX4" fmla="*/ 952831 w 1089991"/>
                  <a:gd name="connsiteY4" fmla="*/ 450301 h 1706985"/>
                  <a:gd name="connsiteX5" fmla="*/ 891871 w 1089991"/>
                  <a:gd name="connsiteY5" fmla="*/ 313186 h 1706985"/>
                  <a:gd name="connsiteX6" fmla="*/ 670891 w 1089991"/>
                  <a:gd name="connsiteY6" fmla="*/ 183601 h 1706985"/>
                  <a:gd name="connsiteX7" fmla="*/ 419431 w 1089991"/>
                  <a:gd name="connsiteY7" fmla="*/ 38851 h 1706985"/>
                  <a:gd name="connsiteX8" fmla="*/ 0 w 1089991"/>
                  <a:gd name="connsiteY8" fmla="*/ 0 h 1706985"/>
                  <a:gd name="connsiteX9" fmla="*/ 95457 w 1089991"/>
                  <a:gd name="connsiteY9" fmla="*/ 105354 h 1706985"/>
                  <a:gd name="connsiteX10" fmla="*/ 7476 w 1089991"/>
                  <a:gd name="connsiteY10" fmla="*/ 223863 h 1706985"/>
                  <a:gd name="connsiteX11" fmla="*/ 47801 w 1089991"/>
                  <a:gd name="connsiteY11" fmla="*/ 1542754 h 1706985"/>
                  <a:gd name="connsiteX12" fmla="*/ 579451 w 1089991"/>
                  <a:gd name="connsiteY12" fmla="*/ 1706985 h 1706985"/>
                  <a:gd name="connsiteX0" fmla="*/ 579451 w 1089991"/>
                  <a:gd name="connsiteY0" fmla="*/ 1706985 h 1706985"/>
                  <a:gd name="connsiteX1" fmla="*/ 952831 w 1089991"/>
                  <a:gd name="connsiteY1" fmla="*/ 1653555 h 1706985"/>
                  <a:gd name="connsiteX2" fmla="*/ 1089991 w 1089991"/>
                  <a:gd name="connsiteY2" fmla="*/ 1242781 h 1706985"/>
                  <a:gd name="connsiteX3" fmla="*/ 1089991 w 1089991"/>
                  <a:gd name="connsiteY3" fmla="*/ 1143721 h 1706985"/>
                  <a:gd name="connsiteX4" fmla="*/ 952831 w 1089991"/>
                  <a:gd name="connsiteY4" fmla="*/ 450301 h 1706985"/>
                  <a:gd name="connsiteX5" fmla="*/ 891871 w 1089991"/>
                  <a:gd name="connsiteY5" fmla="*/ 313186 h 1706985"/>
                  <a:gd name="connsiteX6" fmla="*/ 670891 w 1089991"/>
                  <a:gd name="connsiteY6" fmla="*/ 183601 h 1706985"/>
                  <a:gd name="connsiteX7" fmla="*/ 419431 w 1089991"/>
                  <a:gd name="connsiteY7" fmla="*/ 38851 h 1706985"/>
                  <a:gd name="connsiteX8" fmla="*/ 0 w 1089991"/>
                  <a:gd name="connsiteY8" fmla="*/ 0 h 1706985"/>
                  <a:gd name="connsiteX9" fmla="*/ 95457 w 1089991"/>
                  <a:gd name="connsiteY9" fmla="*/ 105354 h 1706985"/>
                  <a:gd name="connsiteX10" fmla="*/ 7476 w 1089991"/>
                  <a:gd name="connsiteY10" fmla="*/ 223863 h 1706985"/>
                  <a:gd name="connsiteX11" fmla="*/ 47801 w 1089991"/>
                  <a:gd name="connsiteY11" fmla="*/ 1542754 h 1706985"/>
                  <a:gd name="connsiteX12" fmla="*/ 579451 w 1089991"/>
                  <a:gd name="connsiteY12" fmla="*/ 1706985 h 1706985"/>
                  <a:gd name="connsiteX0" fmla="*/ 579451 w 1089991"/>
                  <a:gd name="connsiteY0" fmla="*/ 1706985 h 1706985"/>
                  <a:gd name="connsiteX1" fmla="*/ 952831 w 1089991"/>
                  <a:gd name="connsiteY1" fmla="*/ 1653555 h 1706985"/>
                  <a:gd name="connsiteX2" fmla="*/ 1089991 w 1089991"/>
                  <a:gd name="connsiteY2" fmla="*/ 1242781 h 1706985"/>
                  <a:gd name="connsiteX3" fmla="*/ 1089991 w 1089991"/>
                  <a:gd name="connsiteY3" fmla="*/ 1143721 h 1706985"/>
                  <a:gd name="connsiteX4" fmla="*/ 952831 w 1089991"/>
                  <a:gd name="connsiteY4" fmla="*/ 450301 h 1706985"/>
                  <a:gd name="connsiteX5" fmla="*/ 891871 w 1089991"/>
                  <a:gd name="connsiteY5" fmla="*/ 313186 h 1706985"/>
                  <a:gd name="connsiteX6" fmla="*/ 670891 w 1089991"/>
                  <a:gd name="connsiteY6" fmla="*/ 183601 h 1706985"/>
                  <a:gd name="connsiteX7" fmla="*/ 419431 w 1089991"/>
                  <a:gd name="connsiteY7" fmla="*/ 38851 h 1706985"/>
                  <a:gd name="connsiteX8" fmla="*/ 0 w 1089991"/>
                  <a:gd name="connsiteY8" fmla="*/ 0 h 1706985"/>
                  <a:gd name="connsiteX9" fmla="*/ 95457 w 1089991"/>
                  <a:gd name="connsiteY9" fmla="*/ 105354 h 1706985"/>
                  <a:gd name="connsiteX10" fmla="*/ 7476 w 1089991"/>
                  <a:gd name="connsiteY10" fmla="*/ 223863 h 1706985"/>
                  <a:gd name="connsiteX11" fmla="*/ 47801 w 1089991"/>
                  <a:gd name="connsiteY11" fmla="*/ 1542754 h 1706985"/>
                  <a:gd name="connsiteX12" fmla="*/ 579451 w 1089991"/>
                  <a:gd name="connsiteY12" fmla="*/ 1706985 h 1706985"/>
                  <a:gd name="connsiteX0" fmla="*/ 579451 w 1089991"/>
                  <a:gd name="connsiteY0" fmla="*/ 1706985 h 1706985"/>
                  <a:gd name="connsiteX1" fmla="*/ 952831 w 1089991"/>
                  <a:gd name="connsiteY1" fmla="*/ 1653555 h 1706985"/>
                  <a:gd name="connsiteX2" fmla="*/ 1089991 w 1089991"/>
                  <a:gd name="connsiteY2" fmla="*/ 1242781 h 1706985"/>
                  <a:gd name="connsiteX3" fmla="*/ 1089991 w 1089991"/>
                  <a:gd name="connsiteY3" fmla="*/ 1143721 h 1706985"/>
                  <a:gd name="connsiteX4" fmla="*/ 952831 w 1089991"/>
                  <a:gd name="connsiteY4" fmla="*/ 450301 h 1706985"/>
                  <a:gd name="connsiteX5" fmla="*/ 891871 w 1089991"/>
                  <a:gd name="connsiteY5" fmla="*/ 313186 h 1706985"/>
                  <a:gd name="connsiteX6" fmla="*/ 670891 w 1089991"/>
                  <a:gd name="connsiteY6" fmla="*/ 183601 h 1706985"/>
                  <a:gd name="connsiteX7" fmla="*/ 419431 w 1089991"/>
                  <a:gd name="connsiteY7" fmla="*/ 38851 h 1706985"/>
                  <a:gd name="connsiteX8" fmla="*/ 0 w 1089991"/>
                  <a:gd name="connsiteY8" fmla="*/ 0 h 1706985"/>
                  <a:gd name="connsiteX9" fmla="*/ 106454 w 1089991"/>
                  <a:gd name="connsiteY9" fmla="*/ 116822 h 1706985"/>
                  <a:gd name="connsiteX10" fmla="*/ 7476 w 1089991"/>
                  <a:gd name="connsiteY10" fmla="*/ 223863 h 1706985"/>
                  <a:gd name="connsiteX11" fmla="*/ 47801 w 1089991"/>
                  <a:gd name="connsiteY11" fmla="*/ 1542754 h 1706985"/>
                  <a:gd name="connsiteX12" fmla="*/ 579451 w 1089991"/>
                  <a:gd name="connsiteY12" fmla="*/ 1706985 h 1706985"/>
                  <a:gd name="connsiteX0" fmla="*/ 579451 w 1089991"/>
                  <a:gd name="connsiteY0" fmla="*/ 1706985 h 1706985"/>
                  <a:gd name="connsiteX1" fmla="*/ 952831 w 1089991"/>
                  <a:gd name="connsiteY1" fmla="*/ 1653555 h 1706985"/>
                  <a:gd name="connsiteX2" fmla="*/ 1089991 w 1089991"/>
                  <a:gd name="connsiteY2" fmla="*/ 1242781 h 1706985"/>
                  <a:gd name="connsiteX3" fmla="*/ 1089991 w 1089991"/>
                  <a:gd name="connsiteY3" fmla="*/ 1143721 h 1706985"/>
                  <a:gd name="connsiteX4" fmla="*/ 952831 w 1089991"/>
                  <a:gd name="connsiteY4" fmla="*/ 450301 h 1706985"/>
                  <a:gd name="connsiteX5" fmla="*/ 891871 w 1089991"/>
                  <a:gd name="connsiteY5" fmla="*/ 313186 h 1706985"/>
                  <a:gd name="connsiteX6" fmla="*/ 670891 w 1089991"/>
                  <a:gd name="connsiteY6" fmla="*/ 183601 h 1706985"/>
                  <a:gd name="connsiteX7" fmla="*/ 419431 w 1089991"/>
                  <a:gd name="connsiteY7" fmla="*/ 38851 h 1706985"/>
                  <a:gd name="connsiteX8" fmla="*/ 201767 w 1089991"/>
                  <a:gd name="connsiteY8" fmla="*/ 21251 h 1706985"/>
                  <a:gd name="connsiteX9" fmla="*/ 0 w 1089991"/>
                  <a:gd name="connsiteY9" fmla="*/ 0 h 1706985"/>
                  <a:gd name="connsiteX10" fmla="*/ 106454 w 1089991"/>
                  <a:gd name="connsiteY10" fmla="*/ 116822 h 1706985"/>
                  <a:gd name="connsiteX11" fmla="*/ 7476 w 1089991"/>
                  <a:gd name="connsiteY11" fmla="*/ 223863 h 1706985"/>
                  <a:gd name="connsiteX12" fmla="*/ 47801 w 1089991"/>
                  <a:gd name="connsiteY12" fmla="*/ 1542754 h 1706985"/>
                  <a:gd name="connsiteX13" fmla="*/ 579451 w 1089991"/>
                  <a:gd name="connsiteY13" fmla="*/ 1706985 h 1706985"/>
                  <a:gd name="connsiteX0" fmla="*/ 579451 w 1089991"/>
                  <a:gd name="connsiteY0" fmla="*/ 1838649 h 1838649"/>
                  <a:gd name="connsiteX1" fmla="*/ 952831 w 1089991"/>
                  <a:gd name="connsiteY1" fmla="*/ 1785219 h 1838649"/>
                  <a:gd name="connsiteX2" fmla="*/ 1089991 w 1089991"/>
                  <a:gd name="connsiteY2" fmla="*/ 1374445 h 1838649"/>
                  <a:gd name="connsiteX3" fmla="*/ 1089991 w 1089991"/>
                  <a:gd name="connsiteY3" fmla="*/ 1275385 h 1838649"/>
                  <a:gd name="connsiteX4" fmla="*/ 952831 w 1089991"/>
                  <a:gd name="connsiteY4" fmla="*/ 581965 h 1838649"/>
                  <a:gd name="connsiteX5" fmla="*/ 891871 w 1089991"/>
                  <a:gd name="connsiteY5" fmla="*/ 444850 h 1838649"/>
                  <a:gd name="connsiteX6" fmla="*/ 670891 w 1089991"/>
                  <a:gd name="connsiteY6" fmla="*/ 315265 h 1838649"/>
                  <a:gd name="connsiteX7" fmla="*/ 419431 w 1089991"/>
                  <a:gd name="connsiteY7" fmla="*/ 170515 h 1838649"/>
                  <a:gd name="connsiteX8" fmla="*/ 117452 w 1089991"/>
                  <a:gd name="connsiteY8" fmla="*/ 0 h 1838649"/>
                  <a:gd name="connsiteX9" fmla="*/ 0 w 1089991"/>
                  <a:gd name="connsiteY9" fmla="*/ 131664 h 1838649"/>
                  <a:gd name="connsiteX10" fmla="*/ 106454 w 1089991"/>
                  <a:gd name="connsiteY10" fmla="*/ 248486 h 1838649"/>
                  <a:gd name="connsiteX11" fmla="*/ 7476 w 1089991"/>
                  <a:gd name="connsiteY11" fmla="*/ 355527 h 1838649"/>
                  <a:gd name="connsiteX12" fmla="*/ 47801 w 1089991"/>
                  <a:gd name="connsiteY12" fmla="*/ 1674418 h 1838649"/>
                  <a:gd name="connsiteX13" fmla="*/ 579451 w 1089991"/>
                  <a:gd name="connsiteY13" fmla="*/ 1838649 h 1838649"/>
                  <a:gd name="connsiteX0" fmla="*/ 579451 w 1089991"/>
                  <a:gd name="connsiteY0" fmla="*/ 1838649 h 1838649"/>
                  <a:gd name="connsiteX1" fmla="*/ 952831 w 1089991"/>
                  <a:gd name="connsiteY1" fmla="*/ 1785219 h 1838649"/>
                  <a:gd name="connsiteX2" fmla="*/ 1089991 w 1089991"/>
                  <a:gd name="connsiteY2" fmla="*/ 1374445 h 1838649"/>
                  <a:gd name="connsiteX3" fmla="*/ 1089991 w 1089991"/>
                  <a:gd name="connsiteY3" fmla="*/ 1275385 h 1838649"/>
                  <a:gd name="connsiteX4" fmla="*/ 952831 w 1089991"/>
                  <a:gd name="connsiteY4" fmla="*/ 581965 h 1838649"/>
                  <a:gd name="connsiteX5" fmla="*/ 891871 w 1089991"/>
                  <a:gd name="connsiteY5" fmla="*/ 444850 h 1838649"/>
                  <a:gd name="connsiteX6" fmla="*/ 670891 w 1089991"/>
                  <a:gd name="connsiteY6" fmla="*/ 315265 h 1838649"/>
                  <a:gd name="connsiteX7" fmla="*/ 419431 w 1089991"/>
                  <a:gd name="connsiteY7" fmla="*/ 170515 h 1838649"/>
                  <a:gd name="connsiteX8" fmla="*/ 275084 w 1089991"/>
                  <a:gd name="connsiteY8" fmla="*/ 91749 h 1838649"/>
                  <a:gd name="connsiteX9" fmla="*/ 117452 w 1089991"/>
                  <a:gd name="connsiteY9" fmla="*/ 0 h 1838649"/>
                  <a:gd name="connsiteX10" fmla="*/ 0 w 1089991"/>
                  <a:gd name="connsiteY10" fmla="*/ 131664 h 1838649"/>
                  <a:gd name="connsiteX11" fmla="*/ 106454 w 1089991"/>
                  <a:gd name="connsiteY11" fmla="*/ 248486 h 1838649"/>
                  <a:gd name="connsiteX12" fmla="*/ 7476 w 1089991"/>
                  <a:gd name="connsiteY12" fmla="*/ 355527 h 1838649"/>
                  <a:gd name="connsiteX13" fmla="*/ 47801 w 1089991"/>
                  <a:gd name="connsiteY13" fmla="*/ 1674418 h 1838649"/>
                  <a:gd name="connsiteX14" fmla="*/ 579451 w 1089991"/>
                  <a:gd name="connsiteY14" fmla="*/ 1838649 h 1838649"/>
                  <a:gd name="connsiteX0" fmla="*/ 579451 w 1089991"/>
                  <a:gd name="connsiteY0" fmla="*/ 1838649 h 1838649"/>
                  <a:gd name="connsiteX1" fmla="*/ 952831 w 1089991"/>
                  <a:gd name="connsiteY1" fmla="*/ 1785219 h 1838649"/>
                  <a:gd name="connsiteX2" fmla="*/ 1089991 w 1089991"/>
                  <a:gd name="connsiteY2" fmla="*/ 1374445 h 1838649"/>
                  <a:gd name="connsiteX3" fmla="*/ 1089991 w 1089991"/>
                  <a:gd name="connsiteY3" fmla="*/ 1275385 h 1838649"/>
                  <a:gd name="connsiteX4" fmla="*/ 952831 w 1089991"/>
                  <a:gd name="connsiteY4" fmla="*/ 581965 h 1838649"/>
                  <a:gd name="connsiteX5" fmla="*/ 891871 w 1089991"/>
                  <a:gd name="connsiteY5" fmla="*/ 444850 h 1838649"/>
                  <a:gd name="connsiteX6" fmla="*/ 670891 w 1089991"/>
                  <a:gd name="connsiteY6" fmla="*/ 315265 h 1838649"/>
                  <a:gd name="connsiteX7" fmla="*/ 419431 w 1089991"/>
                  <a:gd name="connsiteY7" fmla="*/ 170515 h 1838649"/>
                  <a:gd name="connsiteX8" fmla="*/ 286081 w 1089991"/>
                  <a:gd name="connsiteY8" fmla="*/ 160561 h 1838649"/>
                  <a:gd name="connsiteX9" fmla="*/ 117452 w 1089991"/>
                  <a:gd name="connsiteY9" fmla="*/ 0 h 1838649"/>
                  <a:gd name="connsiteX10" fmla="*/ 0 w 1089991"/>
                  <a:gd name="connsiteY10" fmla="*/ 131664 h 1838649"/>
                  <a:gd name="connsiteX11" fmla="*/ 106454 w 1089991"/>
                  <a:gd name="connsiteY11" fmla="*/ 248486 h 1838649"/>
                  <a:gd name="connsiteX12" fmla="*/ 7476 w 1089991"/>
                  <a:gd name="connsiteY12" fmla="*/ 355527 h 1838649"/>
                  <a:gd name="connsiteX13" fmla="*/ 47801 w 1089991"/>
                  <a:gd name="connsiteY13" fmla="*/ 1674418 h 1838649"/>
                  <a:gd name="connsiteX14" fmla="*/ 579451 w 1089991"/>
                  <a:gd name="connsiteY14" fmla="*/ 1838649 h 1838649"/>
                  <a:gd name="connsiteX0" fmla="*/ 579451 w 1089991"/>
                  <a:gd name="connsiteY0" fmla="*/ 1838649 h 1838649"/>
                  <a:gd name="connsiteX1" fmla="*/ 952831 w 1089991"/>
                  <a:gd name="connsiteY1" fmla="*/ 1785219 h 1838649"/>
                  <a:gd name="connsiteX2" fmla="*/ 1089991 w 1089991"/>
                  <a:gd name="connsiteY2" fmla="*/ 1374445 h 1838649"/>
                  <a:gd name="connsiteX3" fmla="*/ 1089991 w 1089991"/>
                  <a:gd name="connsiteY3" fmla="*/ 1275385 h 1838649"/>
                  <a:gd name="connsiteX4" fmla="*/ 952831 w 1089991"/>
                  <a:gd name="connsiteY4" fmla="*/ 581965 h 1838649"/>
                  <a:gd name="connsiteX5" fmla="*/ 891871 w 1089991"/>
                  <a:gd name="connsiteY5" fmla="*/ 444850 h 1838649"/>
                  <a:gd name="connsiteX6" fmla="*/ 670891 w 1089991"/>
                  <a:gd name="connsiteY6" fmla="*/ 315265 h 1838649"/>
                  <a:gd name="connsiteX7" fmla="*/ 419431 w 1089991"/>
                  <a:gd name="connsiteY7" fmla="*/ 170515 h 1838649"/>
                  <a:gd name="connsiteX8" fmla="*/ 286081 w 1089991"/>
                  <a:gd name="connsiteY8" fmla="*/ 160561 h 1838649"/>
                  <a:gd name="connsiteX9" fmla="*/ 117452 w 1089991"/>
                  <a:gd name="connsiteY9" fmla="*/ 0 h 1838649"/>
                  <a:gd name="connsiteX10" fmla="*/ 0 w 1089991"/>
                  <a:gd name="connsiteY10" fmla="*/ 131664 h 1838649"/>
                  <a:gd name="connsiteX11" fmla="*/ 106454 w 1089991"/>
                  <a:gd name="connsiteY11" fmla="*/ 248486 h 1838649"/>
                  <a:gd name="connsiteX12" fmla="*/ 7476 w 1089991"/>
                  <a:gd name="connsiteY12" fmla="*/ 355527 h 1838649"/>
                  <a:gd name="connsiteX13" fmla="*/ 47801 w 1089991"/>
                  <a:gd name="connsiteY13" fmla="*/ 1674418 h 1838649"/>
                  <a:gd name="connsiteX14" fmla="*/ 579451 w 1089991"/>
                  <a:gd name="connsiteY14" fmla="*/ 1838649 h 1838649"/>
                  <a:gd name="connsiteX0" fmla="*/ 579451 w 1089991"/>
                  <a:gd name="connsiteY0" fmla="*/ 1838649 h 1838649"/>
                  <a:gd name="connsiteX1" fmla="*/ 952831 w 1089991"/>
                  <a:gd name="connsiteY1" fmla="*/ 1785219 h 1838649"/>
                  <a:gd name="connsiteX2" fmla="*/ 1089991 w 1089991"/>
                  <a:gd name="connsiteY2" fmla="*/ 1374445 h 1838649"/>
                  <a:gd name="connsiteX3" fmla="*/ 1089991 w 1089991"/>
                  <a:gd name="connsiteY3" fmla="*/ 1275385 h 1838649"/>
                  <a:gd name="connsiteX4" fmla="*/ 952831 w 1089991"/>
                  <a:gd name="connsiteY4" fmla="*/ 581965 h 1838649"/>
                  <a:gd name="connsiteX5" fmla="*/ 891871 w 1089991"/>
                  <a:gd name="connsiteY5" fmla="*/ 444850 h 1838649"/>
                  <a:gd name="connsiteX6" fmla="*/ 670891 w 1089991"/>
                  <a:gd name="connsiteY6" fmla="*/ 315265 h 1838649"/>
                  <a:gd name="connsiteX7" fmla="*/ 419431 w 1089991"/>
                  <a:gd name="connsiteY7" fmla="*/ 170515 h 1838649"/>
                  <a:gd name="connsiteX8" fmla="*/ 359399 w 1089991"/>
                  <a:gd name="connsiteY8" fmla="*/ 172029 h 1838649"/>
                  <a:gd name="connsiteX9" fmla="*/ 286081 w 1089991"/>
                  <a:gd name="connsiteY9" fmla="*/ 160561 h 1838649"/>
                  <a:gd name="connsiteX10" fmla="*/ 117452 w 1089991"/>
                  <a:gd name="connsiteY10" fmla="*/ 0 h 1838649"/>
                  <a:gd name="connsiteX11" fmla="*/ 0 w 1089991"/>
                  <a:gd name="connsiteY11" fmla="*/ 131664 h 1838649"/>
                  <a:gd name="connsiteX12" fmla="*/ 106454 w 1089991"/>
                  <a:gd name="connsiteY12" fmla="*/ 248486 h 1838649"/>
                  <a:gd name="connsiteX13" fmla="*/ 7476 w 1089991"/>
                  <a:gd name="connsiteY13" fmla="*/ 355527 h 1838649"/>
                  <a:gd name="connsiteX14" fmla="*/ 47801 w 1089991"/>
                  <a:gd name="connsiteY14" fmla="*/ 1674418 h 1838649"/>
                  <a:gd name="connsiteX15" fmla="*/ 579451 w 1089991"/>
                  <a:gd name="connsiteY15" fmla="*/ 1838649 h 1838649"/>
                  <a:gd name="connsiteX0" fmla="*/ 579451 w 1089991"/>
                  <a:gd name="connsiteY0" fmla="*/ 1838649 h 1838649"/>
                  <a:gd name="connsiteX1" fmla="*/ 952831 w 1089991"/>
                  <a:gd name="connsiteY1" fmla="*/ 1785219 h 1838649"/>
                  <a:gd name="connsiteX2" fmla="*/ 1089991 w 1089991"/>
                  <a:gd name="connsiteY2" fmla="*/ 1374445 h 1838649"/>
                  <a:gd name="connsiteX3" fmla="*/ 1089991 w 1089991"/>
                  <a:gd name="connsiteY3" fmla="*/ 1275385 h 1838649"/>
                  <a:gd name="connsiteX4" fmla="*/ 952831 w 1089991"/>
                  <a:gd name="connsiteY4" fmla="*/ 581965 h 1838649"/>
                  <a:gd name="connsiteX5" fmla="*/ 891871 w 1089991"/>
                  <a:gd name="connsiteY5" fmla="*/ 444850 h 1838649"/>
                  <a:gd name="connsiteX6" fmla="*/ 670891 w 1089991"/>
                  <a:gd name="connsiteY6" fmla="*/ 315265 h 1838649"/>
                  <a:gd name="connsiteX7" fmla="*/ 419431 w 1089991"/>
                  <a:gd name="connsiteY7" fmla="*/ 170515 h 1838649"/>
                  <a:gd name="connsiteX8" fmla="*/ 315408 w 1089991"/>
                  <a:gd name="connsiteY8" fmla="*/ 107040 h 1838649"/>
                  <a:gd name="connsiteX9" fmla="*/ 286081 w 1089991"/>
                  <a:gd name="connsiteY9" fmla="*/ 160561 h 1838649"/>
                  <a:gd name="connsiteX10" fmla="*/ 117452 w 1089991"/>
                  <a:gd name="connsiteY10" fmla="*/ 0 h 1838649"/>
                  <a:gd name="connsiteX11" fmla="*/ 0 w 1089991"/>
                  <a:gd name="connsiteY11" fmla="*/ 131664 h 1838649"/>
                  <a:gd name="connsiteX12" fmla="*/ 106454 w 1089991"/>
                  <a:gd name="connsiteY12" fmla="*/ 248486 h 1838649"/>
                  <a:gd name="connsiteX13" fmla="*/ 7476 w 1089991"/>
                  <a:gd name="connsiteY13" fmla="*/ 355527 h 1838649"/>
                  <a:gd name="connsiteX14" fmla="*/ 47801 w 1089991"/>
                  <a:gd name="connsiteY14" fmla="*/ 1674418 h 1838649"/>
                  <a:gd name="connsiteX15" fmla="*/ 579451 w 1089991"/>
                  <a:gd name="connsiteY15" fmla="*/ 1838649 h 1838649"/>
                  <a:gd name="connsiteX0" fmla="*/ 495136 w 1089991"/>
                  <a:gd name="connsiteY0" fmla="*/ 1850118 h 1850118"/>
                  <a:gd name="connsiteX1" fmla="*/ 952831 w 1089991"/>
                  <a:gd name="connsiteY1" fmla="*/ 1785219 h 1850118"/>
                  <a:gd name="connsiteX2" fmla="*/ 1089991 w 1089991"/>
                  <a:gd name="connsiteY2" fmla="*/ 1374445 h 1850118"/>
                  <a:gd name="connsiteX3" fmla="*/ 1089991 w 1089991"/>
                  <a:gd name="connsiteY3" fmla="*/ 1275385 h 1850118"/>
                  <a:gd name="connsiteX4" fmla="*/ 952831 w 1089991"/>
                  <a:gd name="connsiteY4" fmla="*/ 581965 h 1850118"/>
                  <a:gd name="connsiteX5" fmla="*/ 891871 w 1089991"/>
                  <a:gd name="connsiteY5" fmla="*/ 444850 h 1850118"/>
                  <a:gd name="connsiteX6" fmla="*/ 670891 w 1089991"/>
                  <a:gd name="connsiteY6" fmla="*/ 315265 h 1850118"/>
                  <a:gd name="connsiteX7" fmla="*/ 419431 w 1089991"/>
                  <a:gd name="connsiteY7" fmla="*/ 170515 h 1850118"/>
                  <a:gd name="connsiteX8" fmla="*/ 315408 w 1089991"/>
                  <a:gd name="connsiteY8" fmla="*/ 107040 h 1850118"/>
                  <a:gd name="connsiteX9" fmla="*/ 286081 w 1089991"/>
                  <a:gd name="connsiteY9" fmla="*/ 160561 h 1850118"/>
                  <a:gd name="connsiteX10" fmla="*/ 117452 w 1089991"/>
                  <a:gd name="connsiteY10" fmla="*/ 0 h 1850118"/>
                  <a:gd name="connsiteX11" fmla="*/ 0 w 1089991"/>
                  <a:gd name="connsiteY11" fmla="*/ 131664 h 1850118"/>
                  <a:gd name="connsiteX12" fmla="*/ 106454 w 1089991"/>
                  <a:gd name="connsiteY12" fmla="*/ 248486 h 1850118"/>
                  <a:gd name="connsiteX13" fmla="*/ 7476 w 1089991"/>
                  <a:gd name="connsiteY13" fmla="*/ 355527 h 1850118"/>
                  <a:gd name="connsiteX14" fmla="*/ 47801 w 1089991"/>
                  <a:gd name="connsiteY14" fmla="*/ 1674418 h 1850118"/>
                  <a:gd name="connsiteX15" fmla="*/ 495136 w 1089991"/>
                  <a:gd name="connsiteY15" fmla="*/ 1850118 h 1850118"/>
                  <a:gd name="connsiteX0" fmla="*/ 495136 w 1089991"/>
                  <a:gd name="connsiteY0" fmla="*/ 1850118 h 1850118"/>
                  <a:gd name="connsiteX1" fmla="*/ 952831 w 1089991"/>
                  <a:gd name="connsiteY1" fmla="*/ 1785219 h 1850118"/>
                  <a:gd name="connsiteX2" fmla="*/ 1089991 w 1089991"/>
                  <a:gd name="connsiteY2" fmla="*/ 1374445 h 1850118"/>
                  <a:gd name="connsiteX3" fmla="*/ 1089991 w 1089991"/>
                  <a:gd name="connsiteY3" fmla="*/ 1275385 h 1850118"/>
                  <a:gd name="connsiteX4" fmla="*/ 952831 w 1089991"/>
                  <a:gd name="connsiteY4" fmla="*/ 581965 h 1850118"/>
                  <a:gd name="connsiteX5" fmla="*/ 829551 w 1089991"/>
                  <a:gd name="connsiteY5" fmla="*/ 395153 h 1850118"/>
                  <a:gd name="connsiteX6" fmla="*/ 670891 w 1089991"/>
                  <a:gd name="connsiteY6" fmla="*/ 315265 h 1850118"/>
                  <a:gd name="connsiteX7" fmla="*/ 419431 w 1089991"/>
                  <a:gd name="connsiteY7" fmla="*/ 170515 h 1850118"/>
                  <a:gd name="connsiteX8" fmla="*/ 315408 w 1089991"/>
                  <a:gd name="connsiteY8" fmla="*/ 107040 h 1850118"/>
                  <a:gd name="connsiteX9" fmla="*/ 286081 w 1089991"/>
                  <a:gd name="connsiteY9" fmla="*/ 160561 h 1850118"/>
                  <a:gd name="connsiteX10" fmla="*/ 117452 w 1089991"/>
                  <a:gd name="connsiteY10" fmla="*/ 0 h 1850118"/>
                  <a:gd name="connsiteX11" fmla="*/ 0 w 1089991"/>
                  <a:gd name="connsiteY11" fmla="*/ 131664 h 1850118"/>
                  <a:gd name="connsiteX12" fmla="*/ 106454 w 1089991"/>
                  <a:gd name="connsiteY12" fmla="*/ 248486 h 1850118"/>
                  <a:gd name="connsiteX13" fmla="*/ 7476 w 1089991"/>
                  <a:gd name="connsiteY13" fmla="*/ 355527 h 1850118"/>
                  <a:gd name="connsiteX14" fmla="*/ 47801 w 1089991"/>
                  <a:gd name="connsiteY14" fmla="*/ 1674418 h 1850118"/>
                  <a:gd name="connsiteX15" fmla="*/ 495136 w 1089991"/>
                  <a:gd name="connsiteY15" fmla="*/ 1850118 h 1850118"/>
                  <a:gd name="connsiteX0" fmla="*/ 495136 w 1089991"/>
                  <a:gd name="connsiteY0" fmla="*/ 1850118 h 1850118"/>
                  <a:gd name="connsiteX1" fmla="*/ 952831 w 1089991"/>
                  <a:gd name="connsiteY1" fmla="*/ 1785219 h 1850118"/>
                  <a:gd name="connsiteX2" fmla="*/ 1089991 w 1089991"/>
                  <a:gd name="connsiteY2" fmla="*/ 1374445 h 1850118"/>
                  <a:gd name="connsiteX3" fmla="*/ 1089991 w 1089991"/>
                  <a:gd name="connsiteY3" fmla="*/ 1275385 h 1850118"/>
                  <a:gd name="connsiteX4" fmla="*/ 952831 w 1089991"/>
                  <a:gd name="connsiteY4" fmla="*/ 581965 h 1850118"/>
                  <a:gd name="connsiteX5" fmla="*/ 829551 w 1089991"/>
                  <a:gd name="connsiteY5" fmla="*/ 395153 h 1850118"/>
                  <a:gd name="connsiteX6" fmla="*/ 419431 w 1089991"/>
                  <a:gd name="connsiteY6" fmla="*/ 170515 h 1850118"/>
                  <a:gd name="connsiteX7" fmla="*/ 315408 w 1089991"/>
                  <a:gd name="connsiteY7" fmla="*/ 107040 h 1850118"/>
                  <a:gd name="connsiteX8" fmla="*/ 286081 w 1089991"/>
                  <a:gd name="connsiteY8" fmla="*/ 160561 h 1850118"/>
                  <a:gd name="connsiteX9" fmla="*/ 117452 w 1089991"/>
                  <a:gd name="connsiteY9" fmla="*/ 0 h 1850118"/>
                  <a:gd name="connsiteX10" fmla="*/ 0 w 1089991"/>
                  <a:gd name="connsiteY10" fmla="*/ 131664 h 1850118"/>
                  <a:gd name="connsiteX11" fmla="*/ 106454 w 1089991"/>
                  <a:gd name="connsiteY11" fmla="*/ 248486 h 1850118"/>
                  <a:gd name="connsiteX12" fmla="*/ 7476 w 1089991"/>
                  <a:gd name="connsiteY12" fmla="*/ 355527 h 1850118"/>
                  <a:gd name="connsiteX13" fmla="*/ 47801 w 1089991"/>
                  <a:gd name="connsiteY13" fmla="*/ 1674418 h 1850118"/>
                  <a:gd name="connsiteX14" fmla="*/ 495136 w 1089991"/>
                  <a:gd name="connsiteY14" fmla="*/ 1850118 h 1850118"/>
                  <a:gd name="connsiteX0" fmla="*/ 495136 w 1089991"/>
                  <a:gd name="connsiteY0" fmla="*/ 1850118 h 1850118"/>
                  <a:gd name="connsiteX1" fmla="*/ 952831 w 1089991"/>
                  <a:gd name="connsiteY1" fmla="*/ 1785219 h 1850118"/>
                  <a:gd name="connsiteX2" fmla="*/ 1089991 w 1089991"/>
                  <a:gd name="connsiteY2" fmla="*/ 1374445 h 1850118"/>
                  <a:gd name="connsiteX3" fmla="*/ 1089991 w 1089991"/>
                  <a:gd name="connsiteY3" fmla="*/ 1275385 h 1850118"/>
                  <a:gd name="connsiteX4" fmla="*/ 952831 w 1089991"/>
                  <a:gd name="connsiteY4" fmla="*/ 581965 h 1850118"/>
                  <a:gd name="connsiteX5" fmla="*/ 829551 w 1089991"/>
                  <a:gd name="connsiteY5" fmla="*/ 395153 h 1850118"/>
                  <a:gd name="connsiteX6" fmla="*/ 485417 w 1089991"/>
                  <a:gd name="connsiteY6" fmla="*/ 208744 h 1850118"/>
                  <a:gd name="connsiteX7" fmla="*/ 315408 w 1089991"/>
                  <a:gd name="connsiteY7" fmla="*/ 107040 h 1850118"/>
                  <a:gd name="connsiteX8" fmla="*/ 286081 w 1089991"/>
                  <a:gd name="connsiteY8" fmla="*/ 160561 h 1850118"/>
                  <a:gd name="connsiteX9" fmla="*/ 117452 w 1089991"/>
                  <a:gd name="connsiteY9" fmla="*/ 0 h 1850118"/>
                  <a:gd name="connsiteX10" fmla="*/ 0 w 1089991"/>
                  <a:gd name="connsiteY10" fmla="*/ 131664 h 1850118"/>
                  <a:gd name="connsiteX11" fmla="*/ 106454 w 1089991"/>
                  <a:gd name="connsiteY11" fmla="*/ 248486 h 1850118"/>
                  <a:gd name="connsiteX12" fmla="*/ 7476 w 1089991"/>
                  <a:gd name="connsiteY12" fmla="*/ 355527 h 1850118"/>
                  <a:gd name="connsiteX13" fmla="*/ 47801 w 1089991"/>
                  <a:gd name="connsiteY13" fmla="*/ 1674418 h 1850118"/>
                  <a:gd name="connsiteX14" fmla="*/ 495136 w 1089991"/>
                  <a:gd name="connsiteY14" fmla="*/ 1850118 h 1850118"/>
                  <a:gd name="connsiteX0" fmla="*/ 495136 w 1089991"/>
                  <a:gd name="connsiteY0" fmla="*/ 1850118 h 1850118"/>
                  <a:gd name="connsiteX1" fmla="*/ 952831 w 1089991"/>
                  <a:gd name="connsiteY1" fmla="*/ 1785219 h 1850118"/>
                  <a:gd name="connsiteX2" fmla="*/ 1089991 w 1089991"/>
                  <a:gd name="connsiteY2" fmla="*/ 1374445 h 1850118"/>
                  <a:gd name="connsiteX3" fmla="*/ 1089991 w 1089991"/>
                  <a:gd name="connsiteY3" fmla="*/ 1275385 h 1850118"/>
                  <a:gd name="connsiteX4" fmla="*/ 952831 w 1089991"/>
                  <a:gd name="connsiteY4" fmla="*/ 581965 h 1850118"/>
                  <a:gd name="connsiteX5" fmla="*/ 510622 w 1089991"/>
                  <a:gd name="connsiteY5" fmla="*/ 200186 h 1850118"/>
                  <a:gd name="connsiteX6" fmla="*/ 485417 w 1089991"/>
                  <a:gd name="connsiteY6" fmla="*/ 208744 h 1850118"/>
                  <a:gd name="connsiteX7" fmla="*/ 315408 w 1089991"/>
                  <a:gd name="connsiteY7" fmla="*/ 107040 h 1850118"/>
                  <a:gd name="connsiteX8" fmla="*/ 286081 w 1089991"/>
                  <a:gd name="connsiteY8" fmla="*/ 160561 h 1850118"/>
                  <a:gd name="connsiteX9" fmla="*/ 117452 w 1089991"/>
                  <a:gd name="connsiteY9" fmla="*/ 0 h 1850118"/>
                  <a:gd name="connsiteX10" fmla="*/ 0 w 1089991"/>
                  <a:gd name="connsiteY10" fmla="*/ 131664 h 1850118"/>
                  <a:gd name="connsiteX11" fmla="*/ 106454 w 1089991"/>
                  <a:gd name="connsiteY11" fmla="*/ 248486 h 1850118"/>
                  <a:gd name="connsiteX12" fmla="*/ 7476 w 1089991"/>
                  <a:gd name="connsiteY12" fmla="*/ 355527 h 1850118"/>
                  <a:gd name="connsiteX13" fmla="*/ 47801 w 1089991"/>
                  <a:gd name="connsiteY13" fmla="*/ 1674418 h 1850118"/>
                  <a:gd name="connsiteX14" fmla="*/ 495136 w 1089991"/>
                  <a:gd name="connsiteY14" fmla="*/ 1850118 h 1850118"/>
                  <a:gd name="connsiteX0" fmla="*/ 495136 w 1089991"/>
                  <a:gd name="connsiteY0" fmla="*/ 1850118 h 1850118"/>
                  <a:gd name="connsiteX1" fmla="*/ 952831 w 1089991"/>
                  <a:gd name="connsiteY1" fmla="*/ 1785219 h 1850118"/>
                  <a:gd name="connsiteX2" fmla="*/ 1089991 w 1089991"/>
                  <a:gd name="connsiteY2" fmla="*/ 1374445 h 1850118"/>
                  <a:gd name="connsiteX3" fmla="*/ 1089991 w 1089991"/>
                  <a:gd name="connsiteY3" fmla="*/ 1275385 h 1850118"/>
                  <a:gd name="connsiteX4" fmla="*/ 952831 w 1089991"/>
                  <a:gd name="connsiteY4" fmla="*/ 581965 h 1850118"/>
                  <a:gd name="connsiteX5" fmla="*/ 751646 w 1089991"/>
                  <a:gd name="connsiteY5" fmla="*/ 405225 h 1850118"/>
                  <a:gd name="connsiteX6" fmla="*/ 510622 w 1089991"/>
                  <a:gd name="connsiteY6" fmla="*/ 200186 h 1850118"/>
                  <a:gd name="connsiteX7" fmla="*/ 485417 w 1089991"/>
                  <a:gd name="connsiteY7" fmla="*/ 208744 h 1850118"/>
                  <a:gd name="connsiteX8" fmla="*/ 315408 w 1089991"/>
                  <a:gd name="connsiteY8" fmla="*/ 107040 h 1850118"/>
                  <a:gd name="connsiteX9" fmla="*/ 286081 w 1089991"/>
                  <a:gd name="connsiteY9" fmla="*/ 160561 h 1850118"/>
                  <a:gd name="connsiteX10" fmla="*/ 117452 w 1089991"/>
                  <a:gd name="connsiteY10" fmla="*/ 0 h 1850118"/>
                  <a:gd name="connsiteX11" fmla="*/ 0 w 1089991"/>
                  <a:gd name="connsiteY11" fmla="*/ 131664 h 1850118"/>
                  <a:gd name="connsiteX12" fmla="*/ 106454 w 1089991"/>
                  <a:gd name="connsiteY12" fmla="*/ 248486 h 1850118"/>
                  <a:gd name="connsiteX13" fmla="*/ 7476 w 1089991"/>
                  <a:gd name="connsiteY13" fmla="*/ 355527 h 1850118"/>
                  <a:gd name="connsiteX14" fmla="*/ 47801 w 1089991"/>
                  <a:gd name="connsiteY14" fmla="*/ 1674418 h 1850118"/>
                  <a:gd name="connsiteX15" fmla="*/ 495136 w 1089991"/>
                  <a:gd name="connsiteY15" fmla="*/ 1850118 h 1850118"/>
                  <a:gd name="connsiteX0" fmla="*/ 495136 w 1089991"/>
                  <a:gd name="connsiteY0" fmla="*/ 1850118 h 1850118"/>
                  <a:gd name="connsiteX1" fmla="*/ 952831 w 1089991"/>
                  <a:gd name="connsiteY1" fmla="*/ 1785219 h 1850118"/>
                  <a:gd name="connsiteX2" fmla="*/ 1089991 w 1089991"/>
                  <a:gd name="connsiteY2" fmla="*/ 1374445 h 1850118"/>
                  <a:gd name="connsiteX3" fmla="*/ 1089991 w 1089991"/>
                  <a:gd name="connsiteY3" fmla="*/ 1275385 h 1850118"/>
                  <a:gd name="connsiteX4" fmla="*/ 952831 w 1089991"/>
                  <a:gd name="connsiteY4" fmla="*/ 581965 h 1850118"/>
                  <a:gd name="connsiteX5" fmla="*/ 766309 w 1089991"/>
                  <a:gd name="connsiteY5" fmla="*/ 347881 h 1850118"/>
                  <a:gd name="connsiteX6" fmla="*/ 510622 w 1089991"/>
                  <a:gd name="connsiteY6" fmla="*/ 200186 h 1850118"/>
                  <a:gd name="connsiteX7" fmla="*/ 485417 w 1089991"/>
                  <a:gd name="connsiteY7" fmla="*/ 208744 h 1850118"/>
                  <a:gd name="connsiteX8" fmla="*/ 315408 w 1089991"/>
                  <a:gd name="connsiteY8" fmla="*/ 107040 h 1850118"/>
                  <a:gd name="connsiteX9" fmla="*/ 286081 w 1089991"/>
                  <a:gd name="connsiteY9" fmla="*/ 160561 h 1850118"/>
                  <a:gd name="connsiteX10" fmla="*/ 117452 w 1089991"/>
                  <a:gd name="connsiteY10" fmla="*/ 0 h 1850118"/>
                  <a:gd name="connsiteX11" fmla="*/ 0 w 1089991"/>
                  <a:gd name="connsiteY11" fmla="*/ 131664 h 1850118"/>
                  <a:gd name="connsiteX12" fmla="*/ 106454 w 1089991"/>
                  <a:gd name="connsiteY12" fmla="*/ 248486 h 1850118"/>
                  <a:gd name="connsiteX13" fmla="*/ 7476 w 1089991"/>
                  <a:gd name="connsiteY13" fmla="*/ 355527 h 1850118"/>
                  <a:gd name="connsiteX14" fmla="*/ 47801 w 1089991"/>
                  <a:gd name="connsiteY14" fmla="*/ 1674418 h 1850118"/>
                  <a:gd name="connsiteX15" fmla="*/ 495136 w 1089991"/>
                  <a:gd name="connsiteY15" fmla="*/ 1850118 h 1850118"/>
                  <a:gd name="connsiteX0" fmla="*/ 495136 w 1089991"/>
                  <a:gd name="connsiteY0" fmla="*/ 1850118 h 1850118"/>
                  <a:gd name="connsiteX1" fmla="*/ 952831 w 1089991"/>
                  <a:gd name="connsiteY1" fmla="*/ 1785219 h 1850118"/>
                  <a:gd name="connsiteX2" fmla="*/ 1089991 w 1089991"/>
                  <a:gd name="connsiteY2" fmla="*/ 1374445 h 1850118"/>
                  <a:gd name="connsiteX3" fmla="*/ 1089991 w 1089991"/>
                  <a:gd name="connsiteY3" fmla="*/ 1275385 h 1850118"/>
                  <a:gd name="connsiteX4" fmla="*/ 952831 w 1089991"/>
                  <a:gd name="connsiteY4" fmla="*/ 581965 h 1850118"/>
                  <a:gd name="connsiteX5" fmla="*/ 766309 w 1089991"/>
                  <a:gd name="connsiteY5" fmla="*/ 347881 h 1850118"/>
                  <a:gd name="connsiteX6" fmla="*/ 510622 w 1089991"/>
                  <a:gd name="connsiteY6" fmla="*/ 200186 h 1850118"/>
                  <a:gd name="connsiteX7" fmla="*/ 485417 w 1089991"/>
                  <a:gd name="connsiteY7" fmla="*/ 208744 h 1850118"/>
                  <a:gd name="connsiteX8" fmla="*/ 315408 w 1089991"/>
                  <a:gd name="connsiteY8" fmla="*/ 107040 h 1850118"/>
                  <a:gd name="connsiteX9" fmla="*/ 286081 w 1089991"/>
                  <a:gd name="connsiteY9" fmla="*/ 160561 h 1850118"/>
                  <a:gd name="connsiteX10" fmla="*/ 117452 w 1089991"/>
                  <a:gd name="connsiteY10" fmla="*/ 0 h 1850118"/>
                  <a:gd name="connsiteX11" fmla="*/ 0 w 1089991"/>
                  <a:gd name="connsiteY11" fmla="*/ 131664 h 1850118"/>
                  <a:gd name="connsiteX12" fmla="*/ 106454 w 1089991"/>
                  <a:gd name="connsiteY12" fmla="*/ 248486 h 1850118"/>
                  <a:gd name="connsiteX13" fmla="*/ 7476 w 1089991"/>
                  <a:gd name="connsiteY13" fmla="*/ 355527 h 1850118"/>
                  <a:gd name="connsiteX14" fmla="*/ 47801 w 1089991"/>
                  <a:gd name="connsiteY14" fmla="*/ 1674418 h 1850118"/>
                  <a:gd name="connsiteX15" fmla="*/ 495136 w 1089991"/>
                  <a:gd name="connsiteY15" fmla="*/ 1850118 h 1850118"/>
                  <a:gd name="connsiteX0" fmla="*/ 495136 w 1089991"/>
                  <a:gd name="connsiteY0" fmla="*/ 1850118 h 1850118"/>
                  <a:gd name="connsiteX1" fmla="*/ 952831 w 1089991"/>
                  <a:gd name="connsiteY1" fmla="*/ 1785219 h 1850118"/>
                  <a:gd name="connsiteX2" fmla="*/ 1089991 w 1089991"/>
                  <a:gd name="connsiteY2" fmla="*/ 1374445 h 1850118"/>
                  <a:gd name="connsiteX3" fmla="*/ 1089991 w 1089991"/>
                  <a:gd name="connsiteY3" fmla="*/ 1275385 h 1850118"/>
                  <a:gd name="connsiteX4" fmla="*/ 952831 w 1089991"/>
                  <a:gd name="connsiteY4" fmla="*/ 581965 h 1850118"/>
                  <a:gd name="connsiteX5" fmla="*/ 766309 w 1089991"/>
                  <a:gd name="connsiteY5" fmla="*/ 347881 h 1850118"/>
                  <a:gd name="connsiteX6" fmla="*/ 510622 w 1089991"/>
                  <a:gd name="connsiteY6" fmla="*/ 200186 h 1850118"/>
                  <a:gd name="connsiteX7" fmla="*/ 485417 w 1089991"/>
                  <a:gd name="connsiteY7" fmla="*/ 208744 h 1850118"/>
                  <a:gd name="connsiteX8" fmla="*/ 315408 w 1089991"/>
                  <a:gd name="connsiteY8" fmla="*/ 107040 h 1850118"/>
                  <a:gd name="connsiteX9" fmla="*/ 286081 w 1089991"/>
                  <a:gd name="connsiteY9" fmla="*/ 160561 h 1850118"/>
                  <a:gd name="connsiteX10" fmla="*/ 117452 w 1089991"/>
                  <a:gd name="connsiteY10" fmla="*/ 0 h 1850118"/>
                  <a:gd name="connsiteX11" fmla="*/ 0 w 1089991"/>
                  <a:gd name="connsiteY11" fmla="*/ 131664 h 1850118"/>
                  <a:gd name="connsiteX12" fmla="*/ 106454 w 1089991"/>
                  <a:gd name="connsiteY12" fmla="*/ 248486 h 1850118"/>
                  <a:gd name="connsiteX13" fmla="*/ 7476 w 1089991"/>
                  <a:gd name="connsiteY13" fmla="*/ 355527 h 1850118"/>
                  <a:gd name="connsiteX14" fmla="*/ 47801 w 1089991"/>
                  <a:gd name="connsiteY14" fmla="*/ 1674418 h 1850118"/>
                  <a:gd name="connsiteX15" fmla="*/ 495136 w 1089991"/>
                  <a:gd name="connsiteY15" fmla="*/ 1850118 h 1850118"/>
                  <a:gd name="connsiteX0" fmla="*/ 495136 w 1089991"/>
                  <a:gd name="connsiteY0" fmla="*/ 1850118 h 1850118"/>
                  <a:gd name="connsiteX1" fmla="*/ 952831 w 1089991"/>
                  <a:gd name="connsiteY1" fmla="*/ 1785219 h 1850118"/>
                  <a:gd name="connsiteX2" fmla="*/ 1089991 w 1089991"/>
                  <a:gd name="connsiteY2" fmla="*/ 1374445 h 1850118"/>
                  <a:gd name="connsiteX3" fmla="*/ 1089991 w 1089991"/>
                  <a:gd name="connsiteY3" fmla="*/ 1275385 h 1850118"/>
                  <a:gd name="connsiteX4" fmla="*/ 927170 w 1089991"/>
                  <a:gd name="connsiteY4" fmla="*/ 578142 h 1850118"/>
                  <a:gd name="connsiteX5" fmla="*/ 766309 w 1089991"/>
                  <a:gd name="connsiteY5" fmla="*/ 347881 h 1850118"/>
                  <a:gd name="connsiteX6" fmla="*/ 510622 w 1089991"/>
                  <a:gd name="connsiteY6" fmla="*/ 200186 h 1850118"/>
                  <a:gd name="connsiteX7" fmla="*/ 485417 w 1089991"/>
                  <a:gd name="connsiteY7" fmla="*/ 208744 h 1850118"/>
                  <a:gd name="connsiteX8" fmla="*/ 315408 w 1089991"/>
                  <a:gd name="connsiteY8" fmla="*/ 107040 h 1850118"/>
                  <a:gd name="connsiteX9" fmla="*/ 286081 w 1089991"/>
                  <a:gd name="connsiteY9" fmla="*/ 160561 h 1850118"/>
                  <a:gd name="connsiteX10" fmla="*/ 117452 w 1089991"/>
                  <a:gd name="connsiteY10" fmla="*/ 0 h 1850118"/>
                  <a:gd name="connsiteX11" fmla="*/ 0 w 1089991"/>
                  <a:gd name="connsiteY11" fmla="*/ 131664 h 1850118"/>
                  <a:gd name="connsiteX12" fmla="*/ 106454 w 1089991"/>
                  <a:gd name="connsiteY12" fmla="*/ 248486 h 1850118"/>
                  <a:gd name="connsiteX13" fmla="*/ 7476 w 1089991"/>
                  <a:gd name="connsiteY13" fmla="*/ 355527 h 1850118"/>
                  <a:gd name="connsiteX14" fmla="*/ 47801 w 1089991"/>
                  <a:gd name="connsiteY14" fmla="*/ 1674418 h 1850118"/>
                  <a:gd name="connsiteX15" fmla="*/ 495136 w 1089991"/>
                  <a:gd name="connsiteY15" fmla="*/ 1850118 h 1850118"/>
                  <a:gd name="connsiteX0" fmla="*/ 495136 w 1089991"/>
                  <a:gd name="connsiteY0" fmla="*/ 1850118 h 1850118"/>
                  <a:gd name="connsiteX1" fmla="*/ 952831 w 1089991"/>
                  <a:gd name="connsiteY1" fmla="*/ 1785219 h 1850118"/>
                  <a:gd name="connsiteX2" fmla="*/ 1089991 w 1089991"/>
                  <a:gd name="connsiteY2" fmla="*/ 1374445 h 1850118"/>
                  <a:gd name="connsiteX3" fmla="*/ 1089991 w 1089991"/>
                  <a:gd name="connsiteY3" fmla="*/ 1275385 h 1850118"/>
                  <a:gd name="connsiteX4" fmla="*/ 927170 w 1089991"/>
                  <a:gd name="connsiteY4" fmla="*/ 578142 h 1850118"/>
                  <a:gd name="connsiteX5" fmla="*/ 766309 w 1089991"/>
                  <a:gd name="connsiteY5" fmla="*/ 347881 h 1850118"/>
                  <a:gd name="connsiteX6" fmla="*/ 510622 w 1089991"/>
                  <a:gd name="connsiteY6" fmla="*/ 200186 h 1850118"/>
                  <a:gd name="connsiteX7" fmla="*/ 485417 w 1089991"/>
                  <a:gd name="connsiteY7" fmla="*/ 208744 h 1850118"/>
                  <a:gd name="connsiteX8" fmla="*/ 315408 w 1089991"/>
                  <a:gd name="connsiteY8" fmla="*/ 107040 h 1850118"/>
                  <a:gd name="connsiteX9" fmla="*/ 286081 w 1089991"/>
                  <a:gd name="connsiteY9" fmla="*/ 160561 h 1850118"/>
                  <a:gd name="connsiteX10" fmla="*/ 117452 w 1089991"/>
                  <a:gd name="connsiteY10" fmla="*/ 0 h 1850118"/>
                  <a:gd name="connsiteX11" fmla="*/ 0 w 1089991"/>
                  <a:gd name="connsiteY11" fmla="*/ 131664 h 1850118"/>
                  <a:gd name="connsiteX12" fmla="*/ 106454 w 1089991"/>
                  <a:gd name="connsiteY12" fmla="*/ 248486 h 1850118"/>
                  <a:gd name="connsiteX13" fmla="*/ 7476 w 1089991"/>
                  <a:gd name="connsiteY13" fmla="*/ 355527 h 1850118"/>
                  <a:gd name="connsiteX14" fmla="*/ 47801 w 1089991"/>
                  <a:gd name="connsiteY14" fmla="*/ 1674418 h 1850118"/>
                  <a:gd name="connsiteX15" fmla="*/ 495136 w 1089991"/>
                  <a:gd name="connsiteY15" fmla="*/ 1850118 h 1850118"/>
                  <a:gd name="connsiteX0" fmla="*/ 495136 w 1089991"/>
                  <a:gd name="connsiteY0" fmla="*/ 1850118 h 1850118"/>
                  <a:gd name="connsiteX1" fmla="*/ 952831 w 1089991"/>
                  <a:gd name="connsiteY1" fmla="*/ 1785219 h 1850118"/>
                  <a:gd name="connsiteX2" fmla="*/ 1089991 w 1089991"/>
                  <a:gd name="connsiteY2" fmla="*/ 1374445 h 1850118"/>
                  <a:gd name="connsiteX3" fmla="*/ 1016674 w 1089991"/>
                  <a:gd name="connsiteY3" fmla="*/ 1011606 h 1850118"/>
                  <a:gd name="connsiteX4" fmla="*/ 927170 w 1089991"/>
                  <a:gd name="connsiteY4" fmla="*/ 578142 h 1850118"/>
                  <a:gd name="connsiteX5" fmla="*/ 766309 w 1089991"/>
                  <a:gd name="connsiteY5" fmla="*/ 347881 h 1850118"/>
                  <a:gd name="connsiteX6" fmla="*/ 510622 w 1089991"/>
                  <a:gd name="connsiteY6" fmla="*/ 200186 h 1850118"/>
                  <a:gd name="connsiteX7" fmla="*/ 485417 w 1089991"/>
                  <a:gd name="connsiteY7" fmla="*/ 208744 h 1850118"/>
                  <a:gd name="connsiteX8" fmla="*/ 315408 w 1089991"/>
                  <a:gd name="connsiteY8" fmla="*/ 107040 h 1850118"/>
                  <a:gd name="connsiteX9" fmla="*/ 286081 w 1089991"/>
                  <a:gd name="connsiteY9" fmla="*/ 160561 h 1850118"/>
                  <a:gd name="connsiteX10" fmla="*/ 117452 w 1089991"/>
                  <a:gd name="connsiteY10" fmla="*/ 0 h 1850118"/>
                  <a:gd name="connsiteX11" fmla="*/ 0 w 1089991"/>
                  <a:gd name="connsiteY11" fmla="*/ 131664 h 1850118"/>
                  <a:gd name="connsiteX12" fmla="*/ 106454 w 1089991"/>
                  <a:gd name="connsiteY12" fmla="*/ 248486 h 1850118"/>
                  <a:gd name="connsiteX13" fmla="*/ 7476 w 1089991"/>
                  <a:gd name="connsiteY13" fmla="*/ 355527 h 1850118"/>
                  <a:gd name="connsiteX14" fmla="*/ 47801 w 1089991"/>
                  <a:gd name="connsiteY14" fmla="*/ 1674418 h 1850118"/>
                  <a:gd name="connsiteX15" fmla="*/ 495136 w 1089991"/>
                  <a:gd name="connsiteY15" fmla="*/ 1850118 h 1850118"/>
                  <a:gd name="connsiteX0" fmla="*/ 495136 w 1064330"/>
                  <a:gd name="connsiteY0" fmla="*/ 1850118 h 1850118"/>
                  <a:gd name="connsiteX1" fmla="*/ 952831 w 1064330"/>
                  <a:gd name="connsiteY1" fmla="*/ 1785219 h 1850118"/>
                  <a:gd name="connsiteX2" fmla="*/ 1064330 w 1064330"/>
                  <a:gd name="connsiteY2" fmla="*/ 1011272 h 1850118"/>
                  <a:gd name="connsiteX3" fmla="*/ 1016674 w 1064330"/>
                  <a:gd name="connsiteY3" fmla="*/ 1011606 h 1850118"/>
                  <a:gd name="connsiteX4" fmla="*/ 927170 w 1064330"/>
                  <a:gd name="connsiteY4" fmla="*/ 578142 h 1850118"/>
                  <a:gd name="connsiteX5" fmla="*/ 766309 w 1064330"/>
                  <a:gd name="connsiteY5" fmla="*/ 347881 h 1850118"/>
                  <a:gd name="connsiteX6" fmla="*/ 510622 w 1064330"/>
                  <a:gd name="connsiteY6" fmla="*/ 200186 h 1850118"/>
                  <a:gd name="connsiteX7" fmla="*/ 485417 w 1064330"/>
                  <a:gd name="connsiteY7" fmla="*/ 208744 h 1850118"/>
                  <a:gd name="connsiteX8" fmla="*/ 315408 w 1064330"/>
                  <a:gd name="connsiteY8" fmla="*/ 107040 h 1850118"/>
                  <a:gd name="connsiteX9" fmla="*/ 286081 w 1064330"/>
                  <a:gd name="connsiteY9" fmla="*/ 160561 h 1850118"/>
                  <a:gd name="connsiteX10" fmla="*/ 117452 w 1064330"/>
                  <a:gd name="connsiteY10" fmla="*/ 0 h 1850118"/>
                  <a:gd name="connsiteX11" fmla="*/ 0 w 1064330"/>
                  <a:gd name="connsiteY11" fmla="*/ 131664 h 1850118"/>
                  <a:gd name="connsiteX12" fmla="*/ 106454 w 1064330"/>
                  <a:gd name="connsiteY12" fmla="*/ 248486 h 1850118"/>
                  <a:gd name="connsiteX13" fmla="*/ 7476 w 1064330"/>
                  <a:gd name="connsiteY13" fmla="*/ 355527 h 1850118"/>
                  <a:gd name="connsiteX14" fmla="*/ 47801 w 1064330"/>
                  <a:gd name="connsiteY14" fmla="*/ 1674418 h 1850118"/>
                  <a:gd name="connsiteX15" fmla="*/ 495136 w 1064330"/>
                  <a:gd name="connsiteY15" fmla="*/ 1850118 h 1850118"/>
                  <a:gd name="connsiteX0" fmla="*/ 495136 w 1064330"/>
                  <a:gd name="connsiteY0" fmla="*/ 1850118 h 1850118"/>
                  <a:gd name="connsiteX1" fmla="*/ 952831 w 1064330"/>
                  <a:gd name="connsiteY1" fmla="*/ 1785219 h 1850118"/>
                  <a:gd name="connsiteX2" fmla="*/ 1064330 w 1064330"/>
                  <a:gd name="connsiteY2" fmla="*/ 1011272 h 1850118"/>
                  <a:gd name="connsiteX3" fmla="*/ 1016674 w 1064330"/>
                  <a:gd name="connsiteY3" fmla="*/ 996315 h 1850118"/>
                  <a:gd name="connsiteX4" fmla="*/ 927170 w 1064330"/>
                  <a:gd name="connsiteY4" fmla="*/ 578142 h 1850118"/>
                  <a:gd name="connsiteX5" fmla="*/ 766309 w 1064330"/>
                  <a:gd name="connsiteY5" fmla="*/ 347881 h 1850118"/>
                  <a:gd name="connsiteX6" fmla="*/ 510622 w 1064330"/>
                  <a:gd name="connsiteY6" fmla="*/ 200186 h 1850118"/>
                  <a:gd name="connsiteX7" fmla="*/ 485417 w 1064330"/>
                  <a:gd name="connsiteY7" fmla="*/ 208744 h 1850118"/>
                  <a:gd name="connsiteX8" fmla="*/ 315408 w 1064330"/>
                  <a:gd name="connsiteY8" fmla="*/ 107040 h 1850118"/>
                  <a:gd name="connsiteX9" fmla="*/ 286081 w 1064330"/>
                  <a:gd name="connsiteY9" fmla="*/ 160561 h 1850118"/>
                  <a:gd name="connsiteX10" fmla="*/ 117452 w 1064330"/>
                  <a:gd name="connsiteY10" fmla="*/ 0 h 1850118"/>
                  <a:gd name="connsiteX11" fmla="*/ 0 w 1064330"/>
                  <a:gd name="connsiteY11" fmla="*/ 131664 h 1850118"/>
                  <a:gd name="connsiteX12" fmla="*/ 106454 w 1064330"/>
                  <a:gd name="connsiteY12" fmla="*/ 248486 h 1850118"/>
                  <a:gd name="connsiteX13" fmla="*/ 7476 w 1064330"/>
                  <a:gd name="connsiteY13" fmla="*/ 355527 h 1850118"/>
                  <a:gd name="connsiteX14" fmla="*/ 47801 w 1064330"/>
                  <a:gd name="connsiteY14" fmla="*/ 1674418 h 1850118"/>
                  <a:gd name="connsiteX15" fmla="*/ 495136 w 1064330"/>
                  <a:gd name="connsiteY15" fmla="*/ 1850118 h 1850118"/>
                  <a:gd name="connsiteX0" fmla="*/ 495136 w 1067996"/>
                  <a:gd name="connsiteY0" fmla="*/ 1850118 h 1850118"/>
                  <a:gd name="connsiteX1" fmla="*/ 952831 w 1067996"/>
                  <a:gd name="connsiteY1" fmla="*/ 1785219 h 1850118"/>
                  <a:gd name="connsiteX2" fmla="*/ 1067996 w 1067996"/>
                  <a:gd name="connsiteY2" fmla="*/ 984512 h 1850118"/>
                  <a:gd name="connsiteX3" fmla="*/ 1016674 w 1067996"/>
                  <a:gd name="connsiteY3" fmla="*/ 996315 h 1850118"/>
                  <a:gd name="connsiteX4" fmla="*/ 927170 w 1067996"/>
                  <a:gd name="connsiteY4" fmla="*/ 578142 h 1850118"/>
                  <a:gd name="connsiteX5" fmla="*/ 766309 w 1067996"/>
                  <a:gd name="connsiteY5" fmla="*/ 347881 h 1850118"/>
                  <a:gd name="connsiteX6" fmla="*/ 510622 w 1067996"/>
                  <a:gd name="connsiteY6" fmla="*/ 200186 h 1850118"/>
                  <a:gd name="connsiteX7" fmla="*/ 485417 w 1067996"/>
                  <a:gd name="connsiteY7" fmla="*/ 208744 h 1850118"/>
                  <a:gd name="connsiteX8" fmla="*/ 315408 w 1067996"/>
                  <a:gd name="connsiteY8" fmla="*/ 107040 h 1850118"/>
                  <a:gd name="connsiteX9" fmla="*/ 286081 w 1067996"/>
                  <a:gd name="connsiteY9" fmla="*/ 160561 h 1850118"/>
                  <a:gd name="connsiteX10" fmla="*/ 117452 w 1067996"/>
                  <a:gd name="connsiteY10" fmla="*/ 0 h 1850118"/>
                  <a:gd name="connsiteX11" fmla="*/ 0 w 1067996"/>
                  <a:gd name="connsiteY11" fmla="*/ 131664 h 1850118"/>
                  <a:gd name="connsiteX12" fmla="*/ 106454 w 1067996"/>
                  <a:gd name="connsiteY12" fmla="*/ 248486 h 1850118"/>
                  <a:gd name="connsiteX13" fmla="*/ 7476 w 1067996"/>
                  <a:gd name="connsiteY13" fmla="*/ 355527 h 1850118"/>
                  <a:gd name="connsiteX14" fmla="*/ 47801 w 1067996"/>
                  <a:gd name="connsiteY14" fmla="*/ 1674418 h 1850118"/>
                  <a:gd name="connsiteX15" fmla="*/ 495136 w 1067996"/>
                  <a:gd name="connsiteY15" fmla="*/ 1850118 h 1850118"/>
                  <a:gd name="connsiteX0" fmla="*/ 495136 w 1067996"/>
                  <a:gd name="connsiteY0" fmla="*/ 1850118 h 1850118"/>
                  <a:gd name="connsiteX1" fmla="*/ 952831 w 1067996"/>
                  <a:gd name="connsiteY1" fmla="*/ 1785219 h 1850118"/>
                  <a:gd name="connsiteX2" fmla="*/ 1015588 w 1067996"/>
                  <a:gd name="connsiteY2" fmla="*/ 1380057 h 1850118"/>
                  <a:gd name="connsiteX3" fmla="*/ 1067996 w 1067996"/>
                  <a:gd name="connsiteY3" fmla="*/ 984512 h 1850118"/>
                  <a:gd name="connsiteX4" fmla="*/ 1016674 w 1067996"/>
                  <a:gd name="connsiteY4" fmla="*/ 996315 h 1850118"/>
                  <a:gd name="connsiteX5" fmla="*/ 927170 w 1067996"/>
                  <a:gd name="connsiteY5" fmla="*/ 578142 h 1850118"/>
                  <a:gd name="connsiteX6" fmla="*/ 766309 w 1067996"/>
                  <a:gd name="connsiteY6" fmla="*/ 347881 h 1850118"/>
                  <a:gd name="connsiteX7" fmla="*/ 510622 w 1067996"/>
                  <a:gd name="connsiteY7" fmla="*/ 200186 h 1850118"/>
                  <a:gd name="connsiteX8" fmla="*/ 485417 w 1067996"/>
                  <a:gd name="connsiteY8" fmla="*/ 208744 h 1850118"/>
                  <a:gd name="connsiteX9" fmla="*/ 315408 w 1067996"/>
                  <a:gd name="connsiteY9" fmla="*/ 107040 h 1850118"/>
                  <a:gd name="connsiteX10" fmla="*/ 286081 w 1067996"/>
                  <a:gd name="connsiteY10" fmla="*/ 160561 h 1850118"/>
                  <a:gd name="connsiteX11" fmla="*/ 117452 w 1067996"/>
                  <a:gd name="connsiteY11" fmla="*/ 0 h 1850118"/>
                  <a:gd name="connsiteX12" fmla="*/ 0 w 1067996"/>
                  <a:gd name="connsiteY12" fmla="*/ 131664 h 1850118"/>
                  <a:gd name="connsiteX13" fmla="*/ 106454 w 1067996"/>
                  <a:gd name="connsiteY13" fmla="*/ 248486 h 1850118"/>
                  <a:gd name="connsiteX14" fmla="*/ 7476 w 1067996"/>
                  <a:gd name="connsiteY14" fmla="*/ 355527 h 1850118"/>
                  <a:gd name="connsiteX15" fmla="*/ 47801 w 1067996"/>
                  <a:gd name="connsiteY15" fmla="*/ 1674418 h 1850118"/>
                  <a:gd name="connsiteX16" fmla="*/ 495136 w 1067996"/>
                  <a:gd name="connsiteY16" fmla="*/ 1850118 h 1850118"/>
                  <a:gd name="connsiteX0" fmla="*/ 495136 w 1162222"/>
                  <a:gd name="connsiteY0" fmla="*/ 1850118 h 1850118"/>
                  <a:gd name="connsiteX1" fmla="*/ 952831 w 1162222"/>
                  <a:gd name="connsiteY1" fmla="*/ 1785219 h 1850118"/>
                  <a:gd name="connsiteX2" fmla="*/ 1162222 w 1162222"/>
                  <a:gd name="connsiteY2" fmla="*/ 1429754 h 1850118"/>
                  <a:gd name="connsiteX3" fmla="*/ 1067996 w 1162222"/>
                  <a:gd name="connsiteY3" fmla="*/ 984512 h 1850118"/>
                  <a:gd name="connsiteX4" fmla="*/ 1016674 w 1162222"/>
                  <a:gd name="connsiteY4" fmla="*/ 996315 h 1850118"/>
                  <a:gd name="connsiteX5" fmla="*/ 927170 w 1162222"/>
                  <a:gd name="connsiteY5" fmla="*/ 578142 h 1850118"/>
                  <a:gd name="connsiteX6" fmla="*/ 766309 w 1162222"/>
                  <a:gd name="connsiteY6" fmla="*/ 347881 h 1850118"/>
                  <a:gd name="connsiteX7" fmla="*/ 510622 w 1162222"/>
                  <a:gd name="connsiteY7" fmla="*/ 200186 h 1850118"/>
                  <a:gd name="connsiteX8" fmla="*/ 485417 w 1162222"/>
                  <a:gd name="connsiteY8" fmla="*/ 208744 h 1850118"/>
                  <a:gd name="connsiteX9" fmla="*/ 315408 w 1162222"/>
                  <a:gd name="connsiteY9" fmla="*/ 107040 h 1850118"/>
                  <a:gd name="connsiteX10" fmla="*/ 286081 w 1162222"/>
                  <a:gd name="connsiteY10" fmla="*/ 160561 h 1850118"/>
                  <a:gd name="connsiteX11" fmla="*/ 117452 w 1162222"/>
                  <a:gd name="connsiteY11" fmla="*/ 0 h 1850118"/>
                  <a:gd name="connsiteX12" fmla="*/ 0 w 1162222"/>
                  <a:gd name="connsiteY12" fmla="*/ 131664 h 1850118"/>
                  <a:gd name="connsiteX13" fmla="*/ 106454 w 1162222"/>
                  <a:gd name="connsiteY13" fmla="*/ 248486 h 1850118"/>
                  <a:gd name="connsiteX14" fmla="*/ 7476 w 1162222"/>
                  <a:gd name="connsiteY14" fmla="*/ 355527 h 1850118"/>
                  <a:gd name="connsiteX15" fmla="*/ 47801 w 1162222"/>
                  <a:gd name="connsiteY15" fmla="*/ 1674418 h 1850118"/>
                  <a:gd name="connsiteX16" fmla="*/ 495136 w 1162222"/>
                  <a:gd name="connsiteY16" fmla="*/ 1850118 h 1850118"/>
                  <a:gd name="connsiteX0" fmla="*/ 495136 w 1162222"/>
                  <a:gd name="connsiteY0" fmla="*/ 1850118 h 1850118"/>
                  <a:gd name="connsiteX1" fmla="*/ 952831 w 1162222"/>
                  <a:gd name="connsiteY1" fmla="*/ 1785219 h 1850118"/>
                  <a:gd name="connsiteX2" fmla="*/ 1077906 w 1162222"/>
                  <a:gd name="connsiteY2" fmla="*/ 1575024 h 1850118"/>
                  <a:gd name="connsiteX3" fmla="*/ 1162222 w 1162222"/>
                  <a:gd name="connsiteY3" fmla="*/ 1429754 h 1850118"/>
                  <a:gd name="connsiteX4" fmla="*/ 1067996 w 1162222"/>
                  <a:gd name="connsiteY4" fmla="*/ 984512 h 1850118"/>
                  <a:gd name="connsiteX5" fmla="*/ 1016674 w 1162222"/>
                  <a:gd name="connsiteY5" fmla="*/ 996315 h 1850118"/>
                  <a:gd name="connsiteX6" fmla="*/ 927170 w 1162222"/>
                  <a:gd name="connsiteY6" fmla="*/ 578142 h 1850118"/>
                  <a:gd name="connsiteX7" fmla="*/ 766309 w 1162222"/>
                  <a:gd name="connsiteY7" fmla="*/ 347881 h 1850118"/>
                  <a:gd name="connsiteX8" fmla="*/ 510622 w 1162222"/>
                  <a:gd name="connsiteY8" fmla="*/ 200186 h 1850118"/>
                  <a:gd name="connsiteX9" fmla="*/ 485417 w 1162222"/>
                  <a:gd name="connsiteY9" fmla="*/ 208744 h 1850118"/>
                  <a:gd name="connsiteX10" fmla="*/ 315408 w 1162222"/>
                  <a:gd name="connsiteY10" fmla="*/ 107040 h 1850118"/>
                  <a:gd name="connsiteX11" fmla="*/ 286081 w 1162222"/>
                  <a:gd name="connsiteY11" fmla="*/ 160561 h 1850118"/>
                  <a:gd name="connsiteX12" fmla="*/ 117452 w 1162222"/>
                  <a:gd name="connsiteY12" fmla="*/ 0 h 1850118"/>
                  <a:gd name="connsiteX13" fmla="*/ 0 w 1162222"/>
                  <a:gd name="connsiteY13" fmla="*/ 131664 h 1850118"/>
                  <a:gd name="connsiteX14" fmla="*/ 106454 w 1162222"/>
                  <a:gd name="connsiteY14" fmla="*/ 248486 h 1850118"/>
                  <a:gd name="connsiteX15" fmla="*/ 7476 w 1162222"/>
                  <a:gd name="connsiteY15" fmla="*/ 355527 h 1850118"/>
                  <a:gd name="connsiteX16" fmla="*/ 47801 w 1162222"/>
                  <a:gd name="connsiteY16" fmla="*/ 1674418 h 1850118"/>
                  <a:gd name="connsiteX17" fmla="*/ 495136 w 1162222"/>
                  <a:gd name="connsiteY17" fmla="*/ 1850118 h 1850118"/>
                  <a:gd name="connsiteX0" fmla="*/ 495136 w 1162222"/>
                  <a:gd name="connsiteY0" fmla="*/ 1850118 h 1850118"/>
                  <a:gd name="connsiteX1" fmla="*/ 952831 w 1162222"/>
                  <a:gd name="connsiteY1" fmla="*/ 1785219 h 1850118"/>
                  <a:gd name="connsiteX2" fmla="*/ 1110899 w 1162222"/>
                  <a:gd name="connsiteY2" fmla="*/ 1452692 h 1850118"/>
                  <a:gd name="connsiteX3" fmla="*/ 1162222 w 1162222"/>
                  <a:gd name="connsiteY3" fmla="*/ 1429754 h 1850118"/>
                  <a:gd name="connsiteX4" fmla="*/ 1067996 w 1162222"/>
                  <a:gd name="connsiteY4" fmla="*/ 984512 h 1850118"/>
                  <a:gd name="connsiteX5" fmla="*/ 1016674 w 1162222"/>
                  <a:gd name="connsiteY5" fmla="*/ 996315 h 1850118"/>
                  <a:gd name="connsiteX6" fmla="*/ 927170 w 1162222"/>
                  <a:gd name="connsiteY6" fmla="*/ 578142 h 1850118"/>
                  <a:gd name="connsiteX7" fmla="*/ 766309 w 1162222"/>
                  <a:gd name="connsiteY7" fmla="*/ 347881 h 1850118"/>
                  <a:gd name="connsiteX8" fmla="*/ 510622 w 1162222"/>
                  <a:gd name="connsiteY8" fmla="*/ 200186 h 1850118"/>
                  <a:gd name="connsiteX9" fmla="*/ 485417 w 1162222"/>
                  <a:gd name="connsiteY9" fmla="*/ 208744 h 1850118"/>
                  <a:gd name="connsiteX10" fmla="*/ 315408 w 1162222"/>
                  <a:gd name="connsiteY10" fmla="*/ 107040 h 1850118"/>
                  <a:gd name="connsiteX11" fmla="*/ 286081 w 1162222"/>
                  <a:gd name="connsiteY11" fmla="*/ 160561 h 1850118"/>
                  <a:gd name="connsiteX12" fmla="*/ 117452 w 1162222"/>
                  <a:gd name="connsiteY12" fmla="*/ 0 h 1850118"/>
                  <a:gd name="connsiteX13" fmla="*/ 0 w 1162222"/>
                  <a:gd name="connsiteY13" fmla="*/ 131664 h 1850118"/>
                  <a:gd name="connsiteX14" fmla="*/ 106454 w 1162222"/>
                  <a:gd name="connsiteY14" fmla="*/ 248486 h 1850118"/>
                  <a:gd name="connsiteX15" fmla="*/ 7476 w 1162222"/>
                  <a:gd name="connsiteY15" fmla="*/ 355527 h 1850118"/>
                  <a:gd name="connsiteX16" fmla="*/ 47801 w 1162222"/>
                  <a:gd name="connsiteY16" fmla="*/ 1674418 h 1850118"/>
                  <a:gd name="connsiteX17" fmla="*/ 495136 w 1162222"/>
                  <a:gd name="connsiteY17" fmla="*/ 1850118 h 1850118"/>
                  <a:gd name="connsiteX0" fmla="*/ 495136 w 1162222"/>
                  <a:gd name="connsiteY0" fmla="*/ 1850118 h 1850118"/>
                  <a:gd name="connsiteX1" fmla="*/ 952831 w 1162222"/>
                  <a:gd name="connsiteY1" fmla="*/ 1785219 h 1850118"/>
                  <a:gd name="connsiteX2" fmla="*/ 1085238 w 1162222"/>
                  <a:gd name="connsiteY2" fmla="*/ 1498566 h 1850118"/>
                  <a:gd name="connsiteX3" fmla="*/ 1110899 w 1162222"/>
                  <a:gd name="connsiteY3" fmla="*/ 1452692 h 1850118"/>
                  <a:gd name="connsiteX4" fmla="*/ 1162222 w 1162222"/>
                  <a:gd name="connsiteY4" fmla="*/ 1429754 h 1850118"/>
                  <a:gd name="connsiteX5" fmla="*/ 1067996 w 1162222"/>
                  <a:gd name="connsiteY5" fmla="*/ 984512 h 1850118"/>
                  <a:gd name="connsiteX6" fmla="*/ 1016674 w 1162222"/>
                  <a:gd name="connsiteY6" fmla="*/ 996315 h 1850118"/>
                  <a:gd name="connsiteX7" fmla="*/ 927170 w 1162222"/>
                  <a:gd name="connsiteY7" fmla="*/ 578142 h 1850118"/>
                  <a:gd name="connsiteX8" fmla="*/ 766309 w 1162222"/>
                  <a:gd name="connsiteY8" fmla="*/ 347881 h 1850118"/>
                  <a:gd name="connsiteX9" fmla="*/ 510622 w 1162222"/>
                  <a:gd name="connsiteY9" fmla="*/ 200186 h 1850118"/>
                  <a:gd name="connsiteX10" fmla="*/ 485417 w 1162222"/>
                  <a:gd name="connsiteY10" fmla="*/ 208744 h 1850118"/>
                  <a:gd name="connsiteX11" fmla="*/ 315408 w 1162222"/>
                  <a:gd name="connsiteY11" fmla="*/ 107040 h 1850118"/>
                  <a:gd name="connsiteX12" fmla="*/ 286081 w 1162222"/>
                  <a:gd name="connsiteY12" fmla="*/ 160561 h 1850118"/>
                  <a:gd name="connsiteX13" fmla="*/ 117452 w 1162222"/>
                  <a:gd name="connsiteY13" fmla="*/ 0 h 1850118"/>
                  <a:gd name="connsiteX14" fmla="*/ 0 w 1162222"/>
                  <a:gd name="connsiteY14" fmla="*/ 131664 h 1850118"/>
                  <a:gd name="connsiteX15" fmla="*/ 106454 w 1162222"/>
                  <a:gd name="connsiteY15" fmla="*/ 248486 h 1850118"/>
                  <a:gd name="connsiteX16" fmla="*/ 7476 w 1162222"/>
                  <a:gd name="connsiteY16" fmla="*/ 355527 h 1850118"/>
                  <a:gd name="connsiteX17" fmla="*/ 47801 w 1162222"/>
                  <a:gd name="connsiteY17" fmla="*/ 1674418 h 1850118"/>
                  <a:gd name="connsiteX18" fmla="*/ 495136 w 1162222"/>
                  <a:gd name="connsiteY18" fmla="*/ 1850118 h 1850118"/>
                  <a:gd name="connsiteX0" fmla="*/ 495136 w 1162222"/>
                  <a:gd name="connsiteY0" fmla="*/ 1850118 h 1850118"/>
                  <a:gd name="connsiteX1" fmla="*/ 952831 w 1162222"/>
                  <a:gd name="connsiteY1" fmla="*/ 1785219 h 1850118"/>
                  <a:gd name="connsiteX2" fmla="*/ 1143892 w 1162222"/>
                  <a:gd name="connsiteY2" fmla="*/ 1613252 h 1850118"/>
                  <a:gd name="connsiteX3" fmla="*/ 1110899 w 1162222"/>
                  <a:gd name="connsiteY3" fmla="*/ 1452692 h 1850118"/>
                  <a:gd name="connsiteX4" fmla="*/ 1162222 w 1162222"/>
                  <a:gd name="connsiteY4" fmla="*/ 1429754 h 1850118"/>
                  <a:gd name="connsiteX5" fmla="*/ 1067996 w 1162222"/>
                  <a:gd name="connsiteY5" fmla="*/ 984512 h 1850118"/>
                  <a:gd name="connsiteX6" fmla="*/ 1016674 w 1162222"/>
                  <a:gd name="connsiteY6" fmla="*/ 996315 h 1850118"/>
                  <a:gd name="connsiteX7" fmla="*/ 927170 w 1162222"/>
                  <a:gd name="connsiteY7" fmla="*/ 578142 h 1850118"/>
                  <a:gd name="connsiteX8" fmla="*/ 766309 w 1162222"/>
                  <a:gd name="connsiteY8" fmla="*/ 347881 h 1850118"/>
                  <a:gd name="connsiteX9" fmla="*/ 510622 w 1162222"/>
                  <a:gd name="connsiteY9" fmla="*/ 200186 h 1850118"/>
                  <a:gd name="connsiteX10" fmla="*/ 485417 w 1162222"/>
                  <a:gd name="connsiteY10" fmla="*/ 208744 h 1850118"/>
                  <a:gd name="connsiteX11" fmla="*/ 315408 w 1162222"/>
                  <a:gd name="connsiteY11" fmla="*/ 107040 h 1850118"/>
                  <a:gd name="connsiteX12" fmla="*/ 286081 w 1162222"/>
                  <a:gd name="connsiteY12" fmla="*/ 160561 h 1850118"/>
                  <a:gd name="connsiteX13" fmla="*/ 117452 w 1162222"/>
                  <a:gd name="connsiteY13" fmla="*/ 0 h 1850118"/>
                  <a:gd name="connsiteX14" fmla="*/ 0 w 1162222"/>
                  <a:gd name="connsiteY14" fmla="*/ 131664 h 1850118"/>
                  <a:gd name="connsiteX15" fmla="*/ 106454 w 1162222"/>
                  <a:gd name="connsiteY15" fmla="*/ 248486 h 1850118"/>
                  <a:gd name="connsiteX16" fmla="*/ 7476 w 1162222"/>
                  <a:gd name="connsiteY16" fmla="*/ 355527 h 1850118"/>
                  <a:gd name="connsiteX17" fmla="*/ 47801 w 1162222"/>
                  <a:gd name="connsiteY17" fmla="*/ 1674418 h 1850118"/>
                  <a:gd name="connsiteX18" fmla="*/ 495136 w 1162222"/>
                  <a:gd name="connsiteY18" fmla="*/ 1850118 h 1850118"/>
                  <a:gd name="connsiteX0" fmla="*/ 495136 w 1162222"/>
                  <a:gd name="connsiteY0" fmla="*/ 1850118 h 1850118"/>
                  <a:gd name="connsiteX1" fmla="*/ 952831 w 1162222"/>
                  <a:gd name="connsiteY1" fmla="*/ 1785219 h 1850118"/>
                  <a:gd name="connsiteX2" fmla="*/ 1048579 w 1162222"/>
                  <a:gd name="connsiteY2" fmla="*/ 1701178 h 1850118"/>
                  <a:gd name="connsiteX3" fmla="*/ 1143892 w 1162222"/>
                  <a:gd name="connsiteY3" fmla="*/ 1613252 h 1850118"/>
                  <a:gd name="connsiteX4" fmla="*/ 1110899 w 1162222"/>
                  <a:gd name="connsiteY4" fmla="*/ 1452692 h 1850118"/>
                  <a:gd name="connsiteX5" fmla="*/ 1162222 w 1162222"/>
                  <a:gd name="connsiteY5" fmla="*/ 1429754 h 1850118"/>
                  <a:gd name="connsiteX6" fmla="*/ 1067996 w 1162222"/>
                  <a:gd name="connsiteY6" fmla="*/ 984512 h 1850118"/>
                  <a:gd name="connsiteX7" fmla="*/ 1016674 w 1162222"/>
                  <a:gd name="connsiteY7" fmla="*/ 996315 h 1850118"/>
                  <a:gd name="connsiteX8" fmla="*/ 927170 w 1162222"/>
                  <a:gd name="connsiteY8" fmla="*/ 578142 h 1850118"/>
                  <a:gd name="connsiteX9" fmla="*/ 766309 w 1162222"/>
                  <a:gd name="connsiteY9" fmla="*/ 347881 h 1850118"/>
                  <a:gd name="connsiteX10" fmla="*/ 510622 w 1162222"/>
                  <a:gd name="connsiteY10" fmla="*/ 200186 h 1850118"/>
                  <a:gd name="connsiteX11" fmla="*/ 485417 w 1162222"/>
                  <a:gd name="connsiteY11" fmla="*/ 208744 h 1850118"/>
                  <a:gd name="connsiteX12" fmla="*/ 315408 w 1162222"/>
                  <a:gd name="connsiteY12" fmla="*/ 107040 h 1850118"/>
                  <a:gd name="connsiteX13" fmla="*/ 286081 w 1162222"/>
                  <a:gd name="connsiteY13" fmla="*/ 160561 h 1850118"/>
                  <a:gd name="connsiteX14" fmla="*/ 117452 w 1162222"/>
                  <a:gd name="connsiteY14" fmla="*/ 0 h 1850118"/>
                  <a:gd name="connsiteX15" fmla="*/ 0 w 1162222"/>
                  <a:gd name="connsiteY15" fmla="*/ 131664 h 1850118"/>
                  <a:gd name="connsiteX16" fmla="*/ 106454 w 1162222"/>
                  <a:gd name="connsiteY16" fmla="*/ 248486 h 1850118"/>
                  <a:gd name="connsiteX17" fmla="*/ 7476 w 1162222"/>
                  <a:gd name="connsiteY17" fmla="*/ 355527 h 1850118"/>
                  <a:gd name="connsiteX18" fmla="*/ 47801 w 1162222"/>
                  <a:gd name="connsiteY18" fmla="*/ 1674418 h 1850118"/>
                  <a:gd name="connsiteX19" fmla="*/ 495136 w 1162222"/>
                  <a:gd name="connsiteY19" fmla="*/ 1850118 h 1850118"/>
                  <a:gd name="connsiteX0" fmla="*/ 495136 w 1162222"/>
                  <a:gd name="connsiteY0" fmla="*/ 1850118 h 1850118"/>
                  <a:gd name="connsiteX1" fmla="*/ 952831 w 1162222"/>
                  <a:gd name="connsiteY1" fmla="*/ 1785219 h 1850118"/>
                  <a:gd name="connsiteX2" fmla="*/ 1063243 w 1162222"/>
                  <a:gd name="connsiteY2" fmla="*/ 1640013 h 1850118"/>
                  <a:gd name="connsiteX3" fmla="*/ 1143892 w 1162222"/>
                  <a:gd name="connsiteY3" fmla="*/ 1613252 h 1850118"/>
                  <a:gd name="connsiteX4" fmla="*/ 1110899 w 1162222"/>
                  <a:gd name="connsiteY4" fmla="*/ 1452692 h 1850118"/>
                  <a:gd name="connsiteX5" fmla="*/ 1162222 w 1162222"/>
                  <a:gd name="connsiteY5" fmla="*/ 1429754 h 1850118"/>
                  <a:gd name="connsiteX6" fmla="*/ 1067996 w 1162222"/>
                  <a:gd name="connsiteY6" fmla="*/ 984512 h 1850118"/>
                  <a:gd name="connsiteX7" fmla="*/ 1016674 w 1162222"/>
                  <a:gd name="connsiteY7" fmla="*/ 996315 h 1850118"/>
                  <a:gd name="connsiteX8" fmla="*/ 927170 w 1162222"/>
                  <a:gd name="connsiteY8" fmla="*/ 578142 h 1850118"/>
                  <a:gd name="connsiteX9" fmla="*/ 766309 w 1162222"/>
                  <a:gd name="connsiteY9" fmla="*/ 347881 h 1850118"/>
                  <a:gd name="connsiteX10" fmla="*/ 510622 w 1162222"/>
                  <a:gd name="connsiteY10" fmla="*/ 200186 h 1850118"/>
                  <a:gd name="connsiteX11" fmla="*/ 485417 w 1162222"/>
                  <a:gd name="connsiteY11" fmla="*/ 208744 h 1850118"/>
                  <a:gd name="connsiteX12" fmla="*/ 315408 w 1162222"/>
                  <a:gd name="connsiteY12" fmla="*/ 107040 h 1850118"/>
                  <a:gd name="connsiteX13" fmla="*/ 286081 w 1162222"/>
                  <a:gd name="connsiteY13" fmla="*/ 160561 h 1850118"/>
                  <a:gd name="connsiteX14" fmla="*/ 117452 w 1162222"/>
                  <a:gd name="connsiteY14" fmla="*/ 0 h 1850118"/>
                  <a:gd name="connsiteX15" fmla="*/ 0 w 1162222"/>
                  <a:gd name="connsiteY15" fmla="*/ 131664 h 1850118"/>
                  <a:gd name="connsiteX16" fmla="*/ 106454 w 1162222"/>
                  <a:gd name="connsiteY16" fmla="*/ 248486 h 1850118"/>
                  <a:gd name="connsiteX17" fmla="*/ 7476 w 1162222"/>
                  <a:gd name="connsiteY17" fmla="*/ 355527 h 1850118"/>
                  <a:gd name="connsiteX18" fmla="*/ 47801 w 1162222"/>
                  <a:gd name="connsiteY18" fmla="*/ 1674418 h 1850118"/>
                  <a:gd name="connsiteX19" fmla="*/ 495136 w 1162222"/>
                  <a:gd name="connsiteY19" fmla="*/ 1850118 h 1850118"/>
                  <a:gd name="connsiteX0" fmla="*/ 495136 w 1162222"/>
                  <a:gd name="connsiteY0" fmla="*/ 1850118 h 1850118"/>
                  <a:gd name="connsiteX1" fmla="*/ 952831 w 1162222"/>
                  <a:gd name="connsiteY1" fmla="*/ 1785219 h 1850118"/>
                  <a:gd name="connsiteX2" fmla="*/ 1004589 w 1162222"/>
                  <a:gd name="connsiteY2" fmla="*/ 1716470 h 1850118"/>
                  <a:gd name="connsiteX3" fmla="*/ 1063243 w 1162222"/>
                  <a:gd name="connsiteY3" fmla="*/ 1640013 h 1850118"/>
                  <a:gd name="connsiteX4" fmla="*/ 1143892 w 1162222"/>
                  <a:gd name="connsiteY4" fmla="*/ 1613252 h 1850118"/>
                  <a:gd name="connsiteX5" fmla="*/ 1110899 w 1162222"/>
                  <a:gd name="connsiteY5" fmla="*/ 1452692 h 1850118"/>
                  <a:gd name="connsiteX6" fmla="*/ 1162222 w 1162222"/>
                  <a:gd name="connsiteY6" fmla="*/ 1429754 h 1850118"/>
                  <a:gd name="connsiteX7" fmla="*/ 1067996 w 1162222"/>
                  <a:gd name="connsiteY7" fmla="*/ 984512 h 1850118"/>
                  <a:gd name="connsiteX8" fmla="*/ 1016674 w 1162222"/>
                  <a:gd name="connsiteY8" fmla="*/ 996315 h 1850118"/>
                  <a:gd name="connsiteX9" fmla="*/ 927170 w 1162222"/>
                  <a:gd name="connsiteY9" fmla="*/ 578142 h 1850118"/>
                  <a:gd name="connsiteX10" fmla="*/ 766309 w 1162222"/>
                  <a:gd name="connsiteY10" fmla="*/ 347881 h 1850118"/>
                  <a:gd name="connsiteX11" fmla="*/ 510622 w 1162222"/>
                  <a:gd name="connsiteY11" fmla="*/ 200186 h 1850118"/>
                  <a:gd name="connsiteX12" fmla="*/ 485417 w 1162222"/>
                  <a:gd name="connsiteY12" fmla="*/ 208744 h 1850118"/>
                  <a:gd name="connsiteX13" fmla="*/ 315408 w 1162222"/>
                  <a:gd name="connsiteY13" fmla="*/ 107040 h 1850118"/>
                  <a:gd name="connsiteX14" fmla="*/ 286081 w 1162222"/>
                  <a:gd name="connsiteY14" fmla="*/ 160561 h 1850118"/>
                  <a:gd name="connsiteX15" fmla="*/ 117452 w 1162222"/>
                  <a:gd name="connsiteY15" fmla="*/ 0 h 1850118"/>
                  <a:gd name="connsiteX16" fmla="*/ 0 w 1162222"/>
                  <a:gd name="connsiteY16" fmla="*/ 131664 h 1850118"/>
                  <a:gd name="connsiteX17" fmla="*/ 106454 w 1162222"/>
                  <a:gd name="connsiteY17" fmla="*/ 248486 h 1850118"/>
                  <a:gd name="connsiteX18" fmla="*/ 7476 w 1162222"/>
                  <a:gd name="connsiteY18" fmla="*/ 355527 h 1850118"/>
                  <a:gd name="connsiteX19" fmla="*/ 47801 w 1162222"/>
                  <a:gd name="connsiteY19" fmla="*/ 1674418 h 1850118"/>
                  <a:gd name="connsiteX20" fmla="*/ 495136 w 1162222"/>
                  <a:gd name="connsiteY20" fmla="*/ 1850118 h 1850118"/>
                  <a:gd name="connsiteX0" fmla="*/ 495136 w 1162222"/>
                  <a:gd name="connsiteY0" fmla="*/ 1850118 h 1850118"/>
                  <a:gd name="connsiteX1" fmla="*/ 952831 w 1162222"/>
                  <a:gd name="connsiteY1" fmla="*/ 1785219 h 1850118"/>
                  <a:gd name="connsiteX2" fmla="*/ 1030250 w 1162222"/>
                  <a:gd name="connsiteY2" fmla="*/ 1613252 h 1850118"/>
                  <a:gd name="connsiteX3" fmla="*/ 1063243 w 1162222"/>
                  <a:gd name="connsiteY3" fmla="*/ 1640013 h 1850118"/>
                  <a:gd name="connsiteX4" fmla="*/ 1143892 w 1162222"/>
                  <a:gd name="connsiteY4" fmla="*/ 1613252 h 1850118"/>
                  <a:gd name="connsiteX5" fmla="*/ 1110899 w 1162222"/>
                  <a:gd name="connsiteY5" fmla="*/ 1452692 h 1850118"/>
                  <a:gd name="connsiteX6" fmla="*/ 1162222 w 1162222"/>
                  <a:gd name="connsiteY6" fmla="*/ 1429754 h 1850118"/>
                  <a:gd name="connsiteX7" fmla="*/ 1067996 w 1162222"/>
                  <a:gd name="connsiteY7" fmla="*/ 984512 h 1850118"/>
                  <a:gd name="connsiteX8" fmla="*/ 1016674 w 1162222"/>
                  <a:gd name="connsiteY8" fmla="*/ 996315 h 1850118"/>
                  <a:gd name="connsiteX9" fmla="*/ 927170 w 1162222"/>
                  <a:gd name="connsiteY9" fmla="*/ 578142 h 1850118"/>
                  <a:gd name="connsiteX10" fmla="*/ 766309 w 1162222"/>
                  <a:gd name="connsiteY10" fmla="*/ 347881 h 1850118"/>
                  <a:gd name="connsiteX11" fmla="*/ 510622 w 1162222"/>
                  <a:gd name="connsiteY11" fmla="*/ 200186 h 1850118"/>
                  <a:gd name="connsiteX12" fmla="*/ 485417 w 1162222"/>
                  <a:gd name="connsiteY12" fmla="*/ 208744 h 1850118"/>
                  <a:gd name="connsiteX13" fmla="*/ 315408 w 1162222"/>
                  <a:gd name="connsiteY13" fmla="*/ 107040 h 1850118"/>
                  <a:gd name="connsiteX14" fmla="*/ 286081 w 1162222"/>
                  <a:gd name="connsiteY14" fmla="*/ 160561 h 1850118"/>
                  <a:gd name="connsiteX15" fmla="*/ 117452 w 1162222"/>
                  <a:gd name="connsiteY15" fmla="*/ 0 h 1850118"/>
                  <a:gd name="connsiteX16" fmla="*/ 0 w 1162222"/>
                  <a:gd name="connsiteY16" fmla="*/ 131664 h 1850118"/>
                  <a:gd name="connsiteX17" fmla="*/ 106454 w 1162222"/>
                  <a:gd name="connsiteY17" fmla="*/ 248486 h 1850118"/>
                  <a:gd name="connsiteX18" fmla="*/ 7476 w 1162222"/>
                  <a:gd name="connsiteY18" fmla="*/ 355527 h 1850118"/>
                  <a:gd name="connsiteX19" fmla="*/ 47801 w 1162222"/>
                  <a:gd name="connsiteY19" fmla="*/ 1674418 h 1850118"/>
                  <a:gd name="connsiteX20" fmla="*/ 495136 w 1162222"/>
                  <a:gd name="connsiteY20" fmla="*/ 1850118 h 1850118"/>
                  <a:gd name="connsiteX0" fmla="*/ 495136 w 1162222"/>
                  <a:gd name="connsiteY0" fmla="*/ 1850118 h 2010769"/>
                  <a:gd name="connsiteX1" fmla="*/ 894177 w 1162222"/>
                  <a:gd name="connsiteY1" fmla="*/ 2010769 h 2010769"/>
                  <a:gd name="connsiteX2" fmla="*/ 1030250 w 1162222"/>
                  <a:gd name="connsiteY2" fmla="*/ 1613252 h 2010769"/>
                  <a:gd name="connsiteX3" fmla="*/ 1063243 w 1162222"/>
                  <a:gd name="connsiteY3" fmla="*/ 1640013 h 2010769"/>
                  <a:gd name="connsiteX4" fmla="*/ 1143892 w 1162222"/>
                  <a:gd name="connsiteY4" fmla="*/ 1613252 h 2010769"/>
                  <a:gd name="connsiteX5" fmla="*/ 1110899 w 1162222"/>
                  <a:gd name="connsiteY5" fmla="*/ 1452692 h 2010769"/>
                  <a:gd name="connsiteX6" fmla="*/ 1162222 w 1162222"/>
                  <a:gd name="connsiteY6" fmla="*/ 1429754 h 2010769"/>
                  <a:gd name="connsiteX7" fmla="*/ 1067996 w 1162222"/>
                  <a:gd name="connsiteY7" fmla="*/ 984512 h 2010769"/>
                  <a:gd name="connsiteX8" fmla="*/ 1016674 w 1162222"/>
                  <a:gd name="connsiteY8" fmla="*/ 996315 h 2010769"/>
                  <a:gd name="connsiteX9" fmla="*/ 927170 w 1162222"/>
                  <a:gd name="connsiteY9" fmla="*/ 578142 h 2010769"/>
                  <a:gd name="connsiteX10" fmla="*/ 766309 w 1162222"/>
                  <a:gd name="connsiteY10" fmla="*/ 347881 h 2010769"/>
                  <a:gd name="connsiteX11" fmla="*/ 510622 w 1162222"/>
                  <a:gd name="connsiteY11" fmla="*/ 200186 h 2010769"/>
                  <a:gd name="connsiteX12" fmla="*/ 485417 w 1162222"/>
                  <a:gd name="connsiteY12" fmla="*/ 208744 h 2010769"/>
                  <a:gd name="connsiteX13" fmla="*/ 315408 w 1162222"/>
                  <a:gd name="connsiteY13" fmla="*/ 107040 h 2010769"/>
                  <a:gd name="connsiteX14" fmla="*/ 286081 w 1162222"/>
                  <a:gd name="connsiteY14" fmla="*/ 160561 h 2010769"/>
                  <a:gd name="connsiteX15" fmla="*/ 117452 w 1162222"/>
                  <a:gd name="connsiteY15" fmla="*/ 0 h 2010769"/>
                  <a:gd name="connsiteX16" fmla="*/ 0 w 1162222"/>
                  <a:gd name="connsiteY16" fmla="*/ 131664 h 2010769"/>
                  <a:gd name="connsiteX17" fmla="*/ 106454 w 1162222"/>
                  <a:gd name="connsiteY17" fmla="*/ 248486 h 2010769"/>
                  <a:gd name="connsiteX18" fmla="*/ 7476 w 1162222"/>
                  <a:gd name="connsiteY18" fmla="*/ 355527 h 2010769"/>
                  <a:gd name="connsiteX19" fmla="*/ 47801 w 1162222"/>
                  <a:gd name="connsiteY19" fmla="*/ 1674418 h 2010769"/>
                  <a:gd name="connsiteX20" fmla="*/ 495136 w 1162222"/>
                  <a:gd name="connsiteY20" fmla="*/ 1850118 h 2010769"/>
                  <a:gd name="connsiteX0" fmla="*/ 495136 w 1162222"/>
                  <a:gd name="connsiteY0" fmla="*/ 1850118 h 2010769"/>
                  <a:gd name="connsiteX1" fmla="*/ 894177 w 1162222"/>
                  <a:gd name="connsiteY1" fmla="*/ 2010769 h 2010769"/>
                  <a:gd name="connsiteX2" fmla="*/ 1030250 w 1162222"/>
                  <a:gd name="connsiteY2" fmla="*/ 1613252 h 2010769"/>
                  <a:gd name="connsiteX3" fmla="*/ 1063243 w 1162222"/>
                  <a:gd name="connsiteY3" fmla="*/ 1640013 h 2010769"/>
                  <a:gd name="connsiteX4" fmla="*/ 1143892 w 1162222"/>
                  <a:gd name="connsiteY4" fmla="*/ 1613252 h 2010769"/>
                  <a:gd name="connsiteX5" fmla="*/ 1110899 w 1162222"/>
                  <a:gd name="connsiteY5" fmla="*/ 1452692 h 2010769"/>
                  <a:gd name="connsiteX6" fmla="*/ 1162222 w 1162222"/>
                  <a:gd name="connsiteY6" fmla="*/ 1429754 h 2010769"/>
                  <a:gd name="connsiteX7" fmla="*/ 1067996 w 1162222"/>
                  <a:gd name="connsiteY7" fmla="*/ 984512 h 2010769"/>
                  <a:gd name="connsiteX8" fmla="*/ 1016674 w 1162222"/>
                  <a:gd name="connsiteY8" fmla="*/ 996315 h 2010769"/>
                  <a:gd name="connsiteX9" fmla="*/ 927170 w 1162222"/>
                  <a:gd name="connsiteY9" fmla="*/ 578142 h 2010769"/>
                  <a:gd name="connsiteX10" fmla="*/ 766309 w 1162222"/>
                  <a:gd name="connsiteY10" fmla="*/ 347881 h 2010769"/>
                  <a:gd name="connsiteX11" fmla="*/ 510622 w 1162222"/>
                  <a:gd name="connsiteY11" fmla="*/ 200186 h 2010769"/>
                  <a:gd name="connsiteX12" fmla="*/ 485417 w 1162222"/>
                  <a:gd name="connsiteY12" fmla="*/ 208744 h 2010769"/>
                  <a:gd name="connsiteX13" fmla="*/ 315408 w 1162222"/>
                  <a:gd name="connsiteY13" fmla="*/ 107040 h 2010769"/>
                  <a:gd name="connsiteX14" fmla="*/ 286081 w 1162222"/>
                  <a:gd name="connsiteY14" fmla="*/ 160561 h 2010769"/>
                  <a:gd name="connsiteX15" fmla="*/ 117452 w 1162222"/>
                  <a:gd name="connsiteY15" fmla="*/ 0 h 2010769"/>
                  <a:gd name="connsiteX16" fmla="*/ 0 w 1162222"/>
                  <a:gd name="connsiteY16" fmla="*/ 131664 h 2010769"/>
                  <a:gd name="connsiteX17" fmla="*/ 106454 w 1162222"/>
                  <a:gd name="connsiteY17" fmla="*/ 248486 h 2010769"/>
                  <a:gd name="connsiteX18" fmla="*/ 7476 w 1162222"/>
                  <a:gd name="connsiteY18" fmla="*/ 355527 h 2010769"/>
                  <a:gd name="connsiteX19" fmla="*/ 44136 w 1162222"/>
                  <a:gd name="connsiteY19" fmla="*/ 1674418 h 2010769"/>
                  <a:gd name="connsiteX20" fmla="*/ 495136 w 1162222"/>
                  <a:gd name="connsiteY20" fmla="*/ 1850118 h 2010769"/>
                  <a:gd name="connsiteX0" fmla="*/ 495136 w 1162222"/>
                  <a:gd name="connsiteY0" fmla="*/ 1850118 h 2010769"/>
                  <a:gd name="connsiteX1" fmla="*/ 894177 w 1162222"/>
                  <a:gd name="connsiteY1" fmla="*/ 2010769 h 2010769"/>
                  <a:gd name="connsiteX2" fmla="*/ 1030250 w 1162222"/>
                  <a:gd name="connsiteY2" fmla="*/ 1613252 h 2010769"/>
                  <a:gd name="connsiteX3" fmla="*/ 1063243 w 1162222"/>
                  <a:gd name="connsiteY3" fmla="*/ 1640013 h 2010769"/>
                  <a:gd name="connsiteX4" fmla="*/ 1143892 w 1162222"/>
                  <a:gd name="connsiteY4" fmla="*/ 1613252 h 2010769"/>
                  <a:gd name="connsiteX5" fmla="*/ 1110899 w 1162222"/>
                  <a:gd name="connsiteY5" fmla="*/ 1452692 h 2010769"/>
                  <a:gd name="connsiteX6" fmla="*/ 1162222 w 1162222"/>
                  <a:gd name="connsiteY6" fmla="*/ 1429754 h 2010769"/>
                  <a:gd name="connsiteX7" fmla="*/ 1067996 w 1162222"/>
                  <a:gd name="connsiteY7" fmla="*/ 984512 h 2010769"/>
                  <a:gd name="connsiteX8" fmla="*/ 1016674 w 1162222"/>
                  <a:gd name="connsiteY8" fmla="*/ 996315 h 2010769"/>
                  <a:gd name="connsiteX9" fmla="*/ 927170 w 1162222"/>
                  <a:gd name="connsiteY9" fmla="*/ 578142 h 2010769"/>
                  <a:gd name="connsiteX10" fmla="*/ 766309 w 1162222"/>
                  <a:gd name="connsiteY10" fmla="*/ 347881 h 2010769"/>
                  <a:gd name="connsiteX11" fmla="*/ 510622 w 1162222"/>
                  <a:gd name="connsiteY11" fmla="*/ 200186 h 2010769"/>
                  <a:gd name="connsiteX12" fmla="*/ 485417 w 1162222"/>
                  <a:gd name="connsiteY12" fmla="*/ 208744 h 2010769"/>
                  <a:gd name="connsiteX13" fmla="*/ 315408 w 1162222"/>
                  <a:gd name="connsiteY13" fmla="*/ 107040 h 2010769"/>
                  <a:gd name="connsiteX14" fmla="*/ 286081 w 1162222"/>
                  <a:gd name="connsiteY14" fmla="*/ 160561 h 2010769"/>
                  <a:gd name="connsiteX15" fmla="*/ 117452 w 1162222"/>
                  <a:gd name="connsiteY15" fmla="*/ 0 h 2010769"/>
                  <a:gd name="connsiteX16" fmla="*/ 0 w 1162222"/>
                  <a:gd name="connsiteY16" fmla="*/ 131664 h 2010769"/>
                  <a:gd name="connsiteX17" fmla="*/ 106454 w 1162222"/>
                  <a:gd name="connsiteY17" fmla="*/ 248486 h 2010769"/>
                  <a:gd name="connsiteX18" fmla="*/ 7476 w 1162222"/>
                  <a:gd name="connsiteY18" fmla="*/ 355527 h 2010769"/>
                  <a:gd name="connsiteX19" fmla="*/ 44136 w 1162222"/>
                  <a:gd name="connsiteY19" fmla="*/ 1674418 h 2010769"/>
                  <a:gd name="connsiteX20" fmla="*/ 495136 w 1162222"/>
                  <a:gd name="connsiteY20" fmla="*/ 1850118 h 2010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162222" h="2010769">
                    <a:moveTo>
                      <a:pt x="495136" y="1850118"/>
                    </a:moveTo>
                    <a:lnTo>
                      <a:pt x="894177" y="2010769"/>
                    </a:lnTo>
                    <a:lnTo>
                      <a:pt x="1030250" y="1613252"/>
                    </a:lnTo>
                    <a:lnTo>
                      <a:pt x="1063243" y="1640013"/>
                    </a:lnTo>
                    <a:lnTo>
                      <a:pt x="1143892" y="1613252"/>
                    </a:lnTo>
                    <a:lnTo>
                      <a:pt x="1110899" y="1452692"/>
                    </a:lnTo>
                    <a:lnTo>
                      <a:pt x="1162222" y="1429754"/>
                    </a:lnTo>
                    <a:lnTo>
                      <a:pt x="1067996" y="984512"/>
                    </a:lnTo>
                    <a:lnTo>
                      <a:pt x="1016674" y="996315"/>
                    </a:lnTo>
                    <a:lnTo>
                      <a:pt x="927170" y="578142"/>
                    </a:lnTo>
                    <a:cubicBezTo>
                      <a:pt x="890657" y="450417"/>
                      <a:pt x="846813" y="418263"/>
                      <a:pt x="766309" y="347881"/>
                    </a:cubicBezTo>
                    <a:cubicBezTo>
                      <a:pt x="655419" y="298649"/>
                      <a:pt x="595851" y="249418"/>
                      <a:pt x="510622" y="200186"/>
                    </a:cubicBezTo>
                    <a:lnTo>
                      <a:pt x="485417" y="208744"/>
                    </a:lnTo>
                    <a:lnTo>
                      <a:pt x="315408" y="107040"/>
                    </a:lnTo>
                    <a:lnTo>
                      <a:pt x="286081" y="160561"/>
                    </a:lnTo>
                    <a:cubicBezTo>
                      <a:pt x="222539" y="118510"/>
                      <a:pt x="173662" y="53520"/>
                      <a:pt x="117452" y="0"/>
                    </a:cubicBezTo>
                    <a:lnTo>
                      <a:pt x="0" y="131664"/>
                    </a:lnTo>
                    <a:lnTo>
                      <a:pt x="106454" y="248486"/>
                    </a:lnTo>
                    <a:lnTo>
                      <a:pt x="7476" y="355527"/>
                    </a:lnTo>
                    <a:cubicBezTo>
                      <a:pt x="182215" y="863969"/>
                      <a:pt x="202990" y="1196559"/>
                      <a:pt x="44136" y="1674418"/>
                    </a:cubicBezTo>
                    <a:lnTo>
                      <a:pt x="495136" y="1850118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de-DE" sz="60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11" name="T103N">
                <a:extLst>
                  <a:ext uri="{FF2B5EF4-FFF2-40B4-BE49-F238E27FC236}">
                    <a16:creationId xmlns:a16="http://schemas.microsoft.com/office/drawing/2014/main" id="{14A96F7E-DC0A-4016-B38B-A69B7504082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521093" y="1254082"/>
                <a:ext cx="244014" cy="207974"/>
              </a:xfrm>
              <a:custGeom>
                <a:avLst/>
                <a:gdLst>
                  <a:gd name="connsiteX0" fmla="*/ 1000125 w 1420090"/>
                  <a:gd name="connsiteY0" fmla="*/ 0 h 2203739"/>
                  <a:gd name="connsiteX1" fmla="*/ 965488 w 1420090"/>
                  <a:gd name="connsiteY1" fmla="*/ 99580 h 2203739"/>
                  <a:gd name="connsiteX2" fmla="*/ 770659 w 1420090"/>
                  <a:gd name="connsiteY2" fmla="*/ 355023 h 2203739"/>
                  <a:gd name="connsiteX3" fmla="*/ 489238 w 1420090"/>
                  <a:gd name="connsiteY3" fmla="*/ 1181966 h 2203739"/>
                  <a:gd name="connsiteX4" fmla="*/ 415636 w 1420090"/>
                  <a:gd name="connsiteY4" fmla="*/ 1264228 h 2203739"/>
                  <a:gd name="connsiteX5" fmla="*/ 350693 w 1420090"/>
                  <a:gd name="connsiteY5" fmla="*/ 1441739 h 2203739"/>
                  <a:gd name="connsiteX6" fmla="*/ 251113 w 1420090"/>
                  <a:gd name="connsiteY6" fmla="*/ 1398443 h 2203739"/>
                  <a:gd name="connsiteX7" fmla="*/ 0 w 1420090"/>
                  <a:gd name="connsiteY7" fmla="*/ 2095500 h 2203739"/>
                  <a:gd name="connsiteX8" fmla="*/ 134215 w 1420090"/>
                  <a:gd name="connsiteY8" fmla="*/ 2138796 h 2203739"/>
                  <a:gd name="connsiteX9" fmla="*/ 116897 w 1420090"/>
                  <a:gd name="connsiteY9" fmla="*/ 2190750 h 2203739"/>
                  <a:gd name="connsiteX10" fmla="*/ 168852 w 1420090"/>
                  <a:gd name="connsiteY10" fmla="*/ 2203739 h 2203739"/>
                  <a:gd name="connsiteX11" fmla="*/ 411306 w 1420090"/>
                  <a:gd name="connsiteY11" fmla="*/ 1571625 h 2203739"/>
                  <a:gd name="connsiteX12" fmla="*/ 489238 w 1420090"/>
                  <a:gd name="connsiteY12" fmla="*/ 1498023 h 2203739"/>
                  <a:gd name="connsiteX13" fmla="*/ 588818 w 1420090"/>
                  <a:gd name="connsiteY13" fmla="*/ 1562966 h 2203739"/>
                  <a:gd name="connsiteX14" fmla="*/ 562840 w 1420090"/>
                  <a:gd name="connsiteY14" fmla="*/ 1632239 h 2203739"/>
                  <a:gd name="connsiteX15" fmla="*/ 757670 w 1420090"/>
                  <a:gd name="connsiteY15" fmla="*/ 1714500 h 2203739"/>
                  <a:gd name="connsiteX16" fmla="*/ 909204 w 1420090"/>
                  <a:gd name="connsiteY16" fmla="*/ 1913659 h 2203739"/>
                  <a:gd name="connsiteX17" fmla="*/ 1043420 w 1420090"/>
                  <a:gd name="connsiteY17" fmla="*/ 1805421 h 2203739"/>
                  <a:gd name="connsiteX18" fmla="*/ 922193 w 1420090"/>
                  <a:gd name="connsiteY18" fmla="*/ 1679864 h 2203739"/>
                  <a:gd name="connsiteX19" fmla="*/ 913534 w 1420090"/>
                  <a:gd name="connsiteY19" fmla="*/ 1554307 h 2203739"/>
                  <a:gd name="connsiteX20" fmla="*/ 956829 w 1420090"/>
                  <a:gd name="connsiteY20" fmla="*/ 1549978 h 2203739"/>
                  <a:gd name="connsiteX21" fmla="*/ 935181 w 1420090"/>
                  <a:gd name="connsiteY21" fmla="*/ 1407103 h 2203739"/>
                  <a:gd name="connsiteX22" fmla="*/ 891886 w 1420090"/>
                  <a:gd name="connsiteY22" fmla="*/ 1415762 h 2203739"/>
                  <a:gd name="connsiteX23" fmla="*/ 844261 w 1420090"/>
                  <a:gd name="connsiteY23" fmla="*/ 1104034 h 2203739"/>
                  <a:gd name="connsiteX24" fmla="*/ 904875 w 1420090"/>
                  <a:gd name="connsiteY24" fmla="*/ 1099705 h 2203739"/>
                  <a:gd name="connsiteX25" fmla="*/ 900545 w 1420090"/>
                  <a:gd name="connsiteY25" fmla="*/ 1000125 h 2203739"/>
                  <a:gd name="connsiteX26" fmla="*/ 974147 w 1420090"/>
                  <a:gd name="connsiteY26" fmla="*/ 987137 h 2203739"/>
                  <a:gd name="connsiteX27" fmla="*/ 956829 w 1420090"/>
                  <a:gd name="connsiteY27" fmla="*/ 900546 h 2203739"/>
                  <a:gd name="connsiteX28" fmla="*/ 1056409 w 1420090"/>
                  <a:gd name="connsiteY28" fmla="*/ 554182 h 2203739"/>
                  <a:gd name="connsiteX29" fmla="*/ 1394113 w 1420090"/>
                  <a:gd name="connsiteY29" fmla="*/ 251114 h 2203739"/>
                  <a:gd name="connsiteX30" fmla="*/ 1420090 w 1420090"/>
                  <a:gd name="connsiteY30" fmla="*/ 147205 h 2203739"/>
                  <a:gd name="connsiteX31" fmla="*/ 1000125 w 1420090"/>
                  <a:gd name="connsiteY31" fmla="*/ 0 h 2203739"/>
                  <a:gd name="connsiteX0" fmla="*/ 1000125 w 1420090"/>
                  <a:gd name="connsiteY0" fmla="*/ 0 h 2203739"/>
                  <a:gd name="connsiteX1" fmla="*/ 965488 w 1420090"/>
                  <a:gd name="connsiteY1" fmla="*/ 99580 h 2203739"/>
                  <a:gd name="connsiteX2" fmla="*/ 770659 w 1420090"/>
                  <a:gd name="connsiteY2" fmla="*/ 355023 h 2203739"/>
                  <a:gd name="connsiteX3" fmla="*/ 489238 w 1420090"/>
                  <a:gd name="connsiteY3" fmla="*/ 1181966 h 2203739"/>
                  <a:gd name="connsiteX4" fmla="*/ 415636 w 1420090"/>
                  <a:gd name="connsiteY4" fmla="*/ 1264228 h 2203739"/>
                  <a:gd name="connsiteX5" fmla="*/ 350693 w 1420090"/>
                  <a:gd name="connsiteY5" fmla="*/ 1441739 h 2203739"/>
                  <a:gd name="connsiteX6" fmla="*/ 251113 w 1420090"/>
                  <a:gd name="connsiteY6" fmla="*/ 1398443 h 2203739"/>
                  <a:gd name="connsiteX7" fmla="*/ 0 w 1420090"/>
                  <a:gd name="connsiteY7" fmla="*/ 2095500 h 2203739"/>
                  <a:gd name="connsiteX8" fmla="*/ 134215 w 1420090"/>
                  <a:gd name="connsiteY8" fmla="*/ 2138796 h 2203739"/>
                  <a:gd name="connsiteX9" fmla="*/ 116897 w 1420090"/>
                  <a:gd name="connsiteY9" fmla="*/ 2190750 h 2203739"/>
                  <a:gd name="connsiteX10" fmla="*/ 168852 w 1420090"/>
                  <a:gd name="connsiteY10" fmla="*/ 2203739 h 2203739"/>
                  <a:gd name="connsiteX11" fmla="*/ 411306 w 1420090"/>
                  <a:gd name="connsiteY11" fmla="*/ 1571625 h 2203739"/>
                  <a:gd name="connsiteX12" fmla="*/ 467590 w 1420090"/>
                  <a:gd name="connsiteY12" fmla="*/ 1506682 h 2203739"/>
                  <a:gd name="connsiteX13" fmla="*/ 588818 w 1420090"/>
                  <a:gd name="connsiteY13" fmla="*/ 1562966 h 2203739"/>
                  <a:gd name="connsiteX14" fmla="*/ 562840 w 1420090"/>
                  <a:gd name="connsiteY14" fmla="*/ 1632239 h 2203739"/>
                  <a:gd name="connsiteX15" fmla="*/ 757670 w 1420090"/>
                  <a:gd name="connsiteY15" fmla="*/ 1714500 h 2203739"/>
                  <a:gd name="connsiteX16" fmla="*/ 909204 w 1420090"/>
                  <a:gd name="connsiteY16" fmla="*/ 1913659 h 2203739"/>
                  <a:gd name="connsiteX17" fmla="*/ 1043420 w 1420090"/>
                  <a:gd name="connsiteY17" fmla="*/ 1805421 h 2203739"/>
                  <a:gd name="connsiteX18" fmla="*/ 922193 w 1420090"/>
                  <a:gd name="connsiteY18" fmla="*/ 1679864 h 2203739"/>
                  <a:gd name="connsiteX19" fmla="*/ 913534 w 1420090"/>
                  <a:gd name="connsiteY19" fmla="*/ 1554307 h 2203739"/>
                  <a:gd name="connsiteX20" fmla="*/ 956829 w 1420090"/>
                  <a:gd name="connsiteY20" fmla="*/ 1549978 h 2203739"/>
                  <a:gd name="connsiteX21" fmla="*/ 935181 w 1420090"/>
                  <a:gd name="connsiteY21" fmla="*/ 1407103 h 2203739"/>
                  <a:gd name="connsiteX22" fmla="*/ 891886 w 1420090"/>
                  <a:gd name="connsiteY22" fmla="*/ 1415762 h 2203739"/>
                  <a:gd name="connsiteX23" fmla="*/ 844261 w 1420090"/>
                  <a:gd name="connsiteY23" fmla="*/ 1104034 h 2203739"/>
                  <a:gd name="connsiteX24" fmla="*/ 904875 w 1420090"/>
                  <a:gd name="connsiteY24" fmla="*/ 1099705 h 2203739"/>
                  <a:gd name="connsiteX25" fmla="*/ 900545 w 1420090"/>
                  <a:gd name="connsiteY25" fmla="*/ 1000125 h 2203739"/>
                  <a:gd name="connsiteX26" fmla="*/ 974147 w 1420090"/>
                  <a:gd name="connsiteY26" fmla="*/ 987137 h 2203739"/>
                  <a:gd name="connsiteX27" fmla="*/ 956829 w 1420090"/>
                  <a:gd name="connsiteY27" fmla="*/ 900546 h 2203739"/>
                  <a:gd name="connsiteX28" fmla="*/ 1056409 w 1420090"/>
                  <a:gd name="connsiteY28" fmla="*/ 554182 h 2203739"/>
                  <a:gd name="connsiteX29" fmla="*/ 1394113 w 1420090"/>
                  <a:gd name="connsiteY29" fmla="*/ 251114 h 2203739"/>
                  <a:gd name="connsiteX30" fmla="*/ 1420090 w 1420090"/>
                  <a:gd name="connsiteY30" fmla="*/ 147205 h 2203739"/>
                  <a:gd name="connsiteX31" fmla="*/ 1000125 w 1420090"/>
                  <a:gd name="connsiteY31" fmla="*/ 0 h 2203739"/>
                  <a:gd name="connsiteX0" fmla="*/ 1000125 w 1420090"/>
                  <a:gd name="connsiteY0" fmla="*/ 0 h 2203739"/>
                  <a:gd name="connsiteX1" fmla="*/ 965488 w 1420090"/>
                  <a:gd name="connsiteY1" fmla="*/ 99580 h 2203739"/>
                  <a:gd name="connsiteX2" fmla="*/ 770659 w 1420090"/>
                  <a:gd name="connsiteY2" fmla="*/ 355023 h 2203739"/>
                  <a:gd name="connsiteX3" fmla="*/ 489238 w 1420090"/>
                  <a:gd name="connsiteY3" fmla="*/ 1181966 h 2203739"/>
                  <a:gd name="connsiteX4" fmla="*/ 415636 w 1420090"/>
                  <a:gd name="connsiteY4" fmla="*/ 1264228 h 2203739"/>
                  <a:gd name="connsiteX5" fmla="*/ 350693 w 1420090"/>
                  <a:gd name="connsiteY5" fmla="*/ 1441739 h 2203739"/>
                  <a:gd name="connsiteX6" fmla="*/ 251113 w 1420090"/>
                  <a:gd name="connsiteY6" fmla="*/ 1398443 h 2203739"/>
                  <a:gd name="connsiteX7" fmla="*/ 0 w 1420090"/>
                  <a:gd name="connsiteY7" fmla="*/ 2095500 h 2203739"/>
                  <a:gd name="connsiteX8" fmla="*/ 134215 w 1420090"/>
                  <a:gd name="connsiteY8" fmla="*/ 2138796 h 2203739"/>
                  <a:gd name="connsiteX9" fmla="*/ 116897 w 1420090"/>
                  <a:gd name="connsiteY9" fmla="*/ 2190750 h 2203739"/>
                  <a:gd name="connsiteX10" fmla="*/ 168852 w 1420090"/>
                  <a:gd name="connsiteY10" fmla="*/ 2203739 h 2203739"/>
                  <a:gd name="connsiteX11" fmla="*/ 411306 w 1420090"/>
                  <a:gd name="connsiteY11" fmla="*/ 1571625 h 2203739"/>
                  <a:gd name="connsiteX12" fmla="*/ 467590 w 1420090"/>
                  <a:gd name="connsiteY12" fmla="*/ 1506682 h 2203739"/>
                  <a:gd name="connsiteX13" fmla="*/ 588818 w 1420090"/>
                  <a:gd name="connsiteY13" fmla="*/ 1562966 h 2203739"/>
                  <a:gd name="connsiteX14" fmla="*/ 562840 w 1420090"/>
                  <a:gd name="connsiteY14" fmla="*/ 1632239 h 2203739"/>
                  <a:gd name="connsiteX15" fmla="*/ 757670 w 1420090"/>
                  <a:gd name="connsiteY15" fmla="*/ 1714500 h 2203739"/>
                  <a:gd name="connsiteX16" fmla="*/ 909204 w 1420090"/>
                  <a:gd name="connsiteY16" fmla="*/ 1913659 h 2203739"/>
                  <a:gd name="connsiteX17" fmla="*/ 1043420 w 1420090"/>
                  <a:gd name="connsiteY17" fmla="*/ 1805421 h 2203739"/>
                  <a:gd name="connsiteX18" fmla="*/ 930852 w 1420090"/>
                  <a:gd name="connsiteY18" fmla="*/ 1675535 h 2203739"/>
                  <a:gd name="connsiteX19" fmla="*/ 913534 w 1420090"/>
                  <a:gd name="connsiteY19" fmla="*/ 1554307 h 2203739"/>
                  <a:gd name="connsiteX20" fmla="*/ 956829 w 1420090"/>
                  <a:gd name="connsiteY20" fmla="*/ 1549978 h 2203739"/>
                  <a:gd name="connsiteX21" fmla="*/ 935181 w 1420090"/>
                  <a:gd name="connsiteY21" fmla="*/ 1407103 h 2203739"/>
                  <a:gd name="connsiteX22" fmla="*/ 891886 w 1420090"/>
                  <a:gd name="connsiteY22" fmla="*/ 1415762 h 2203739"/>
                  <a:gd name="connsiteX23" fmla="*/ 844261 w 1420090"/>
                  <a:gd name="connsiteY23" fmla="*/ 1104034 h 2203739"/>
                  <a:gd name="connsiteX24" fmla="*/ 904875 w 1420090"/>
                  <a:gd name="connsiteY24" fmla="*/ 1099705 h 2203739"/>
                  <a:gd name="connsiteX25" fmla="*/ 900545 w 1420090"/>
                  <a:gd name="connsiteY25" fmla="*/ 1000125 h 2203739"/>
                  <a:gd name="connsiteX26" fmla="*/ 974147 w 1420090"/>
                  <a:gd name="connsiteY26" fmla="*/ 987137 h 2203739"/>
                  <a:gd name="connsiteX27" fmla="*/ 956829 w 1420090"/>
                  <a:gd name="connsiteY27" fmla="*/ 900546 h 2203739"/>
                  <a:gd name="connsiteX28" fmla="*/ 1056409 w 1420090"/>
                  <a:gd name="connsiteY28" fmla="*/ 554182 h 2203739"/>
                  <a:gd name="connsiteX29" fmla="*/ 1394113 w 1420090"/>
                  <a:gd name="connsiteY29" fmla="*/ 251114 h 2203739"/>
                  <a:gd name="connsiteX30" fmla="*/ 1420090 w 1420090"/>
                  <a:gd name="connsiteY30" fmla="*/ 147205 h 2203739"/>
                  <a:gd name="connsiteX31" fmla="*/ 1000125 w 1420090"/>
                  <a:gd name="connsiteY31" fmla="*/ 0 h 2203739"/>
                  <a:gd name="connsiteX0" fmla="*/ 1000125 w 1420090"/>
                  <a:gd name="connsiteY0" fmla="*/ 0 h 2203739"/>
                  <a:gd name="connsiteX1" fmla="*/ 965488 w 1420090"/>
                  <a:gd name="connsiteY1" fmla="*/ 99580 h 2203739"/>
                  <a:gd name="connsiteX2" fmla="*/ 770659 w 1420090"/>
                  <a:gd name="connsiteY2" fmla="*/ 355023 h 2203739"/>
                  <a:gd name="connsiteX3" fmla="*/ 489238 w 1420090"/>
                  <a:gd name="connsiteY3" fmla="*/ 1181966 h 2203739"/>
                  <a:gd name="connsiteX4" fmla="*/ 415636 w 1420090"/>
                  <a:gd name="connsiteY4" fmla="*/ 1264228 h 2203739"/>
                  <a:gd name="connsiteX5" fmla="*/ 350693 w 1420090"/>
                  <a:gd name="connsiteY5" fmla="*/ 1441739 h 2203739"/>
                  <a:gd name="connsiteX6" fmla="*/ 251113 w 1420090"/>
                  <a:gd name="connsiteY6" fmla="*/ 1398443 h 2203739"/>
                  <a:gd name="connsiteX7" fmla="*/ 0 w 1420090"/>
                  <a:gd name="connsiteY7" fmla="*/ 2095500 h 2203739"/>
                  <a:gd name="connsiteX8" fmla="*/ 134215 w 1420090"/>
                  <a:gd name="connsiteY8" fmla="*/ 2138796 h 2203739"/>
                  <a:gd name="connsiteX9" fmla="*/ 116897 w 1420090"/>
                  <a:gd name="connsiteY9" fmla="*/ 2190750 h 2203739"/>
                  <a:gd name="connsiteX10" fmla="*/ 168852 w 1420090"/>
                  <a:gd name="connsiteY10" fmla="*/ 2203739 h 2203739"/>
                  <a:gd name="connsiteX11" fmla="*/ 411306 w 1420090"/>
                  <a:gd name="connsiteY11" fmla="*/ 1571625 h 2203739"/>
                  <a:gd name="connsiteX12" fmla="*/ 467590 w 1420090"/>
                  <a:gd name="connsiteY12" fmla="*/ 1506682 h 2203739"/>
                  <a:gd name="connsiteX13" fmla="*/ 588818 w 1420090"/>
                  <a:gd name="connsiteY13" fmla="*/ 1562966 h 2203739"/>
                  <a:gd name="connsiteX14" fmla="*/ 562840 w 1420090"/>
                  <a:gd name="connsiteY14" fmla="*/ 1632239 h 2203739"/>
                  <a:gd name="connsiteX15" fmla="*/ 757670 w 1420090"/>
                  <a:gd name="connsiteY15" fmla="*/ 1714500 h 2203739"/>
                  <a:gd name="connsiteX16" fmla="*/ 909204 w 1420090"/>
                  <a:gd name="connsiteY16" fmla="*/ 1913659 h 2203739"/>
                  <a:gd name="connsiteX17" fmla="*/ 1043420 w 1420090"/>
                  <a:gd name="connsiteY17" fmla="*/ 1805421 h 2203739"/>
                  <a:gd name="connsiteX18" fmla="*/ 930852 w 1420090"/>
                  <a:gd name="connsiteY18" fmla="*/ 1675535 h 2203739"/>
                  <a:gd name="connsiteX19" fmla="*/ 913534 w 1420090"/>
                  <a:gd name="connsiteY19" fmla="*/ 1554307 h 2203739"/>
                  <a:gd name="connsiteX20" fmla="*/ 956829 w 1420090"/>
                  <a:gd name="connsiteY20" fmla="*/ 1549978 h 2203739"/>
                  <a:gd name="connsiteX21" fmla="*/ 935181 w 1420090"/>
                  <a:gd name="connsiteY21" fmla="*/ 1407103 h 2203739"/>
                  <a:gd name="connsiteX22" fmla="*/ 891886 w 1420090"/>
                  <a:gd name="connsiteY22" fmla="*/ 1415762 h 2203739"/>
                  <a:gd name="connsiteX23" fmla="*/ 844261 w 1420090"/>
                  <a:gd name="connsiteY23" fmla="*/ 1104034 h 2203739"/>
                  <a:gd name="connsiteX24" fmla="*/ 904875 w 1420090"/>
                  <a:gd name="connsiteY24" fmla="*/ 1099705 h 2203739"/>
                  <a:gd name="connsiteX25" fmla="*/ 900545 w 1420090"/>
                  <a:gd name="connsiteY25" fmla="*/ 1000125 h 2203739"/>
                  <a:gd name="connsiteX26" fmla="*/ 974147 w 1420090"/>
                  <a:gd name="connsiteY26" fmla="*/ 987137 h 2203739"/>
                  <a:gd name="connsiteX27" fmla="*/ 1056409 w 1420090"/>
                  <a:gd name="connsiteY27" fmla="*/ 554182 h 2203739"/>
                  <a:gd name="connsiteX28" fmla="*/ 1394113 w 1420090"/>
                  <a:gd name="connsiteY28" fmla="*/ 251114 h 2203739"/>
                  <a:gd name="connsiteX29" fmla="*/ 1420090 w 1420090"/>
                  <a:gd name="connsiteY29" fmla="*/ 147205 h 2203739"/>
                  <a:gd name="connsiteX30" fmla="*/ 1000125 w 1420090"/>
                  <a:gd name="connsiteY30" fmla="*/ 0 h 2203739"/>
                  <a:gd name="connsiteX0" fmla="*/ 1000125 w 1420090"/>
                  <a:gd name="connsiteY0" fmla="*/ 0 h 2203739"/>
                  <a:gd name="connsiteX1" fmla="*/ 965488 w 1420090"/>
                  <a:gd name="connsiteY1" fmla="*/ 99580 h 2203739"/>
                  <a:gd name="connsiteX2" fmla="*/ 770659 w 1420090"/>
                  <a:gd name="connsiteY2" fmla="*/ 355023 h 2203739"/>
                  <a:gd name="connsiteX3" fmla="*/ 489238 w 1420090"/>
                  <a:gd name="connsiteY3" fmla="*/ 1181966 h 2203739"/>
                  <a:gd name="connsiteX4" fmla="*/ 415636 w 1420090"/>
                  <a:gd name="connsiteY4" fmla="*/ 1264228 h 2203739"/>
                  <a:gd name="connsiteX5" fmla="*/ 350693 w 1420090"/>
                  <a:gd name="connsiteY5" fmla="*/ 1441739 h 2203739"/>
                  <a:gd name="connsiteX6" fmla="*/ 251113 w 1420090"/>
                  <a:gd name="connsiteY6" fmla="*/ 1398443 h 2203739"/>
                  <a:gd name="connsiteX7" fmla="*/ 0 w 1420090"/>
                  <a:gd name="connsiteY7" fmla="*/ 2095500 h 2203739"/>
                  <a:gd name="connsiteX8" fmla="*/ 134215 w 1420090"/>
                  <a:gd name="connsiteY8" fmla="*/ 2138796 h 2203739"/>
                  <a:gd name="connsiteX9" fmla="*/ 116897 w 1420090"/>
                  <a:gd name="connsiteY9" fmla="*/ 2190750 h 2203739"/>
                  <a:gd name="connsiteX10" fmla="*/ 168852 w 1420090"/>
                  <a:gd name="connsiteY10" fmla="*/ 2203739 h 2203739"/>
                  <a:gd name="connsiteX11" fmla="*/ 411306 w 1420090"/>
                  <a:gd name="connsiteY11" fmla="*/ 1571625 h 2203739"/>
                  <a:gd name="connsiteX12" fmla="*/ 467590 w 1420090"/>
                  <a:gd name="connsiteY12" fmla="*/ 1506682 h 2203739"/>
                  <a:gd name="connsiteX13" fmla="*/ 588818 w 1420090"/>
                  <a:gd name="connsiteY13" fmla="*/ 1562966 h 2203739"/>
                  <a:gd name="connsiteX14" fmla="*/ 562840 w 1420090"/>
                  <a:gd name="connsiteY14" fmla="*/ 1632239 h 2203739"/>
                  <a:gd name="connsiteX15" fmla="*/ 757670 w 1420090"/>
                  <a:gd name="connsiteY15" fmla="*/ 1714500 h 2203739"/>
                  <a:gd name="connsiteX16" fmla="*/ 909204 w 1420090"/>
                  <a:gd name="connsiteY16" fmla="*/ 1913659 h 2203739"/>
                  <a:gd name="connsiteX17" fmla="*/ 1043420 w 1420090"/>
                  <a:gd name="connsiteY17" fmla="*/ 1805421 h 2203739"/>
                  <a:gd name="connsiteX18" fmla="*/ 930852 w 1420090"/>
                  <a:gd name="connsiteY18" fmla="*/ 1675535 h 2203739"/>
                  <a:gd name="connsiteX19" fmla="*/ 913534 w 1420090"/>
                  <a:gd name="connsiteY19" fmla="*/ 1554307 h 2203739"/>
                  <a:gd name="connsiteX20" fmla="*/ 956829 w 1420090"/>
                  <a:gd name="connsiteY20" fmla="*/ 1549978 h 2203739"/>
                  <a:gd name="connsiteX21" fmla="*/ 935181 w 1420090"/>
                  <a:gd name="connsiteY21" fmla="*/ 1407103 h 2203739"/>
                  <a:gd name="connsiteX22" fmla="*/ 891886 w 1420090"/>
                  <a:gd name="connsiteY22" fmla="*/ 1415762 h 2203739"/>
                  <a:gd name="connsiteX23" fmla="*/ 844261 w 1420090"/>
                  <a:gd name="connsiteY23" fmla="*/ 1104034 h 2203739"/>
                  <a:gd name="connsiteX24" fmla="*/ 904875 w 1420090"/>
                  <a:gd name="connsiteY24" fmla="*/ 1099705 h 2203739"/>
                  <a:gd name="connsiteX25" fmla="*/ 900545 w 1420090"/>
                  <a:gd name="connsiteY25" fmla="*/ 1000125 h 2203739"/>
                  <a:gd name="connsiteX26" fmla="*/ 1056409 w 1420090"/>
                  <a:gd name="connsiteY26" fmla="*/ 554182 h 2203739"/>
                  <a:gd name="connsiteX27" fmla="*/ 1394113 w 1420090"/>
                  <a:gd name="connsiteY27" fmla="*/ 251114 h 2203739"/>
                  <a:gd name="connsiteX28" fmla="*/ 1420090 w 1420090"/>
                  <a:gd name="connsiteY28" fmla="*/ 147205 h 2203739"/>
                  <a:gd name="connsiteX29" fmla="*/ 1000125 w 1420090"/>
                  <a:gd name="connsiteY29" fmla="*/ 0 h 2203739"/>
                  <a:gd name="connsiteX0" fmla="*/ 1000125 w 1420090"/>
                  <a:gd name="connsiteY0" fmla="*/ 0 h 2203739"/>
                  <a:gd name="connsiteX1" fmla="*/ 965488 w 1420090"/>
                  <a:gd name="connsiteY1" fmla="*/ 99580 h 2203739"/>
                  <a:gd name="connsiteX2" fmla="*/ 770659 w 1420090"/>
                  <a:gd name="connsiteY2" fmla="*/ 355023 h 2203739"/>
                  <a:gd name="connsiteX3" fmla="*/ 489238 w 1420090"/>
                  <a:gd name="connsiteY3" fmla="*/ 1181966 h 2203739"/>
                  <a:gd name="connsiteX4" fmla="*/ 415636 w 1420090"/>
                  <a:gd name="connsiteY4" fmla="*/ 1264228 h 2203739"/>
                  <a:gd name="connsiteX5" fmla="*/ 350693 w 1420090"/>
                  <a:gd name="connsiteY5" fmla="*/ 1441739 h 2203739"/>
                  <a:gd name="connsiteX6" fmla="*/ 251113 w 1420090"/>
                  <a:gd name="connsiteY6" fmla="*/ 1398443 h 2203739"/>
                  <a:gd name="connsiteX7" fmla="*/ 0 w 1420090"/>
                  <a:gd name="connsiteY7" fmla="*/ 2095500 h 2203739"/>
                  <a:gd name="connsiteX8" fmla="*/ 134215 w 1420090"/>
                  <a:gd name="connsiteY8" fmla="*/ 2138796 h 2203739"/>
                  <a:gd name="connsiteX9" fmla="*/ 116897 w 1420090"/>
                  <a:gd name="connsiteY9" fmla="*/ 2190750 h 2203739"/>
                  <a:gd name="connsiteX10" fmla="*/ 168852 w 1420090"/>
                  <a:gd name="connsiteY10" fmla="*/ 2203739 h 2203739"/>
                  <a:gd name="connsiteX11" fmla="*/ 411306 w 1420090"/>
                  <a:gd name="connsiteY11" fmla="*/ 1571625 h 2203739"/>
                  <a:gd name="connsiteX12" fmla="*/ 467590 w 1420090"/>
                  <a:gd name="connsiteY12" fmla="*/ 1506682 h 2203739"/>
                  <a:gd name="connsiteX13" fmla="*/ 588818 w 1420090"/>
                  <a:gd name="connsiteY13" fmla="*/ 1562966 h 2203739"/>
                  <a:gd name="connsiteX14" fmla="*/ 562840 w 1420090"/>
                  <a:gd name="connsiteY14" fmla="*/ 1632239 h 2203739"/>
                  <a:gd name="connsiteX15" fmla="*/ 757670 w 1420090"/>
                  <a:gd name="connsiteY15" fmla="*/ 1714500 h 2203739"/>
                  <a:gd name="connsiteX16" fmla="*/ 909204 w 1420090"/>
                  <a:gd name="connsiteY16" fmla="*/ 1913659 h 2203739"/>
                  <a:gd name="connsiteX17" fmla="*/ 1043420 w 1420090"/>
                  <a:gd name="connsiteY17" fmla="*/ 1805421 h 2203739"/>
                  <a:gd name="connsiteX18" fmla="*/ 930852 w 1420090"/>
                  <a:gd name="connsiteY18" fmla="*/ 1675535 h 2203739"/>
                  <a:gd name="connsiteX19" fmla="*/ 913534 w 1420090"/>
                  <a:gd name="connsiteY19" fmla="*/ 1554307 h 2203739"/>
                  <a:gd name="connsiteX20" fmla="*/ 956829 w 1420090"/>
                  <a:gd name="connsiteY20" fmla="*/ 1549978 h 2203739"/>
                  <a:gd name="connsiteX21" fmla="*/ 935181 w 1420090"/>
                  <a:gd name="connsiteY21" fmla="*/ 1407103 h 2203739"/>
                  <a:gd name="connsiteX22" fmla="*/ 891886 w 1420090"/>
                  <a:gd name="connsiteY22" fmla="*/ 1415762 h 2203739"/>
                  <a:gd name="connsiteX23" fmla="*/ 844261 w 1420090"/>
                  <a:gd name="connsiteY23" fmla="*/ 1104034 h 2203739"/>
                  <a:gd name="connsiteX24" fmla="*/ 904875 w 1420090"/>
                  <a:gd name="connsiteY24" fmla="*/ 1099705 h 2203739"/>
                  <a:gd name="connsiteX25" fmla="*/ 1056409 w 1420090"/>
                  <a:gd name="connsiteY25" fmla="*/ 554182 h 2203739"/>
                  <a:gd name="connsiteX26" fmla="*/ 1394113 w 1420090"/>
                  <a:gd name="connsiteY26" fmla="*/ 251114 h 2203739"/>
                  <a:gd name="connsiteX27" fmla="*/ 1420090 w 1420090"/>
                  <a:gd name="connsiteY27" fmla="*/ 147205 h 2203739"/>
                  <a:gd name="connsiteX28" fmla="*/ 1000125 w 1420090"/>
                  <a:gd name="connsiteY28" fmla="*/ 0 h 2203739"/>
                  <a:gd name="connsiteX0" fmla="*/ 1000125 w 1420090"/>
                  <a:gd name="connsiteY0" fmla="*/ 0 h 2203739"/>
                  <a:gd name="connsiteX1" fmla="*/ 965488 w 1420090"/>
                  <a:gd name="connsiteY1" fmla="*/ 99580 h 2203739"/>
                  <a:gd name="connsiteX2" fmla="*/ 770659 w 1420090"/>
                  <a:gd name="connsiteY2" fmla="*/ 355023 h 2203739"/>
                  <a:gd name="connsiteX3" fmla="*/ 489238 w 1420090"/>
                  <a:gd name="connsiteY3" fmla="*/ 1181966 h 2203739"/>
                  <a:gd name="connsiteX4" fmla="*/ 415636 w 1420090"/>
                  <a:gd name="connsiteY4" fmla="*/ 1264228 h 2203739"/>
                  <a:gd name="connsiteX5" fmla="*/ 350693 w 1420090"/>
                  <a:gd name="connsiteY5" fmla="*/ 1441739 h 2203739"/>
                  <a:gd name="connsiteX6" fmla="*/ 251113 w 1420090"/>
                  <a:gd name="connsiteY6" fmla="*/ 1398443 h 2203739"/>
                  <a:gd name="connsiteX7" fmla="*/ 0 w 1420090"/>
                  <a:gd name="connsiteY7" fmla="*/ 2095500 h 2203739"/>
                  <a:gd name="connsiteX8" fmla="*/ 134215 w 1420090"/>
                  <a:gd name="connsiteY8" fmla="*/ 2138796 h 2203739"/>
                  <a:gd name="connsiteX9" fmla="*/ 116897 w 1420090"/>
                  <a:gd name="connsiteY9" fmla="*/ 2190750 h 2203739"/>
                  <a:gd name="connsiteX10" fmla="*/ 168852 w 1420090"/>
                  <a:gd name="connsiteY10" fmla="*/ 2203739 h 2203739"/>
                  <a:gd name="connsiteX11" fmla="*/ 411306 w 1420090"/>
                  <a:gd name="connsiteY11" fmla="*/ 1571625 h 2203739"/>
                  <a:gd name="connsiteX12" fmla="*/ 467590 w 1420090"/>
                  <a:gd name="connsiteY12" fmla="*/ 1506682 h 2203739"/>
                  <a:gd name="connsiteX13" fmla="*/ 588818 w 1420090"/>
                  <a:gd name="connsiteY13" fmla="*/ 1562966 h 2203739"/>
                  <a:gd name="connsiteX14" fmla="*/ 562840 w 1420090"/>
                  <a:gd name="connsiteY14" fmla="*/ 1632239 h 2203739"/>
                  <a:gd name="connsiteX15" fmla="*/ 757670 w 1420090"/>
                  <a:gd name="connsiteY15" fmla="*/ 1714500 h 2203739"/>
                  <a:gd name="connsiteX16" fmla="*/ 909204 w 1420090"/>
                  <a:gd name="connsiteY16" fmla="*/ 1913659 h 2203739"/>
                  <a:gd name="connsiteX17" fmla="*/ 1043420 w 1420090"/>
                  <a:gd name="connsiteY17" fmla="*/ 1805421 h 2203739"/>
                  <a:gd name="connsiteX18" fmla="*/ 930852 w 1420090"/>
                  <a:gd name="connsiteY18" fmla="*/ 1675535 h 2203739"/>
                  <a:gd name="connsiteX19" fmla="*/ 913534 w 1420090"/>
                  <a:gd name="connsiteY19" fmla="*/ 1554307 h 2203739"/>
                  <a:gd name="connsiteX20" fmla="*/ 956829 w 1420090"/>
                  <a:gd name="connsiteY20" fmla="*/ 1549978 h 2203739"/>
                  <a:gd name="connsiteX21" fmla="*/ 935181 w 1420090"/>
                  <a:gd name="connsiteY21" fmla="*/ 1407103 h 2203739"/>
                  <a:gd name="connsiteX22" fmla="*/ 891886 w 1420090"/>
                  <a:gd name="connsiteY22" fmla="*/ 1415762 h 2203739"/>
                  <a:gd name="connsiteX23" fmla="*/ 844261 w 1420090"/>
                  <a:gd name="connsiteY23" fmla="*/ 1104034 h 2203739"/>
                  <a:gd name="connsiteX24" fmla="*/ 1056409 w 1420090"/>
                  <a:gd name="connsiteY24" fmla="*/ 554182 h 2203739"/>
                  <a:gd name="connsiteX25" fmla="*/ 1394113 w 1420090"/>
                  <a:gd name="connsiteY25" fmla="*/ 251114 h 2203739"/>
                  <a:gd name="connsiteX26" fmla="*/ 1420090 w 1420090"/>
                  <a:gd name="connsiteY26" fmla="*/ 147205 h 2203739"/>
                  <a:gd name="connsiteX27" fmla="*/ 1000125 w 1420090"/>
                  <a:gd name="connsiteY27" fmla="*/ 0 h 2203739"/>
                  <a:gd name="connsiteX0" fmla="*/ 1000125 w 1420090"/>
                  <a:gd name="connsiteY0" fmla="*/ 0 h 2203739"/>
                  <a:gd name="connsiteX1" fmla="*/ 965488 w 1420090"/>
                  <a:gd name="connsiteY1" fmla="*/ 99580 h 2203739"/>
                  <a:gd name="connsiteX2" fmla="*/ 770659 w 1420090"/>
                  <a:gd name="connsiteY2" fmla="*/ 355023 h 2203739"/>
                  <a:gd name="connsiteX3" fmla="*/ 489238 w 1420090"/>
                  <a:gd name="connsiteY3" fmla="*/ 1181966 h 2203739"/>
                  <a:gd name="connsiteX4" fmla="*/ 415636 w 1420090"/>
                  <a:gd name="connsiteY4" fmla="*/ 1264228 h 2203739"/>
                  <a:gd name="connsiteX5" fmla="*/ 350693 w 1420090"/>
                  <a:gd name="connsiteY5" fmla="*/ 1441739 h 2203739"/>
                  <a:gd name="connsiteX6" fmla="*/ 251113 w 1420090"/>
                  <a:gd name="connsiteY6" fmla="*/ 1398443 h 2203739"/>
                  <a:gd name="connsiteX7" fmla="*/ 0 w 1420090"/>
                  <a:gd name="connsiteY7" fmla="*/ 2095500 h 2203739"/>
                  <a:gd name="connsiteX8" fmla="*/ 134215 w 1420090"/>
                  <a:gd name="connsiteY8" fmla="*/ 2138796 h 2203739"/>
                  <a:gd name="connsiteX9" fmla="*/ 116897 w 1420090"/>
                  <a:gd name="connsiteY9" fmla="*/ 2190750 h 2203739"/>
                  <a:gd name="connsiteX10" fmla="*/ 168852 w 1420090"/>
                  <a:gd name="connsiteY10" fmla="*/ 2203739 h 2203739"/>
                  <a:gd name="connsiteX11" fmla="*/ 411306 w 1420090"/>
                  <a:gd name="connsiteY11" fmla="*/ 1571625 h 2203739"/>
                  <a:gd name="connsiteX12" fmla="*/ 467590 w 1420090"/>
                  <a:gd name="connsiteY12" fmla="*/ 1506682 h 2203739"/>
                  <a:gd name="connsiteX13" fmla="*/ 588818 w 1420090"/>
                  <a:gd name="connsiteY13" fmla="*/ 1562966 h 2203739"/>
                  <a:gd name="connsiteX14" fmla="*/ 562840 w 1420090"/>
                  <a:gd name="connsiteY14" fmla="*/ 1632239 h 2203739"/>
                  <a:gd name="connsiteX15" fmla="*/ 757670 w 1420090"/>
                  <a:gd name="connsiteY15" fmla="*/ 1714500 h 2203739"/>
                  <a:gd name="connsiteX16" fmla="*/ 909204 w 1420090"/>
                  <a:gd name="connsiteY16" fmla="*/ 1913659 h 2203739"/>
                  <a:gd name="connsiteX17" fmla="*/ 1043420 w 1420090"/>
                  <a:gd name="connsiteY17" fmla="*/ 1805421 h 2203739"/>
                  <a:gd name="connsiteX18" fmla="*/ 930852 w 1420090"/>
                  <a:gd name="connsiteY18" fmla="*/ 1675535 h 2203739"/>
                  <a:gd name="connsiteX19" fmla="*/ 913534 w 1420090"/>
                  <a:gd name="connsiteY19" fmla="*/ 1554307 h 2203739"/>
                  <a:gd name="connsiteX20" fmla="*/ 956829 w 1420090"/>
                  <a:gd name="connsiteY20" fmla="*/ 1549978 h 2203739"/>
                  <a:gd name="connsiteX21" fmla="*/ 935181 w 1420090"/>
                  <a:gd name="connsiteY21" fmla="*/ 1407103 h 2203739"/>
                  <a:gd name="connsiteX22" fmla="*/ 891886 w 1420090"/>
                  <a:gd name="connsiteY22" fmla="*/ 1415762 h 2203739"/>
                  <a:gd name="connsiteX23" fmla="*/ 1056409 w 1420090"/>
                  <a:gd name="connsiteY23" fmla="*/ 554182 h 2203739"/>
                  <a:gd name="connsiteX24" fmla="*/ 1394113 w 1420090"/>
                  <a:gd name="connsiteY24" fmla="*/ 251114 h 2203739"/>
                  <a:gd name="connsiteX25" fmla="*/ 1420090 w 1420090"/>
                  <a:gd name="connsiteY25" fmla="*/ 147205 h 2203739"/>
                  <a:gd name="connsiteX26" fmla="*/ 1000125 w 1420090"/>
                  <a:gd name="connsiteY26" fmla="*/ 0 h 2203739"/>
                  <a:gd name="connsiteX0" fmla="*/ 883228 w 1303193"/>
                  <a:gd name="connsiteY0" fmla="*/ 0 h 2203739"/>
                  <a:gd name="connsiteX1" fmla="*/ 848591 w 1303193"/>
                  <a:gd name="connsiteY1" fmla="*/ 99580 h 2203739"/>
                  <a:gd name="connsiteX2" fmla="*/ 653762 w 1303193"/>
                  <a:gd name="connsiteY2" fmla="*/ 355023 h 2203739"/>
                  <a:gd name="connsiteX3" fmla="*/ 372341 w 1303193"/>
                  <a:gd name="connsiteY3" fmla="*/ 1181966 h 2203739"/>
                  <a:gd name="connsiteX4" fmla="*/ 298739 w 1303193"/>
                  <a:gd name="connsiteY4" fmla="*/ 1264228 h 2203739"/>
                  <a:gd name="connsiteX5" fmla="*/ 233796 w 1303193"/>
                  <a:gd name="connsiteY5" fmla="*/ 1441739 h 2203739"/>
                  <a:gd name="connsiteX6" fmla="*/ 134216 w 1303193"/>
                  <a:gd name="connsiteY6" fmla="*/ 1398443 h 2203739"/>
                  <a:gd name="connsiteX7" fmla="*/ 17318 w 1303193"/>
                  <a:gd name="connsiteY7" fmla="*/ 2138796 h 2203739"/>
                  <a:gd name="connsiteX8" fmla="*/ 0 w 1303193"/>
                  <a:gd name="connsiteY8" fmla="*/ 2190750 h 2203739"/>
                  <a:gd name="connsiteX9" fmla="*/ 51955 w 1303193"/>
                  <a:gd name="connsiteY9" fmla="*/ 2203739 h 2203739"/>
                  <a:gd name="connsiteX10" fmla="*/ 294409 w 1303193"/>
                  <a:gd name="connsiteY10" fmla="*/ 1571625 h 2203739"/>
                  <a:gd name="connsiteX11" fmla="*/ 350693 w 1303193"/>
                  <a:gd name="connsiteY11" fmla="*/ 1506682 h 2203739"/>
                  <a:gd name="connsiteX12" fmla="*/ 471921 w 1303193"/>
                  <a:gd name="connsiteY12" fmla="*/ 1562966 h 2203739"/>
                  <a:gd name="connsiteX13" fmla="*/ 445943 w 1303193"/>
                  <a:gd name="connsiteY13" fmla="*/ 1632239 h 2203739"/>
                  <a:gd name="connsiteX14" fmla="*/ 640773 w 1303193"/>
                  <a:gd name="connsiteY14" fmla="*/ 1714500 h 2203739"/>
                  <a:gd name="connsiteX15" fmla="*/ 792307 w 1303193"/>
                  <a:gd name="connsiteY15" fmla="*/ 1913659 h 2203739"/>
                  <a:gd name="connsiteX16" fmla="*/ 926523 w 1303193"/>
                  <a:gd name="connsiteY16" fmla="*/ 1805421 h 2203739"/>
                  <a:gd name="connsiteX17" fmla="*/ 813955 w 1303193"/>
                  <a:gd name="connsiteY17" fmla="*/ 1675535 h 2203739"/>
                  <a:gd name="connsiteX18" fmla="*/ 796637 w 1303193"/>
                  <a:gd name="connsiteY18" fmla="*/ 1554307 h 2203739"/>
                  <a:gd name="connsiteX19" fmla="*/ 839932 w 1303193"/>
                  <a:gd name="connsiteY19" fmla="*/ 1549978 h 2203739"/>
                  <a:gd name="connsiteX20" fmla="*/ 818284 w 1303193"/>
                  <a:gd name="connsiteY20" fmla="*/ 1407103 h 2203739"/>
                  <a:gd name="connsiteX21" fmla="*/ 774989 w 1303193"/>
                  <a:gd name="connsiteY21" fmla="*/ 1415762 h 2203739"/>
                  <a:gd name="connsiteX22" fmla="*/ 939512 w 1303193"/>
                  <a:gd name="connsiteY22" fmla="*/ 554182 h 2203739"/>
                  <a:gd name="connsiteX23" fmla="*/ 1277216 w 1303193"/>
                  <a:gd name="connsiteY23" fmla="*/ 251114 h 2203739"/>
                  <a:gd name="connsiteX24" fmla="*/ 1303193 w 1303193"/>
                  <a:gd name="connsiteY24" fmla="*/ 147205 h 2203739"/>
                  <a:gd name="connsiteX25" fmla="*/ 883228 w 1303193"/>
                  <a:gd name="connsiteY25" fmla="*/ 0 h 2203739"/>
                  <a:gd name="connsiteX0" fmla="*/ 883228 w 1303193"/>
                  <a:gd name="connsiteY0" fmla="*/ 0 h 2203739"/>
                  <a:gd name="connsiteX1" fmla="*/ 848591 w 1303193"/>
                  <a:gd name="connsiteY1" fmla="*/ 99580 h 2203739"/>
                  <a:gd name="connsiteX2" fmla="*/ 653762 w 1303193"/>
                  <a:gd name="connsiteY2" fmla="*/ 355023 h 2203739"/>
                  <a:gd name="connsiteX3" fmla="*/ 372341 w 1303193"/>
                  <a:gd name="connsiteY3" fmla="*/ 1181966 h 2203739"/>
                  <a:gd name="connsiteX4" fmla="*/ 298739 w 1303193"/>
                  <a:gd name="connsiteY4" fmla="*/ 1264228 h 2203739"/>
                  <a:gd name="connsiteX5" fmla="*/ 233796 w 1303193"/>
                  <a:gd name="connsiteY5" fmla="*/ 1441739 h 2203739"/>
                  <a:gd name="connsiteX6" fmla="*/ 134216 w 1303193"/>
                  <a:gd name="connsiteY6" fmla="*/ 1398443 h 2203739"/>
                  <a:gd name="connsiteX7" fmla="*/ 0 w 1303193"/>
                  <a:gd name="connsiteY7" fmla="*/ 2190750 h 2203739"/>
                  <a:gd name="connsiteX8" fmla="*/ 51955 w 1303193"/>
                  <a:gd name="connsiteY8" fmla="*/ 2203739 h 2203739"/>
                  <a:gd name="connsiteX9" fmla="*/ 294409 w 1303193"/>
                  <a:gd name="connsiteY9" fmla="*/ 1571625 h 2203739"/>
                  <a:gd name="connsiteX10" fmla="*/ 350693 w 1303193"/>
                  <a:gd name="connsiteY10" fmla="*/ 1506682 h 2203739"/>
                  <a:gd name="connsiteX11" fmla="*/ 471921 w 1303193"/>
                  <a:gd name="connsiteY11" fmla="*/ 1562966 h 2203739"/>
                  <a:gd name="connsiteX12" fmla="*/ 445943 w 1303193"/>
                  <a:gd name="connsiteY12" fmla="*/ 1632239 h 2203739"/>
                  <a:gd name="connsiteX13" fmla="*/ 640773 w 1303193"/>
                  <a:gd name="connsiteY13" fmla="*/ 1714500 h 2203739"/>
                  <a:gd name="connsiteX14" fmla="*/ 792307 w 1303193"/>
                  <a:gd name="connsiteY14" fmla="*/ 1913659 h 2203739"/>
                  <a:gd name="connsiteX15" fmla="*/ 926523 w 1303193"/>
                  <a:gd name="connsiteY15" fmla="*/ 1805421 h 2203739"/>
                  <a:gd name="connsiteX16" fmla="*/ 813955 w 1303193"/>
                  <a:gd name="connsiteY16" fmla="*/ 1675535 h 2203739"/>
                  <a:gd name="connsiteX17" fmla="*/ 796637 w 1303193"/>
                  <a:gd name="connsiteY17" fmla="*/ 1554307 h 2203739"/>
                  <a:gd name="connsiteX18" fmla="*/ 839932 w 1303193"/>
                  <a:gd name="connsiteY18" fmla="*/ 1549978 h 2203739"/>
                  <a:gd name="connsiteX19" fmla="*/ 818284 w 1303193"/>
                  <a:gd name="connsiteY19" fmla="*/ 1407103 h 2203739"/>
                  <a:gd name="connsiteX20" fmla="*/ 774989 w 1303193"/>
                  <a:gd name="connsiteY20" fmla="*/ 1415762 h 2203739"/>
                  <a:gd name="connsiteX21" fmla="*/ 939512 w 1303193"/>
                  <a:gd name="connsiteY21" fmla="*/ 554182 h 2203739"/>
                  <a:gd name="connsiteX22" fmla="*/ 1277216 w 1303193"/>
                  <a:gd name="connsiteY22" fmla="*/ 251114 h 2203739"/>
                  <a:gd name="connsiteX23" fmla="*/ 1303193 w 1303193"/>
                  <a:gd name="connsiteY23" fmla="*/ 147205 h 2203739"/>
                  <a:gd name="connsiteX24" fmla="*/ 883228 w 1303193"/>
                  <a:gd name="connsiteY24" fmla="*/ 0 h 2203739"/>
                  <a:gd name="connsiteX0" fmla="*/ 831273 w 1251238"/>
                  <a:gd name="connsiteY0" fmla="*/ 0 h 2203739"/>
                  <a:gd name="connsiteX1" fmla="*/ 796636 w 1251238"/>
                  <a:gd name="connsiteY1" fmla="*/ 99580 h 2203739"/>
                  <a:gd name="connsiteX2" fmla="*/ 601807 w 1251238"/>
                  <a:gd name="connsiteY2" fmla="*/ 355023 h 2203739"/>
                  <a:gd name="connsiteX3" fmla="*/ 320386 w 1251238"/>
                  <a:gd name="connsiteY3" fmla="*/ 1181966 h 2203739"/>
                  <a:gd name="connsiteX4" fmla="*/ 246784 w 1251238"/>
                  <a:gd name="connsiteY4" fmla="*/ 1264228 h 2203739"/>
                  <a:gd name="connsiteX5" fmla="*/ 181841 w 1251238"/>
                  <a:gd name="connsiteY5" fmla="*/ 1441739 h 2203739"/>
                  <a:gd name="connsiteX6" fmla="*/ 82261 w 1251238"/>
                  <a:gd name="connsiteY6" fmla="*/ 1398443 h 2203739"/>
                  <a:gd name="connsiteX7" fmla="*/ 0 w 1251238"/>
                  <a:gd name="connsiteY7" fmla="*/ 2203739 h 2203739"/>
                  <a:gd name="connsiteX8" fmla="*/ 242454 w 1251238"/>
                  <a:gd name="connsiteY8" fmla="*/ 1571625 h 2203739"/>
                  <a:gd name="connsiteX9" fmla="*/ 298738 w 1251238"/>
                  <a:gd name="connsiteY9" fmla="*/ 1506682 h 2203739"/>
                  <a:gd name="connsiteX10" fmla="*/ 419966 w 1251238"/>
                  <a:gd name="connsiteY10" fmla="*/ 1562966 h 2203739"/>
                  <a:gd name="connsiteX11" fmla="*/ 393988 w 1251238"/>
                  <a:gd name="connsiteY11" fmla="*/ 1632239 h 2203739"/>
                  <a:gd name="connsiteX12" fmla="*/ 588818 w 1251238"/>
                  <a:gd name="connsiteY12" fmla="*/ 1714500 h 2203739"/>
                  <a:gd name="connsiteX13" fmla="*/ 740352 w 1251238"/>
                  <a:gd name="connsiteY13" fmla="*/ 1913659 h 2203739"/>
                  <a:gd name="connsiteX14" fmla="*/ 874568 w 1251238"/>
                  <a:gd name="connsiteY14" fmla="*/ 1805421 h 2203739"/>
                  <a:gd name="connsiteX15" fmla="*/ 762000 w 1251238"/>
                  <a:gd name="connsiteY15" fmla="*/ 1675535 h 2203739"/>
                  <a:gd name="connsiteX16" fmla="*/ 744682 w 1251238"/>
                  <a:gd name="connsiteY16" fmla="*/ 1554307 h 2203739"/>
                  <a:gd name="connsiteX17" fmla="*/ 787977 w 1251238"/>
                  <a:gd name="connsiteY17" fmla="*/ 1549978 h 2203739"/>
                  <a:gd name="connsiteX18" fmla="*/ 766329 w 1251238"/>
                  <a:gd name="connsiteY18" fmla="*/ 1407103 h 2203739"/>
                  <a:gd name="connsiteX19" fmla="*/ 723034 w 1251238"/>
                  <a:gd name="connsiteY19" fmla="*/ 1415762 h 2203739"/>
                  <a:gd name="connsiteX20" fmla="*/ 887557 w 1251238"/>
                  <a:gd name="connsiteY20" fmla="*/ 554182 h 2203739"/>
                  <a:gd name="connsiteX21" fmla="*/ 1225261 w 1251238"/>
                  <a:gd name="connsiteY21" fmla="*/ 251114 h 2203739"/>
                  <a:gd name="connsiteX22" fmla="*/ 1251238 w 1251238"/>
                  <a:gd name="connsiteY22" fmla="*/ 147205 h 2203739"/>
                  <a:gd name="connsiteX23" fmla="*/ 831273 w 1251238"/>
                  <a:gd name="connsiteY23" fmla="*/ 0 h 2203739"/>
                  <a:gd name="connsiteX0" fmla="*/ 749012 w 1168977"/>
                  <a:gd name="connsiteY0" fmla="*/ 0 h 1913659"/>
                  <a:gd name="connsiteX1" fmla="*/ 714375 w 1168977"/>
                  <a:gd name="connsiteY1" fmla="*/ 99580 h 1913659"/>
                  <a:gd name="connsiteX2" fmla="*/ 519546 w 1168977"/>
                  <a:gd name="connsiteY2" fmla="*/ 355023 h 1913659"/>
                  <a:gd name="connsiteX3" fmla="*/ 238125 w 1168977"/>
                  <a:gd name="connsiteY3" fmla="*/ 1181966 h 1913659"/>
                  <a:gd name="connsiteX4" fmla="*/ 164523 w 1168977"/>
                  <a:gd name="connsiteY4" fmla="*/ 1264228 h 1913659"/>
                  <a:gd name="connsiteX5" fmla="*/ 99580 w 1168977"/>
                  <a:gd name="connsiteY5" fmla="*/ 1441739 h 1913659"/>
                  <a:gd name="connsiteX6" fmla="*/ 0 w 1168977"/>
                  <a:gd name="connsiteY6" fmla="*/ 1398443 h 1913659"/>
                  <a:gd name="connsiteX7" fmla="*/ 160193 w 1168977"/>
                  <a:gd name="connsiteY7" fmla="*/ 1571625 h 1913659"/>
                  <a:gd name="connsiteX8" fmla="*/ 216477 w 1168977"/>
                  <a:gd name="connsiteY8" fmla="*/ 1506682 h 1913659"/>
                  <a:gd name="connsiteX9" fmla="*/ 337705 w 1168977"/>
                  <a:gd name="connsiteY9" fmla="*/ 1562966 h 1913659"/>
                  <a:gd name="connsiteX10" fmla="*/ 311727 w 1168977"/>
                  <a:gd name="connsiteY10" fmla="*/ 1632239 h 1913659"/>
                  <a:gd name="connsiteX11" fmla="*/ 506557 w 1168977"/>
                  <a:gd name="connsiteY11" fmla="*/ 1714500 h 1913659"/>
                  <a:gd name="connsiteX12" fmla="*/ 658091 w 1168977"/>
                  <a:gd name="connsiteY12" fmla="*/ 1913659 h 1913659"/>
                  <a:gd name="connsiteX13" fmla="*/ 792307 w 1168977"/>
                  <a:gd name="connsiteY13" fmla="*/ 1805421 h 1913659"/>
                  <a:gd name="connsiteX14" fmla="*/ 679739 w 1168977"/>
                  <a:gd name="connsiteY14" fmla="*/ 1675535 h 1913659"/>
                  <a:gd name="connsiteX15" fmla="*/ 662421 w 1168977"/>
                  <a:gd name="connsiteY15" fmla="*/ 1554307 h 1913659"/>
                  <a:gd name="connsiteX16" fmla="*/ 705716 w 1168977"/>
                  <a:gd name="connsiteY16" fmla="*/ 1549978 h 1913659"/>
                  <a:gd name="connsiteX17" fmla="*/ 684068 w 1168977"/>
                  <a:gd name="connsiteY17" fmla="*/ 1407103 h 1913659"/>
                  <a:gd name="connsiteX18" fmla="*/ 640773 w 1168977"/>
                  <a:gd name="connsiteY18" fmla="*/ 1415762 h 1913659"/>
                  <a:gd name="connsiteX19" fmla="*/ 805296 w 1168977"/>
                  <a:gd name="connsiteY19" fmla="*/ 554182 h 1913659"/>
                  <a:gd name="connsiteX20" fmla="*/ 1143000 w 1168977"/>
                  <a:gd name="connsiteY20" fmla="*/ 251114 h 1913659"/>
                  <a:gd name="connsiteX21" fmla="*/ 1168977 w 1168977"/>
                  <a:gd name="connsiteY21" fmla="*/ 147205 h 1913659"/>
                  <a:gd name="connsiteX22" fmla="*/ 749012 w 1168977"/>
                  <a:gd name="connsiteY22" fmla="*/ 0 h 1913659"/>
                  <a:gd name="connsiteX0" fmla="*/ 649432 w 1069397"/>
                  <a:gd name="connsiteY0" fmla="*/ 0 h 1913659"/>
                  <a:gd name="connsiteX1" fmla="*/ 614795 w 1069397"/>
                  <a:gd name="connsiteY1" fmla="*/ 99580 h 1913659"/>
                  <a:gd name="connsiteX2" fmla="*/ 419966 w 1069397"/>
                  <a:gd name="connsiteY2" fmla="*/ 355023 h 1913659"/>
                  <a:gd name="connsiteX3" fmla="*/ 138545 w 1069397"/>
                  <a:gd name="connsiteY3" fmla="*/ 1181966 h 1913659"/>
                  <a:gd name="connsiteX4" fmla="*/ 64943 w 1069397"/>
                  <a:gd name="connsiteY4" fmla="*/ 1264228 h 1913659"/>
                  <a:gd name="connsiteX5" fmla="*/ 0 w 1069397"/>
                  <a:gd name="connsiteY5" fmla="*/ 1441739 h 1913659"/>
                  <a:gd name="connsiteX6" fmla="*/ 60613 w 1069397"/>
                  <a:gd name="connsiteY6" fmla="*/ 1571625 h 1913659"/>
                  <a:gd name="connsiteX7" fmla="*/ 116897 w 1069397"/>
                  <a:gd name="connsiteY7" fmla="*/ 1506682 h 1913659"/>
                  <a:gd name="connsiteX8" fmla="*/ 238125 w 1069397"/>
                  <a:gd name="connsiteY8" fmla="*/ 1562966 h 1913659"/>
                  <a:gd name="connsiteX9" fmla="*/ 212147 w 1069397"/>
                  <a:gd name="connsiteY9" fmla="*/ 1632239 h 1913659"/>
                  <a:gd name="connsiteX10" fmla="*/ 406977 w 1069397"/>
                  <a:gd name="connsiteY10" fmla="*/ 1714500 h 1913659"/>
                  <a:gd name="connsiteX11" fmla="*/ 558511 w 1069397"/>
                  <a:gd name="connsiteY11" fmla="*/ 1913659 h 1913659"/>
                  <a:gd name="connsiteX12" fmla="*/ 692727 w 1069397"/>
                  <a:gd name="connsiteY12" fmla="*/ 1805421 h 1913659"/>
                  <a:gd name="connsiteX13" fmla="*/ 580159 w 1069397"/>
                  <a:gd name="connsiteY13" fmla="*/ 1675535 h 1913659"/>
                  <a:gd name="connsiteX14" fmla="*/ 562841 w 1069397"/>
                  <a:gd name="connsiteY14" fmla="*/ 1554307 h 1913659"/>
                  <a:gd name="connsiteX15" fmla="*/ 606136 w 1069397"/>
                  <a:gd name="connsiteY15" fmla="*/ 1549978 h 1913659"/>
                  <a:gd name="connsiteX16" fmla="*/ 584488 w 1069397"/>
                  <a:gd name="connsiteY16" fmla="*/ 1407103 h 1913659"/>
                  <a:gd name="connsiteX17" fmla="*/ 541193 w 1069397"/>
                  <a:gd name="connsiteY17" fmla="*/ 1415762 h 1913659"/>
                  <a:gd name="connsiteX18" fmla="*/ 705716 w 1069397"/>
                  <a:gd name="connsiteY18" fmla="*/ 554182 h 1913659"/>
                  <a:gd name="connsiteX19" fmla="*/ 1043420 w 1069397"/>
                  <a:gd name="connsiteY19" fmla="*/ 251114 h 1913659"/>
                  <a:gd name="connsiteX20" fmla="*/ 1069397 w 1069397"/>
                  <a:gd name="connsiteY20" fmla="*/ 147205 h 1913659"/>
                  <a:gd name="connsiteX21" fmla="*/ 649432 w 1069397"/>
                  <a:gd name="connsiteY21" fmla="*/ 0 h 1913659"/>
                  <a:gd name="connsiteX0" fmla="*/ 588819 w 1008784"/>
                  <a:gd name="connsiteY0" fmla="*/ 0 h 1913659"/>
                  <a:gd name="connsiteX1" fmla="*/ 554182 w 1008784"/>
                  <a:gd name="connsiteY1" fmla="*/ 99580 h 1913659"/>
                  <a:gd name="connsiteX2" fmla="*/ 359353 w 1008784"/>
                  <a:gd name="connsiteY2" fmla="*/ 355023 h 1913659"/>
                  <a:gd name="connsiteX3" fmla="*/ 77932 w 1008784"/>
                  <a:gd name="connsiteY3" fmla="*/ 1181966 h 1913659"/>
                  <a:gd name="connsiteX4" fmla="*/ 4330 w 1008784"/>
                  <a:gd name="connsiteY4" fmla="*/ 1264228 h 1913659"/>
                  <a:gd name="connsiteX5" fmla="*/ 0 w 1008784"/>
                  <a:gd name="connsiteY5" fmla="*/ 1571625 h 1913659"/>
                  <a:gd name="connsiteX6" fmla="*/ 56284 w 1008784"/>
                  <a:gd name="connsiteY6" fmla="*/ 1506682 h 1913659"/>
                  <a:gd name="connsiteX7" fmla="*/ 177512 w 1008784"/>
                  <a:gd name="connsiteY7" fmla="*/ 1562966 h 1913659"/>
                  <a:gd name="connsiteX8" fmla="*/ 151534 w 1008784"/>
                  <a:gd name="connsiteY8" fmla="*/ 1632239 h 1913659"/>
                  <a:gd name="connsiteX9" fmla="*/ 346364 w 1008784"/>
                  <a:gd name="connsiteY9" fmla="*/ 1714500 h 1913659"/>
                  <a:gd name="connsiteX10" fmla="*/ 497898 w 1008784"/>
                  <a:gd name="connsiteY10" fmla="*/ 1913659 h 1913659"/>
                  <a:gd name="connsiteX11" fmla="*/ 632114 w 1008784"/>
                  <a:gd name="connsiteY11" fmla="*/ 1805421 h 1913659"/>
                  <a:gd name="connsiteX12" fmla="*/ 519546 w 1008784"/>
                  <a:gd name="connsiteY12" fmla="*/ 1675535 h 1913659"/>
                  <a:gd name="connsiteX13" fmla="*/ 502228 w 1008784"/>
                  <a:gd name="connsiteY13" fmla="*/ 1554307 h 1913659"/>
                  <a:gd name="connsiteX14" fmla="*/ 545523 w 1008784"/>
                  <a:gd name="connsiteY14" fmla="*/ 1549978 h 1913659"/>
                  <a:gd name="connsiteX15" fmla="*/ 523875 w 1008784"/>
                  <a:gd name="connsiteY15" fmla="*/ 1407103 h 1913659"/>
                  <a:gd name="connsiteX16" fmla="*/ 480580 w 1008784"/>
                  <a:gd name="connsiteY16" fmla="*/ 1415762 h 1913659"/>
                  <a:gd name="connsiteX17" fmla="*/ 645103 w 1008784"/>
                  <a:gd name="connsiteY17" fmla="*/ 554182 h 1913659"/>
                  <a:gd name="connsiteX18" fmla="*/ 982807 w 1008784"/>
                  <a:gd name="connsiteY18" fmla="*/ 251114 h 1913659"/>
                  <a:gd name="connsiteX19" fmla="*/ 1008784 w 1008784"/>
                  <a:gd name="connsiteY19" fmla="*/ 147205 h 1913659"/>
                  <a:gd name="connsiteX20" fmla="*/ 588819 w 1008784"/>
                  <a:gd name="connsiteY20" fmla="*/ 0 h 1913659"/>
                  <a:gd name="connsiteX0" fmla="*/ 584818 w 1004783"/>
                  <a:gd name="connsiteY0" fmla="*/ 0 h 1913659"/>
                  <a:gd name="connsiteX1" fmla="*/ 550181 w 1004783"/>
                  <a:gd name="connsiteY1" fmla="*/ 99580 h 1913659"/>
                  <a:gd name="connsiteX2" fmla="*/ 355352 w 1004783"/>
                  <a:gd name="connsiteY2" fmla="*/ 355023 h 1913659"/>
                  <a:gd name="connsiteX3" fmla="*/ 73931 w 1004783"/>
                  <a:gd name="connsiteY3" fmla="*/ 1181966 h 1913659"/>
                  <a:gd name="connsiteX4" fmla="*/ 329 w 1004783"/>
                  <a:gd name="connsiteY4" fmla="*/ 1264228 h 1913659"/>
                  <a:gd name="connsiteX5" fmla="*/ 52283 w 1004783"/>
                  <a:gd name="connsiteY5" fmla="*/ 1506682 h 1913659"/>
                  <a:gd name="connsiteX6" fmla="*/ 173511 w 1004783"/>
                  <a:gd name="connsiteY6" fmla="*/ 1562966 h 1913659"/>
                  <a:gd name="connsiteX7" fmla="*/ 147533 w 1004783"/>
                  <a:gd name="connsiteY7" fmla="*/ 1632239 h 1913659"/>
                  <a:gd name="connsiteX8" fmla="*/ 342363 w 1004783"/>
                  <a:gd name="connsiteY8" fmla="*/ 1714500 h 1913659"/>
                  <a:gd name="connsiteX9" fmla="*/ 493897 w 1004783"/>
                  <a:gd name="connsiteY9" fmla="*/ 1913659 h 1913659"/>
                  <a:gd name="connsiteX10" fmla="*/ 628113 w 1004783"/>
                  <a:gd name="connsiteY10" fmla="*/ 1805421 h 1913659"/>
                  <a:gd name="connsiteX11" fmla="*/ 515545 w 1004783"/>
                  <a:gd name="connsiteY11" fmla="*/ 1675535 h 1913659"/>
                  <a:gd name="connsiteX12" fmla="*/ 498227 w 1004783"/>
                  <a:gd name="connsiteY12" fmla="*/ 1554307 h 1913659"/>
                  <a:gd name="connsiteX13" fmla="*/ 541522 w 1004783"/>
                  <a:gd name="connsiteY13" fmla="*/ 1549978 h 1913659"/>
                  <a:gd name="connsiteX14" fmla="*/ 519874 w 1004783"/>
                  <a:gd name="connsiteY14" fmla="*/ 1407103 h 1913659"/>
                  <a:gd name="connsiteX15" fmla="*/ 476579 w 1004783"/>
                  <a:gd name="connsiteY15" fmla="*/ 1415762 h 1913659"/>
                  <a:gd name="connsiteX16" fmla="*/ 641102 w 1004783"/>
                  <a:gd name="connsiteY16" fmla="*/ 554182 h 1913659"/>
                  <a:gd name="connsiteX17" fmla="*/ 978806 w 1004783"/>
                  <a:gd name="connsiteY17" fmla="*/ 251114 h 1913659"/>
                  <a:gd name="connsiteX18" fmla="*/ 1004783 w 1004783"/>
                  <a:gd name="connsiteY18" fmla="*/ 147205 h 1913659"/>
                  <a:gd name="connsiteX19" fmla="*/ 584818 w 1004783"/>
                  <a:gd name="connsiteY19" fmla="*/ 0 h 1913659"/>
                  <a:gd name="connsiteX0" fmla="*/ 584489 w 1004454"/>
                  <a:gd name="connsiteY0" fmla="*/ 0 h 1913659"/>
                  <a:gd name="connsiteX1" fmla="*/ 549852 w 1004454"/>
                  <a:gd name="connsiteY1" fmla="*/ 99580 h 1913659"/>
                  <a:gd name="connsiteX2" fmla="*/ 355023 w 1004454"/>
                  <a:gd name="connsiteY2" fmla="*/ 355023 h 1913659"/>
                  <a:gd name="connsiteX3" fmla="*/ 73602 w 1004454"/>
                  <a:gd name="connsiteY3" fmla="*/ 1181966 h 1913659"/>
                  <a:gd name="connsiteX4" fmla="*/ 0 w 1004454"/>
                  <a:gd name="connsiteY4" fmla="*/ 1264228 h 1913659"/>
                  <a:gd name="connsiteX5" fmla="*/ 173182 w 1004454"/>
                  <a:gd name="connsiteY5" fmla="*/ 1562966 h 1913659"/>
                  <a:gd name="connsiteX6" fmla="*/ 147204 w 1004454"/>
                  <a:gd name="connsiteY6" fmla="*/ 1632239 h 1913659"/>
                  <a:gd name="connsiteX7" fmla="*/ 342034 w 1004454"/>
                  <a:gd name="connsiteY7" fmla="*/ 1714500 h 1913659"/>
                  <a:gd name="connsiteX8" fmla="*/ 493568 w 1004454"/>
                  <a:gd name="connsiteY8" fmla="*/ 1913659 h 1913659"/>
                  <a:gd name="connsiteX9" fmla="*/ 627784 w 1004454"/>
                  <a:gd name="connsiteY9" fmla="*/ 1805421 h 1913659"/>
                  <a:gd name="connsiteX10" fmla="*/ 515216 w 1004454"/>
                  <a:gd name="connsiteY10" fmla="*/ 1675535 h 1913659"/>
                  <a:gd name="connsiteX11" fmla="*/ 497898 w 1004454"/>
                  <a:gd name="connsiteY11" fmla="*/ 1554307 h 1913659"/>
                  <a:gd name="connsiteX12" fmla="*/ 541193 w 1004454"/>
                  <a:gd name="connsiteY12" fmla="*/ 1549978 h 1913659"/>
                  <a:gd name="connsiteX13" fmla="*/ 519545 w 1004454"/>
                  <a:gd name="connsiteY13" fmla="*/ 1407103 h 1913659"/>
                  <a:gd name="connsiteX14" fmla="*/ 476250 w 1004454"/>
                  <a:gd name="connsiteY14" fmla="*/ 1415762 h 1913659"/>
                  <a:gd name="connsiteX15" fmla="*/ 640773 w 1004454"/>
                  <a:gd name="connsiteY15" fmla="*/ 554182 h 1913659"/>
                  <a:gd name="connsiteX16" fmla="*/ 978477 w 1004454"/>
                  <a:gd name="connsiteY16" fmla="*/ 251114 h 1913659"/>
                  <a:gd name="connsiteX17" fmla="*/ 1004454 w 1004454"/>
                  <a:gd name="connsiteY17" fmla="*/ 147205 h 1913659"/>
                  <a:gd name="connsiteX18" fmla="*/ 584489 w 1004454"/>
                  <a:gd name="connsiteY18" fmla="*/ 0 h 1913659"/>
                  <a:gd name="connsiteX0" fmla="*/ 584489 w 1004454"/>
                  <a:gd name="connsiteY0" fmla="*/ 0 h 1913659"/>
                  <a:gd name="connsiteX1" fmla="*/ 549852 w 1004454"/>
                  <a:gd name="connsiteY1" fmla="*/ 99580 h 1913659"/>
                  <a:gd name="connsiteX2" fmla="*/ 355023 w 1004454"/>
                  <a:gd name="connsiteY2" fmla="*/ 355023 h 1913659"/>
                  <a:gd name="connsiteX3" fmla="*/ 73602 w 1004454"/>
                  <a:gd name="connsiteY3" fmla="*/ 1181966 h 1913659"/>
                  <a:gd name="connsiteX4" fmla="*/ 0 w 1004454"/>
                  <a:gd name="connsiteY4" fmla="*/ 1264228 h 1913659"/>
                  <a:gd name="connsiteX5" fmla="*/ 147204 w 1004454"/>
                  <a:gd name="connsiteY5" fmla="*/ 1632239 h 1913659"/>
                  <a:gd name="connsiteX6" fmla="*/ 342034 w 1004454"/>
                  <a:gd name="connsiteY6" fmla="*/ 1714500 h 1913659"/>
                  <a:gd name="connsiteX7" fmla="*/ 493568 w 1004454"/>
                  <a:gd name="connsiteY7" fmla="*/ 1913659 h 1913659"/>
                  <a:gd name="connsiteX8" fmla="*/ 627784 w 1004454"/>
                  <a:gd name="connsiteY8" fmla="*/ 1805421 h 1913659"/>
                  <a:gd name="connsiteX9" fmla="*/ 515216 w 1004454"/>
                  <a:gd name="connsiteY9" fmla="*/ 1675535 h 1913659"/>
                  <a:gd name="connsiteX10" fmla="*/ 497898 w 1004454"/>
                  <a:gd name="connsiteY10" fmla="*/ 1554307 h 1913659"/>
                  <a:gd name="connsiteX11" fmla="*/ 541193 w 1004454"/>
                  <a:gd name="connsiteY11" fmla="*/ 1549978 h 1913659"/>
                  <a:gd name="connsiteX12" fmla="*/ 519545 w 1004454"/>
                  <a:gd name="connsiteY12" fmla="*/ 1407103 h 1913659"/>
                  <a:gd name="connsiteX13" fmla="*/ 476250 w 1004454"/>
                  <a:gd name="connsiteY13" fmla="*/ 1415762 h 1913659"/>
                  <a:gd name="connsiteX14" fmla="*/ 640773 w 1004454"/>
                  <a:gd name="connsiteY14" fmla="*/ 554182 h 1913659"/>
                  <a:gd name="connsiteX15" fmla="*/ 978477 w 1004454"/>
                  <a:gd name="connsiteY15" fmla="*/ 251114 h 1913659"/>
                  <a:gd name="connsiteX16" fmla="*/ 1004454 w 1004454"/>
                  <a:gd name="connsiteY16" fmla="*/ 147205 h 1913659"/>
                  <a:gd name="connsiteX17" fmla="*/ 584489 w 1004454"/>
                  <a:gd name="connsiteY17" fmla="*/ 0 h 1913659"/>
                  <a:gd name="connsiteX0" fmla="*/ 584489 w 1004454"/>
                  <a:gd name="connsiteY0" fmla="*/ 0 h 1913659"/>
                  <a:gd name="connsiteX1" fmla="*/ 549852 w 1004454"/>
                  <a:gd name="connsiteY1" fmla="*/ 99580 h 1913659"/>
                  <a:gd name="connsiteX2" fmla="*/ 355023 w 1004454"/>
                  <a:gd name="connsiteY2" fmla="*/ 355023 h 1913659"/>
                  <a:gd name="connsiteX3" fmla="*/ 73602 w 1004454"/>
                  <a:gd name="connsiteY3" fmla="*/ 1181966 h 1913659"/>
                  <a:gd name="connsiteX4" fmla="*/ 0 w 1004454"/>
                  <a:gd name="connsiteY4" fmla="*/ 1264228 h 1913659"/>
                  <a:gd name="connsiteX5" fmla="*/ 342034 w 1004454"/>
                  <a:gd name="connsiteY5" fmla="*/ 1714500 h 1913659"/>
                  <a:gd name="connsiteX6" fmla="*/ 493568 w 1004454"/>
                  <a:gd name="connsiteY6" fmla="*/ 1913659 h 1913659"/>
                  <a:gd name="connsiteX7" fmla="*/ 627784 w 1004454"/>
                  <a:gd name="connsiteY7" fmla="*/ 1805421 h 1913659"/>
                  <a:gd name="connsiteX8" fmla="*/ 515216 w 1004454"/>
                  <a:gd name="connsiteY8" fmla="*/ 1675535 h 1913659"/>
                  <a:gd name="connsiteX9" fmla="*/ 497898 w 1004454"/>
                  <a:gd name="connsiteY9" fmla="*/ 1554307 h 1913659"/>
                  <a:gd name="connsiteX10" fmla="*/ 541193 w 1004454"/>
                  <a:gd name="connsiteY10" fmla="*/ 1549978 h 1913659"/>
                  <a:gd name="connsiteX11" fmla="*/ 519545 w 1004454"/>
                  <a:gd name="connsiteY11" fmla="*/ 1407103 h 1913659"/>
                  <a:gd name="connsiteX12" fmla="*/ 476250 w 1004454"/>
                  <a:gd name="connsiteY12" fmla="*/ 1415762 h 1913659"/>
                  <a:gd name="connsiteX13" fmla="*/ 640773 w 1004454"/>
                  <a:gd name="connsiteY13" fmla="*/ 554182 h 1913659"/>
                  <a:gd name="connsiteX14" fmla="*/ 978477 w 1004454"/>
                  <a:gd name="connsiteY14" fmla="*/ 251114 h 1913659"/>
                  <a:gd name="connsiteX15" fmla="*/ 1004454 w 1004454"/>
                  <a:gd name="connsiteY15" fmla="*/ 147205 h 1913659"/>
                  <a:gd name="connsiteX16" fmla="*/ 584489 w 1004454"/>
                  <a:gd name="connsiteY16" fmla="*/ 0 h 1913659"/>
                  <a:gd name="connsiteX0" fmla="*/ 584489 w 1004454"/>
                  <a:gd name="connsiteY0" fmla="*/ 0 h 1913659"/>
                  <a:gd name="connsiteX1" fmla="*/ 549852 w 1004454"/>
                  <a:gd name="connsiteY1" fmla="*/ 99580 h 1913659"/>
                  <a:gd name="connsiteX2" fmla="*/ 355023 w 1004454"/>
                  <a:gd name="connsiteY2" fmla="*/ 355023 h 1913659"/>
                  <a:gd name="connsiteX3" fmla="*/ 73602 w 1004454"/>
                  <a:gd name="connsiteY3" fmla="*/ 1181966 h 1913659"/>
                  <a:gd name="connsiteX4" fmla="*/ 0 w 1004454"/>
                  <a:gd name="connsiteY4" fmla="*/ 1264228 h 1913659"/>
                  <a:gd name="connsiteX5" fmla="*/ 493568 w 1004454"/>
                  <a:gd name="connsiteY5" fmla="*/ 1913659 h 1913659"/>
                  <a:gd name="connsiteX6" fmla="*/ 627784 w 1004454"/>
                  <a:gd name="connsiteY6" fmla="*/ 1805421 h 1913659"/>
                  <a:gd name="connsiteX7" fmla="*/ 515216 w 1004454"/>
                  <a:gd name="connsiteY7" fmla="*/ 1675535 h 1913659"/>
                  <a:gd name="connsiteX8" fmla="*/ 497898 w 1004454"/>
                  <a:gd name="connsiteY8" fmla="*/ 1554307 h 1913659"/>
                  <a:gd name="connsiteX9" fmla="*/ 541193 w 1004454"/>
                  <a:gd name="connsiteY9" fmla="*/ 1549978 h 1913659"/>
                  <a:gd name="connsiteX10" fmla="*/ 519545 w 1004454"/>
                  <a:gd name="connsiteY10" fmla="*/ 1407103 h 1913659"/>
                  <a:gd name="connsiteX11" fmla="*/ 476250 w 1004454"/>
                  <a:gd name="connsiteY11" fmla="*/ 1415762 h 1913659"/>
                  <a:gd name="connsiteX12" fmla="*/ 640773 w 1004454"/>
                  <a:gd name="connsiteY12" fmla="*/ 554182 h 1913659"/>
                  <a:gd name="connsiteX13" fmla="*/ 978477 w 1004454"/>
                  <a:gd name="connsiteY13" fmla="*/ 251114 h 1913659"/>
                  <a:gd name="connsiteX14" fmla="*/ 1004454 w 1004454"/>
                  <a:gd name="connsiteY14" fmla="*/ 147205 h 1913659"/>
                  <a:gd name="connsiteX15" fmla="*/ 584489 w 1004454"/>
                  <a:gd name="connsiteY15" fmla="*/ 0 h 1913659"/>
                  <a:gd name="connsiteX0" fmla="*/ 584489 w 1004454"/>
                  <a:gd name="connsiteY0" fmla="*/ 0 h 1805421"/>
                  <a:gd name="connsiteX1" fmla="*/ 549852 w 1004454"/>
                  <a:gd name="connsiteY1" fmla="*/ 99580 h 1805421"/>
                  <a:gd name="connsiteX2" fmla="*/ 355023 w 1004454"/>
                  <a:gd name="connsiteY2" fmla="*/ 355023 h 1805421"/>
                  <a:gd name="connsiteX3" fmla="*/ 73602 w 1004454"/>
                  <a:gd name="connsiteY3" fmla="*/ 1181966 h 1805421"/>
                  <a:gd name="connsiteX4" fmla="*/ 0 w 1004454"/>
                  <a:gd name="connsiteY4" fmla="*/ 1264228 h 1805421"/>
                  <a:gd name="connsiteX5" fmla="*/ 627784 w 1004454"/>
                  <a:gd name="connsiteY5" fmla="*/ 1805421 h 1805421"/>
                  <a:gd name="connsiteX6" fmla="*/ 515216 w 1004454"/>
                  <a:gd name="connsiteY6" fmla="*/ 1675535 h 1805421"/>
                  <a:gd name="connsiteX7" fmla="*/ 497898 w 1004454"/>
                  <a:gd name="connsiteY7" fmla="*/ 1554307 h 1805421"/>
                  <a:gd name="connsiteX8" fmla="*/ 541193 w 1004454"/>
                  <a:gd name="connsiteY8" fmla="*/ 1549978 h 1805421"/>
                  <a:gd name="connsiteX9" fmla="*/ 519545 w 1004454"/>
                  <a:gd name="connsiteY9" fmla="*/ 1407103 h 1805421"/>
                  <a:gd name="connsiteX10" fmla="*/ 476250 w 1004454"/>
                  <a:gd name="connsiteY10" fmla="*/ 1415762 h 1805421"/>
                  <a:gd name="connsiteX11" fmla="*/ 640773 w 1004454"/>
                  <a:gd name="connsiteY11" fmla="*/ 554182 h 1805421"/>
                  <a:gd name="connsiteX12" fmla="*/ 978477 w 1004454"/>
                  <a:gd name="connsiteY12" fmla="*/ 251114 h 1805421"/>
                  <a:gd name="connsiteX13" fmla="*/ 1004454 w 1004454"/>
                  <a:gd name="connsiteY13" fmla="*/ 147205 h 1805421"/>
                  <a:gd name="connsiteX14" fmla="*/ 584489 w 1004454"/>
                  <a:gd name="connsiteY14" fmla="*/ 0 h 1805421"/>
                  <a:gd name="connsiteX0" fmla="*/ 584489 w 1004454"/>
                  <a:gd name="connsiteY0" fmla="*/ 0 h 1675535"/>
                  <a:gd name="connsiteX1" fmla="*/ 549852 w 1004454"/>
                  <a:gd name="connsiteY1" fmla="*/ 99580 h 1675535"/>
                  <a:gd name="connsiteX2" fmla="*/ 355023 w 1004454"/>
                  <a:gd name="connsiteY2" fmla="*/ 355023 h 1675535"/>
                  <a:gd name="connsiteX3" fmla="*/ 73602 w 1004454"/>
                  <a:gd name="connsiteY3" fmla="*/ 1181966 h 1675535"/>
                  <a:gd name="connsiteX4" fmla="*/ 0 w 1004454"/>
                  <a:gd name="connsiteY4" fmla="*/ 1264228 h 1675535"/>
                  <a:gd name="connsiteX5" fmla="*/ 515216 w 1004454"/>
                  <a:gd name="connsiteY5" fmla="*/ 1675535 h 1675535"/>
                  <a:gd name="connsiteX6" fmla="*/ 497898 w 1004454"/>
                  <a:gd name="connsiteY6" fmla="*/ 1554307 h 1675535"/>
                  <a:gd name="connsiteX7" fmla="*/ 541193 w 1004454"/>
                  <a:gd name="connsiteY7" fmla="*/ 1549978 h 1675535"/>
                  <a:gd name="connsiteX8" fmla="*/ 519545 w 1004454"/>
                  <a:gd name="connsiteY8" fmla="*/ 1407103 h 1675535"/>
                  <a:gd name="connsiteX9" fmla="*/ 476250 w 1004454"/>
                  <a:gd name="connsiteY9" fmla="*/ 1415762 h 1675535"/>
                  <a:gd name="connsiteX10" fmla="*/ 640773 w 1004454"/>
                  <a:gd name="connsiteY10" fmla="*/ 554182 h 1675535"/>
                  <a:gd name="connsiteX11" fmla="*/ 978477 w 1004454"/>
                  <a:gd name="connsiteY11" fmla="*/ 251114 h 1675535"/>
                  <a:gd name="connsiteX12" fmla="*/ 1004454 w 1004454"/>
                  <a:gd name="connsiteY12" fmla="*/ 147205 h 1675535"/>
                  <a:gd name="connsiteX13" fmla="*/ 584489 w 1004454"/>
                  <a:gd name="connsiteY13" fmla="*/ 0 h 1675535"/>
                  <a:gd name="connsiteX0" fmla="*/ 584489 w 1004454"/>
                  <a:gd name="connsiteY0" fmla="*/ 0 h 1554307"/>
                  <a:gd name="connsiteX1" fmla="*/ 549852 w 1004454"/>
                  <a:gd name="connsiteY1" fmla="*/ 99580 h 1554307"/>
                  <a:gd name="connsiteX2" fmla="*/ 355023 w 1004454"/>
                  <a:gd name="connsiteY2" fmla="*/ 355023 h 1554307"/>
                  <a:gd name="connsiteX3" fmla="*/ 73602 w 1004454"/>
                  <a:gd name="connsiteY3" fmla="*/ 1181966 h 1554307"/>
                  <a:gd name="connsiteX4" fmla="*/ 0 w 1004454"/>
                  <a:gd name="connsiteY4" fmla="*/ 1264228 h 1554307"/>
                  <a:gd name="connsiteX5" fmla="*/ 497898 w 1004454"/>
                  <a:gd name="connsiteY5" fmla="*/ 1554307 h 1554307"/>
                  <a:gd name="connsiteX6" fmla="*/ 541193 w 1004454"/>
                  <a:gd name="connsiteY6" fmla="*/ 1549978 h 1554307"/>
                  <a:gd name="connsiteX7" fmla="*/ 519545 w 1004454"/>
                  <a:gd name="connsiteY7" fmla="*/ 1407103 h 1554307"/>
                  <a:gd name="connsiteX8" fmla="*/ 476250 w 1004454"/>
                  <a:gd name="connsiteY8" fmla="*/ 1415762 h 1554307"/>
                  <a:gd name="connsiteX9" fmla="*/ 640773 w 1004454"/>
                  <a:gd name="connsiteY9" fmla="*/ 554182 h 1554307"/>
                  <a:gd name="connsiteX10" fmla="*/ 978477 w 1004454"/>
                  <a:gd name="connsiteY10" fmla="*/ 251114 h 1554307"/>
                  <a:gd name="connsiteX11" fmla="*/ 1004454 w 1004454"/>
                  <a:gd name="connsiteY11" fmla="*/ 147205 h 1554307"/>
                  <a:gd name="connsiteX12" fmla="*/ 584489 w 1004454"/>
                  <a:gd name="connsiteY12" fmla="*/ 0 h 1554307"/>
                  <a:gd name="connsiteX0" fmla="*/ 584489 w 1004454"/>
                  <a:gd name="connsiteY0" fmla="*/ 0 h 1549978"/>
                  <a:gd name="connsiteX1" fmla="*/ 549852 w 1004454"/>
                  <a:gd name="connsiteY1" fmla="*/ 99580 h 1549978"/>
                  <a:gd name="connsiteX2" fmla="*/ 355023 w 1004454"/>
                  <a:gd name="connsiteY2" fmla="*/ 355023 h 1549978"/>
                  <a:gd name="connsiteX3" fmla="*/ 73602 w 1004454"/>
                  <a:gd name="connsiteY3" fmla="*/ 1181966 h 1549978"/>
                  <a:gd name="connsiteX4" fmla="*/ 0 w 1004454"/>
                  <a:gd name="connsiteY4" fmla="*/ 1264228 h 1549978"/>
                  <a:gd name="connsiteX5" fmla="*/ 541193 w 1004454"/>
                  <a:gd name="connsiteY5" fmla="*/ 1549978 h 1549978"/>
                  <a:gd name="connsiteX6" fmla="*/ 519545 w 1004454"/>
                  <a:gd name="connsiteY6" fmla="*/ 1407103 h 1549978"/>
                  <a:gd name="connsiteX7" fmla="*/ 476250 w 1004454"/>
                  <a:gd name="connsiteY7" fmla="*/ 1415762 h 1549978"/>
                  <a:gd name="connsiteX8" fmla="*/ 640773 w 1004454"/>
                  <a:gd name="connsiteY8" fmla="*/ 554182 h 1549978"/>
                  <a:gd name="connsiteX9" fmla="*/ 978477 w 1004454"/>
                  <a:gd name="connsiteY9" fmla="*/ 251114 h 1549978"/>
                  <a:gd name="connsiteX10" fmla="*/ 1004454 w 1004454"/>
                  <a:gd name="connsiteY10" fmla="*/ 147205 h 1549978"/>
                  <a:gd name="connsiteX11" fmla="*/ 584489 w 1004454"/>
                  <a:gd name="connsiteY11" fmla="*/ 0 h 1549978"/>
                  <a:gd name="connsiteX0" fmla="*/ 584489 w 1004454"/>
                  <a:gd name="connsiteY0" fmla="*/ 0 h 1415762"/>
                  <a:gd name="connsiteX1" fmla="*/ 549852 w 1004454"/>
                  <a:gd name="connsiteY1" fmla="*/ 99580 h 1415762"/>
                  <a:gd name="connsiteX2" fmla="*/ 355023 w 1004454"/>
                  <a:gd name="connsiteY2" fmla="*/ 355023 h 1415762"/>
                  <a:gd name="connsiteX3" fmla="*/ 73602 w 1004454"/>
                  <a:gd name="connsiteY3" fmla="*/ 1181966 h 1415762"/>
                  <a:gd name="connsiteX4" fmla="*/ 0 w 1004454"/>
                  <a:gd name="connsiteY4" fmla="*/ 1264228 h 1415762"/>
                  <a:gd name="connsiteX5" fmla="*/ 519545 w 1004454"/>
                  <a:gd name="connsiteY5" fmla="*/ 1407103 h 1415762"/>
                  <a:gd name="connsiteX6" fmla="*/ 476250 w 1004454"/>
                  <a:gd name="connsiteY6" fmla="*/ 1415762 h 1415762"/>
                  <a:gd name="connsiteX7" fmla="*/ 640773 w 1004454"/>
                  <a:gd name="connsiteY7" fmla="*/ 554182 h 1415762"/>
                  <a:gd name="connsiteX8" fmla="*/ 978477 w 1004454"/>
                  <a:gd name="connsiteY8" fmla="*/ 251114 h 1415762"/>
                  <a:gd name="connsiteX9" fmla="*/ 1004454 w 1004454"/>
                  <a:gd name="connsiteY9" fmla="*/ 147205 h 1415762"/>
                  <a:gd name="connsiteX10" fmla="*/ 584489 w 1004454"/>
                  <a:gd name="connsiteY10" fmla="*/ 0 h 1415762"/>
                  <a:gd name="connsiteX0" fmla="*/ 584489 w 1004454"/>
                  <a:gd name="connsiteY0" fmla="*/ 0 h 1449186"/>
                  <a:gd name="connsiteX1" fmla="*/ 549852 w 1004454"/>
                  <a:gd name="connsiteY1" fmla="*/ 99580 h 1449186"/>
                  <a:gd name="connsiteX2" fmla="*/ 355023 w 1004454"/>
                  <a:gd name="connsiteY2" fmla="*/ 355023 h 1449186"/>
                  <a:gd name="connsiteX3" fmla="*/ 73602 w 1004454"/>
                  <a:gd name="connsiteY3" fmla="*/ 1181966 h 1449186"/>
                  <a:gd name="connsiteX4" fmla="*/ 0 w 1004454"/>
                  <a:gd name="connsiteY4" fmla="*/ 1264228 h 1449186"/>
                  <a:gd name="connsiteX5" fmla="*/ 476250 w 1004454"/>
                  <a:gd name="connsiteY5" fmla="*/ 1415762 h 1449186"/>
                  <a:gd name="connsiteX6" fmla="*/ 640773 w 1004454"/>
                  <a:gd name="connsiteY6" fmla="*/ 554182 h 1449186"/>
                  <a:gd name="connsiteX7" fmla="*/ 978477 w 1004454"/>
                  <a:gd name="connsiteY7" fmla="*/ 251114 h 1449186"/>
                  <a:gd name="connsiteX8" fmla="*/ 1004454 w 1004454"/>
                  <a:gd name="connsiteY8" fmla="*/ 147205 h 1449186"/>
                  <a:gd name="connsiteX9" fmla="*/ 584489 w 1004454"/>
                  <a:gd name="connsiteY9" fmla="*/ 0 h 1449186"/>
                  <a:gd name="connsiteX0" fmla="*/ 584489 w 1004454"/>
                  <a:gd name="connsiteY0" fmla="*/ 0 h 1264228"/>
                  <a:gd name="connsiteX1" fmla="*/ 549852 w 1004454"/>
                  <a:gd name="connsiteY1" fmla="*/ 99580 h 1264228"/>
                  <a:gd name="connsiteX2" fmla="*/ 355023 w 1004454"/>
                  <a:gd name="connsiteY2" fmla="*/ 355023 h 1264228"/>
                  <a:gd name="connsiteX3" fmla="*/ 73602 w 1004454"/>
                  <a:gd name="connsiteY3" fmla="*/ 1181966 h 1264228"/>
                  <a:gd name="connsiteX4" fmla="*/ 0 w 1004454"/>
                  <a:gd name="connsiteY4" fmla="*/ 1264228 h 1264228"/>
                  <a:gd name="connsiteX5" fmla="*/ 640773 w 1004454"/>
                  <a:gd name="connsiteY5" fmla="*/ 554182 h 1264228"/>
                  <a:gd name="connsiteX6" fmla="*/ 978477 w 1004454"/>
                  <a:gd name="connsiteY6" fmla="*/ 251114 h 1264228"/>
                  <a:gd name="connsiteX7" fmla="*/ 1004454 w 1004454"/>
                  <a:gd name="connsiteY7" fmla="*/ 147205 h 1264228"/>
                  <a:gd name="connsiteX8" fmla="*/ 584489 w 1004454"/>
                  <a:gd name="connsiteY8" fmla="*/ 0 h 1264228"/>
                  <a:gd name="connsiteX0" fmla="*/ 510887 w 930852"/>
                  <a:gd name="connsiteY0" fmla="*/ 0 h 1181966"/>
                  <a:gd name="connsiteX1" fmla="*/ 476250 w 930852"/>
                  <a:gd name="connsiteY1" fmla="*/ 99580 h 1181966"/>
                  <a:gd name="connsiteX2" fmla="*/ 281421 w 930852"/>
                  <a:gd name="connsiteY2" fmla="*/ 355023 h 1181966"/>
                  <a:gd name="connsiteX3" fmla="*/ 0 w 930852"/>
                  <a:gd name="connsiteY3" fmla="*/ 1181966 h 1181966"/>
                  <a:gd name="connsiteX4" fmla="*/ 567171 w 930852"/>
                  <a:gd name="connsiteY4" fmla="*/ 554182 h 1181966"/>
                  <a:gd name="connsiteX5" fmla="*/ 904875 w 930852"/>
                  <a:gd name="connsiteY5" fmla="*/ 251114 h 1181966"/>
                  <a:gd name="connsiteX6" fmla="*/ 930852 w 930852"/>
                  <a:gd name="connsiteY6" fmla="*/ 147205 h 1181966"/>
                  <a:gd name="connsiteX7" fmla="*/ 510887 w 930852"/>
                  <a:gd name="connsiteY7" fmla="*/ 0 h 1181966"/>
                  <a:gd name="connsiteX0" fmla="*/ 229466 w 649431"/>
                  <a:gd name="connsiteY0" fmla="*/ 0 h 554182"/>
                  <a:gd name="connsiteX1" fmla="*/ 194829 w 649431"/>
                  <a:gd name="connsiteY1" fmla="*/ 99580 h 554182"/>
                  <a:gd name="connsiteX2" fmla="*/ 0 w 649431"/>
                  <a:gd name="connsiteY2" fmla="*/ 355023 h 554182"/>
                  <a:gd name="connsiteX3" fmla="*/ 285750 w 649431"/>
                  <a:gd name="connsiteY3" fmla="*/ 554182 h 554182"/>
                  <a:gd name="connsiteX4" fmla="*/ 623454 w 649431"/>
                  <a:gd name="connsiteY4" fmla="*/ 251114 h 554182"/>
                  <a:gd name="connsiteX5" fmla="*/ 649431 w 649431"/>
                  <a:gd name="connsiteY5" fmla="*/ 147205 h 554182"/>
                  <a:gd name="connsiteX6" fmla="*/ 229466 w 649431"/>
                  <a:gd name="connsiteY6" fmla="*/ 0 h 554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49431" h="554182">
                    <a:moveTo>
                      <a:pt x="229466" y="0"/>
                    </a:moveTo>
                    <a:lnTo>
                      <a:pt x="194829" y="99580"/>
                    </a:lnTo>
                    <a:lnTo>
                      <a:pt x="0" y="355023"/>
                    </a:lnTo>
                    <a:lnTo>
                      <a:pt x="285750" y="554182"/>
                    </a:lnTo>
                    <a:lnTo>
                      <a:pt x="623454" y="251114"/>
                    </a:lnTo>
                    <a:lnTo>
                      <a:pt x="649431" y="147205"/>
                    </a:lnTo>
                    <a:lnTo>
                      <a:pt x="229466" y="0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de-DE" sz="60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12" name="T113">
                <a:extLst>
                  <a:ext uri="{FF2B5EF4-FFF2-40B4-BE49-F238E27FC236}">
                    <a16:creationId xmlns:a16="http://schemas.microsoft.com/office/drawing/2014/main" id="{CC76C6E2-DA38-4206-9D39-6155D06E4948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204278" y="1181168"/>
                <a:ext cx="301906" cy="606067"/>
              </a:xfrm>
              <a:custGeom>
                <a:avLst/>
                <a:gdLst>
                  <a:gd name="connsiteX0" fmla="*/ 669925 w 844550"/>
                  <a:gd name="connsiteY0" fmla="*/ 0 h 1431925"/>
                  <a:gd name="connsiteX1" fmla="*/ 581025 w 844550"/>
                  <a:gd name="connsiteY1" fmla="*/ 209550 h 1431925"/>
                  <a:gd name="connsiteX2" fmla="*/ 0 w 844550"/>
                  <a:gd name="connsiteY2" fmla="*/ 1000125 h 1431925"/>
                  <a:gd name="connsiteX3" fmla="*/ 222250 w 844550"/>
                  <a:gd name="connsiteY3" fmla="*/ 1168400 h 1431925"/>
                  <a:gd name="connsiteX4" fmla="*/ 180975 w 844550"/>
                  <a:gd name="connsiteY4" fmla="*/ 1231900 h 1431925"/>
                  <a:gd name="connsiteX5" fmla="*/ 434975 w 844550"/>
                  <a:gd name="connsiteY5" fmla="*/ 1358900 h 1431925"/>
                  <a:gd name="connsiteX6" fmla="*/ 549275 w 844550"/>
                  <a:gd name="connsiteY6" fmla="*/ 1076325 h 1431925"/>
                  <a:gd name="connsiteX7" fmla="*/ 615950 w 844550"/>
                  <a:gd name="connsiteY7" fmla="*/ 1098550 h 1431925"/>
                  <a:gd name="connsiteX8" fmla="*/ 488950 w 844550"/>
                  <a:gd name="connsiteY8" fmla="*/ 1409700 h 1431925"/>
                  <a:gd name="connsiteX9" fmla="*/ 561975 w 844550"/>
                  <a:gd name="connsiteY9" fmla="*/ 1431925 h 1431925"/>
                  <a:gd name="connsiteX10" fmla="*/ 755650 w 844550"/>
                  <a:gd name="connsiteY10" fmla="*/ 885825 h 1431925"/>
                  <a:gd name="connsiteX11" fmla="*/ 736600 w 844550"/>
                  <a:gd name="connsiteY11" fmla="*/ 428625 h 1431925"/>
                  <a:gd name="connsiteX12" fmla="*/ 844550 w 844550"/>
                  <a:gd name="connsiteY12" fmla="*/ 53975 h 1431925"/>
                  <a:gd name="connsiteX13" fmla="*/ 669925 w 844550"/>
                  <a:gd name="connsiteY13" fmla="*/ 0 h 1431925"/>
                  <a:gd name="connsiteX0" fmla="*/ 669925 w 844550"/>
                  <a:gd name="connsiteY0" fmla="*/ 0 h 1431925"/>
                  <a:gd name="connsiteX1" fmla="*/ 581025 w 844550"/>
                  <a:gd name="connsiteY1" fmla="*/ 209550 h 1431925"/>
                  <a:gd name="connsiteX2" fmla="*/ 0 w 844550"/>
                  <a:gd name="connsiteY2" fmla="*/ 1000125 h 1431925"/>
                  <a:gd name="connsiteX3" fmla="*/ 222250 w 844550"/>
                  <a:gd name="connsiteY3" fmla="*/ 1168400 h 1431925"/>
                  <a:gd name="connsiteX4" fmla="*/ 180975 w 844550"/>
                  <a:gd name="connsiteY4" fmla="*/ 1231900 h 1431925"/>
                  <a:gd name="connsiteX5" fmla="*/ 434975 w 844550"/>
                  <a:gd name="connsiteY5" fmla="*/ 1358900 h 1431925"/>
                  <a:gd name="connsiteX6" fmla="*/ 549275 w 844550"/>
                  <a:gd name="connsiteY6" fmla="*/ 1076325 h 1431925"/>
                  <a:gd name="connsiteX7" fmla="*/ 615950 w 844550"/>
                  <a:gd name="connsiteY7" fmla="*/ 1098550 h 1431925"/>
                  <a:gd name="connsiteX8" fmla="*/ 488950 w 844550"/>
                  <a:gd name="connsiteY8" fmla="*/ 1409700 h 1431925"/>
                  <a:gd name="connsiteX9" fmla="*/ 561975 w 844550"/>
                  <a:gd name="connsiteY9" fmla="*/ 1431925 h 1431925"/>
                  <a:gd name="connsiteX10" fmla="*/ 755650 w 844550"/>
                  <a:gd name="connsiteY10" fmla="*/ 885825 h 1431925"/>
                  <a:gd name="connsiteX11" fmla="*/ 736600 w 844550"/>
                  <a:gd name="connsiteY11" fmla="*/ 428625 h 1431925"/>
                  <a:gd name="connsiteX12" fmla="*/ 844550 w 844550"/>
                  <a:gd name="connsiteY12" fmla="*/ 53975 h 1431925"/>
                  <a:gd name="connsiteX13" fmla="*/ 669925 w 844550"/>
                  <a:gd name="connsiteY13" fmla="*/ 0 h 1431925"/>
                  <a:gd name="connsiteX0" fmla="*/ 669925 w 844550"/>
                  <a:gd name="connsiteY0" fmla="*/ 0 h 1431925"/>
                  <a:gd name="connsiteX1" fmla="*/ 0 w 844550"/>
                  <a:gd name="connsiteY1" fmla="*/ 1000125 h 1431925"/>
                  <a:gd name="connsiteX2" fmla="*/ 222250 w 844550"/>
                  <a:gd name="connsiteY2" fmla="*/ 1168400 h 1431925"/>
                  <a:gd name="connsiteX3" fmla="*/ 180975 w 844550"/>
                  <a:gd name="connsiteY3" fmla="*/ 1231900 h 1431925"/>
                  <a:gd name="connsiteX4" fmla="*/ 434975 w 844550"/>
                  <a:gd name="connsiteY4" fmla="*/ 1358900 h 1431925"/>
                  <a:gd name="connsiteX5" fmla="*/ 549275 w 844550"/>
                  <a:gd name="connsiteY5" fmla="*/ 1076325 h 1431925"/>
                  <a:gd name="connsiteX6" fmla="*/ 615950 w 844550"/>
                  <a:gd name="connsiteY6" fmla="*/ 1098550 h 1431925"/>
                  <a:gd name="connsiteX7" fmla="*/ 488950 w 844550"/>
                  <a:gd name="connsiteY7" fmla="*/ 1409700 h 1431925"/>
                  <a:gd name="connsiteX8" fmla="*/ 561975 w 844550"/>
                  <a:gd name="connsiteY8" fmla="*/ 1431925 h 1431925"/>
                  <a:gd name="connsiteX9" fmla="*/ 755650 w 844550"/>
                  <a:gd name="connsiteY9" fmla="*/ 885825 h 1431925"/>
                  <a:gd name="connsiteX10" fmla="*/ 736600 w 844550"/>
                  <a:gd name="connsiteY10" fmla="*/ 428625 h 1431925"/>
                  <a:gd name="connsiteX11" fmla="*/ 844550 w 844550"/>
                  <a:gd name="connsiteY11" fmla="*/ 53975 h 1431925"/>
                  <a:gd name="connsiteX12" fmla="*/ 669925 w 844550"/>
                  <a:gd name="connsiteY12" fmla="*/ 0 h 1431925"/>
                  <a:gd name="connsiteX0" fmla="*/ 669925 w 844550"/>
                  <a:gd name="connsiteY0" fmla="*/ 0 h 1431925"/>
                  <a:gd name="connsiteX1" fmla="*/ 0 w 844550"/>
                  <a:gd name="connsiteY1" fmla="*/ 1000125 h 1431925"/>
                  <a:gd name="connsiteX2" fmla="*/ 222250 w 844550"/>
                  <a:gd name="connsiteY2" fmla="*/ 1168400 h 1431925"/>
                  <a:gd name="connsiteX3" fmla="*/ 180975 w 844550"/>
                  <a:gd name="connsiteY3" fmla="*/ 1231900 h 1431925"/>
                  <a:gd name="connsiteX4" fmla="*/ 434975 w 844550"/>
                  <a:gd name="connsiteY4" fmla="*/ 1358900 h 1431925"/>
                  <a:gd name="connsiteX5" fmla="*/ 549275 w 844550"/>
                  <a:gd name="connsiteY5" fmla="*/ 1076325 h 1431925"/>
                  <a:gd name="connsiteX6" fmla="*/ 615950 w 844550"/>
                  <a:gd name="connsiteY6" fmla="*/ 1098550 h 1431925"/>
                  <a:gd name="connsiteX7" fmla="*/ 488950 w 844550"/>
                  <a:gd name="connsiteY7" fmla="*/ 1409700 h 1431925"/>
                  <a:gd name="connsiteX8" fmla="*/ 561975 w 844550"/>
                  <a:gd name="connsiteY8" fmla="*/ 1431925 h 1431925"/>
                  <a:gd name="connsiteX9" fmla="*/ 755650 w 844550"/>
                  <a:gd name="connsiteY9" fmla="*/ 885825 h 1431925"/>
                  <a:gd name="connsiteX10" fmla="*/ 736600 w 844550"/>
                  <a:gd name="connsiteY10" fmla="*/ 428625 h 1431925"/>
                  <a:gd name="connsiteX11" fmla="*/ 844550 w 844550"/>
                  <a:gd name="connsiteY11" fmla="*/ 53975 h 1431925"/>
                  <a:gd name="connsiteX12" fmla="*/ 669925 w 844550"/>
                  <a:gd name="connsiteY12" fmla="*/ 0 h 1431925"/>
                  <a:gd name="connsiteX0" fmla="*/ 669925 w 844550"/>
                  <a:gd name="connsiteY0" fmla="*/ 0 h 1431925"/>
                  <a:gd name="connsiteX1" fmla="*/ 0 w 844550"/>
                  <a:gd name="connsiteY1" fmla="*/ 1000125 h 1431925"/>
                  <a:gd name="connsiteX2" fmla="*/ 222250 w 844550"/>
                  <a:gd name="connsiteY2" fmla="*/ 1168400 h 1431925"/>
                  <a:gd name="connsiteX3" fmla="*/ 180975 w 844550"/>
                  <a:gd name="connsiteY3" fmla="*/ 1231900 h 1431925"/>
                  <a:gd name="connsiteX4" fmla="*/ 434975 w 844550"/>
                  <a:gd name="connsiteY4" fmla="*/ 1358900 h 1431925"/>
                  <a:gd name="connsiteX5" fmla="*/ 549275 w 844550"/>
                  <a:gd name="connsiteY5" fmla="*/ 1076325 h 1431925"/>
                  <a:gd name="connsiteX6" fmla="*/ 615950 w 844550"/>
                  <a:gd name="connsiteY6" fmla="*/ 1098550 h 1431925"/>
                  <a:gd name="connsiteX7" fmla="*/ 488950 w 844550"/>
                  <a:gd name="connsiteY7" fmla="*/ 1409700 h 1431925"/>
                  <a:gd name="connsiteX8" fmla="*/ 561975 w 844550"/>
                  <a:gd name="connsiteY8" fmla="*/ 1431925 h 1431925"/>
                  <a:gd name="connsiteX9" fmla="*/ 755650 w 844550"/>
                  <a:gd name="connsiteY9" fmla="*/ 885825 h 1431925"/>
                  <a:gd name="connsiteX10" fmla="*/ 736600 w 844550"/>
                  <a:gd name="connsiteY10" fmla="*/ 428625 h 1431925"/>
                  <a:gd name="connsiteX11" fmla="*/ 844550 w 844550"/>
                  <a:gd name="connsiteY11" fmla="*/ 53975 h 1431925"/>
                  <a:gd name="connsiteX12" fmla="*/ 669925 w 844550"/>
                  <a:gd name="connsiteY12" fmla="*/ 0 h 1431925"/>
                  <a:gd name="connsiteX0" fmla="*/ 669925 w 844550"/>
                  <a:gd name="connsiteY0" fmla="*/ 0 h 1431925"/>
                  <a:gd name="connsiteX1" fmla="*/ 0 w 844550"/>
                  <a:gd name="connsiteY1" fmla="*/ 1000125 h 1431925"/>
                  <a:gd name="connsiteX2" fmla="*/ 222250 w 844550"/>
                  <a:gd name="connsiteY2" fmla="*/ 1168400 h 1431925"/>
                  <a:gd name="connsiteX3" fmla="*/ 180975 w 844550"/>
                  <a:gd name="connsiteY3" fmla="*/ 1231900 h 1431925"/>
                  <a:gd name="connsiteX4" fmla="*/ 381000 w 844550"/>
                  <a:gd name="connsiteY4" fmla="*/ 1330325 h 1431925"/>
                  <a:gd name="connsiteX5" fmla="*/ 549275 w 844550"/>
                  <a:gd name="connsiteY5" fmla="*/ 1076325 h 1431925"/>
                  <a:gd name="connsiteX6" fmla="*/ 615950 w 844550"/>
                  <a:gd name="connsiteY6" fmla="*/ 1098550 h 1431925"/>
                  <a:gd name="connsiteX7" fmla="*/ 488950 w 844550"/>
                  <a:gd name="connsiteY7" fmla="*/ 1409700 h 1431925"/>
                  <a:gd name="connsiteX8" fmla="*/ 561975 w 844550"/>
                  <a:gd name="connsiteY8" fmla="*/ 1431925 h 1431925"/>
                  <a:gd name="connsiteX9" fmla="*/ 755650 w 844550"/>
                  <a:gd name="connsiteY9" fmla="*/ 885825 h 1431925"/>
                  <a:gd name="connsiteX10" fmla="*/ 736600 w 844550"/>
                  <a:gd name="connsiteY10" fmla="*/ 428625 h 1431925"/>
                  <a:gd name="connsiteX11" fmla="*/ 844550 w 844550"/>
                  <a:gd name="connsiteY11" fmla="*/ 53975 h 1431925"/>
                  <a:gd name="connsiteX12" fmla="*/ 669925 w 844550"/>
                  <a:gd name="connsiteY12" fmla="*/ 0 h 1431925"/>
                  <a:gd name="connsiteX0" fmla="*/ 669925 w 844550"/>
                  <a:gd name="connsiteY0" fmla="*/ 0 h 1431925"/>
                  <a:gd name="connsiteX1" fmla="*/ 0 w 844550"/>
                  <a:gd name="connsiteY1" fmla="*/ 1000125 h 1431925"/>
                  <a:gd name="connsiteX2" fmla="*/ 222250 w 844550"/>
                  <a:gd name="connsiteY2" fmla="*/ 1168400 h 1431925"/>
                  <a:gd name="connsiteX3" fmla="*/ 180975 w 844550"/>
                  <a:gd name="connsiteY3" fmla="*/ 1231900 h 1431925"/>
                  <a:gd name="connsiteX4" fmla="*/ 381000 w 844550"/>
                  <a:gd name="connsiteY4" fmla="*/ 1330325 h 1431925"/>
                  <a:gd name="connsiteX5" fmla="*/ 498475 w 844550"/>
                  <a:gd name="connsiteY5" fmla="*/ 1066800 h 1431925"/>
                  <a:gd name="connsiteX6" fmla="*/ 615950 w 844550"/>
                  <a:gd name="connsiteY6" fmla="*/ 1098550 h 1431925"/>
                  <a:gd name="connsiteX7" fmla="*/ 488950 w 844550"/>
                  <a:gd name="connsiteY7" fmla="*/ 1409700 h 1431925"/>
                  <a:gd name="connsiteX8" fmla="*/ 561975 w 844550"/>
                  <a:gd name="connsiteY8" fmla="*/ 1431925 h 1431925"/>
                  <a:gd name="connsiteX9" fmla="*/ 755650 w 844550"/>
                  <a:gd name="connsiteY9" fmla="*/ 885825 h 1431925"/>
                  <a:gd name="connsiteX10" fmla="*/ 736600 w 844550"/>
                  <a:gd name="connsiteY10" fmla="*/ 428625 h 1431925"/>
                  <a:gd name="connsiteX11" fmla="*/ 844550 w 844550"/>
                  <a:gd name="connsiteY11" fmla="*/ 53975 h 1431925"/>
                  <a:gd name="connsiteX12" fmla="*/ 669925 w 844550"/>
                  <a:gd name="connsiteY12" fmla="*/ 0 h 1431925"/>
                  <a:gd name="connsiteX0" fmla="*/ 669925 w 844550"/>
                  <a:gd name="connsiteY0" fmla="*/ 0 h 1431925"/>
                  <a:gd name="connsiteX1" fmla="*/ 0 w 844550"/>
                  <a:gd name="connsiteY1" fmla="*/ 1000125 h 1431925"/>
                  <a:gd name="connsiteX2" fmla="*/ 222250 w 844550"/>
                  <a:gd name="connsiteY2" fmla="*/ 1168400 h 1431925"/>
                  <a:gd name="connsiteX3" fmla="*/ 180975 w 844550"/>
                  <a:gd name="connsiteY3" fmla="*/ 1231900 h 1431925"/>
                  <a:gd name="connsiteX4" fmla="*/ 381000 w 844550"/>
                  <a:gd name="connsiteY4" fmla="*/ 1330325 h 1431925"/>
                  <a:gd name="connsiteX5" fmla="*/ 498475 w 844550"/>
                  <a:gd name="connsiteY5" fmla="*/ 1066800 h 1431925"/>
                  <a:gd name="connsiteX6" fmla="*/ 615950 w 844550"/>
                  <a:gd name="connsiteY6" fmla="*/ 1098550 h 1431925"/>
                  <a:gd name="connsiteX7" fmla="*/ 466725 w 844550"/>
                  <a:gd name="connsiteY7" fmla="*/ 1397000 h 1431925"/>
                  <a:gd name="connsiteX8" fmla="*/ 561975 w 844550"/>
                  <a:gd name="connsiteY8" fmla="*/ 1431925 h 1431925"/>
                  <a:gd name="connsiteX9" fmla="*/ 755650 w 844550"/>
                  <a:gd name="connsiteY9" fmla="*/ 885825 h 1431925"/>
                  <a:gd name="connsiteX10" fmla="*/ 736600 w 844550"/>
                  <a:gd name="connsiteY10" fmla="*/ 428625 h 1431925"/>
                  <a:gd name="connsiteX11" fmla="*/ 844550 w 844550"/>
                  <a:gd name="connsiteY11" fmla="*/ 53975 h 1431925"/>
                  <a:gd name="connsiteX12" fmla="*/ 669925 w 844550"/>
                  <a:gd name="connsiteY12" fmla="*/ 0 h 1431925"/>
                  <a:gd name="connsiteX0" fmla="*/ 669925 w 844550"/>
                  <a:gd name="connsiteY0" fmla="*/ 0 h 1574800"/>
                  <a:gd name="connsiteX1" fmla="*/ 0 w 844550"/>
                  <a:gd name="connsiteY1" fmla="*/ 1000125 h 1574800"/>
                  <a:gd name="connsiteX2" fmla="*/ 222250 w 844550"/>
                  <a:gd name="connsiteY2" fmla="*/ 1168400 h 1574800"/>
                  <a:gd name="connsiteX3" fmla="*/ 180975 w 844550"/>
                  <a:gd name="connsiteY3" fmla="*/ 1231900 h 1574800"/>
                  <a:gd name="connsiteX4" fmla="*/ 381000 w 844550"/>
                  <a:gd name="connsiteY4" fmla="*/ 1330325 h 1574800"/>
                  <a:gd name="connsiteX5" fmla="*/ 498475 w 844550"/>
                  <a:gd name="connsiteY5" fmla="*/ 1066800 h 1574800"/>
                  <a:gd name="connsiteX6" fmla="*/ 615950 w 844550"/>
                  <a:gd name="connsiteY6" fmla="*/ 1098550 h 1574800"/>
                  <a:gd name="connsiteX7" fmla="*/ 419100 w 844550"/>
                  <a:gd name="connsiteY7" fmla="*/ 1574800 h 1574800"/>
                  <a:gd name="connsiteX8" fmla="*/ 561975 w 844550"/>
                  <a:gd name="connsiteY8" fmla="*/ 1431925 h 1574800"/>
                  <a:gd name="connsiteX9" fmla="*/ 755650 w 844550"/>
                  <a:gd name="connsiteY9" fmla="*/ 885825 h 1574800"/>
                  <a:gd name="connsiteX10" fmla="*/ 736600 w 844550"/>
                  <a:gd name="connsiteY10" fmla="*/ 428625 h 1574800"/>
                  <a:gd name="connsiteX11" fmla="*/ 844550 w 844550"/>
                  <a:gd name="connsiteY11" fmla="*/ 53975 h 1574800"/>
                  <a:gd name="connsiteX12" fmla="*/ 669925 w 844550"/>
                  <a:gd name="connsiteY12" fmla="*/ 0 h 1574800"/>
                  <a:gd name="connsiteX0" fmla="*/ 669925 w 844550"/>
                  <a:gd name="connsiteY0" fmla="*/ 0 h 1603375"/>
                  <a:gd name="connsiteX1" fmla="*/ 0 w 844550"/>
                  <a:gd name="connsiteY1" fmla="*/ 1000125 h 1603375"/>
                  <a:gd name="connsiteX2" fmla="*/ 222250 w 844550"/>
                  <a:gd name="connsiteY2" fmla="*/ 1168400 h 1603375"/>
                  <a:gd name="connsiteX3" fmla="*/ 180975 w 844550"/>
                  <a:gd name="connsiteY3" fmla="*/ 1231900 h 1603375"/>
                  <a:gd name="connsiteX4" fmla="*/ 381000 w 844550"/>
                  <a:gd name="connsiteY4" fmla="*/ 1330325 h 1603375"/>
                  <a:gd name="connsiteX5" fmla="*/ 498475 w 844550"/>
                  <a:gd name="connsiteY5" fmla="*/ 1066800 h 1603375"/>
                  <a:gd name="connsiteX6" fmla="*/ 615950 w 844550"/>
                  <a:gd name="connsiteY6" fmla="*/ 1098550 h 1603375"/>
                  <a:gd name="connsiteX7" fmla="*/ 419100 w 844550"/>
                  <a:gd name="connsiteY7" fmla="*/ 1574800 h 1603375"/>
                  <a:gd name="connsiteX8" fmla="*/ 498475 w 844550"/>
                  <a:gd name="connsiteY8" fmla="*/ 1603375 h 1603375"/>
                  <a:gd name="connsiteX9" fmla="*/ 755650 w 844550"/>
                  <a:gd name="connsiteY9" fmla="*/ 885825 h 1603375"/>
                  <a:gd name="connsiteX10" fmla="*/ 736600 w 844550"/>
                  <a:gd name="connsiteY10" fmla="*/ 428625 h 1603375"/>
                  <a:gd name="connsiteX11" fmla="*/ 844550 w 844550"/>
                  <a:gd name="connsiteY11" fmla="*/ 53975 h 1603375"/>
                  <a:gd name="connsiteX12" fmla="*/ 669925 w 844550"/>
                  <a:gd name="connsiteY12" fmla="*/ 0 h 1603375"/>
                  <a:gd name="connsiteX0" fmla="*/ 669925 w 844550"/>
                  <a:gd name="connsiteY0" fmla="*/ 0 h 1603375"/>
                  <a:gd name="connsiteX1" fmla="*/ 0 w 844550"/>
                  <a:gd name="connsiteY1" fmla="*/ 1000125 h 1603375"/>
                  <a:gd name="connsiteX2" fmla="*/ 222250 w 844550"/>
                  <a:gd name="connsiteY2" fmla="*/ 1168400 h 1603375"/>
                  <a:gd name="connsiteX3" fmla="*/ 180975 w 844550"/>
                  <a:gd name="connsiteY3" fmla="*/ 1231900 h 1603375"/>
                  <a:gd name="connsiteX4" fmla="*/ 381000 w 844550"/>
                  <a:gd name="connsiteY4" fmla="*/ 1330325 h 1603375"/>
                  <a:gd name="connsiteX5" fmla="*/ 498475 w 844550"/>
                  <a:gd name="connsiteY5" fmla="*/ 1066800 h 1603375"/>
                  <a:gd name="connsiteX6" fmla="*/ 615950 w 844550"/>
                  <a:gd name="connsiteY6" fmla="*/ 1098550 h 1603375"/>
                  <a:gd name="connsiteX7" fmla="*/ 393700 w 844550"/>
                  <a:gd name="connsiteY7" fmla="*/ 1568450 h 1603375"/>
                  <a:gd name="connsiteX8" fmla="*/ 498475 w 844550"/>
                  <a:gd name="connsiteY8" fmla="*/ 1603375 h 1603375"/>
                  <a:gd name="connsiteX9" fmla="*/ 755650 w 844550"/>
                  <a:gd name="connsiteY9" fmla="*/ 885825 h 1603375"/>
                  <a:gd name="connsiteX10" fmla="*/ 736600 w 844550"/>
                  <a:gd name="connsiteY10" fmla="*/ 428625 h 1603375"/>
                  <a:gd name="connsiteX11" fmla="*/ 844550 w 844550"/>
                  <a:gd name="connsiteY11" fmla="*/ 53975 h 1603375"/>
                  <a:gd name="connsiteX12" fmla="*/ 669925 w 844550"/>
                  <a:gd name="connsiteY12" fmla="*/ 0 h 1603375"/>
                  <a:gd name="connsiteX0" fmla="*/ 669925 w 844550"/>
                  <a:gd name="connsiteY0" fmla="*/ 0 h 1603375"/>
                  <a:gd name="connsiteX1" fmla="*/ 0 w 844550"/>
                  <a:gd name="connsiteY1" fmla="*/ 1000125 h 1603375"/>
                  <a:gd name="connsiteX2" fmla="*/ 222250 w 844550"/>
                  <a:gd name="connsiteY2" fmla="*/ 1168400 h 1603375"/>
                  <a:gd name="connsiteX3" fmla="*/ 180975 w 844550"/>
                  <a:gd name="connsiteY3" fmla="*/ 1231900 h 1603375"/>
                  <a:gd name="connsiteX4" fmla="*/ 381000 w 844550"/>
                  <a:gd name="connsiteY4" fmla="*/ 1330325 h 1603375"/>
                  <a:gd name="connsiteX5" fmla="*/ 498475 w 844550"/>
                  <a:gd name="connsiteY5" fmla="*/ 1066800 h 1603375"/>
                  <a:gd name="connsiteX6" fmla="*/ 571500 w 844550"/>
                  <a:gd name="connsiteY6" fmla="*/ 1111250 h 1603375"/>
                  <a:gd name="connsiteX7" fmla="*/ 393700 w 844550"/>
                  <a:gd name="connsiteY7" fmla="*/ 1568450 h 1603375"/>
                  <a:gd name="connsiteX8" fmla="*/ 498475 w 844550"/>
                  <a:gd name="connsiteY8" fmla="*/ 1603375 h 1603375"/>
                  <a:gd name="connsiteX9" fmla="*/ 755650 w 844550"/>
                  <a:gd name="connsiteY9" fmla="*/ 885825 h 1603375"/>
                  <a:gd name="connsiteX10" fmla="*/ 736600 w 844550"/>
                  <a:gd name="connsiteY10" fmla="*/ 428625 h 1603375"/>
                  <a:gd name="connsiteX11" fmla="*/ 844550 w 844550"/>
                  <a:gd name="connsiteY11" fmla="*/ 53975 h 1603375"/>
                  <a:gd name="connsiteX12" fmla="*/ 669925 w 844550"/>
                  <a:gd name="connsiteY12" fmla="*/ 0 h 1603375"/>
                  <a:gd name="connsiteX0" fmla="*/ 669925 w 844550"/>
                  <a:gd name="connsiteY0" fmla="*/ 0 h 1603375"/>
                  <a:gd name="connsiteX1" fmla="*/ 0 w 844550"/>
                  <a:gd name="connsiteY1" fmla="*/ 1000125 h 1603375"/>
                  <a:gd name="connsiteX2" fmla="*/ 222250 w 844550"/>
                  <a:gd name="connsiteY2" fmla="*/ 1168400 h 1603375"/>
                  <a:gd name="connsiteX3" fmla="*/ 180975 w 844550"/>
                  <a:gd name="connsiteY3" fmla="*/ 1231900 h 1603375"/>
                  <a:gd name="connsiteX4" fmla="*/ 381000 w 844550"/>
                  <a:gd name="connsiteY4" fmla="*/ 1330325 h 1603375"/>
                  <a:gd name="connsiteX5" fmla="*/ 498475 w 844550"/>
                  <a:gd name="connsiteY5" fmla="*/ 1066800 h 1603375"/>
                  <a:gd name="connsiteX6" fmla="*/ 581025 w 844550"/>
                  <a:gd name="connsiteY6" fmla="*/ 1098550 h 1603375"/>
                  <a:gd name="connsiteX7" fmla="*/ 393700 w 844550"/>
                  <a:gd name="connsiteY7" fmla="*/ 1568450 h 1603375"/>
                  <a:gd name="connsiteX8" fmla="*/ 498475 w 844550"/>
                  <a:gd name="connsiteY8" fmla="*/ 1603375 h 1603375"/>
                  <a:gd name="connsiteX9" fmla="*/ 755650 w 844550"/>
                  <a:gd name="connsiteY9" fmla="*/ 885825 h 1603375"/>
                  <a:gd name="connsiteX10" fmla="*/ 736600 w 844550"/>
                  <a:gd name="connsiteY10" fmla="*/ 428625 h 1603375"/>
                  <a:gd name="connsiteX11" fmla="*/ 844550 w 844550"/>
                  <a:gd name="connsiteY11" fmla="*/ 53975 h 1603375"/>
                  <a:gd name="connsiteX12" fmla="*/ 669925 w 844550"/>
                  <a:gd name="connsiteY12" fmla="*/ 0 h 1603375"/>
                  <a:gd name="connsiteX0" fmla="*/ 669925 w 844550"/>
                  <a:gd name="connsiteY0" fmla="*/ 0 h 1609725"/>
                  <a:gd name="connsiteX1" fmla="*/ 0 w 844550"/>
                  <a:gd name="connsiteY1" fmla="*/ 1000125 h 1609725"/>
                  <a:gd name="connsiteX2" fmla="*/ 222250 w 844550"/>
                  <a:gd name="connsiteY2" fmla="*/ 1168400 h 1609725"/>
                  <a:gd name="connsiteX3" fmla="*/ 180975 w 844550"/>
                  <a:gd name="connsiteY3" fmla="*/ 1231900 h 1609725"/>
                  <a:gd name="connsiteX4" fmla="*/ 381000 w 844550"/>
                  <a:gd name="connsiteY4" fmla="*/ 1330325 h 1609725"/>
                  <a:gd name="connsiteX5" fmla="*/ 498475 w 844550"/>
                  <a:gd name="connsiteY5" fmla="*/ 1066800 h 1609725"/>
                  <a:gd name="connsiteX6" fmla="*/ 581025 w 844550"/>
                  <a:gd name="connsiteY6" fmla="*/ 1098550 h 1609725"/>
                  <a:gd name="connsiteX7" fmla="*/ 393700 w 844550"/>
                  <a:gd name="connsiteY7" fmla="*/ 1568450 h 1609725"/>
                  <a:gd name="connsiteX8" fmla="*/ 488950 w 844550"/>
                  <a:gd name="connsiteY8" fmla="*/ 1609725 h 1609725"/>
                  <a:gd name="connsiteX9" fmla="*/ 755650 w 844550"/>
                  <a:gd name="connsiteY9" fmla="*/ 885825 h 1609725"/>
                  <a:gd name="connsiteX10" fmla="*/ 736600 w 844550"/>
                  <a:gd name="connsiteY10" fmla="*/ 428625 h 1609725"/>
                  <a:gd name="connsiteX11" fmla="*/ 844550 w 844550"/>
                  <a:gd name="connsiteY11" fmla="*/ 53975 h 1609725"/>
                  <a:gd name="connsiteX12" fmla="*/ 669925 w 844550"/>
                  <a:gd name="connsiteY12" fmla="*/ 0 h 1609725"/>
                  <a:gd name="connsiteX0" fmla="*/ 669925 w 844550"/>
                  <a:gd name="connsiteY0" fmla="*/ 0 h 1609725"/>
                  <a:gd name="connsiteX1" fmla="*/ 0 w 844550"/>
                  <a:gd name="connsiteY1" fmla="*/ 1000125 h 1609725"/>
                  <a:gd name="connsiteX2" fmla="*/ 222250 w 844550"/>
                  <a:gd name="connsiteY2" fmla="*/ 1168400 h 1609725"/>
                  <a:gd name="connsiteX3" fmla="*/ 180975 w 844550"/>
                  <a:gd name="connsiteY3" fmla="*/ 1231900 h 1609725"/>
                  <a:gd name="connsiteX4" fmla="*/ 381000 w 844550"/>
                  <a:gd name="connsiteY4" fmla="*/ 1330325 h 1609725"/>
                  <a:gd name="connsiteX5" fmla="*/ 498475 w 844550"/>
                  <a:gd name="connsiteY5" fmla="*/ 1066800 h 1609725"/>
                  <a:gd name="connsiteX6" fmla="*/ 581025 w 844550"/>
                  <a:gd name="connsiteY6" fmla="*/ 1098550 h 1609725"/>
                  <a:gd name="connsiteX7" fmla="*/ 393700 w 844550"/>
                  <a:gd name="connsiteY7" fmla="*/ 1568450 h 1609725"/>
                  <a:gd name="connsiteX8" fmla="*/ 488950 w 844550"/>
                  <a:gd name="connsiteY8" fmla="*/ 1609725 h 1609725"/>
                  <a:gd name="connsiteX9" fmla="*/ 755650 w 844550"/>
                  <a:gd name="connsiteY9" fmla="*/ 885825 h 1609725"/>
                  <a:gd name="connsiteX10" fmla="*/ 736600 w 844550"/>
                  <a:gd name="connsiteY10" fmla="*/ 428625 h 1609725"/>
                  <a:gd name="connsiteX11" fmla="*/ 844550 w 844550"/>
                  <a:gd name="connsiteY11" fmla="*/ 53975 h 1609725"/>
                  <a:gd name="connsiteX12" fmla="*/ 669925 w 844550"/>
                  <a:gd name="connsiteY12" fmla="*/ 0 h 1609725"/>
                  <a:gd name="connsiteX0" fmla="*/ 669925 w 844550"/>
                  <a:gd name="connsiteY0" fmla="*/ 0 h 1609725"/>
                  <a:gd name="connsiteX1" fmla="*/ 0 w 844550"/>
                  <a:gd name="connsiteY1" fmla="*/ 1000125 h 1609725"/>
                  <a:gd name="connsiteX2" fmla="*/ 222250 w 844550"/>
                  <a:gd name="connsiteY2" fmla="*/ 1168400 h 1609725"/>
                  <a:gd name="connsiteX3" fmla="*/ 180975 w 844550"/>
                  <a:gd name="connsiteY3" fmla="*/ 1231900 h 1609725"/>
                  <a:gd name="connsiteX4" fmla="*/ 381000 w 844550"/>
                  <a:gd name="connsiteY4" fmla="*/ 1330325 h 1609725"/>
                  <a:gd name="connsiteX5" fmla="*/ 498475 w 844550"/>
                  <a:gd name="connsiteY5" fmla="*/ 1066800 h 1609725"/>
                  <a:gd name="connsiteX6" fmla="*/ 581025 w 844550"/>
                  <a:gd name="connsiteY6" fmla="*/ 1098550 h 1609725"/>
                  <a:gd name="connsiteX7" fmla="*/ 393700 w 844550"/>
                  <a:gd name="connsiteY7" fmla="*/ 1568450 h 1609725"/>
                  <a:gd name="connsiteX8" fmla="*/ 488950 w 844550"/>
                  <a:gd name="connsiteY8" fmla="*/ 1609725 h 1609725"/>
                  <a:gd name="connsiteX9" fmla="*/ 755650 w 844550"/>
                  <a:gd name="connsiteY9" fmla="*/ 885825 h 1609725"/>
                  <a:gd name="connsiteX10" fmla="*/ 736600 w 844550"/>
                  <a:gd name="connsiteY10" fmla="*/ 428625 h 1609725"/>
                  <a:gd name="connsiteX11" fmla="*/ 844550 w 844550"/>
                  <a:gd name="connsiteY11" fmla="*/ 53975 h 1609725"/>
                  <a:gd name="connsiteX12" fmla="*/ 669925 w 844550"/>
                  <a:gd name="connsiteY12" fmla="*/ 0 h 1609725"/>
                  <a:gd name="connsiteX0" fmla="*/ 676275 w 844550"/>
                  <a:gd name="connsiteY0" fmla="*/ 0 h 1619250"/>
                  <a:gd name="connsiteX1" fmla="*/ 0 w 844550"/>
                  <a:gd name="connsiteY1" fmla="*/ 1009650 h 1619250"/>
                  <a:gd name="connsiteX2" fmla="*/ 222250 w 844550"/>
                  <a:gd name="connsiteY2" fmla="*/ 1177925 h 1619250"/>
                  <a:gd name="connsiteX3" fmla="*/ 180975 w 844550"/>
                  <a:gd name="connsiteY3" fmla="*/ 1241425 h 1619250"/>
                  <a:gd name="connsiteX4" fmla="*/ 381000 w 844550"/>
                  <a:gd name="connsiteY4" fmla="*/ 1339850 h 1619250"/>
                  <a:gd name="connsiteX5" fmla="*/ 498475 w 844550"/>
                  <a:gd name="connsiteY5" fmla="*/ 1076325 h 1619250"/>
                  <a:gd name="connsiteX6" fmla="*/ 581025 w 844550"/>
                  <a:gd name="connsiteY6" fmla="*/ 1108075 h 1619250"/>
                  <a:gd name="connsiteX7" fmla="*/ 393700 w 844550"/>
                  <a:gd name="connsiteY7" fmla="*/ 1577975 h 1619250"/>
                  <a:gd name="connsiteX8" fmla="*/ 488950 w 844550"/>
                  <a:gd name="connsiteY8" fmla="*/ 1619250 h 1619250"/>
                  <a:gd name="connsiteX9" fmla="*/ 755650 w 844550"/>
                  <a:gd name="connsiteY9" fmla="*/ 895350 h 1619250"/>
                  <a:gd name="connsiteX10" fmla="*/ 736600 w 844550"/>
                  <a:gd name="connsiteY10" fmla="*/ 438150 h 1619250"/>
                  <a:gd name="connsiteX11" fmla="*/ 844550 w 844550"/>
                  <a:gd name="connsiteY11" fmla="*/ 63500 h 1619250"/>
                  <a:gd name="connsiteX12" fmla="*/ 676275 w 844550"/>
                  <a:gd name="connsiteY12" fmla="*/ 0 h 1619250"/>
                  <a:gd name="connsiteX0" fmla="*/ 676275 w 844550"/>
                  <a:gd name="connsiteY0" fmla="*/ 0 h 1619250"/>
                  <a:gd name="connsiteX1" fmla="*/ 0 w 844550"/>
                  <a:gd name="connsiteY1" fmla="*/ 1009650 h 1619250"/>
                  <a:gd name="connsiteX2" fmla="*/ 222250 w 844550"/>
                  <a:gd name="connsiteY2" fmla="*/ 1177925 h 1619250"/>
                  <a:gd name="connsiteX3" fmla="*/ 180975 w 844550"/>
                  <a:gd name="connsiteY3" fmla="*/ 1241425 h 1619250"/>
                  <a:gd name="connsiteX4" fmla="*/ 381000 w 844550"/>
                  <a:gd name="connsiteY4" fmla="*/ 1339850 h 1619250"/>
                  <a:gd name="connsiteX5" fmla="*/ 498475 w 844550"/>
                  <a:gd name="connsiteY5" fmla="*/ 1076325 h 1619250"/>
                  <a:gd name="connsiteX6" fmla="*/ 581025 w 844550"/>
                  <a:gd name="connsiteY6" fmla="*/ 1108075 h 1619250"/>
                  <a:gd name="connsiteX7" fmla="*/ 393700 w 844550"/>
                  <a:gd name="connsiteY7" fmla="*/ 1577975 h 1619250"/>
                  <a:gd name="connsiteX8" fmla="*/ 488950 w 844550"/>
                  <a:gd name="connsiteY8" fmla="*/ 1619250 h 1619250"/>
                  <a:gd name="connsiteX9" fmla="*/ 755650 w 844550"/>
                  <a:gd name="connsiteY9" fmla="*/ 895350 h 1619250"/>
                  <a:gd name="connsiteX10" fmla="*/ 736600 w 844550"/>
                  <a:gd name="connsiteY10" fmla="*/ 438150 h 1619250"/>
                  <a:gd name="connsiteX11" fmla="*/ 844550 w 844550"/>
                  <a:gd name="connsiteY11" fmla="*/ 63500 h 1619250"/>
                  <a:gd name="connsiteX12" fmla="*/ 676275 w 844550"/>
                  <a:gd name="connsiteY12" fmla="*/ 0 h 1619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44550" h="1619250">
                    <a:moveTo>
                      <a:pt x="676275" y="0"/>
                    </a:moveTo>
                    <a:cubicBezTo>
                      <a:pt x="500592" y="454025"/>
                      <a:pt x="277283" y="682625"/>
                      <a:pt x="0" y="1009650"/>
                    </a:cubicBezTo>
                    <a:lnTo>
                      <a:pt x="222250" y="1177925"/>
                    </a:lnTo>
                    <a:lnTo>
                      <a:pt x="180975" y="1241425"/>
                    </a:lnTo>
                    <a:lnTo>
                      <a:pt x="381000" y="1339850"/>
                    </a:lnTo>
                    <a:lnTo>
                      <a:pt x="498475" y="1076325"/>
                    </a:lnTo>
                    <a:lnTo>
                      <a:pt x="581025" y="1108075"/>
                    </a:lnTo>
                    <a:lnTo>
                      <a:pt x="393700" y="1577975"/>
                    </a:lnTo>
                    <a:lnTo>
                      <a:pt x="488950" y="1619250"/>
                    </a:lnTo>
                    <a:lnTo>
                      <a:pt x="755650" y="895350"/>
                    </a:lnTo>
                    <a:lnTo>
                      <a:pt x="736600" y="438150"/>
                    </a:lnTo>
                    <a:cubicBezTo>
                      <a:pt x="791633" y="303742"/>
                      <a:pt x="821267" y="194733"/>
                      <a:pt x="844550" y="63500"/>
                    </a:cubicBezTo>
                    <a:cubicBezTo>
                      <a:pt x="788458" y="42333"/>
                      <a:pt x="745067" y="24342"/>
                      <a:pt x="676275" y="0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de-DE" sz="600" dirty="0">
                  <a:solidFill>
                    <a:sysClr val="windowText" lastClr="000000"/>
                  </a:solidFill>
                </a:endParaRPr>
              </a:p>
            </p:txBody>
          </p:sp>
        </p:grpSp>
        <p:grpSp>
          <p:nvGrpSpPr>
            <p:cNvPr id="50" name="G007/T106">
              <a:extLst>
                <a:ext uri="{FF2B5EF4-FFF2-40B4-BE49-F238E27FC236}">
                  <a16:creationId xmlns:a16="http://schemas.microsoft.com/office/drawing/2014/main" id="{778A97A7-338F-49D5-BB4B-BFF1784C471F}"/>
                </a:ext>
              </a:extLst>
            </p:cNvPr>
            <p:cNvGrpSpPr/>
            <p:nvPr/>
          </p:nvGrpSpPr>
          <p:grpSpPr>
            <a:xfrm>
              <a:off x="5604140" y="7118621"/>
              <a:ext cx="754967" cy="1518892"/>
              <a:chOff x="1769124" y="1725140"/>
              <a:chExt cx="539262" cy="1147268"/>
            </a:xfrm>
            <a:solidFill>
              <a:srgbClr val="FFFF00"/>
            </a:solidFill>
          </p:grpSpPr>
          <p:sp>
            <p:nvSpPr>
              <p:cNvPr id="108" name="T106">
                <a:extLst>
                  <a:ext uri="{FF2B5EF4-FFF2-40B4-BE49-F238E27FC236}">
                    <a16:creationId xmlns:a16="http://schemas.microsoft.com/office/drawing/2014/main" id="{4AD635ED-3456-4AFD-8490-120D859C6DA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810705" y="1725140"/>
                <a:ext cx="91762" cy="537666"/>
              </a:xfrm>
              <a:custGeom>
                <a:avLst/>
                <a:gdLst>
                  <a:gd name="connsiteX0" fmla="*/ 76815 w 255024"/>
                  <a:gd name="connsiteY0" fmla="*/ 0 h 1441041"/>
                  <a:gd name="connsiteX1" fmla="*/ 218153 w 255024"/>
                  <a:gd name="connsiteY1" fmla="*/ 528484 h 1441041"/>
                  <a:gd name="connsiteX2" fmla="*/ 215081 w 255024"/>
                  <a:gd name="connsiteY2" fmla="*/ 682113 h 1441041"/>
                  <a:gd name="connsiteX3" fmla="*/ 255024 w 255024"/>
                  <a:gd name="connsiteY3" fmla="*/ 682113 h 1441041"/>
                  <a:gd name="connsiteX4" fmla="*/ 255024 w 255024"/>
                  <a:gd name="connsiteY4" fmla="*/ 771218 h 1441041"/>
                  <a:gd name="connsiteX5" fmla="*/ 218153 w 255024"/>
                  <a:gd name="connsiteY5" fmla="*/ 771218 h 1441041"/>
                  <a:gd name="connsiteX6" fmla="*/ 218153 w 255024"/>
                  <a:gd name="connsiteY6" fmla="*/ 1072331 h 1441041"/>
                  <a:gd name="connsiteX7" fmla="*/ 178210 w 255024"/>
                  <a:gd name="connsiteY7" fmla="*/ 1216742 h 1441041"/>
                  <a:gd name="connsiteX8" fmla="*/ 248879 w 255024"/>
                  <a:gd name="connsiteY8" fmla="*/ 1299702 h 1441041"/>
                  <a:gd name="connsiteX9" fmla="*/ 116758 w 255024"/>
                  <a:gd name="connsiteY9" fmla="*/ 1441041 h 1441041"/>
                  <a:gd name="connsiteX10" fmla="*/ 125976 w 255024"/>
                  <a:gd name="connsiteY10" fmla="*/ 1388807 h 1441041"/>
                  <a:gd name="connsiteX11" fmla="*/ 0 w 255024"/>
                  <a:gd name="connsiteY11" fmla="*/ 1345791 h 1441041"/>
                  <a:gd name="connsiteX12" fmla="*/ 76815 w 255024"/>
                  <a:gd name="connsiteY12" fmla="*/ 1069258 h 1441041"/>
                  <a:gd name="connsiteX13" fmla="*/ 76815 w 255024"/>
                  <a:gd name="connsiteY13" fmla="*/ 645242 h 1441041"/>
                  <a:gd name="connsiteX14" fmla="*/ 43016 w 255024"/>
                  <a:gd name="connsiteY14" fmla="*/ 648315 h 1441041"/>
                  <a:gd name="connsiteX15" fmla="*/ 58379 w 255024"/>
                  <a:gd name="connsiteY15" fmla="*/ 503903 h 1441041"/>
                  <a:gd name="connsiteX16" fmla="*/ 76815 w 255024"/>
                  <a:gd name="connsiteY16" fmla="*/ 0 h 14410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55024" h="1441041">
                    <a:moveTo>
                      <a:pt x="76815" y="0"/>
                    </a:moveTo>
                    <a:lnTo>
                      <a:pt x="218153" y="528484"/>
                    </a:lnTo>
                    <a:lnTo>
                      <a:pt x="215081" y="682113"/>
                    </a:lnTo>
                    <a:lnTo>
                      <a:pt x="255024" y="682113"/>
                    </a:lnTo>
                    <a:lnTo>
                      <a:pt x="255024" y="771218"/>
                    </a:lnTo>
                    <a:lnTo>
                      <a:pt x="218153" y="771218"/>
                    </a:lnTo>
                    <a:lnTo>
                      <a:pt x="218153" y="1072331"/>
                    </a:lnTo>
                    <a:lnTo>
                      <a:pt x="178210" y="1216742"/>
                    </a:lnTo>
                    <a:lnTo>
                      <a:pt x="248879" y="1299702"/>
                    </a:lnTo>
                    <a:lnTo>
                      <a:pt x="116758" y="1441041"/>
                    </a:lnTo>
                    <a:lnTo>
                      <a:pt x="125976" y="1388807"/>
                    </a:lnTo>
                    <a:lnTo>
                      <a:pt x="0" y="1345791"/>
                    </a:lnTo>
                    <a:lnTo>
                      <a:pt x="76815" y="1069258"/>
                    </a:lnTo>
                    <a:lnTo>
                      <a:pt x="76815" y="645242"/>
                    </a:lnTo>
                    <a:lnTo>
                      <a:pt x="43016" y="648315"/>
                    </a:lnTo>
                    <a:lnTo>
                      <a:pt x="58379" y="503903"/>
                    </a:lnTo>
                    <a:lnTo>
                      <a:pt x="76815" y="0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de-DE" sz="60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09" name="G007">
                <a:extLst>
                  <a:ext uri="{FF2B5EF4-FFF2-40B4-BE49-F238E27FC236}">
                    <a16:creationId xmlns:a16="http://schemas.microsoft.com/office/drawing/2014/main" id="{FC1D3E39-B550-4342-8004-9838174459E5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769124" y="1995944"/>
                <a:ext cx="539262" cy="876464"/>
              </a:xfrm>
              <a:custGeom>
                <a:avLst/>
                <a:gdLst>
                  <a:gd name="connsiteX0" fmla="*/ 1066800 w 1393372"/>
                  <a:gd name="connsiteY0" fmla="*/ 283028 h 1817914"/>
                  <a:gd name="connsiteX1" fmla="*/ 1186543 w 1393372"/>
                  <a:gd name="connsiteY1" fmla="*/ 283028 h 1817914"/>
                  <a:gd name="connsiteX2" fmla="*/ 1360715 w 1393372"/>
                  <a:gd name="connsiteY2" fmla="*/ 587828 h 1817914"/>
                  <a:gd name="connsiteX3" fmla="*/ 1393372 w 1393372"/>
                  <a:gd name="connsiteY3" fmla="*/ 1719943 h 1817914"/>
                  <a:gd name="connsiteX4" fmla="*/ 903515 w 1393372"/>
                  <a:gd name="connsiteY4" fmla="*/ 1741714 h 1817914"/>
                  <a:gd name="connsiteX5" fmla="*/ 794658 w 1393372"/>
                  <a:gd name="connsiteY5" fmla="*/ 1796143 h 1817914"/>
                  <a:gd name="connsiteX6" fmla="*/ 478972 w 1393372"/>
                  <a:gd name="connsiteY6" fmla="*/ 1817914 h 1817914"/>
                  <a:gd name="connsiteX7" fmla="*/ 65315 w 1393372"/>
                  <a:gd name="connsiteY7" fmla="*/ 1426028 h 1817914"/>
                  <a:gd name="connsiteX8" fmla="*/ 0 w 1393372"/>
                  <a:gd name="connsiteY8" fmla="*/ 391885 h 1817914"/>
                  <a:gd name="connsiteX9" fmla="*/ 326572 w 1393372"/>
                  <a:gd name="connsiteY9" fmla="*/ 21771 h 1817914"/>
                  <a:gd name="connsiteX10" fmla="*/ 805543 w 1393372"/>
                  <a:gd name="connsiteY10" fmla="*/ 0 h 1817914"/>
                  <a:gd name="connsiteX11" fmla="*/ 1023258 w 1393372"/>
                  <a:gd name="connsiteY11" fmla="*/ 21771 h 1817914"/>
                  <a:gd name="connsiteX12" fmla="*/ 1066800 w 1393372"/>
                  <a:gd name="connsiteY12" fmla="*/ 283028 h 1817914"/>
                  <a:gd name="connsiteX0" fmla="*/ 1047524 w 1374096"/>
                  <a:gd name="connsiteY0" fmla="*/ 283028 h 1817914"/>
                  <a:gd name="connsiteX1" fmla="*/ 1167267 w 1374096"/>
                  <a:gd name="connsiteY1" fmla="*/ 283028 h 1817914"/>
                  <a:gd name="connsiteX2" fmla="*/ 1341439 w 1374096"/>
                  <a:gd name="connsiteY2" fmla="*/ 587828 h 1817914"/>
                  <a:gd name="connsiteX3" fmla="*/ 1374096 w 1374096"/>
                  <a:gd name="connsiteY3" fmla="*/ 1719943 h 1817914"/>
                  <a:gd name="connsiteX4" fmla="*/ 884239 w 1374096"/>
                  <a:gd name="connsiteY4" fmla="*/ 1741714 h 1817914"/>
                  <a:gd name="connsiteX5" fmla="*/ 775382 w 1374096"/>
                  <a:gd name="connsiteY5" fmla="*/ 1796143 h 1817914"/>
                  <a:gd name="connsiteX6" fmla="*/ 459696 w 1374096"/>
                  <a:gd name="connsiteY6" fmla="*/ 1817914 h 1817914"/>
                  <a:gd name="connsiteX7" fmla="*/ 46039 w 1374096"/>
                  <a:gd name="connsiteY7" fmla="*/ 1426028 h 1817914"/>
                  <a:gd name="connsiteX8" fmla="*/ 0 w 1374096"/>
                  <a:gd name="connsiteY8" fmla="*/ 410381 h 1817914"/>
                  <a:gd name="connsiteX9" fmla="*/ 307296 w 1374096"/>
                  <a:gd name="connsiteY9" fmla="*/ 21771 h 1817914"/>
                  <a:gd name="connsiteX10" fmla="*/ 786267 w 1374096"/>
                  <a:gd name="connsiteY10" fmla="*/ 0 h 1817914"/>
                  <a:gd name="connsiteX11" fmla="*/ 1003982 w 1374096"/>
                  <a:gd name="connsiteY11" fmla="*/ 21771 h 1817914"/>
                  <a:gd name="connsiteX12" fmla="*/ 1047524 w 1374096"/>
                  <a:gd name="connsiteY12" fmla="*/ 283028 h 1817914"/>
                  <a:gd name="connsiteX0" fmla="*/ 1047524 w 1374096"/>
                  <a:gd name="connsiteY0" fmla="*/ 296472 h 1831358"/>
                  <a:gd name="connsiteX1" fmla="*/ 1167267 w 1374096"/>
                  <a:gd name="connsiteY1" fmla="*/ 296472 h 1831358"/>
                  <a:gd name="connsiteX2" fmla="*/ 1341439 w 1374096"/>
                  <a:gd name="connsiteY2" fmla="*/ 601272 h 1831358"/>
                  <a:gd name="connsiteX3" fmla="*/ 1374096 w 1374096"/>
                  <a:gd name="connsiteY3" fmla="*/ 1733387 h 1831358"/>
                  <a:gd name="connsiteX4" fmla="*/ 884239 w 1374096"/>
                  <a:gd name="connsiteY4" fmla="*/ 1755158 h 1831358"/>
                  <a:gd name="connsiteX5" fmla="*/ 775382 w 1374096"/>
                  <a:gd name="connsiteY5" fmla="*/ 1809587 h 1831358"/>
                  <a:gd name="connsiteX6" fmla="*/ 459696 w 1374096"/>
                  <a:gd name="connsiteY6" fmla="*/ 1831358 h 1831358"/>
                  <a:gd name="connsiteX7" fmla="*/ 46039 w 1374096"/>
                  <a:gd name="connsiteY7" fmla="*/ 1439472 h 1831358"/>
                  <a:gd name="connsiteX8" fmla="*/ 0 w 1374096"/>
                  <a:gd name="connsiteY8" fmla="*/ 423825 h 1831358"/>
                  <a:gd name="connsiteX9" fmla="*/ 307296 w 1374096"/>
                  <a:gd name="connsiteY9" fmla="*/ 35215 h 1831358"/>
                  <a:gd name="connsiteX10" fmla="*/ 442779 w 1374096"/>
                  <a:gd name="connsiteY10" fmla="*/ 0 h 1831358"/>
                  <a:gd name="connsiteX11" fmla="*/ 786267 w 1374096"/>
                  <a:gd name="connsiteY11" fmla="*/ 13444 h 1831358"/>
                  <a:gd name="connsiteX12" fmla="*/ 1003982 w 1374096"/>
                  <a:gd name="connsiteY12" fmla="*/ 35215 h 1831358"/>
                  <a:gd name="connsiteX13" fmla="*/ 1047524 w 1374096"/>
                  <a:gd name="connsiteY13" fmla="*/ 296472 h 1831358"/>
                  <a:gd name="connsiteX0" fmla="*/ 1047524 w 1374096"/>
                  <a:gd name="connsiteY0" fmla="*/ 296472 h 1831358"/>
                  <a:gd name="connsiteX1" fmla="*/ 1167267 w 1374096"/>
                  <a:gd name="connsiteY1" fmla="*/ 296472 h 1831358"/>
                  <a:gd name="connsiteX2" fmla="*/ 1341439 w 1374096"/>
                  <a:gd name="connsiteY2" fmla="*/ 601272 h 1831358"/>
                  <a:gd name="connsiteX3" fmla="*/ 1374096 w 1374096"/>
                  <a:gd name="connsiteY3" fmla="*/ 1733387 h 1831358"/>
                  <a:gd name="connsiteX4" fmla="*/ 884239 w 1374096"/>
                  <a:gd name="connsiteY4" fmla="*/ 1755158 h 1831358"/>
                  <a:gd name="connsiteX5" fmla="*/ 775382 w 1374096"/>
                  <a:gd name="connsiteY5" fmla="*/ 1809587 h 1831358"/>
                  <a:gd name="connsiteX6" fmla="*/ 459696 w 1374096"/>
                  <a:gd name="connsiteY6" fmla="*/ 1831358 h 1831358"/>
                  <a:gd name="connsiteX7" fmla="*/ 46039 w 1374096"/>
                  <a:gd name="connsiteY7" fmla="*/ 1439472 h 1831358"/>
                  <a:gd name="connsiteX8" fmla="*/ 0 w 1374096"/>
                  <a:gd name="connsiteY8" fmla="*/ 423825 h 1831358"/>
                  <a:gd name="connsiteX9" fmla="*/ 211468 w 1374096"/>
                  <a:gd name="connsiteY9" fmla="*/ 120225 h 1831358"/>
                  <a:gd name="connsiteX10" fmla="*/ 307296 w 1374096"/>
                  <a:gd name="connsiteY10" fmla="*/ 35215 h 1831358"/>
                  <a:gd name="connsiteX11" fmla="*/ 442779 w 1374096"/>
                  <a:gd name="connsiteY11" fmla="*/ 0 h 1831358"/>
                  <a:gd name="connsiteX12" fmla="*/ 786267 w 1374096"/>
                  <a:gd name="connsiteY12" fmla="*/ 13444 h 1831358"/>
                  <a:gd name="connsiteX13" fmla="*/ 1003982 w 1374096"/>
                  <a:gd name="connsiteY13" fmla="*/ 35215 h 1831358"/>
                  <a:gd name="connsiteX14" fmla="*/ 1047524 w 1374096"/>
                  <a:gd name="connsiteY14" fmla="*/ 296472 h 1831358"/>
                  <a:gd name="connsiteX0" fmla="*/ 1047524 w 1374096"/>
                  <a:gd name="connsiteY0" fmla="*/ 296472 h 1831358"/>
                  <a:gd name="connsiteX1" fmla="*/ 1167267 w 1374096"/>
                  <a:gd name="connsiteY1" fmla="*/ 296472 h 1831358"/>
                  <a:gd name="connsiteX2" fmla="*/ 1341439 w 1374096"/>
                  <a:gd name="connsiteY2" fmla="*/ 601272 h 1831358"/>
                  <a:gd name="connsiteX3" fmla="*/ 1374096 w 1374096"/>
                  <a:gd name="connsiteY3" fmla="*/ 1733387 h 1831358"/>
                  <a:gd name="connsiteX4" fmla="*/ 884239 w 1374096"/>
                  <a:gd name="connsiteY4" fmla="*/ 1755158 h 1831358"/>
                  <a:gd name="connsiteX5" fmla="*/ 775382 w 1374096"/>
                  <a:gd name="connsiteY5" fmla="*/ 1809587 h 1831358"/>
                  <a:gd name="connsiteX6" fmla="*/ 459696 w 1374096"/>
                  <a:gd name="connsiteY6" fmla="*/ 1831358 h 1831358"/>
                  <a:gd name="connsiteX7" fmla="*/ 46039 w 1374096"/>
                  <a:gd name="connsiteY7" fmla="*/ 1439472 h 1831358"/>
                  <a:gd name="connsiteX8" fmla="*/ 0 w 1374096"/>
                  <a:gd name="connsiteY8" fmla="*/ 423825 h 1831358"/>
                  <a:gd name="connsiteX9" fmla="*/ 37985 w 1374096"/>
                  <a:gd name="connsiteY9" fmla="*/ 323684 h 1831358"/>
                  <a:gd name="connsiteX10" fmla="*/ 211468 w 1374096"/>
                  <a:gd name="connsiteY10" fmla="*/ 120225 h 1831358"/>
                  <a:gd name="connsiteX11" fmla="*/ 307296 w 1374096"/>
                  <a:gd name="connsiteY11" fmla="*/ 35215 h 1831358"/>
                  <a:gd name="connsiteX12" fmla="*/ 442779 w 1374096"/>
                  <a:gd name="connsiteY12" fmla="*/ 0 h 1831358"/>
                  <a:gd name="connsiteX13" fmla="*/ 786267 w 1374096"/>
                  <a:gd name="connsiteY13" fmla="*/ 13444 h 1831358"/>
                  <a:gd name="connsiteX14" fmla="*/ 1003982 w 1374096"/>
                  <a:gd name="connsiteY14" fmla="*/ 35215 h 1831358"/>
                  <a:gd name="connsiteX15" fmla="*/ 1047524 w 1374096"/>
                  <a:gd name="connsiteY15" fmla="*/ 296472 h 1831358"/>
                  <a:gd name="connsiteX0" fmla="*/ 1047524 w 1374096"/>
                  <a:gd name="connsiteY0" fmla="*/ 296472 h 1831358"/>
                  <a:gd name="connsiteX1" fmla="*/ 1167267 w 1374096"/>
                  <a:gd name="connsiteY1" fmla="*/ 296472 h 1831358"/>
                  <a:gd name="connsiteX2" fmla="*/ 1341439 w 1374096"/>
                  <a:gd name="connsiteY2" fmla="*/ 601272 h 1831358"/>
                  <a:gd name="connsiteX3" fmla="*/ 1374096 w 1374096"/>
                  <a:gd name="connsiteY3" fmla="*/ 1733387 h 1831358"/>
                  <a:gd name="connsiteX4" fmla="*/ 884239 w 1374096"/>
                  <a:gd name="connsiteY4" fmla="*/ 1755158 h 1831358"/>
                  <a:gd name="connsiteX5" fmla="*/ 775382 w 1374096"/>
                  <a:gd name="connsiteY5" fmla="*/ 1809587 h 1831358"/>
                  <a:gd name="connsiteX6" fmla="*/ 459696 w 1374096"/>
                  <a:gd name="connsiteY6" fmla="*/ 1831358 h 1831358"/>
                  <a:gd name="connsiteX7" fmla="*/ 46039 w 1374096"/>
                  <a:gd name="connsiteY7" fmla="*/ 1439472 h 1831358"/>
                  <a:gd name="connsiteX8" fmla="*/ 0 w 1374096"/>
                  <a:gd name="connsiteY8" fmla="*/ 423825 h 1831358"/>
                  <a:gd name="connsiteX9" fmla="*/ 37985 w 1374096"/>
                  <a:gd name="connsiteY9" fmla="*/ 323684 h 1831358"/>
                  <a:gd name="connsiteX10" fmla="*/ 211468 w 1374096"/>
                  <a:gd name="connsiteY10" fmla="*/ 120225 h 1831358"/>
                  <a:gd name="connsiteX11" fmla="*/ 307296 w 1374096"/>
                  <a:gd name="connsiteY11" fmla="*/ 35215 h 1831358"/>
                  <a:gd name="connsiteX12" fmla="*/ 510245 w 1374096"/>
                  <a:gd name="connsiteY12" fmla="*/ 0 h 1831358"/>
                  <a:gd name="connsiteX13" fmla="*/ 786267 w 1374096"/>
                  <a:gd name="connsiteY13" fmla="*/ 13444 h 1831358"/>
                  <a:gd name="connsiteX14" fmla="*/ 1003982 w 1374096"/>
                  <a:gd name="connsiteY14" fmla="*/ 35215 h 1831358"/>
                  <a:gd name="connsiteX15" fmla="*/ 1047524 w 1374096"/>
                  <a:gd name="connsiteY15" fmla="*/ 296472 h 1831358"/>
                  <a:gd name="connsiteX0" fmla="*/ 1047524 w 1374096"/>
                  <a:gd name="connsiteY0" fmla="*/ 296472 h 1831358"/>
                  <a:gd name="connsiteX1" fmla="*/ 1167267 w 1374096"/>
                  <a:gd name="connsiteY1" fmla="*/ 296472 h 1831358"/>
                  <a:gd name="connsiteX2" fmla="*/ 1341439 w 1374096"/>
                  <a:gd name="connsiteY2" fmla="*/ 601272 h 1831358"/>
                  <a:gd name="connsiteX3" fmla="*/ 1374096 w 1374096"/>
                  <a:gd name="connsiteY3" fmla="*/ 1733387 h 1831358"/>
                  <a:gd name="connsiteX4" fmla="*/ 884239 w 1374096"/>
                  <a:gd name="connsiteY4" fmla="*/ 1755158 h 1831358"/>
                  <a:gd name="connsiteX5" fmla="*/ 775382 w 1374096"/>
                  <a:gd name="connsiteY5" fmla="*/ 1809587 h 1831358"/>
                  <a:gd name="connsiteX6" fmla="*/ 459696 w 1374096"/>
                  <a:gd name="connsiteY6" fmla="*/ 1831358 h 1831358"/>
                  <a:gd name="connsiteX7" fmla="*/ 46039 w 1374096"/>
                  <a:gd name="connsiteY7" fmla="*/ 1439472 h 1831358"/>
                  <a:gd name="connsiteX8" fmla="*/ 0 w 1374096"/>
                  <a:gd name="connsiteY8" fmla="*/ 423825 h 1831358"/>
                  <a:gd name="connsiteX9" fmla="*/ 37985 w 1374096"/>
                  <a:gd name="connsiteY9" fmla="*/ 323684 h 1831358"/>
                  <a:gd name="connsiteX10" fmla="*/ 211468 w 1374096"/>
                  <a:gd name="connsiteY10" fmla="*/ 120225 h 1831358"/>
                  <a:gd name="connsiteX11" fmla="*/ 345848 w 1374096"/>
                  <a:gd name="connsiteY11" fmla="*/ 16718 h 1831358"/>
                  <a:gd name="connsiteX12" fmla="*/ 510245 w 1374096"/>
                  <a:gd name="connsiteY12" fmla="*/ 0 h 1831358"/>
                  <a:gd name="connsiteX13" fmla="*/ 786267 w 1374096"/>
                  <a:gd name="connsiteY13" fmla="*/ 13444 h 1831358"/>
                  <a:gd name="connsiteX14" fmla="*/ 1003982 w 1374096"/>
                  <a:gd name="connsiteY14" fmla="*/ 35215 h 1831358"/>
                  <a:gd name="connsiteX15" fmla="*/ 1047524 w 1374096"/>
                  <a:gd name="connsiteY15" fmla="*/ 296472 h 1831358"/>
                  <a:gd name="connsiteX0" fmla="*/ 1047524 w 1374096"/>
                  <a:gd name="connsiteY0" fmla="*/ 296472 h 1831358"/>
                  <a:gd name="connsiteX1" fmla="*/ 1167267 w 1374096"/>
                  <a:gd name="connsiteY1" fmla="*/ 296472 h 1831358"/>
                  <a:gd name="connsiteX2" fmla="*/ 1341439 w 1374096"/>
                  <a:gd name="connsiteY2" fmla="*/ 601272 h 1831358"/>
                  <a:gd name="connsiteX3" fmla="*/ 1374096 w 1374096"/>
                  <a:gd name="connsiteY3" fmla="*/ 1733387 h 1831358"/>
                  <a:gd name="connsiteX4" fmla="*/ 884239 w 1374096"/>
                  <a:gd name="connsiteY4" fmla="*/ 1755158 h 1831358"/>
                  <a:gd name="connsiteX5" fmla="*/ 775382 w 1374096"/>
                  <a:gd name="connsiteY5" fmla="*/ 1809587 h 1831358"/>
                  <a:gd name="connsiteX6" fmla="*/ 459696 w 1374096"/>
                  <a:gd name="connsiteY6" fmla="*/ 1831358 h 1831358"/>
                  <a:gd name="connsiteX7" fmla="*/ 46039 w 1374096"/>
                  <a:gd name="connsiteY7" fmla="*/ 1439472 h 1831358"/>
                  <a:gd name="connsiteX8" fmla="*/ 0 w 1374096"/>
                  <a:gd name="connsiteY8" fmla="*/ 423825 h 1831358"/>
                  <a:gd name="connsiteX9" fmla="*/ 37985 w 1374096"/>
                  <a:gd name="connsiteY9" fmla="*/ 323684 h 1831358"/>
                  <a:gd name="connsiteX10" fmla="*/ 182554 w 1374096"/>
                  <a:gd name="connsiteY10" fmla="*/ 120225 h 1831358"/>
                  <a:gd name="connsiteX11" fmla="*/ 345848 w 1374096"/>
                  <a:gd name="connsiteY11" fmla="*/ 16718 h 1831358"/>
                  <a:gd name="connsiteX12" fmla="*/ 510245 w 1374096"/>
                  <a:gd name="connsiteY12" fmla="*/ 0 h 1831358"/>
                  <a:gd name="connsiteX13" fmla="*/ 786267 w 1374096"/>
                  <a:gd name="connsiteY13" fmla="*/ 13444 h 1831358"/>
                  <a:gd name="connsiteX14" fmla="*/ 1003982 w 1374096"/>
                  <a:gd name="connsiteY14" fmla="*/ 35215 h 1831358"/>
                  <a:gd name="connsiteX15" fmla="*/ 1047524 w 1374096"/>
                  <a:gd name="connsiteY15" fmla="*/ 296472 h 1831358"/>
                  <a:gd name="connsiteX0" fmla="*/ 1047524 w 1374096"/>
                  <a:gd name="connsiteY0" fmla="*/ 296472 h 1831358"/>
                  <a:gd name="connsiteX1" fmla="*/ 1167267 w 1374096"/>
                  <a:gd name="connsiteY1" fmla="*/ 296472 h 1831358"/>
                  <a:gd name="connsiteX2" fmla="*/ 1341439 w 1374096"/>
                  <a:gd name="connsiteY2" fmla="*/ 601272 h 1831358"/>
                  <a:gd name="connsiteX3" fmla="*/ 1374096 w 1374096"/>
                  <a:gd name="connsiteY3" fmla="*/ 1733387 h 1831358"/>
                  <a:gd name="connsiteX4" fmla="*/ 884239 w 1374096"/>
                  <a:gd name="connsiteY4" fmla="*/ 1755158 h 1831358"/>
                  <a:gd name="connsiteX5" fmla="*/ 775382 w 1374096"/>
                  <a:gd name="connsiteY5" fmla="*/ 1809587 h 1831358"/>
                  <a:gd name="connsiteX6" fmla="*/ 459696 w 1374096"/>
                  <a:gd name="connsiteY6" fmla="*/ 1831358 h 1831358"/>
                  <a:gd name="connsiteX7" fmla="*/ 46039 w 1374096"/>
                  <a:gd name="connsiteY7" fmla="*/ 1439472 h 1831358"/>
                  <a:gd name="connsiteX8" fmla="*/ 0 w 1374096"/>
                  <a:gd name="connsiteY8" fmla="*/ 423825 h 1831358"/>
                  <a:gd name="connsiteX9" fmla="*/ 57261 w 1374096"/>
                  <a:gd name="connsiteY9" fmla="*/ 277443 h 1831358"/>
                  <a:gd name="connsiteX10" fmla="*/ 182554 w 1374096"/>
                  <a:gd name="connsiteY10" fmla="*/ 120225 h 1831358"/>
                  <a:gd name="connsiteX11" fmla="*/ 345848 w 1374096"/>
                  <a:gd name="connsiteY11" fmla="*/ 16718 h 1831358"/>
                  <a:gd name="connsiteX12" fmla="*/ 510245 w 1374096"/>
                  <a:gd name="connsiteY12" fmla="*/ 0 h 1831358"/>
                  <a:gd name="connsiteX13" fmla="*/ 786267 w 1374096"/>
                  <a:gd name="connsiteY13" fmla="*/ 13444 h 1831358"/>
                  <a:gd name="connsiteX14" fmla="*/ 1003982 w 1374096"/>
                  <a:gd name="connsiteY14" fmla="*/ 35215 h 1831358"/>
                  <a:gd name="connsiteX15" fmla="*/ 1047524 w 1374096"/>
                  <a:gd name="connsiteY15" fmla="*/ 296472 h 1831358"/>
                  <a:gd name="connsiteX0" fmla="*/ 1037886 w 1364458"/>
                  <a:gd name="connsiteY0" fmla="*/ 296472 h 1831358"/>
                  <a:gd name="connsiteX1" fmla="*/ 1157629 w 1364458"/>
                  <a:gd name="connsiteY1" fmla="*/ 296472 h 1831358"/>
                  <a:gd name="connsiteX2" fmla="*/ 1331801 w 1364458"/>
                  <a:gd name="connsiteY2" fmla="*/ 601272 h 1831358"/>
                  <a:gd name="connsiteX3" fmla="*/ 1364458 w 1364458"/>
                  <a:gd name="connsiteY3" fmla="*/ 1733387 h 1831358"/>
                  <a:gd name="connsiteX4" fmla="*/ 874601 w 1364458"/>
                  <a:gd name="connsiteY4" fmla="*/ 1755158 h 1831358"/>
                  <a:gd name="connsiteX5" fmla="*/ 765744 w 1364458"/>
                  <a:gd name="connsiteY5" fmla="*/ 1809587 h 1831358"/>
                  <a:gd name="connsiteX6" fmla="*/ 450058 w 1364458"/>
                  <a:gd name="connsiteY6" fmla="*/ 1831358 h 1831358"/>
                  <a:gd name="connsiteX7" fmla="*/ 36401 w 1364458"/>
                  <a:gd name="connsiteY7" fmla="*/ 1439472 h 1831358"/>
                  <a:gd name="connsiteX8" fmla="*/ 0 w 1364458"/>
                  <a:gd name="connsiteY8" fmla="*/ 479314 h 1831358"/>
                  <a:gd name="connsiteX9" fmla="*/ 47623 w 1364458"/>
                  <a:gd name="connsiteY9" fmla="*/ 277443 h 1831358"/>
                  <a:gd name="connsiteX10" fmla="*/ 172916 w 1364458"/>
                  <a:gd name="connsiteY10" fmla="*/ 120225 h 1831358"/>
                  <a:gd name="connsiteX11" fmla="*/ 336210 w 1364458"/>
                  <a:gd name="connsiteY11" fmla="*/ 16718 h 1831358"/>
                  <a:gd name="connsiteX12" fmla="*/ 500607 w 1364458"/>
                  <a:gd name="connsiteY12" fmla="*/ 0 h 1831358"/>
                  <a:gd name="connsiteX13" fmla="*/ 776629 w 1364458"/>
                  <a:gd name="connsiteY13" fmla="*/ 13444 h 1831358"/>
                  <a:gd name="connsiteX14" fmla="*/ 994344 w 1364458"/>
                  <a:gd name="connsiteY14" fmla="*/ 35215 h 1831358"/>
                  <a:gd name="connsiteX15" fmla="*/ 1037886 w 1364458"/>
                  <a:gd name="connsiteY15" fmla="*/ 296472 h 1831358"/>
                  <a:gd name="connsiteX0" fmla="*/ 1037886 w 1364458"/>
                  <a:gd name="connsiteY0" fmla="*/ 296472 h 1831358"/>
                  <a:gd name="connsiteX1" fmla="*/ 1157629 w 1364458"/>
                  <a:gd name="connsiteY1" fmla="*/ 296472 h 1831358"/>
                  <a:gd name="connsiteX2" fmla="*/ 1331801 w 1364458"/>
                  <a:gd name="connsiteY2" fmla="*/ 601272 h 1831358"/>
                  <a:gd name="connsiteX3" fmla="*/ 1364458 w 1364458"/>
                  <a:gd name="connsiteY3" fmla="*/ 1733387 h 1831358"/>
                  <a:gd name="connsiteX4" fmla="*/ 874601 w 1364458"/>
                  <a:gd name="connsiteY4" fmla="*/ 1755158 h 1831358"/>
                  <a:gd name="connsiteX5" fmla="*/ 765744 w 1364458"/>
                  <a:gd name="connsiteY5" fmla="*/ 1809587 h 1831358"/>
                  <a:gd name="connsiteX6" fmla="*/ 450058 w 1364458"/>
                  <a:gd name="connsiteY6" fmla="*/ 1831358 h 1831358"/>
                  <a:gd name="connsiteX7" fmla="*/ 36401 w 1364458"/>
                  <a:gd name="connsiteY7" fmla="*/ 1439472 h 1831358"/>
                  <a:gd name="connsiteX8" fmla="*/ 0 w 1364458"/>
                  <a:gd name="connsiteY8" fmla="*/ 479314 h 1831358"/>
                  <a:gd name="connsiteX9" fmla="*/ 47623 w 1364458"/>
                  <a:gd name="connsiteY9" fmla="*/ 277443 h 1831358"/>
                  <a:gd name="connsiteX10" fmla="*/ 172916 w 1364458"/>
                  <a:gd name="connsiteY10" fmla="*/ 120225 h 1831358"/>
                  <a:gd name="connsiteX11" fmla="*/ 336210 w 1364458"/>
                  <a:gd name="connsiteY11" fmla="*/ 16718 h 1831358"/>
                  <a:gd name="connsiteX12" fmla="*/ 500607 w 1364458"/>
                  <a:gd name="connsiteY12" fmla="*/ 0 h 1831358"/>
                  <a:gd name="connsiteX13" fmla="*/ 776629 w 1364458"/>
                  <a:gd name="connsiteY13" fmla="*/ 13444 h 1831358"/>
                  <a:gd name="connsiteX14" fmla="*/ 994344 w 1364458"/>
                  <a:gd name="connsiteY14" fmla="*/ 109199 h 1831358"/>
                  <a:gd name="connsiteX15" fmla="*/ 1037886 w 1364458"/>
                  <a:gd name="connsiteY15" fmla="*/ 296472 h 1831358"/>
                  <a:gd name="connsiteX0" fmla="*/ 1037886 w 1364458"/>
                  <a:gd name="connsiteY0" fmla="*/ 296472 h 1831358"/>
                  <a:gd name="connsiteX1" fmla="*/ 1157629 w 1364458"/>
                  <a:gd name="connsiteY1" fmla="*/ 296472 h 1831358"/>
                  <a:gd name="connsiteX2" fmla="*/ 1331801 w 1364458"/>
                  <a:gd name="connsiteY2" fmla="*/ 601272 h 1831358"/>
                  <a:gd name="connsiteX3" fmla="*/ 1364458 w 1364458"/>
                  <a:gd name="connsiteY3" fmla="*/ 1733387 h 1831358"/>
                  <a:gd name="connsiteX4" fmla="*/ 874601 w 1364458"/>
                  <a:gd name="connsiteY4" fmla="*/ 1755158 h 1831358"/>
                  <a:gd name="connsiteX5" fmla="*/ 765744 w 1364458"/>
                  <a:gd name="connsiteY5" fmla="*/ 1809587 h 1831358"/>
                  <a:gd name="connsiteX6" fmla="*/ 450058 w 1364458"/>
                  <a:gd name="connsiteY6" fmla="*/ 1831358 h 1831358"/>
                  <a:gd name="connsiteX7" fmla="*/ 36401 w 1364458"/>
                  <a:gd name="connsiteY7" fmla="*/ 1439472 h 1831358"/>
                  <a:gd name="connsiteX8" fmla="*/ 0 w 1364458"/>
                  <a:gd name="connsiteY8" fmla="*/ 479314 h 1831358"/>
                  <a:gd name="connsiteX9" fmla="*/ 47623 w 1364458"/>
                  <a:gd name="connsiteY9" fmla="*/ 277443 h 1831358"/>
                  <a:gd name="connsiteX10" fmla="*/ 172916 w 1364458"/>
                  <a:gd name="connsiteY10" fmla="*/ 120225 h 1831358"/>
                  <a:gd name="connsiteX11" fmla="*/ 336210 w 1364458"/>
                  <a:gd name="connsiteY11" fmla="*/ 16718 h 1831358"/>
                  <a:gd name="connsiteX12" fmla="*/ 500607 w 1364458"/>
                  <a:gd name="connsiteY12" fmla="*/ 0 h 1831358"/>
                  <a:gd name="connsiteX13" fmla="*/ 863371 w 1364458"/>
                  <a:gd name="connsiteY13" fmla="*/ 4196 h 1831358"/>
                  <a:gd name="connsiteX14" fmla="*/ 994344 w 1364458"/>
                  <a:gd name="connsiteY14" fmla="*/ 109199 h 1831358"/>
                  <a:gd name="connsiteX15" fmla="*/ 1037886 w 1364458"/>
                  <a:gd name="connsiteY15" fmla="*/ 296472 h 1831358"/>
                  <a:gd name="connsiteX0" fmla="*/ 1037886 w 1364458"/>
                  <a:gd name="connsiteY0" fmla="*/ 296472 h 1831358"/>
                  <a:gd name="connsiteX1" fmla="*/ 1157629 w 1364458"/>
                  <a:gd name="connsiteY1" fmla="*/ 296472 h 1831358"/>
                  <a:gd name="connsiteX2" fmla="*/ 1331801 w 1364458"/>
                  <a:gd name="connsiteY2" fmla="*/ 601272 h 1831358"/>
                  <a:gd name="connsiteX3" fmla="*/ 1364458 w 1364458"/>
                  <a:gd name="connsiteY3" fmla="*/ 1733387 h 1831358"/>
                  <a:gd name="connsiteX4" fmla="*/ 874601 w 1364458"/>
                  <a:gd name="connsiteY4" fmla="*/ 1755158 h 1831358"/>
                  <a:gd name="connsiteX5" fmla="*/ 765744 w 1364458"/>
                  <a:gd name="connsiteY5" fmla="*/ 1809587 h 1831358"/>
                  <a:gd name="connsiteX6" fmla="*/ 450058 w 1364458"/>
                  <a:gd name="connsiteY6" fmla="*/ 1831358 h 1831358"/>
                  <a:gd name="connsiteX7" fmla="*/ 192191 w 1364458"/>
                  <a:gd name="connsiteY7" fmla="*/ 1581426 h 1831358"/>
                  <a:gd name="connsiteX8" fmla="*/ 36401 w 1364458"/>
                  <a:gd name="connsiteY8" fmla="*/ 1439472 h 1831358"/>
                  <a:gd name="connsiteX9" fmla="*/ 0 w 1364458"/>
                  <a:gd name="connsiteY9" fmla="*/ 479314 h 1831358"/>
                  <a:gd name="connsiteX10" fmla="*/ 47623 w 1364458"/>
                  <a:gd name="connsiteY10" fmla="*/ 277443 h 1831358"/>
                  <a:gd name="connsiteX11" fmla="*/ 172916 w 1364458"/>
                  <a:gd name="connsiteY11" fmla="*/ 120225 h 1831358"/>
                  <a:gd name="connsiteX12" fmla="*/ 336210 w 1364458"/>
                  <a:gd name="connsiteY12" fmla="*/ 16718 h 1831358"/>
                  <a:gd name="connsiteX13" fmla="*/ 500607 w 1364458"/>
                  <a:gd name="connsiteY13" fmla="*/ 0 h 1831358"/>
                  <a:gd name="connsiteX14" fmla="*/ 863371 w 1364458"/>
                  <a:gd name="connsiteY14" fmla="*/ 4196 h 1831358"/>
                  <a:gd name="connsiteX15" fmla="*/ 994344 w 1364458"/>
                  <a:gd name="connsiteY15" fmla="*/ 109199 h 1831358"/>
                  <a:gd name="connsiteX16" fmla="*/ 1037886 w 1364458"/>
                  <a:gd name="connsiteY16" fmla="*/ 296472 h 1831358"/>
                  <a:gd name="connsiteX0" fmla="*/ 1037886 w 1364458"/>
                  <a:gd name="connsiteY0" fmla="*/ 296472 h 1831358"/>
                  <a:gd name="connsiteX1" fmla="*/ 1157629 w 1364458"/>
                  <a:gd name="connsiteY1" fmla="*/ 296472 h 1831358"/>
                  <a:gd name="connsiteX2" fmla="*/ 1331801 w 1364458"/>
                  <a:gd name="connsiteY2" fmla="*/ 601272 h 1831358"/>
                  <a:gd name="connsiteX3" fmla="*/ 1364458 w 1364458"/>
                  <a:gd name="connsiteY3" fmla="*/ 1733387 h 1831358"/>
                  <a:gd name="connsiteX4" fmla="*/ 874601 w 1364458"/>
                  <a:gd name="connsiteY4" fmla="*/ 1755158 h 1831358"/>
                  <a:gd name="connsiteX5" fmla="*/ 765744 w 1364458"/>
                  <a:gd name="connsiteY5" fmla="*/ 1809587 h 1831358"/>
                  <a:gd name="connsiteX6" fmla="*/ 450058 w 1364458"/>
                  <a:gd name="connsiteY6" fmla="*/ 1831358 h 1831358"/>
                  <a:gd name="connsiteX7" fmla="*/ 192191 w 1364458"/>
                  <a:gd name="connsiteY7" fmla="*/ 1581426 h 1831358"/>
                  <a:gd name="connsiteX8" fmla="*/ 36401 w 1364458"/>
                  <a:gd name="connsiteY8" fmla="*/ 1439472 h 1831358"/>
                  <a:gd name="connsiteX9" fmla="*/ 9070 w 1364458"/>
                  <a:gd name="connsiteY9" fmla="*/ 1248494 h 1831358"/>
                  <a:gd name="connsiteX10" fmla="*/ 0 w 1364458"/>
                  <a:gd name="connsiteY10" fmla="*/ 479314 h 1831358"/>
                  <a:gd name="connsiteX11" fmla="*/ 47623 w 1364458"/>
                  <a:gd name="connsiteY11" fmla="*/ 277443 h 1831358"/>
                  <a:gd name="connsiteX12" fmla="*/ 172916 w 1364458"/>
                  <a:gd name="connsiteY12" fmla="*/ 120225 h 1831358"/>
                  <a:gd name="connsiteX13" fmla="*/ 336210 w 1364458"/>
                  <a:gd name="connsiteY13" fmla="*/ 16718 h 1831358"/>
                  <a:gd name="connsiteX14" fmla="*/ 500607 w 1364458"/>
                  <a:gd name="connsiteY14" fmla="*/ 0 h 1831358"/>
                  <a:gd name="connsiteX15" fmla="*/ 863371 w 1364458"/>
                  <a:gd name="connsiteY15" fmla="*/ 4196 h 1831358"/>
                  <a:gd name="connsiteX16" fmla="*/ 994344 w 1364458"/>
                  <a:gd name="connsiteY16" fmla="*/ 109199 h 1831358"/>
                  <a:gd name="connsiteX17" fmla="*/ 1037886 w 1364458"/>
                  <a:gd name="connsiteY17" fmla="*/ 296472 h 1831358"/>
                  <a:gd name="connsiteX0" fmla="*/ 1037886 w 1364458"/>
                  <a:gd name="connsiteY0" fmla="*/ 296472 h 1831358"/>
                  <a:gd name="connsiteX1" fmla="*/ 1157629 w 1364458"/>
                  <a:gd name="connsiteY1" fmla="*/ 296472 h 1831358"/>
                  <a:gd name="connsiteX2" fmla="*/ 1331801 w 1364458"/>
                  <a:gd name="connsiteY2" fmla="*/ 601272 h 1831358"/>
                  <a:gd name="connsiteX3" fmla="*/ 1364458 w 1364458"/>
                  <a:gd name="connsiteY3" fmla="*/ 1733387 h 1831358"/>
                  <a:gd name="connsiteX4" fmla="*/ 874601 w 1364458"/>
                  <a:gd name="connsiteY4" fmla="*/ 1755158 h 1831358"/>
                  <a:gd name="connsiteX5" fmla="*/ 765744 w 1364458"/>
                  <a:gd name="connsiteY5" fmla="*/ 1809587 h 1831358"/>
                  <a:gd name="connsiteX6" fmla="*/ 450058 w 1364458"/>
                  <a:gd name="connsiteY6" fmla="*/ 1831358 h 1831358"/>
                  <a:gd name="connsiteX7" fmla="*/ 192191 w 1364458"/>
                  <a:gd name="connsiteY7" fmla="*/ 1581426 h 1831358"/>
                  <a:gd name="connsiteX8" fmla="*/ 84590 w 1364458"/>
                  <a:gd name="connsiteY8" fmla="*/ 1439472 h 1831358"/>
                  <a:gd name="connsiteX9" fmla="*/ 9070 w 1364458"/>
                  <a:gd name="connsiteY9" fmla="*/ 1248494 h 1831358"/>
                  <a:gd name="connsiteX10" fmla="*/ 0 w 1364458"/>
                  <a:gd name="connsiteY10" fmla="*/ 479314 h 1831358"/>
                  <a:gd name="connsiteX11" fmla="*/ 47623 w 1364458"/>
                  <a:gd name="connsiteY11" fmla="*/ 277443 h 1831358"/>
                  <a:gd name="connsiteX12" fmla="*/ 172916 w 1364458"/>
                  <a:gd name="connsiteY12" fmla="*/ 120225 h 1831358"/>
                  <a:gd name="connsiteX13" fmla="*/ 336210 w 1364458"/>
                  <a:gd name="connsiteY13" fmla="*/ 16718 h 1831358"/>
                  <a:gd name="connsiteX14" fmla="*/ 500607 w 1364458"/>
                  <a:gd name="connsiteY14" fmla="*/ 0 h 1831358"/>
                  <a:gd name="connsiteX15" fmla="*/ 863371 w 1364458"/>
                  <a:gd name="connsiteY15" fmla="*/ 4196 h 1831358"/>
                  <a:gd name="connsiteX16" fmla="*/ 994344 w 1364458"/>
                  <a:gd name="connsiteY16" fmla="*/ 109199 h 1831358"/>
                  <a:gd name="connsiteX17" fmla="*/ 1037886 w 1364458"/>
                  <a:gd name="connsiteY17" fmla="*/ 296472 h 1831358"/>
                  <a:gd name="connsiteX0" fmla="*/ 1037886 w 1364458"/>
                  <a:gd name="connsiteY0" fmla="*/ 296472 h 1831358"/>
                  <a:gd name="connsiteX1" fmla="*/ 1157629 w 1364458"/>
                  <a:gd name="connsiteY1" fmla="*/ 296472 h 1831358"/>
                  <a:gd name="connsiteX2" fmla="*/ 1331801 w 1364458"/>
                  <a:gd name="connsiteY2" fmla="*/ 601272 h 1831358"/>
                  <a:gd name="connsiteX3" fmla="*/ 1364458 w 1364458"/>
                  <a:gd name="connsiteY3" fmla="*/ 1733387 h 1831358"/>
                  <a:gd name="connsiteX4" fmla="*/ 874601 w 1364458"/>
                  <a:gd name="connsiteY4" fmla="*/ 1755158 h 1831358"/>
                  <a:gd name="connsiteX5" fmla="*/ 765744 w 1364458"/>
                  <a:gd name="connsiteY5" fmla="*/ 1809587 h 1831358"/>
                  <a:gd name="connsiteX6" fmla="*/ 450058 w 1364458"/>
                  <a:gd name="connsiteY6" fmla="*/ 1831358 h 1831358"/>
                  <a:gd name="connsiteX7" fmla="*/ 192191 w 1364458"/>
                  <a:gd name="connsiteY7" fmla="*/ 1581426 h 1831358"/>
                  <a:gd name="connsiteX8" fmla="*/ 84590 w 1364458"/>
                  <a:gd name="connsiteY8" fmla="*/ 1476465 h 1831358"/>
                  <a:gd name="connsiteX9" fmla="*/ 9070 w 1364458"/>
                  <a:gd name="connsiteY9" fmla="*/ 1248494 h 1831358"/>
                  <a:gd name="connsiteX10" fmla="*/ 0 w 1364458"/>
                  <a:gd name="connsiteY10" fmla="*/ 479314 h 1831358"/>
                  <a:gd name="connsiteX11" fmla="*/ 47623 w 1364458"/>
                  <a:gd name="connsiteY11" fmla="*/ 277443 h 1831358"/>
                  <a:gd name="connsiteX12" fmla="*/ 172916 w 1364458"/>
                  <a:gd name="connsiteY12" fmla="*/ 120225 h 1831358"/>
                  <a:gd name="connsiteX13" fmla="*/ 336210 w 1364458"/>
                  <a:gd name="connsiteY13" fmla="*/ 16718 h 1831358"/>
                  <a:gd name="connsiteX14" fmla="*/ 500607 w 1364458"/>
                  <a:gd name="connsiteY14" fmla="*/ 0 h 1831358"/>
                  <a:gd name="connsiteX15" fmla="*/ 863371 w 1364458"/>
                  <a:gd name="connsiteY15" fmla="*/ 4196 h 1831358"/>
                  <a:gd name="connsiteX16" fmla="*/ 994344 w 1364458"/>
                  <a:gd name="connsiteY16" fmla="*/ 109199 h 1831358"/>
                  <a:gd name="connsiteX17" fmla="*/ 1037886 w 1364458"/>
                  <a:gd name="connsiteY17" fmla="*/ 296472 h 1831358"/>
                  <a:gd name="connsiteX0" fmla="*/ 1037886 w 1364458"/>
                  <a:gd name="connsiteY0" fmla="*/ 296472 h 1831358"/>
                  <a:gd name="connsiteX1" fmla="*/ 1157629 w 1364458"/>
                  <a:gd name="connsiteY1" fmla="*/ 296472 h 1831358"/>
                  <a:gd name="connsiteX2" fmla="*/ 1331801 w 1364458"/>
                  <a:gd name="connsiteY2" fmla="*/ 601272 h 1831358"/>
                  <a:gd name="connsiteX3" fmla="*/ 1364458 w 1364458"/>
                  <a:gd name="connsiteY3" fmla="*/ 1733387 h 1831358"/>
                  <a:gd name="connsiteX4" fmla="*/ 874601 w 1364458"/>
                  <a:gd name="connsiteY4" fmla="*/ 1755158 h 1831358"/>
                  <a:gd name="connsiteX5" fmla="*/ 765744 w 1364458"/>
                  <a:gd name="connsiteY5" fmla="*/ 1809587 h 1831358"/>
                  <a:gd name="connsiteX6" fmla="*/ 450058 w 1364458"/>
                  <a:gd name="connsiteY6" fmla="*/ 1831358 h 1831358"/>
                  <a:gd name="connsiteX7" fmla="*/ 211467 w 1364458"/>
                  <a:gd name="connsiteY7" fmla="*/ 1618419 h 1831358"/>
                  <a:gd name="connsiteX8" fmla="*/ 84590 w 1364458"/>
                  <a:gd name="connsiteY8" fmla="*/ 1476465 h 1831358"/>
                  <a:gd name="connsiteX9" fmla="*/ 9070 w 1364458"/>
                  <a:gd name="connsiteY9" fmla="*/ 1248494 h 1831358"/>
                  <a:gd name="connsiteX10" fmla="*/ 0 w 1364458"/>
                  <a:gd name="connsiteY10" fmla="*/ 479314 h 1831358"/>
                  <a:gd name="connsiteX11" fmla="*/ 47623 w 1364458"/>
                  <a:gd name="connsiteY11" fmla="*/ 277443 h 1831358"/>
                  <a:gd name="connsiteX12" fmla="*/ 172916 w 1364458"/>
                  <a:gd name="connsiteY12" fmla="*/ 120225 h 1831358"/>
                  <a:gd name="connsiteX13" fmla="*/ 336210 w 1364458"/>
                  <a:gd name="connsiteY13" fmla="*/ 16718 h 1831358"/>
                  <a:gd name="connsiteX14" fmla="*/ 500607 w 1364458"/>
                  <a:gd name="connsiteY14" fmla="*/ 0 h 1831358"/>
                  <a:gd name="connsiteX15" fmla="*/ 863371 w 1364458"/>
                  <a:gd name="connsiteY15" fmla="*/ 4196 h 1831358"/>
                  <a:gd name="connsiteX16" fmla="*/ 994344 w 1364458"/>
                  <a:gd name="connsiteY16" fmla="*/ 109199 h 1831358"/>
                  <a:gd name="connsiteX17" fmla="*/ 1037886 w 1364458"/>
                  <a:gd name="connsiteY17" fmla="*/ 296472 h 1831358"/>
                  <a:gd name="connsiteX0" fmla="*/ 1037886 w 1364458"/>
                  <a:gd name="connsiteY0" fmla="*/ 296472 h 1831358"/>
                  <a:gd name="connsiteX1" fmla="*/ 1157629 w 1364458"/>
                  <a:gd name="connsiteY1" fmla="*/ 296472 h 1831358"/>
                  <a:gd name="connsiteX2" fmla="*/ 1331801 w 1364458"/>
                  <a:gd name="connsiteY2" fmla="*/ 601272 h 1831358"/>
                  <a:gd name="connsiteX3" fmla="*/ 1364458 w 1364458"/>
                  <a:gd name="connsiteY3" fmla="*/ 1733387 h 1831358"/>
                  <a:gd name="connsiteX4" fmla="*/ 874601 w 1364458"/>
                  <a:gd name="connsiteY4" fmla="*/ 1755158 h 1831358"/>
                  <a:gd name="connsiteX5" fmla="*/ 765744 w 1364458"/>
                  <a:gd name="connsiteY5" fmla="*/ 1809587 h 1831358"/>
                  <a:gd name="connsiteX6" fmla="*/ 450058 w 1364458"/>
                  <a:gd name="connsiteY6" fmla="*/ 1831358 h 1831358"/>
                  <a:gd name="connsiteX7" fmla="*/ 211467 w 1364458"/>
                  <a:gd name="connsiteY7" fmla="*/ 1618419 h 1831358"/>
                  <a:gd name="connsiteX8" fmla="*/ 84590 w 1364458"/>
                  <a:gd name="connsiteY8" fmla="*/ 1476465 h 1831358"/>
                  <a:gd name="connsiteX9" fmla="*/ 9070 w 1364458"/>
                  <a:gd name="connsiteY9" fmla="*/ 1248494 h 1831358"/>
                  <a:gd name="connsiteX10" fmla="*/ 0 w 1364458"/>
                  <a:gd name="connsiteY10" fmla="*/ 479314 h 1831358"/>
                  <a:gd name="connsiteX11" fmla="*/ 47623 w 1364458"/>
                  <a:gd name="connsiteY11" fmla="*/ 277443 h 1831358"/>
                  <a:gd name="connsiteX12" fmla="*/ 172916 w 1364458"/>
                  <a:gd name="connsiteY12" fmla="*/ 120225 h 1831358"/>
                  <a:gd name="connsiteX13" fmla="*/ 336210 w 1364458"/>
                  <a:gd name="connsiteY13" fmla="*/ 16718 h 1831358"/>
                  <a:gd name="connsiteX14" fmla="*/ 500607 w 1364458"/>
                  <a:gd name="connsiteY14" fmla="*/ 0 h 1831358"/>
                  <a:gd name="connsiteX15" fmla="*/ 863371 w 1364458"/>
                  <a:gd name="connsiteY15" fmla="*/ 4196 h 1831358"/>
                  <a:gd name="connsiteX16" fmla="*/ 975068 w 1364458"/>
                  <a:gd name="connsiteY16" fmla="*/ 155439 h 1831358"/>
                  <a:gd name="connsiteX17" fmla="*/ 1037886 w 1364458"/>
                  <a:gd name="connsiteY17" fmla="*/ 296472 h 1831358"/>
                  <a:gd name="connsiteX0" fmla="*/ 1037886 w 1364458"/>
                  <a:gd name="connsiteY0" fmla="*/ 296472 h 1831358"/>
                  <a:gd name="connsiteX1" fmla="*/ 1157629 w 1364458"/>
                  <a:gd name="connsiteY1" fmla="*/ 296472 h 1831358"/>
                  <a:gd name="connsiteX2" fmla="*/ 1331801 w 1364458"/>
                  <a:gd name="connsiteY2" fmla="*/ 601272 h 1831358"/>
                  <a:gd name="connsiteX3" fmla="*/ 1364458 w 1364458"/>
                  <a:gd name="connsiteY3" fmla="*/ 1733387 h 1831358"/>
                  <a:gd name="connsiteX4" fmla="*/ 874601 w 1364458"/>
                  <a:gd name="connsiteY4" fmla="*/ 1755158 h 1831358"/>
                  <a:gd name="connsiteX5" fmla="*/ 765744 w 1364458"/>
                  <a:gd name="connsiteY5" fmla="*/ 1809587 h 1831358"/>
                  <a:gd name="connsiteX6" fmla="*/ 450058 w 1364458"/>
                  <a:gd name="connsiteY6" fmla="*/ 1831358 h 1831358"/>
                  <a:gd name="connsiteX7" fmla="*/ 211467 w 1364458"/>
                  <a:gd name="connsiteY7" fmla="*/ 1618419 h 1831358"/>
                  <a:gd name="connsiteX8" fmla="*/ 84590 w 1364458"/>
                  <a:gd name="connsiteY8" fmla="*/ 1476465 h 1831358"/>
                  <a:gd name="connsiteX9" fmla="*/ 9070 w 1364458"/>
                  <a:gd name="connsiteY9" fmla="*/ 1248494 h 1831358"/>
                  <a:gd name="connsiteX10" fmla="*/ 0 w 1364458"/>
                  <a:gd name="connsiteY10" fmla="*/ 479314 h 1831358"/>
                  <a:gd name="connsiteX11" fmla="*/ 47623 w 1364458"/>
                  <a:gd name="connsiteY11" fmla="*/ 277443 h 1831358"/>
                  <a:gd name="connsiteX12" fmla="*/ 172916 w 1364458"/>
                  <a:gd name="connsiteY12" fmla="*/ 120225 h 1831358"/>
                  <a:gd name="connsiteX13" fmla="*/ 336210 w 1364458"/>
                  <a:gd name="connsiteY13" fmla="*/ 16718 h 1831358"/>
                  <a:gd name="connsiteX14" fmla="*/ 500607 w 1364458"/>
                  <a:gd name="connsiteY14" fmla="*/ 0 h 1831358"/>
                  <a:gd name="connsiteX15" fmla="*/ 815181 w 1364458"/>
                  <a:gd name="connsiteY15" fmla="*/ 22693 h 1831358"/>
                  <a:gd name="connsiteX16" fmla="*/ 975068 w 1364458"/>
                  <a:gd name="connsiteY16" fmla="*/ 155439 h 1831358"/>
                  <a:gd name="connsiteX17" fmla="*/ 1037886 w 1364458"/>
                  <a:gd name="connsiteY17" fmla="*/ 296472 h 1831358"/>
                  <a:gd name="connsiteX0" fmla="*/ 1037886 w 1364458"/>
                  <a:gd name="connsiteY0" fmla="*/ 296472 h 1837688"/>
                  <a:gd name="connsiteX1" fmla="*/ 1157629 w 1364458"/>
                  <a:gd name="connsiteY1" fmla="*/ 296472 h 1837688"/>
                  <a:gd name="connsiteX2" fmla="*/ 1331801 w 1364458"/>
                  <a:gd name="connsiteY2" fmla="*/ 601272 h 1837688"/>
                  <a:gd name="connsiteX3" fmla="*/ 1364458 w 1364458"/>
                  <a:gd name="connsiteY3" fmla="*/ 1733387 h 1837688"/>
                  <a:gd name="connsiteX4" fmla="*/ 874601 w 1364458"/>
                  <a:gd name="connsiteY4" fmla="*/ 1755158 h 1837688"/>
                  <a:gd name="connsiteX5" fmla="*/ 780880 w 1364458"/>
                  <a:gd name="connsiteY5" fmla="*/ 1837688 h 1837688"/>
                  <a:gd name="connsiteX6" fmla="*/ 450058 w 1364458"/>
                  <a:gd name="connsiteY6" fmla="*/ 1831358 h 1837688"/>
                  <a:gd name="connsiteX7" fmla="*/ 211467 w 1364458"/>
                  <a:gd name="connsiteY7" fmla="*/ 1618419 h 1837688"/>
                  <a:gd name="connsiteX8" fmla="*/ 84590 w 1364458"/>
                  <a:gd name="connsiteY8" fmla="*/ 1476465 h 1837688"/>
                  <a:gd name="connsiteX9" fmla="*/ 9070 w 1364458"/>
                  <a:gd name="connsiteY9" fmla="*/ 1248494 h 1837688"/>
                  <a:gd name="connsiteX10" fmla="*/ 0 w 1364458"/>
                  <a:gd name="connsiteY10" fmla="*/ 479314 h 1837688"/>
                  <a:gd name="connsiteX11" fmla="*/ 47623 w 1364458"/>
                  <a:gd name="connsiteY11" fmla="*/ 277443 h 1837688"/>
                  <a:gd name="connsiteX12" fmla="*/ 172916 w 1364458"/>
                  <a:gd name="connsiteY12" fmla="*/ 120225 h 1837688"/>
                  <a:gd name="connsiteX13" fmla="*/ 336210 w 1364458"/>
                  <a:gd name="connsiteY13" fmla="*/ 16718 h 1837688"/>
                  <a:gd name="connsiteX14" fmla="*/ 500607 w 1364458"/>
                  <a:gd name="connsiteY14" fmla="*/ 0 h 1837688"/>
                  <a:gd name="connsiteX15" fmla="*/ 815181 w 1364458"/>
                  <a:gd name="connsiteY15" fmla="*/ 22693 h 1837688"/>
                  <a:gd name="connsiteX16" fmla="*/ 975068 w 1364458"/>
                  <a:gd name="connsiteY16" fmla="*/ 155439 h 1837688"/>
                  <a:gd name="connsiteX17" fmla="*/ 1037886 w 1364458"/>
                  <a:gd name="connsiteY17" fmla="*/ 296472 h 1837688"/>
                  <a:gd name="connsiteX0" fmla="*/ 1037886 w 1364458"/>
                  <a:gd name="connsiteY0" fmla="*/ 296472 h 1850093"/>
                  <a:gd name="connsiteX1" fmla="*/ 1157629 w 1364458"/>
                  <a:gd name="connsiteY1" fmla="*/ 296472 h 1850093"/>
                  <a:gd name="connsiteX2" fmla="*/ 1331801 w 1364458"/>
                  <a:gd name="connsiteY2" fmla="*/ 601272 h 1850093"/>
                  <a:gd name="connsiteX3" fmla="*/ 1364458 w 1364458"/>
                  <a:gd name="connsiteY3" fmla="*/ 1733387 h 1850093"/>
                  <a:gd name="connsiteX4" fmla="*/ 874601 w 1364458"/>
                  <a:gd name="connsiteY4" fmla="*/ 1755158 h 1850093"/>
                  <a:gd name="connsiteX5" fmla="*/ 780880 w 1364458"/>
                  <a:gd name="connsiteY5" fmla="*/ 1837688 h 1850093"/>
                  <a:gd name="connsiteX6" fmla="*/ 486384 w 1364458"/>
                  <a:gd name="connsiteY6" fmla="*/ 1850093 h 1850093"/>
                  <a:gd name="connsiteX7" fmla="*/ 211467 w 1364458"/>
                  <a:gd name="connsiteY7" fmla="*/ 1618419 h 1850093"/>
                  <a:gd name="connsiteX8" fmla="*/ 84590 w 1364458"/>
                  <a:gd name="connsiteY8" fmla="*/ 1476465 h 1850093"/>
                  <a:gd name="connsiteX9" fmla="*/ 9070 w 1364458"/>
                  <a:gd name="connsiteY9" fmla="*/ 1248494 h 1850093"/>
                  <a:gd name="connsiteX10" fmla="*/ 0 w 1364458"/>
                  <a:gd name="connsiteY10" fmla="*/ 479314 h 1850093"/>
                  <a:gd name="connsiteX11" fmla="*/ 47623 w 1364458"/>
                  <a:gd name="connsiteY11" fmla="*/ 277443 h 1850093"/>
                  <a:gd name="connsiteX12" fmla="*/ 172916 w 1364458"/>
                  <a:gd name="connsiteY12" fmla="*/ 120225 h 1850093"/>
                  <a:gd name="connsiteX13" fmla="*/ 336210 w 1364458"/>
                  <a:gd name="connsiteY13" fmla="*/ 16718 h 1850093"/>
                  <a:gd name="connsiteX14" fmla="*/ 500607 w 1364458"/>
                  <a:gd name="connsiteY14" fmla="*/ 0 h 1850093"/>
                  <a:gd name="connsiteX15" fmla="*/ 815181 w 1364458"/>
                  <a:gd name="connsiteY15" fmla="*/ 22693 h 1850093"/>
                  <a:gd name="connsiteX16" fmla="*/ 975068 w 1364458"/>
                  <a:gd name="connsiteY16" fmla="*/ 155439 h 1850093"/>
                  <a:gd name="connsiteX17" fmla="*/ 1037886 w 1364458"/>
                  <a:gd name="connsiteY17" fmla="*/ 296472 h 1850093"/>
                  <a:gd name="connsiteX0" fmla="*/ 1037886 w 1364458"/>
                  <a:gd name="connsiteY0" fmla="*/ 296472 h 1850093"/>
                  <a:gd name="connsiteX1" fmla="*/ 1157629 w 1364458"/>
                  <a:gd name="connsiteY1" fmla="*/ 296472 h 1850093"/>
                  <a:gd name="connsiteX2" fmla="*/ 1331801 w 1364458"/>
                  <a:gd name="connsiteY2" fmla="*/ 601272 h 1850093"/>
                  <a:gd name="connsiteX3" fmla="*/ 1364458 w 1364458"/>
                  <a:gd name="connsiteY3" fmla="*/ 1733387 h 1850093"/>
                  <a:gd name="connsiteX4" fmla="*/ 874601 w 1364458"/>
                  <a:gd name="connsiteY4" fmla="*/ 1755158 h 1850093"/>
                  <a:gd name="connsiteX5" fmla="*/ 780880 w 1364458"/>
                  <a:gd name="connsiteY5" fmla="*/ 1837688 h 1850093"/>
                  <a:gd name="connsiteX6" fmla="*/ 486384 w 1364458"/>
                  <a:gd name="connsiteY6" fmla="*/ 1850093 h 1850093"/>
                  <a:gd name="connsiteX7" fmla="*/ 211467 w 1364458"/>
                  <a:gd name="connsiteY7" fmla="*/ 1618419 h 1850093"/>
                  <a:gd name="connsiteX8" fmla="*/ 84590 w 1364458"/>
                  <a:gd name="connsiteY8" fmla="*/ 1476465 h 1850093"/>
                  <a:gd name="connsiteX9" fmla="*/ 9070 w 1364458"/>
                  <a:gd name="connsiteY9" fmla="*/ 1248494 h 1850093"/>
                  <a:gd name="connsiteX10" fmla="*/ 0 w 1364458"/>
                  <a:gd name="connsiteY10" fmla="*/ 479314 h 1850093"/>
                  <a:gd name="connsiteX11" fmla="*/ 47623 w 1364458"/>
                  <a:gd name="connsiteY11" fmla="*/ 277443 h 1850093"/>
                  <a:gd name="connsiteX12" fmla="*/ 172916 w 1364458"/>
                  <a:gd name="connsiteY12" fmla="*/ 120225 h 1850093"/>
                  <a:gd name="connsiteX13" fmla="*/ 336210 w 1364458"/>
                  <a:gd name="connsiteY13" fmla="*/ 16718 h 1850093"/>
                  <a:gd name="connsiteX14" fmla="*/ 500607 w 1364458"/>
                  <a:gd name="connsiteY14" fmla="*/ 0 h 1850093"/>
                  <a:gd name="connsiteX15" fmla="*/ 815181 w 1364458"/>
                  <a:gd name="connsiteY15" fmla="*/ 22693 h 1850093"/>
                  <a:gd name="connsiteX16" fmla="*/ 975068 w 1364458"/>
                  <a:gd name="connsiteY16" fmla="*/ 155439 h 1850093"/>
                  <a:gd name="connsiteX17" fmla="*/ 1037886 w 1364458"/>
                  <a:gd name="connsiteY17" fmla="*/ 296472 h 1850093"/>
                  <a:gd name="connsiteX0" fmla="*/ 1037886 w 1364458"/>
                  <a:gd name="connsiteY0" fmla="*/ 296472 h 1850093"/>
                  <a:gd name="connsiteX1" fmla="*/ 1157629 w 1364458"/>
                  <a:gd name="connsiteY1" fmla="*/ 296472 h 1850093"/>
                  <a:gd name="connsiteX2" fmla="*/ 1331801 w 1364458"/>
                  <a:gd name="connsiteY2" fmla="*/ 601272 h 1850093"/>
                  <a:gd name="connsiteX3" fmla="*/ 1364458 w 1364458"/>
                  <a:gd name="connsiteY3" fmla="*/ 1733387 h 1850093"/>
                  <a:gd name="connsiteX4" fmla="*/ 874601 w 1364458"/>
                  <a:gd name="connsiteY4" fmla="*/ 1755158 h 1850093"/>
                  <a:gd name="connsiteX5" fmla="*/ 780880 w 1364458"/>
                  <a:gd name="connsiteY5" fmla="*/ 1837688 h 1850093"/>
                  <a:gd name="connsiteX6" fmla="*/ 486384 w 1364458"/>
                  <a:gd name="connsiteY6" fmla="*/ 1850093 h 1850093"/>
                  <a:gd name="connsiteX7" fmla="*/ 304346 w 1364458"/>
                  <a:gd name="connsiteY7" fmla="*/ 1705793 h 1850093"/>
                  <a:gd name="connsiteX8" fmla="*/ 211467 w 1364458"/>
                  <a:gd name="connsiteY8" fmla="*/ 1618419 h 1850093"/>
                  <a:gd name="connsiteX9" fmla="*/ 84590 w 1364458"/>
                  <a:gd name="connsiteY9" fmla="*/ 1476465 h 1850093"/>
                  <a:gd name="connsiteX10" fmla="*/ 9070 w 1364458"/>
                  <a:gd name="connsiteY10" fmla="*/ 1248494 h 1850093"/>
                  <a:gd name="connsiteX11" fmla="*/ 0 w 1364458"/>
                  <a:gd name="connsiteY11" fmla="*/ 479314 h 1850093"/>
                  <a:gd name="connsiteX12" fmla="*/ 47623 w 1364458"/>
                  <a:gd name="connsiteY12" fmla="*/ 277443 h 1850093"/>
                  <a:gd name="connsiteX13" fmla="*/ 172916 w 1364458"/>
                  <a:gd name="connsiteY13" fmla="*/ 120225 h 1850093"/>
                  <a:gd name="connsiteX14" fmla="*/ 336210 w 1364458"/>
                  <a:gd name="connsiteY14" fmla="*/ 16718 h 1850093"/>
                  <a:gd name="connsiteX15" fmla="*/ 500607 w 1364458"/>
                  <a:gd name="connsiteY15" fmla="*/ 0 h 1850093"/>
                  <a:gd name="connsiteX16" fmla="*/ 815181 w 1364458"/>
                  <a:gd name="connsiteY16" fmla="*/ 22693 h 1850093"/>
                  <a:gd name="connsiteX17" fmla="*/ 975068 w 1364458"/>
                  <a:gd name="connsiteY17" fmla="*/ 155439 h 1850093"/>
                  <a:gd name="connsiteX18" fmla="*/ 1037886 w 1364458"/>
                  <a:gd name="connsiteY18" fmla="*/ 296472 h 1850093"/>
                  <a:gd name="connsiteX0" fmla="*/ 1037886 w 1364458"/>
                  <a:gd name="connsiteY0" fmla="*/ 296472 h 1850093"/>
                  <a:gd name="connsiteX1" fmla="*/ 1157629 w 1364458"/>
                  <a:gd name="connsiteY1" fmla="*/ 296472 h 1850093"/>
                  <a:gd name="connsiteX2" fmla="*/ 1331801 w 1364458"/>
                  <a:gd name="connsiteY2" fmla="*/ 601272 h 1850093"/>
                  <a:gd name="connsiteX3" fmla="*/ 1364458 w 1364458"/>
                  <a:gd name="connsiteY3" fmla="*/ 1733387 h 1850093"/>
                  <a:gd name="connsiteX4" fmla="*/ 874601 w 1364458"/>
                  <a:gd name="connsiteY4" fmla="*/ 1755158 h 1850093"/>
                  <a:gd name="connsiteX5" fmla="*/ 780880 w 1364458"/>
                  <a:gd name="connsiteY5" fmla="*/ 1837688 h 1850093"/>
                  <a:gd name="connsiteX6" fmla="*/ 486384 w 1364458"/>
                  <a:gd name="connsiteY6" fmla="*/ 1850093 h 1850093"/>
                  <a:gd name="connsiteX7" fmla="*/ 340672 w 1364458"/>
                  <a:gd name="connsiteY7" fmla="*/ 1752629 h 1850093"/>
                  <a:gd name="connsiteX8" fmla="*/ 211467 w 1364458"/>
                  <a:gd name="connsiteY8" fmla="*/ 1618419 h 1850093"/>
                  <a:gd name="connsiteX9" fmla="*/ 84590 w 1364458"/>
                  <a:gd name="connsiteY9" fmla="*/ 1476465 h 1850093"/>
                  <a:gd name="connsiteX10" fmla="*/ 9070 w 1364458"/>
                  <a:gd name="connsiteY10" fmla="*/ 1248494 h 1850093"/>
                  <a:gd name="connsiteX11" fmla="*/ 0 w 1364458"/>
                  <a:gd name="connsiteY11" fmla="*/ 479314 h 1850093"/>
                  <a:gd name="connsiteX12" fmla="*/ 47623 w 1364458"/>
                  <a:gd name="connsiteY12" fmla="*/ 277443 h 1850093"/>
                  <a:gd name="connsiteX13" fmla="*/ 172916 w 1364458"/>
                  <a:gd name="connsiteY13" fmla="*/ 120225 h 1850093"/>
                  <a:gd name="connsiteX14" fmla="*/ 336210 w 1364458"/>
                  <a:gd name="connsiteY14" fmla="*/ 16718 h 1850093"/>
                  <a:gd name="connsiteX15" fmla="*/ 500607 w 1364458"/>
                  <a:gd name="connsiteY15" fmla="*/ 0 h 1850093"/>
                  <a:gd name="connsiteX16" fmla="*/ 815181 w 1364458"/>
                  <a:gd name="connsiteY16" fmla="*/ 22693 h 1850093"/>
                  <a:gd name="connsiteX17" fmla="*/ 975068 w 1364458"/>
                  <a:gd name="connsiteY17" fmla="*/ 155439 h 1850093"/>
                  <a:gd name="connsiteX18" fmla="*/ 1037886 w 1364458"/>
                  <a:gd name="connsiteY18" fmla="*/ 296472 h 1850093"/>
                  <a:gd name="connsiteX0" fmla="*/ 1037886 w 1364458"/>
                  <a:gd name="connsiteY0" fmla="*/ 296472 h 1850093"/>
                  <a:gd name="connsiteX1" fmla="*/ 1157629 w 1364458"/>
                  <a:gd name="connsiteY1" fmla="*/ 296472 h 1850093"/>
                  <a:gd name="connsiteX2" fmla="*/ 1331801 w 1364458"/>
                  <a:gd name="connsiteY2" fmla="*/ 601272 h 1850093"/>
                  <a:gd name="connsiteX3" fmla="*/ 1364458 w 1364458"/>
                  <a:gd name="connsiteY3" fmla="*/ 1733387 h 1850093"/>
                  <a:gd name="connsiteX4" fmla="*/ 874601 w 1364458"/>
                  <a:gd name="connsiteY4" fmla="*/ 1755158 h 1850093"/>
                  <a:gd name="connsiteX5" fmla="*/ 780880 w 1364458"/>
                  <a:gd name="connsiteY5" fmla="*/ 1837688 h 1850093"/>
                  <a:gd name="connsiteX6" fmla="*/ 486384 w 1364458"/>
                  <a:gd name="connsiteY6" fmla="*/ 1850093 h 1850093"/>
                  <a:gd name="connsiteX7" fmla="*/ 340672 w 1364458"/>
                  <a:gd name="connsiteY7" fmla="*/ 1752629 h 1850093"/>
                  <a:gd name="connsiteX8" fmla="*/ 111572 w 1364458"/>
                  <a:gd name="connsiteY8" fmla="*/ 1524749 h 1850093"/>
                  <a:gd name="connsiteX9" fmla="*/ 84590 w 1364458"/>
                  <a:gd name="connsiteY9" fmla="*/ 1476465 h 1850093"/>
                  <a:gd name="connsiteX10" fmla="*/ 9070 w 1364458"/>
                  <a:gd name="connsiteY10" fmla="*/ 1248494 h 1850093"/>
                  <a:gd name="connsiteX11" fmla="*/ 0 w 1364458"/>
                  <a:gd name="connsiteY11" fmla="*/ 479314 h 1850093"/>
                  <a:gd name="connsiteX12" fmla="*/ 47623 w 1364458"/>
                  <a:gd name="connsiteY12" fmla="*/ 277443 h 1850093"/>
                  <a:gd name="connsiteX13" fmla="*/ 172916 w 1364458"/>
                  <a:gd name="connsiteY13" fmla="*/ 120225 h 1850093"/>
                  <a:gd name="connsiteX14" fmla="*/ 336210 w 1364458"/>
                  <a:gd name="connsiteY14" fmla="*/ 16718 h 1850093"/>
                  <a:gd name="connsiteX15" fmla="*/ 500607 w 1364458"/>
                  <a:gd name="connsiteY15" fmla="*/ 0 h 1850093"/>
                  <a:gd name="connsiteX16" fmla="*/ 815181 w 1364458"/>
                  <a:gd name="connsiteY16" fmla="*/ 22693 h 1850093"/>
                  <a:gd name="connsiteX17" fmla="*/ 975068 w 1364458"/>
                  <a:gd name="connsiteY17" fmla="*/ 155439 h 1850093"/>
                  <a:gd name="connsiteX18" fmla="*/ 1037886 w 1364458"/>
                  <a:gd name="connsiteY18" fmla="*/ 296472 h 1850093"/>
                  <a:gd name="connsiteX0" fmla="*/ 1037886 w 1364458"/>
                  <a:gd name="connsiteY0" fmla="*/ 296472 h 1850093"/>
                  <a:gd name="connsiteX1" fmla="*/ 1157629 w 1364458"/>
                  <a:gd name="connsiteY1" fmla="*/ 296472 h 1850093"/>
                  <a:gd name="connsiteX2" fmla="*/ 1331801 w 1364458"/>
                  <a:gd name="connsiteY2" fmla="*/ 601272 h 1850093"/>
                  <a:gd name="connsiteX3" fmla="*/ 1364458 w 1364458"/>
                  <a:gd name="connsiteY3" fmla="*/ 1733387 h 1850093"/>
                  <a:gd name="connsiteX4" fmla="*/ 874601 w 1364458"/>
                  <a:gd name="connsiteY4" fmla="*/ 1755158 h 1850093"/>
                  <a:gd name="connsiteX5" fmla="*/ 780880 w 1364458"/>
                  <a:gd name="connsiteY5" fmla="*/ 1837688 h 1850093"/>
                  <a:gd name="connsiteX6" fmla="*/ 486384 w 1364458"/>
                  <a:gd name="connsiteY6" fmla="*/ 1850093 h 1850093"/>
                  <a:gd name="connsiteX7" fmla="*/ 340672 w 1364458"/>
                  <a:gd name="connsiteY7" fmla="*/ 1752629 h 1850093"/>
                  <a:gd name="connsiteX8" fmla="*/ 84590 w 1364458"/>
                  <a:gd name="connsiteY8" fmla="*/ 1476465 h 1850093"/>
                  <a:gd name="connsiteX9" fmla="*/ 9070 w 1364458"/>
                  <a:gd name="connsiteY9" fmla="*/ 1248494 h 1850093"/>
                  <a:gd name="connsiteX10" fmla="*/ 0 w 1364458"/>
                  <a:gd name="connsiteY10" fmla="*/ 479314 h 1850093"/>
                  <a:gd name="connsiteX11" fmla="*/ 47623 w 1364458"/>
                  <a:gd name="connsiteY11" fmla="*/ 277443 h 1850093"/>
                  <a:gd name="connsiteX12" fmla="*/ 172916 w 1364458"/>
                  <a:gd name="connsiteY12" fmla="*/ 120225 h 1850093"/>
                  <a:gd name="connsiteX13" fmla="*/ 336210 w 1364458"/>
                  <a:gd name="connsiteY13" fmla="*/ 16718 h 1850093"/>
                  <a:gd name="connsiteX14" fmla="*/ 500607 w 1364458"/>
                  <a:gd name="connsiteY14" fmla="*/ 0 h 1850093"/>
                  <a:gd name="connsiteX15" fmla="*/ 815181 w 1364458"/>
                  <a:gd name="connsiteY15" fmla="*/ 22693 h 1850093"/>
                  <a:gd name="connsiteX16" fmla="*/ 975068 w 1364458"/>
                  <a:gd name="connsiteY16" fmla="*/ 155439 h 1850093"/>
                  <a:gd name="connsiteX17" fmla="*/ 1037886 w 1364458"/>
                  <a:gd name="connsiteY17" fmla="*/ 296472 h 1850093"/>
                  <a:gd name="connsiteX0" fmla="*/ 1037886 w 1364458"/>
                  <a:gd name="connsiteY0" fmla="*/ 296472 h 1850093"/>
                  <a:gd name="connsiteX1" fmla="*/ 1157629 w 1364458"/>
                  <a:gd name="connsiteY1" fmla="*/ 296472 h 1850093"/>
                  <a:gd name="connsiteX2" fmla="*/ 1331801 w 1364458"/>
                  <a:gd name="connsiteY2" fmla="*/ 601272 h 1850093"/>
                  <a:gd name="connsiteX3" fmla="*/ 1364458 w 1364458"/>
                  <a:gd name="connsiteY3" fmla="*/ 1733387 h 1850093"/>
                  <a:gd name="connsiteX4" fmla="*/ 874601 w 1364458"/>
                  <a:gd name="connsiteY4" fmla="*/ 1755158 h 1850093"/>
                  <a:gd name="connsiteX5" fmla="*/ 780880 w 1364458"/>
                  <a:gd name="connsiteY5" fmla="*/ 1837688 h 1850093"/>
                  <a:gd name="connsiteX6" fmla="*/ 486384 w 1364458"/>
                  <a:gd name="connsiteY6" fmla="*/ 1850093 h 1850093"/>
                  <a:gd name="connsiteX7" fmla="*/ 340672 w 1364458"/>
                  <a:gd name="connsiteY7" fmla="*/ 1752629 h 1850093"/>
                  <a:gd name="connsiteX8" fmla="*/ 84590 w 1364458"/>
                  <a:gd name="connsiteY8" fmla="*/ 1485832 h 1850093"/>
                  <a:gd name="connsiteX9" fmla="*/ 9070 w 1364458"/>
                  <a:gd name="connsiteY9" fmla="*/ 1248494 h 1850093"/>
                  <a:gd name="connsiteX10" fmla="*/ 0 w 1364458"/>
                  <a:gd name="connsiteY10" fmla="*/ 479314 h 1850093"/>
                  <a:gd name="connsiteX11" fmla="*/ 47623 w 1364458"/>
                  <a:gd name="connsiteY11" fmla="*/ 277443 h 1850093"/>
                  <a:gd name="connsiteX12" fmla="*/ 172916 w 1364458"/>
                  <a:gd name="connsiteY12" fmla="*/ 120225 h 1850093"/>
                  <a:gd name="connsiteX13" fmla="*/ 336210 w 1364458"/>
                  <a:gd name="connsiteY13" fmla="*/ 16718 h 1850093"/>
                  <a:gd name="connsiteX14" fmla="*/ 500607 w 1364458"/>
                  <a:gd name="connsiteY14" fmla="*/ 0 h 1850093"/>
                  <a:gd name="connsiteX15" fmla="*/ 815181 w 1364458"/>
                  <a:gd name="connsiteY15" fmla="*/ 22693 h 1850093"/>
                  <a:gd name="connsiteX16" fmla="*/ 975068 w 1364458"/>
                  <a:gd name="connsiteY16" fmla="*/ 155439 h 1850093"/>
                  <a:gd name="connsiteX17" fmla="*/ 1037886 w 1364458"/>
                  <a:gd name="connsiteY17" fmla="*/ 296472 h 1850093"/>
                  <a:gd name="connsiteX0" fmla="*/ 1037886 w 1364458"/>
                  <a:gd name="connsiteY0" fmla="*/ 296472 h 1850093"/>
                  <a:gd name="connsiteX1" fmla="*/ 1157629 w 1364458"/>
                  <a:gd name="connsiteY1" fmla="*/ 296472 h 1850093"/>
                  <a:gd name="connsiteX2" fmla="*/ 1331801 w 1364458"/>
                  <a:gd name="connsiteY2" fmla="*/ 601272 h 1850093"/>
                  <a:gd name="connsiteX3" fmla="*/ 1364458 w 1364458"/>
                  <a:gd name="connsiteY3" fmla="*/ 1733387 h 1850093"/>
                  <a:gd name="connsiteX4" fmla="*/ 874601 w 1364458"/>
                  <a:gd name="connsiteY4" fmla="*/ 1755158 h 1850093"/>
                  <a:gd name="connsiteX5" fmla="*/ 780880 w 1364458"/>
                  <a:gd name="connsiteY5" fmla="*/ 1837688 h 1850093"/>
                  <a:gd name="connsiteX6" fmla="*/ 486384 w 1364458"/>
                  <a:gd name="connsiteY6" fmla="*/ 1850093 h 1850093"/>
                  <a:gd name="connsiteX7" fmla="*/ 340672 w 1364458"/>
                  <a:gd name="connsiteY7" fmla="*/ 1752629 h 1850093"/>
                  <a:gd name="connsiteX8" fmla="*/ 84590 w 1364458"/>
                  <a:gd name="connsiteY8" fmla="*/ 1485832 h 1850093"/>
                  <a:gd name="connsiteX9" fmla="*/ 9070 w 1364458"/>
                  <a:gd name="connsiteY9" fmla="*/ 1248494 h 1850093"/>
                  <a:gd name="connsiteX10" fmla="*/ 0 w 1364458"/>
                  <a:gd name="connsiteY10" fmla="*/ 479314 h 1850093"/>
                  <a:gd name="connsiteX11" fmla="*/ 47623 w 1364458"/>
                  <a:gd name="connsiteY11" fmla="*/ 277443 h 1850093"/>
                  <a:gd name="connsiteX12" fmla="*/ 172916 w 1364458"/>
                  <a:gd name="connsiteY12" fmla="*/ 120225 h 1850093"/>
                  <a:gd name="connsiteX13" fmla="*/ 336210 w 1364458"/>
                  <a:gd name="connsiteY13" fmla="*/ 16718 h 1850093"/>
                  <a:gd name="connsiteX14" fmla="*/ 500607 w 1364458"/>
                  <a:gd name="connsiteY14" fmla="*/ 0 h 1850093"/>
                  <a:gd name="connsiteX15" fmla="*/ 815181 w 1364458"/>
                  <a:gd name="connsiteY15" fmla="*/ 22693 h 1850093"/>
                  <a:gd name="connsiteX16" fmla="*/ 975068 w 1364458"/>
                  <a:gd name="connsiteY16" fmla="*/ 155439 h 1850093"/>
                  <a:gd name="connsiteX17" fmla="*/ 1037886 w 1364458"/>
                  <a:gd name="connsiteY17" fmla="*/ 296472 h 1850093"/>
                  <a:gd name="connsiteX0" fmla="*/ 1037886 w 1364458"/>
                  <a:gd name="connsiteY0" fmla="*/ 296472 h 1850093"/>
                  <a:gd name="connsiteX1" fmla="*/ 1157629 w 1364458"/>
                  <a:gd name="connsiteY1" fmla="*/ 296472 h 1850093"/>
                  <a:gd name="connsiteX2" fmla="*/ 1331801 w 1364458"/>
                  <a:gd name="connsiteY2" fmla="*/ 601272 h 1850093"/>
                  <a:gd name="connsiteX3" fmla="*/ 1364458 w 1364458"/>
                  <a:gd name="connsiteY3" fmla="*/ 1733387 h 1850093"/>
                  <a:gd name="connsiteX4" fmla="*/ 874601 w 1364458"/>
                  <a:gd name="connsiteY4" fmla="*/ 1755158 h 1850093"/>
                  <a:gd name="connsiteX5" fmla="*/ 780880 w 1364458"/>
                  <a:gd name="connsiteY5" fmla="*/ 1837688 h 1850093"/>
                  <a:gd name="connsiteX6" fmla="*/ 486384 w 1364458"/>
                  <a:gd name="connsiteY6" fmla="*/ 1850093 h 1850093"/>
                  <a:gd name="connsiteX7" fmla="*/ 340672 w 1364458"/>
                  <a:gd name="connsiteY7" fmla="*/ 1752629 h 1850093"/>
                  <a:gd name="connsiteX8" fmla="*/ 84590 w 1364458"/>
                  <a:gd name="connsiteY8" fmla="*/ 1485832 h 1850093"/>
                  <a:gd name="connsiteX9" fmla="*/ 9070 w 1364458"/>
                  <a:gd name="connsiteY9" fmla="*/ 1248494 h 1850093"/>
                  <a:gd name="connsiteX10" fmla="*/ 0 w 1364458"/>
                  <a:gd name="connsiteY10" fmla="*/ 479314 h 1850093"/>
                  <a:gd name="connsiteX11" fmla="*/ 47623 w 1364458"/>
                  <a:gd name="connsiteY11" fmla="*/ 277443 h 1850093"/>
                  <a:gd name="connsiteX12" fmla="*/ 172916 w 1364458"/>
                  <a:gd name="connsiteY12" fmla="*/ 120225 h 1850093"/>
                  <a:gd name="connsiteX13" fmla="*/ 336210 w 1364458"/>
                  <a:gd name="connsiteY13" fmla="*/ 16718 h 1850093"/>
                  <a:gd name="connsiteX14" fmla="*/ 500607 w 1364458"/>
                  <a:gd name="connsiteY14" fmla="*/ 0 h 1850093"/>
                  <a:gd name="connsiteX15" fmla="*/ 815181 w 1364458"/>
                  <a:gd name="connsiteY15" fmla="*/ 22693 h 1850093"/>
                  <a:gd name="connsiteX16" fmla="*/ 975068 w 1364458"/>
                  <a:gd name="connsiteY16" fmla="*/ 155439 h 1850093"/>
                  <a:gd name="connsiteX17" fmla="*/ 1037886 w 1364458"/>
                  <a:gd name="connsiteY17" fmla="*/ 296472 h 1850093"/>
                  <a:gd name="connsiteX0" fmla="*/ 1037886 w 1364458"/>
                  <a:gd name="connsiteY0" fmla="*/ 296472 h 1850093"/>
                  <a:gd name="connsiteX1" fmla="*/ 1157629 w 1364458"/>
                  <a:gd name="connsiteY1" fmla="*/ 296472 h 1850093"/>
                  <a:gd name="connsiteX2" fmla="*/ 1331801 w 1364458"/>
                  <a:gd name="connsiteY2" fmla="*/ 601272 h 1850093"/>
                  <a:gd name="connsiteX3" fmla="*/ 1364458 w 1364458"/>
                  <a:gd name="connsiteY3" fmla="*/ 1733387 h 1850093"/>
                  <a:gd name="connsiteX4" fmla="*/ 874601 w 1364458"/>
                  <a:gd name="connsiteY4" fmla="*/ 1755158 h 1850093"/>
                  <a:gd name="connsiteX5" fmla="*/ 780880 w 1364458"/>
                  <a:gd name="connsiteY5" fmla="*/ 1837688 h 1850093"/>
                  <a:gd name="connsiteX6" fmla="*/ 486384 w 1364458"/>
                  <a:gd name="connsiteY6" fmla="*/ 1850093 h 1850093"/>
                  <a:gd name="connsiteX7" fmla="*/ 340672 w 1364458"/>
                  <a:gd name="connsiteY7" fmla="*/ 1752629 h 1850093"/>
                  <a:gd name="connsiteX8" fmla="*/ 84590 w 1364458"/>
                  <a:gd name="connsiteY8" fmla="*/ 1485832 h 1850093"/>
                  <a:gd name="connsiteX9" fmla="*/ 9070 w 1364458"/>
                  <a:gd name="connsiteY9" fmla="*/ 1248494 h 1850093"/>
                  <a:gd name="connsiteX10" fmla="*/ 1632 w 1364458"/>
                  <a:gd name="connsiteY10" fmla="*/ 765976 h 1850093"/>
                  <a:gd name="connsiteX11" fmla="*/ 0 w 1364458"/>
                  <a:gd name="connsiteY11" fmla="*/ 479314 h 1850093"/>
                  <a:gd name="connsiteX12" fmla="*/ 47623 w 1364458"/>
                  <a:gd name="connsiteY12" fmla="*/ 277443 h 1850093"/>
                  <a:gd name="connsiteX13" fmla="*/ 172916 w 1364458"/>
                  <a:gd name="connsiteY13" fmla="*/ 120225 h 1850093"/>
                  <a:gd name="connsiteX14" fmla="*/ 336210 w 1364458"/>
                  <a:gd name="connsiteY14" fmla="*/ 16718 h 1850093"/>
                  <a:gd name="connsiteX15" fmla="*/ 500607 w 1364458"/>
                  <a:gd name="connsiteY15" fmla="*/ 0 h 1850093"/>
                  <a:gd name="connsiteX16" fmla="*/ 815181 w 1364458"/>
                  <a:gd name="connsiteY16" fmla="*/ 22693 h 1850093"/>
                  <a:gd name="connsiteX17" fmla="*/ 975068 w 1364458"/>
                  <a:gd name="connsiteY17" fmla="*/ 155439 h 1850093"/>
                  <a:gd name="connsiteX18" fmla="*/ 1037886 w 1364458"/>
                  <a:gd name="connsiteY18" fmla="*/ 296472 h 1850093"/>
                  <a:gd name="connsiteX0" fmla="*/ 1037886 w 1364458"/>
                  <a:gd name="connsiteY0" fmla="*/ 296472 h 1850093"/>
                  <a:gd name="connsiteX1" fmla="*/ 1157629 w 1364458"/>
                  <a:gd name="connsiteY1" fmla="*/ 296472 h 1850093"/>
                  <a:gd name="connsiteX2" fmla="*/ 1331801 w 1364458"/>
                  <a:gd name="connsiteY2" fmla="*/ 601272 h 1850093"/>
                  <a:gd name="connsiteX3" fmla="*/ 1364458 w 1364458"/>
                  <a:gd name="connsiteY3" fmla="*/ 1733387 h 1850093"/>
                  <a:gd name="connsiteX4" fmla="*/ 874601 w 1364458"/>
                  <a:gd name="connsiteY4" fmla="*/ 1755158 h 1850093"/>
                  <a:gd name="connsiteX5" fmla="*/ 780880 w 1364458"/>
                  <a:gd name="connsiteY5" fmla="*/ 1837688 h 1850093"/>
                  <a:gd name="connsiteX6" fmla="*/ 486384 w 1364458"/>
                  <a:gd name="connsiteY6" fmla="*/ 1850093 h 1850093"/>
                  <a:gd name="connsiteX7" fmla="*/ 340672 w 1364458"/>
                  <a:gd name="connsiteY7" fmla="*/ 1752629 h 1850093"/>
                  <a:gd name="connsiteX8" fmla="*/ 84590 w 1364458"/>
                  <a:gd name="connsiteY8" fmla="*/ 1485832 h 1850093"/>
                  <a:gd name="connsiteX9" fmla="*/ 9070 w 1364458"/>
                  <a:gd name="connsiteY9" fmla="*/ 1248494 h 1850093"/>
                  <a:gd name="connsiteX10" fmla="*/ 13741 w 1364458"/>
                  <a:gd name="connsiteY10" fmla="*/ 997027 h 1850093"/>
                  <a:gd name="connsiteX11" fmla="*/ 0 w 1364458"/>
                  <a:gd name="connsiteY11" fmla="*/ 479314 h 1850093"/>
                  <a:gd name="connsiteX12" fmla="*/ 47623 w 1364458"/>
                  <a:gd name="connsiteY12" fmla="*/ 277443 h 1850093"/>
                  <a:gd name="connsiteX13" fmla="*/ 172916 w 1364458"/>
                  <a:gd name="connsiteY13" fmla="*/ 120225 h 1850093"/>
                  <a:gd name="connsiteX14" fmla="*/ 336210 w 1364458"/>
                  <a:gd name="connsiteY14" fmla="*/ 16718 h 1850093"/>
                  <a:gd name="connsiteX15" fmla="*/ 500607 w 1364458"/>
                  <a:gd name="connsiteY15" fmla="*/ 0 h 1850093"/>
                  <a:gd name="connsiteX16" fmla="*/ 815181 w 1364458"/>
                  <a:gd name="connsiteY16" fmla="*/ 22693 h 1850093"/>
                  <a:gd name="connsiteX17" fmla="*/ 975068 w 1364458"/>
                  <a:gd name="connsiteY17" fmla="*/ 155439 h 1850093"/>
                  <a:gd name="connsiteX18" fmla="*/ 1037886 w 1364458"/>
                  <a:gd name="connsiteY18" fmla="*/ 296472 h 1850093"/>
                  <a:gd name="connsiteX0" fmla="*/ 1037886 w 1364458"/>
                  <a:gd name="connsiteY0" fmla="*/ 296472 h 1850093"/>
                  <a:gd name="connsiteX1" fmla="*/ 1157629 w 1364458"/>
                  <a:gd name="connsiteY1" fmla="*/ 296472 h 1850093"/>
                  <a:gd name="connsiteX2" fmla="*/ 1331801 w 1364458"/>
                  <a:gd name="connsiteY2" fmla="*/ 601272 h 1850093"/>
                  <a:gd name="connsiteX3" fmla="*/ 1364458 w 1364458"/>
                  <a:gd name="connsiteY3" fmla="*/ 1733387 h 1850093"/>
                  <a:gd name="connsiteX4" fmla="*/ 874601 w 1364458"/>
                  <a:gd name="connsiteY4" fmla="*/ 1755158 h 1850093"/>
                  <a:gd name="connsiteX5" fmla="*/ 780880 w 1364458"/>
                  <a:gd name="connsiteY5" fmla="*/ 1837688 h 1850093"/>
                  <a:gd name="connsiteX6" fmla="*/ 486384 w 1364458"/>
                  <a:gd name="connsiteY6" fmla="*/ 1850093 h 1850093"/>
                  <a:gd name="connsiteX7" fmla="*/ 340672 w 1364458"/>
                  <a:gd name="connsiteY7" fmla="*/ 1752629 h 1850093"/>
                  <a:gd name="connsiteX8" fmla="*/ 84590 w 1364458"/>
                  <a:gd name="connsiteY8" fmla="*/ 1485832 h 1850093"/>
                  <a:gd name="connsiteX9" fmla="*/ 9070 w 1364458"/>
                  <a:gd name="connsiteY9" fmla="*/ 1248494 h 1850093"/>
                  <a:gd name="connsiteX10" fmla="*/ 13741 w 1364458"/>
                  <a:gd name="connsiteY10" fmla="*/ 997027 h 1850093"/>
                  <a:gd name="connsiteX11" fmla="*/ 4660 w 1364458"/>
                  <a:gd name="connsiteY11" fmla="*/ 769098 h 1850093"/>
                  <a:gd name="connsiteX12" fmla="*/ 0 w 1364458"/>
                  <a:gd name="connsiteY12" fmla="*/ 479314 h 1850093"/>
                  <a:gd name="connsiteX13" fmla="*/ 47623 w 1364458"/>
                  <a:gd name="connsiteY13" fmla="*/ 277443 h 1850093"/>
                  <a:gd name="connsiteX14" fmla="*/ 172916 w 1364458"/>
                  <a:gd name="connsiteY14" fmla="*/ 120225 h 1850093"/>
                  <a:gd name="connsiteX15" fmla="*/ 336210 w 1364458"/>
                  <a:gd name="connsiteY15" fmla="*/ 16718 h 1850093"/>
                  <a:gd name="connsiteX16" fmla="*/ 500607 w 1364458"/>
                  <a:gd name="connsiteY16" fmla="*/ 0 h 1850093"/>
                  <a:gd name="connsiteX17" fmla="*/ 815181 w 1364458"/>
                  <a:gd name="connsiteY17" fmla="*/ 22693 h 1850093"/>
                  <a:gd name="connsiteX18" fmla="*/ 975068 w 1364458"/>
                  <a:gd name="connsiteY18" fmla="*/ 155439 h 1850093"/>
                  <a:gd name="connsiteX19" fmla="*/ 1037886 w 1364458"/>
                  <a:gd name="connsiteY19" fmla="*/ 296472 h 1850093"/>
                  <a:gd name="connsiteX0" fmla="*/ 1060537 w 1387109"/>
                  <a:gd name="connsiteY0" fmla="*/ 296472 h 1850093"/>
                  <a:gd name="connsiteX1" fmla="*/ 1180280 w 1387109"/>
                  <a:gd name="connsiteY1" fmla="*/ 296472 h 1850093"/>
                  <a:gd name="connsiteX2" fmla="*/ 1354452 w 1387109"/>
                  <a:gd name="connsiteY2" fmla="*/ 601272 h 1850093"/>
                  <a:gd name="connsiteX3" fmla="*/ 1387109 w 1387109"/>
                  <a:gd name="connsiteY3" fmla="*/ 1733387 h 1850093"/>
                  <a:gd name="connsiteX4" fmla="*/ 897252 w 1387109"/>
                  <a:gd name="connsiteY4" fmla="*/ 1755158 h 1850093"/>
                  <a:gd name="connsiteX5" fmla="*/ 803531 w 1387109"/>
                  <a:gd name="connsiteY5" fmla="*/ 1837688 h 1850093"/>
                  <a:gd name="connsiteX6" fmla="*/ 509035 w 1387109"/>
                  <a:gd name="connsiteY6" fmla="*/ 1850093 h 1850093"/>
                  <a:gd name="connsiteX7" fmla="*/ 363323 w 1387109"/>
                  <a:gd name="connsiteY7" fmla="*/ 1752629 h 1850093"/>
                  <a:gd name="connsiteX8" fmla="*/ 107241 w 1387109"/>
                  <a:gd name="connsiteY8" fmla="*/ 1485832 h 1850093"/>
                  <a:gd name="connsiteX9" fmla="*/ 31721 w 1387109"/>
                  <a:gd name="connsiteY9" fmla="*/ 1248494 h 1850093"/>
                  <a:gd name="connsiteX10" fmla="*/ 36392 w 1387109"/>
                  <a:gd name="connsiteY10" fmla="*/ 997027 h 1850093"/>
                  <a:gd name="connsiteX11" fmla="*/ 67 w 1387109"/>
                  <a:gd name="connsiteY11" fmla="*/ 762854 h 1850093"/>
                  <a:gd name="connsiteX12" fmla="*/ 22651 w 1387109"/>
                  <a:gd name="connsiteY12" fmla="*/ 479314 h 1850093"/>
                  <a:gd name="connsiteX13" fmla="*/ 70274 w 1387109"/>
                  <a:gd name="connsiteY13" fmla="*/ 277443 h 1850093"/>
                  <a:gd name="connsiteX14" fmla="*/ 195567 w 1387109"/>
                  <a:gd name="connsiteY14" fmla="*/ 120225 h 1850093"/>
                  <a:gd name="connsiteX15" fmla="*/ 358861 w 1387109"/>
                  <a:gd name="connsiteY15" fmla="*/ 16718 h 1850093"/>
                  <a:gd name="connsiteX16" fmla="*/ 523258 w 1387109"/>
                  <a:gd name="connsiteY16" fmla="*/ 0 h 1850093"/>
                  <a:gd name="connsiteX17" fmla="*/ 837832 w 1387109"/>
                  <a:gd name="connsiteY17" fmla="*/ 22693 h 1850093"/>
                  <a:gd name="connsiteX18" fmla="*/ 997719 w 1387109"/>
                  <a:gd name="connsiteY18" fmla="*/ 155439 h 1850093"/>
                  <a:gd name="connsiteX19" fmla="*/ 1060537 w 1387109"/>
                  <a:gd name="connsiteY19" fmla="*/ 296472 h 1850093"/>
                  <a:gd name="connsiteX0" fmla="*/ 1060593 w 1387165"/>
                  <a:gd name="connsiteY0" fmla="*/ 296472 h 1850093"/>
                  <a:gd name="connsiteX1" fmla="*/ 1180336 w 1387165"/>
                  <a:gd name="connsiteY1" fmla="*/ 296472 h 1850093"/>
                  <a:gd name="connsiteX2" fmla="*/ 1354508 w 1387165"/>
                  <a:gd name="connsiteY2" fmla="*/ 601272 h 1850093"/>
                  <a:gd name="connsiteX3" fmla="*/ 1387165 w 1387165"/>
                  <a:gd name="connsiteY3" fmla="*/ 1733387 h 1850093"/>
                  <a:gd name="connsiteX4" fmla="*/ 897308 w 1387165"/>
                  <a:gd name="connsiteY4" fmla="*/ 1755158 h 1850093"/>
                  <a:gd name="connsiteX5" fmla="*/ 803587 w 1387165"/>
                  <a:gd name="connsiteY5" fmla="*/ 1837688 h 1850093"/>
                  <a:gd name="connsiteX6" fmla="*/ 509091 w 1387165"/>
                  <a:gd name="connsiteY6" fmla="*/ 1850093 h 1850093"/>
                  <a:gd name="connsiteX7" fmla="*/ 363379 w 1387165"/>
                  <a:gd name="connsiteY7" fmla="*/ 1752629 h 1850093"/>
                  <a:gd name="connsiteX8" fmla="*/ 107297 w 1387165"/>
                  <a:gd name="connsiteY8" fmla="*/ 1485832 h 1850093"/>
                  <a:gd name="connsiteX9" fmla="*/ 31777 w 1387165"/>
                  <a:gd name="connsiteY9" fmla="*/ 1248494 h 1850093"/>
                  <a:gd name="connsiteX10" fmla="*/ 36448 w 1387165"/>
                  <a:gd name="connsiteY10" fmla="*/ 997027 h 1850093"/>
                  <a:gd name="connsiteX11" fmla="*/ 123 w 1387165"/>
                  <a:gd name="connsiteY11" fmla="*/ 762854 h 1850093"/>
                  <a:gd name="connsiteX12" fmla="*/ 10599 w 1387165"/>
                  <a:gd name="connsiteY12" fmla="*/ 469946 h 1850093"/>
                  <a:gd name="connsiteX13" fmla="*/ 70330 w 1387165"/>
                  <a:gd name="connsiteY13" fmla="*/ 277443 h 1850093"/>
                  <a:gd name="connsiteX14" fmla="*/ 195623 w 1387165"/>
                  <a:gd name="connsiteY14" fmla="*/ 120225 h 1850093"/>
                  <a:gd name="connsiteX15" fmla="*/ 358917 w 1387165"/>
                  <a:gd name="connsiteY15" fmla="*/ 16718 h 1850093"/>
                  <a:gd name="connsiteX16" fmla="*/ 523314 w 1387165"/>
                  <a:gd name="connsiteY16" fmla="*/ 0 h 1850093"/>
                  <a:gd name="connsiteX17" fmla="*/ 837888 w 1387165"/>
                  <a:gd name="connsiteY17" fmla="*/ 22693 h 1850093"/>
                  <a:gd name="connsiteX18" fmla="*/ 997775 w 1387165"/>
                  <a:gd name="connsiteY18" fmla="*/ 155439 h 1850093"/>
                  <a:gd name="connsiteX19" fmla="*/ 1060593 w 1387165"/>
                  <a:gd name="connsiteY19" fmla="*/ 296472 h 1850093"/>
                  <a:gd name="connsiteX0" fmla="*/ 1060593 w 1387165"/>
                  <a:gd name="connsiteY0" fmla="*/ 296472 h 1850093"/>
                  <a:gd name="connsiteX1" fmla="*/ 1180336 w 1387165"/>
                  <a:gd name="connsiteY1" fmla="*/ 296472 h 1850093"/>
                  <a:gd name="connsiteX2" fmla="*/ 1354508 w 1387165"/>
                  <a:gd name="connsiteY2" fmla="*/ 601272 h 1850093"/>
                  <a:gd name="connsiteX3" fmla="*/ 1387165 w 1387165"/>
                  <a:gd name="connsiteY3" fmla="*/ 1733387 h 1850093"/>
                  <a:gd name="connsiteX4" fmla="*/ 897308 w 1387165"/>
                  <a:gd name="connsiteY4" fmla="*/ 1755158 h 1850093"/>
                  <a:gd name="connsiteX5" fmla="*/ 803587 w 1387165"/>
                  <a:gd name="connsiteY5" fmla="*/ 1837688 h 1850093"/>
                  <a:gd name="connsiteX6" fmla="*/ 509091 w 1387165"/>
                  <a:gd name="connsiteY6" fmla="*/ 1850093 h 1850093"/>
                  <a:gd name="connsiteX7" fmla="*/ 363379 w 1387165"/>
                  <a:gd name="connsiteY7" fmla="*/ 1752629 h 1850093"/>
                  <a:gd name="connsiteX8" fmla="*/ 107297 w 1387165"/>
                  <a:gd name="connsiteY8" fmla="*/ 1485832 h 1850093"/>
                  <a:gd name="connsiteX9" fmla="*/ 31777 w 1387165"/>
                  <a:gd name="connsiteY9" fmla="*/ 1248494 h 1850093"/>
                  <a:gd name="connsiteX10" fmla="*/ 36448 w 1387165"/>
                  <a:gd name="connsiteY10" fmla="*/ 997027 h 1850093"/>
                  <a:gd name="connsiteX11" fmla="*/ 123 w 1387165"/>
                  <a:gd name="connsiteY11" fmla="*/ 762854 h 1850093"/>
                  <a:gd name="connsiteX12" fmla="*/ 10599 w 1387165"/>
                  <a:gd name="connsiteY12" fmla="*/ 469946 h 1850093"/>
                  <a:gd name="connsiteX13" fmla="*/ 70330 w 1387165"/>
                  <a:gd name="connsiteY13" fmla="*/ 277443 h 1850093"/>
                  <a:gd name="connsiteX14" fmla="*/ 103047 w 1387165"/>
                  <a:gd name="connsiteY14" fmla="*/ 238305 h 1850093"/>
                  <a:gd name="connsiteX15" fmla="*/ 195623 w 1387165"/>
                  <a:gd name="connsiteY15" fmla="*/ 120225 h 1850093"/>
                  <a:gd name="connsiteX16" fmla="*/ 358917 w 1387165"/>
                  <a:gd name="connsiteY16" fmla="*/ 16718 h 1850093"/>
                  <a:gd name="connsiteX17" fmla="*/ 523314 w 1387165"/>
                  <a:gd name="connsiteY17" fmla="*/ 0 h 1850093"/>
                  <a:gd name="connsiteX18" fmla="*/ 837888 w 1387165"/>
                  <a:gd name="connsiteY18" fmla="*/ 22693 h 1850093"/>
                  <a:gd name="connsiteX19" fmla="*/ 997775 w 1387165"/>
                  <a:gd name="connsiteY19" fmla="*/ 155439 h 1850093"/>
                  <a:gd name="connsiteX20" fmla="*/ 1060593 w 1387165"/>
                  <a:gd name="connsiteY20" fmla="*/ 296472 h 1850093"/>
                  <a:gd name="connsiteX0" fmla="*/ 1060593 w 1387165"/>
                  <a:gd name="connsiteY0" fmla="*/ 296472 h 1850093"/>
                  <a:gd name="connsiteX1" fmla="*/ 1180336 w 1387165"/>
                  <a:gd name="connsiteY1" fmla="*/ 296472 h 1850093"/>
                  <a:gd name="connsiteX2" fmla="*/ 1354508 w 1387165"/>
                  <a:gd name="connsiteY2" fmla="*/ 601272 h 1850093"/>
                  <a:gd name="connsiteX3" fmla="*/ 1387165 w 1387165"/>
                  <a:gd name="connsiteY3" fmla="*/ 1733387 h 1850093"/>
                  <a:gd name="connsiteX4" fmla="*/ 897308 w 1387165"/>
                  <a:gd name="connsiteY4" fmla="*/ 1755158 h 1850093"/>
                  <a:gd name="connsiteX5" fmla="*/ 803587 w 1387165"/>
                  <a:gd name="connsiteY5" fmla="*/ 1837688 h 1850093"/>
                  <a:gd name="connsiteX6" fmla="*/ 509091 w 1387165"/>
                  <a:gd name="connsiteY6" fmla="*/ 1850093 h 1850093"/>
                  <a:gd name="connsiteX7" fmla="*/ 363379 w 1387165"/>
                  <a:gd name="connsiteY7" fmla="*/ 1752629 h 1850093"/>
                  <a:gd name="connsiteX8" fmla="*/ 107297 w 1387165"/>
                  <a:gd name="connsiteY8" fmla="*/ 1485832 h 1850093"/>
                  <a:gd name="connsiteX9" fmla="*/ 31777 w 1387165"/>
                  <a:gd name="connsiteY9" fmla="*/ 1248494 h 1850093"/>
                  <a:gd name="connsiteX10" fmla="*/ 36448 w 1387165"/>
                  <a:gd name="connsiteY10" fmla="*/ 997027 h 1850093"/>
                  <a:gd name="connsiteX11" fmla="*/ 123 w 1387165"/>
                  <a:gd name="connsiteY11" fmla="*/ 762854 h 1850093"/>
                  <a:gd name="connsiteX12" fmla="*/ 10599 w 1387165"/>
                  <a:gd name="connsiteY12" fmla="*/ 469946 h 1850093"/>
                  <a:gd name="connsiteX13" fmla="*/ 70330 w 1387165"/>
                  <a:gd name="connsiteY13" fmla="*/ 277443 h 1850093"/>
                  <a:gd name="connsiteX14" fmla="*/ 100019 w 1387165"/>
                  <a:gd name="connsiteY14" fmla="*/ 144635 h 1850093"/>
                  <a:gd name="connsiteX15" fmla="*/ 195623 w 1387165"/>
                  <a:gd name="connsiteY15" fmla="*/ 120225 h 1850093"/>
                  <a:gd name="connsiteX16" fmla="*/ 358917 w 1387165"/>
                  <a:gd name="connsiteY16" fmla="*/ 16718 h 1850093"/>
                  <a:gd name="connsiteX17" fmla="*/ 523314 w 1387165"/>
                  <a:gd name="connsiteY17" fmla="*/ 0 h 1850093"/>
                  <a:gd name="connsiteX18" fmla="*/ 837888 w 1387165"/>
                  <a:gd name="connsiteY18" fmla="*/ 22693 h 1850093"/>
                  <a:gd name="connsiteX19" fmla="*/ 997775 w 1387165"/>
                  <a:gd name="connsiteY19" fmla="*/ 155439 h 1850093"/>
                  <a:gd name="connsiteX20" fmla="*/ 1060593 w 1387165"/>
                  <a:gd name="connsiteY20" fmla="*/ 296472 h 1850093"/>
                  <a:gd name="connsiteX0" fmla="*/ 1060593 w 1387165"/>
                  <a:gd name="connsiteY0" fmla="*/ 296472 h 1850093"/>
                  <a:gd name="connsiteX1" fmla="*/ 1180336 w 1387165"/>
                  <a:gd name="connsiteY1" fmla="*/ 296472 h 1850093"/>
                  <a:gd name="connsiteX2" fmla="*/ 1354508 w 1387165"/>
                  <a:gd name="connsiteY2" fmla="*/ 601272 h 1850093"/>
                  <a:gd name="connsiteX3" fmla="*/ 1387165 w 1387165"/>
                  <a:gd name="connsiteY3" fmla="*/ 1733387 h 1850093"/>
                  <a:gd name="connsiteX4" fmla="*/ 897308 w 1387165"/>
                  <a:gd name="connsiteY4" fmla="*/ 1755158 h 1850093"/>
                  <a:gd name="connsiteX5" fmla="*/ 803587 w 1387165"/>
                  <a:gd name="connsiteY5" fmla="*/ 1837688 h 1850093"/>
                  <a:gd name="connsiteX6" fmla="*/ 509091 w 1387165"/>
                  <a:gd name="connsiteY6" fmla="*/ 1850093 h 1850093"/>
                  <a:gd name="connsiteX7" fmla="*/ 363379 w 1387165"/>
                  <a:gd name="connsiteY7" fmla="*/ 1752629 h 1850093"/>
                  <a:gd name="connsiteX8" fmla="*/ 107297 w 1387165"/>
                  <a:gd name="connsiteY8" fmla="*/ 1485832 h 1850093"/>
                  <a:gd name="connsiteX9" fmla="*/ 31777 w 1387165"/>
                  <a:gd name="connsiteY9" fmla="*/ 1248494 h 1850093"/>
                  <a:gd name="connsiteX10" fmla="*/ 36448 w 1387165"/>
                  <a:gd name="connsiteY10" fmla="*/ 997027 h 1850093"/>
                  <a:gd name="connsiteX11" fmla="*/ 123 w 1387165"/>
                  <a:gd name="connsiteY11" fmla="*/ 762854 h 1850093"/>
                  <a:gd name="connsiteX12" fmla="*/ 10599 w 1387165"/>
                  <a:gd name="connsiteY12" fmla="*/ 469946 h 1850093"/>
                  <a:gd name="connsiteX13" fmla="*/ 70330 w 1387165"/>
                  <a:gd name="connsiteY13" fmla="*/ 277443 h 1850093"/>
                  <a:gd name="connsiteX14" fmla="*/ 100019 w 1387165"/>
                  <a:gd name="connsiteY14" fmla="*/ 144635 h 1850093"/>
                  <a:gd name="connsiteX15" fmla="*/ 216812 w 1387165"/>
                  <a:gd name="connsiteY15" fmla="*/ 179549 h 1850093"/>
                  <a:gd name="connsiteX16" fmla="*/ 358917 w 1387165"/>
                  <a:gd name="connsiteY16" fmla="*/ 16718 h 1850093"/>
                  <a:gd name="connsiteX17" fmla="*/ 523314 w 1387165"/>
                  <a:gd name="connsiteY17" fmla="*/ 0 h 1850093"/>
                  <a:gd name="connsiteX18" fmla="*/ 837888 w 1387165"/>
                  <a:gd name="connsiteY18" fmla="*/ 22693 h 1850093"/>
                  <a:gd name="connsiteX19" fmla="*/ 997775 w 1387165"/>
                  <a:gd name="connsiteY19" fmla="*/ 155439 h 1850093"/>
                  <a:gd name="connsiteX20" fmla="*/ 1060593 w 1387165"/>
                  <a:gd name="connsiteY20" fmla="*/ 296472 h 1850093"/>
                  <a:gd name="connsiteX0" fmla="*/ 1060593 w 1387165"/>
                  <a:gd name="connsiteY0" fmla="*/ 296472 h 1850093"/>
                  <a:gd name="connsiteX1" fmla="*/ 1180336 w 1387165"/>
                  <a:gd name="connsiteY1" fmla="*/ 296472 h 1850093"/>
                  <a:gd name="connsiteX2" fmla="*/ 1354508 w 1387165"/>
                  <a:gd name="connsiteY2" fmla="*/ 601272 h 1850093"/>
                  <a:gd name="connsiteX3" fmla="*/ 1387165 w 1387165"/>
                  <a:gd name="connsiteY3" fmla="*/ 1733387 h 1850093"/>
                  <a:gd name="connsiteX4" fmla="*/ 897308 w 1387165"/>
                  <a:gd name="connsiteY4" fmla="*/ 1755158 h 1850093"/>
                  <a:gd name="connsiteX5" fmla="*/ 803587 w 1387165"/>
                  <a:gd name="connsiteY5" fmla="*/ 1837688 h 1850093"/>
                  <a:gd name="connsiteX6" fmla="*/ 509091 w 1387165"/>
                  <a:gd name="connsiteY6" fmla="*/ 1850093 h 1850093"/>
                  <a:gd name="connsiteX7" fmla="*/ 363379 w 1387165"/>
                  <a:gd name="connsiteY7" fmla="*/ 1752629 h 1850093"/>
                  <a:gd name="connsiteX8" fmla="*/ 107297 w 1387165"/>
                  <a:gd name="connsiteY8" fmla="*/ 1485832 h 1850093"/>
                  <a:gd name="connsiteX9" fmla="*/ 31777 w 1387165"/>
                  <a:gd name="connsiteY9" fmla="*/ 1248494 h 1850093"/>
                  <a:gd name="connsiteX10" fmla="*/ 36448 w 1387165"/>
                  <a:gd name="connsiteY10" fmla="*/ 997027 h 1850093"/>
                  <a:gd name="connsiteX11" fmla="*/ 123 w 1387165"/>
                  <a:gd name="connsiteY11" fmla="*/ 762854 h 1850093"/>
                  <a:gd name="connsiteX12" fmla="*/ 10599 w 1387165"/>
                  <a:gd name="connsiteY12" fmla="*/ 469946 h 1850093"/>
                  <a:gd name="connsiteX13" fmla="*/ 70330 w 1387165"/>
                  <a:gd name="connsiteY13" fmla="*/ 277443 h 1850093"/>
                  <a:gd name="connsiteX14" fmla="*/ 100019 w 1387165"/>
                  <a:gd name="connsiteY14" fmla="*/ 144635 h 1850093"/>
                  <a:gd name="connsiteX15" fmla="*/ 216812 w 1387165"/>
                  <a:gd name="connsiteY15" fmla="*/ 179549 h 1850093"/>
                  <a:gd name="connsiteX16" fmla="*/ 455785 w 1387165"/>
                  <a:gd name="connsiteY16" fmla="*/ 7352 h 1850093"/>
                  <a:gd name="connsiteX17" fmla="*/ 523314 w 1387165"/>
                  <a:gd name="connsiteY17" fmla="*/ 0 h 1850093"/>
                  <a:gd name="connsiteX18" fmla="*/ 837888 w 1387165"/>
                  <a:gd name="connsiteY18" fmla="*/ 22693 h 1850093"/>
                  <a:gd name="connsiteX19" fmla="*/ 997775 w 1387165"/>
                  <a:gd name="connsiteY19" fmla="*/ 155439 h 1850093"/>
                  <a:gd name="connsiteX20" fmla="*/ 1060593 w 1387165"/>
                  <a:gd name="connsiteY20" fmla="*/ 296472 h 1850093"/>
                  <a:gd name="connsiteX0" fmla="*/ 1060593 w 1387165"/>
                  <a:gd name="connsiteY0" fmla="*/ 296472 h 1850093"/>
                  <a:gd name="connsiteX1" fmla="*/ 1180336 w 1387165"/>
                  <a:gd name="connsiteY1" fmla="*/ 296472 h 1850093"/>
                  <a:gd name="connsiteX2" fmla="*/ 1354508 w 1387165"/>
                  <a:gd name="connsiteY2" fmla="*/ 601272 h 1850093"/>
                  <a:gd name="connsiteX3" fmla="*/ 1387165 w 1387165"/>
                  <a:gd name="connsiteY3" fmla="*/ 1733387 h 1850093"/>
                  <a:gd name="connsiteX4" fmla="*/ 897308 w 1387165"/>
                  <a:gd name="connsiteY4" fmla="*/ 1755158 h 1850093"/>
                  <a:gd name="connsiteX5" fmla="*/ 803587 w 1387165"/>
                  <a:gd name="connsiteY5" fmla="*/ 1837688 h 1850093"/>
                  <a:gd name="connsiteX6" fmla="*/ 509091 w 1387165"/>
                  <a:gd name="connsiteY6" fmla="*/ 1850093 h 1850093"/>
                  <a:gd name="connsiteX7" fmla="*/ 363379 w 1387165"/>
                  <a:gd name="connsiteY7" fmla="*/ 1752629 h 1850093"/>
                  <a:gd name="connsiteX8" fmla="*/ 107297 w 1387165"/>
                  <a:gd name="connsiteY8" fmla="*/ 1485832 h 1850093"/>
                  <a:gd name="connsiteX9" fmla="*/ 31777 w 1387165"/>
                  <a:gd name="connsiteY9" fmla="*/ 1248494 h 1850093"/>
                  <a:gd name="connsiteX10" fmla="*/ 36448 w 1387165"/>
                  <a:gd name="connsiteY10" fmla="*/ 997027 h 1850093"/>
                  <a:gd name="connsiteX11" fmla="*/ 123 w 1387165"/>
                  <a:gd name="connsiteY11" fmla="*/ 762854 h 1850093"/>
                  <a:gd name="connsiteX12" fmla="*/ 10599 w 1387165"/>
                  <a:gd name="connsiteY12" fmla="*/ 469946 h 1850093"/>
                  <a:gd name="connsiteX13" fmla="*/ 70330 w 1387165"/>
                  <a:gd name="connsiteY13" fmla="*/ 277443 h 1850093"/>
                  <a:gd name="connsiteX14" fmla="*/ 100019 w 1387165"/>
                  <a:gd name="connsiteY14" fmla="*/ 144635 h 1850093"/>
                  <a:gd name="connsiteX15" fmla="*/ 216812 w 1387165"/>
                  <a:gd name="connsiteY15" fmla="*/ 179549 h 1850093"/>
                  <a:gd name="connsiteX16" fmla="*/ 296783 w 1387165"/>
                  <a:gd name="connsiteY16" fmla="*/ 116535 h 1850093"/>
                  <a:gd name="connsiteX17" fmla="*/ 455785 w 1387165"/>
                  <a:gd name="connsiteY17" fmla="*/ 7352 h 1850093"/>
                  <a:gd name="connsiteX18" fmla="*/ 523314 w 1387165"/>
                  <a:gd name="connsiteY18" fmla="*/ 0 h 1850093"/>
                  <a:gd name="connsiteX19" fmla="*/ 837888 w 1387165"/>
                  <a:gd name="connsiteY19" fmla="*/ 22693 h 1850093"/>
                  <a:gd name="connsiteX20" fmla="*/ 997775 w 1387165"/>
                  <a:gd name="connsiteY20" fmla="*/ 155439 h 1850093"/>
                  <a:gd name="connsiteX21" fmla="*/ 1060593 w 1387165"/>
                  <a:gd name="connsiteY21" fmla="*/ 296472 h 1850093"/>
                  <a:gd name="connsiteX0" fmla="*/ 1060593 w 1387165"/>
                  <a:gd name="connsiteY0" fmla="*/ 296472 h 1850093"/>
                  <a:gd name="connsiteX1" fmla="*/ 1180336 w 1387165"/>
                  <a:gd name="connsiteY1" fmla="*/ 296472 h 1850093"/>
                  <a:gd name="connsiteX2" fmla="*/ 1354508 w 1387165"/>
                  <a:gd name="connsiteY2" fmla="*/ 601272 h 1850093"/>
                  <a:gd name="connsiteX3" fmla="*/ 1387165 w 1387165"/>
                  <a:gd name="connsiteY3" fmla="*/ 1733387 h 1850093"/>
                  <a:gd name="connsiteX4" fmla="*/ 897308 w 1387165"/>
                  <a:gd name="connsiteY4" fmla="*/ 1755158 h 1850093"/>
                  <a:gd name="connsiteX5" fmla="*/ 803587 w 1387165"/>
                  <a:gd name="connsiteY5" fmla="*/ 1837688 h 1850093"/>
                  <a:gd name="connsiteX6" fmla="*/ 509091 w 1387165"/>
                  <a:gd name="connsiteY6" fmla="*/ 1850093 h 1850093"/>
                  <a:gd name="connsiteX7" fmla="*/ 363379 w 1387165"/>
                  <a:gd name="connsiteY7" fmla="*/ 1752629 h 1850093"/>
                  <a:gd name="connsiteX8" fmla="*/ 107297 w 1387165"/>
                  <a:gd name="connsiteY8" fmla="*/ 1485832 h 1850093"/>
                  <a:gd name="connsiteX9" fmla="*/ 31777 w 1387165"/>
                  <a:gd name="connsiteY9" fmla="*/ 1248494 h 1850093"/>
                  <a:gd name="connsiteX10" fmla="*/ 36448 w 1387165"/>
                  <a:gd name="connsiteY10" fmla="*/ 997027 h 1850093"/>
                  <a:gd name="connsiteX11" fmla="*/ 123 w 1387165"/>
                  <a:gd name="connsiteY11" fmla="*/ 762854 h 1850093"/>
                  <a:gd name="connsiteX12" fmla="*/ 10599 w 1387165"/>
                  <a:gd name="connsiteY12" fmla="*/ 469946 h 1850093"/>
                  <a:gd name="connsiteX13" fmla="*/ 70330 w 1387165"/>
                  <a:gd name="connsiteY13" fmla="*/ 277443 h 1850093"/>
                  <a:gd name="connsiteX14" fmla="*/ 100019 w 1387165"/>
                  <a:gd name="connsiteY14" fmla="*/ 144635 h 1850093"/>
                  <a:gd name="connsiteX15" fmla="*/ 216812 w 1387165"/>
                  <a:gd name="connsiteY15" fmla="*/ 179549 h 1850093"/>
                  <a:gd name="connsiteX16" fmla="*/ 208996 w 1387165"/>
                  <a:gd name="connsiteY16" fmla="*/ 247673 h 1850093"/>
                  <a:gd name="connsiteX17" fmla="*/ 455785 w 1387165"/>
                  <a:gd name="connsiteY17" fmla="*/ 7352 h 1850093"/>
                  <a:gd name="connsiteX18" fmla="*/ 523314 w 1387165"/>
                  <a:gd name="connsiteY18" fmla="*/ 0 h 1850093"/>
                  <a:gd name="connsiteX19" fmla="*/ 837888 w 1387165"/>
                  <a:gd name="connsiteY19" fmla="*/ 22693 h 1850093"/>
                  <a:gd name="connsiteX20" fmla="*/ 997775 w 1387165"/>
                  <a:gd name="connsiteY20" fmla="*/ 155439 h 1850093"/>
                  <a:gd name="connsiteX21" fmla="*/ 1060593 w 1387165"/>
                  <a:gd name="connsiteY21" fmla="*/ 296472 h 1850093"/>
                  <a:gd name="connsiteX0" fmla="*/ 1060593 w 1387165"/>
                  <a:gd name="connsiteY0" fmla="*/ 296472 h 1850093"/>
                  <a:gd name="connsiteX1" fmla="*/ 1180336 w 1387165"/>
                  <a:gd name="connsiteY1" fmla="*/ 296472 h 1850093"/>
                  <a:gd name="connsiteX2" fmla="*/ 1354508 w 1387165"/>
                  <a:gd name="connsiteY2" fmla="*/ 601272 h 1850093"/>
                  <a:gd name="connsiteX3" fmla="*/ 1387165 w 1387165"/>
                  <a:gd name="connsiteY3" fmla="*/ 1733387 h 1850093"/>
                  <a:gd name="connsiteX4" fmla="*/ 897308 w 1387165"/>
                  <a:gd name="connsiteY4" fmla="*/ 1755158 h 1850093"/>
                  <a:gd name="connsiteX5" fmla="*/ 803587 w 1387165"/>
                  <a:gd name="connsiteY5" fmla="*/ 1837688 h 1850093"/>
                  <a:gd name="connsiteX6" fmla="*/ 509091 w 1387165"/>
                  <a:gd name="connsiteY6" fmla="*/ 1850093 h 1850093"/>
                  <a:gd name="connsiteX7" fmla="*/ 363379 w 1387165"/>
                  <a:gd name="connsiteY7" fmla="*/ 1752629 h 1850093"/>
                  <a:gd name="connsiteX8" fmla="*/ 107297 w 1387165"/>
                  <a:gd name="connsiteY8" fmla="*/ 1485832 h 1850093"/>
                  <a:gd name="connsiteX9" fmla="*/ 31777 w 1387165"/>
                  <a:gd name="connsiteY9" fmla="*/ 1248494 h 1850093"/>
                  <a:gd name="connsiteX10" fmla="*/ 36448 w 1387165"/>
                  <a:gd name="connsiteY10" fmla="*/ 997027 h 1850093"/>
                  <a:gd name="connsiteX11" fmla="*/ 123 w 1387165"/>
                  <a:gd name="connsiteY11" fmla="*/ 762854 h 1850093"/>
                  <a:gd name="connsiteX12" fmla="*/ 10599 w 1387165"/>
                  <a:gd name="connsiteY12" fmla="*/ 469946 h 1850093"/>
                  <a:gd name="connsiteX13" fmla="*/ 70330 w 1387165"/>
                  <a:gd name="connsiteY13" fmla="*/ 277443 h 1850093"/>
                  <a:gd name="connsiteX14" fmla="*/ 100019 w 1387165"/>
                  <a:gd name="connsiteY14" fmla="*/ 144635 h 1850093"/>
                  <a:gd name="connsiteX15" fmla="*/ 216812 w 1387165"/>
                  <a:gd name="connsiteY15" fmla="*/ 179549 h 1850093"/>
                  <a:gd name="connsiteX16" fmla="*/ 208996 w 1387165"/>
                  <a:gd name="connsiteY16" fmla="*/ 247673 h 1850093"/>
                  <a:gd name="connsiteX17" fmla="*/ 372460 w 1387165"/>
                  <a:gd name="connsiteY17" fmla="*/ 91556 h 1850093"/>
                  <a:gd name="connsiteX18" fmla="*/ 455785 w 1387165"/>
                  <a:gd name="connsiteY18" fmla="*/ 7352 h 1850093"/>
                  <a:gd name="connsiteX19" fmla="*/ 523314 w 1387165"/>
                  <a:gd name="connsiteY19" fmla="*/ 0 h 1850093"/>
                  <a:gd name="connsiteX20" fmla="*/ 837888 w 1387165"/>
                  <a:gd name="connsiteY20" fmla="*/ 22693 h 1850093"/>
                  <a:gd name="connsiteX21" fmla="*/ 997775 w 1387165"/>
                  <a:gd name="connsiteY21" fmla="*/ 155439 h 1850093"/>
                  <a:gd name="connsiteX22" fmla="*/ 1060593 w 1387165"/>
                  <a:gd name="connsiteY22" fmla="*/ 296472 h 1850093"/>
                  <a:gd name="connsiteX0" fmla="*/ 1060593 w 1387165"/>
                  <a:gd name="connsiteY0" fmla="*/ 296472 h 1850093"/>
                  <a:gd name="connsiteX1" fmla="*/ 1180336 w 1387165"/>
                  <a:gd name="connsiteY1" fmla="*/ 296472 h 1850093"/>
                  <a:gd name="connsiteX2" fmla="*/ 1354508 w 1387165"/>
                  <a:gd name="connsiteY2" fmla="*/ 601272 h 1850093"/>
                  <a:gd name="connsiteX3" fmla="*/ 1387165 w 1387165"/>
                  <a:gd name="connsiteY3" fmla="*/ 1733387 h 1850093"/>
                  <a:gd name="connsiteX4" fmla="*/ 897308 w 1387165"/>
                  <a:gd name="connsiteY4" fmla="*/ 1755158 h 1850093"/>
                  <a:gd name="connsiteX5" fmla="*/ 803587 w 1387165"/>
                  <a:gd name="connsiteY5" fmla="*/ 1837688 h 1850093"/>
                  <a:gd name="connsiteX6" fmla="*/ 509091 w 1387165"/>
                  <a:gd name="connsiteY6" fmla="*/ 1850093 h 1850093"/>
                  <a:gd name="connsiteX7" fmla="*/ 363379 w 1387165"/>
                  <a:gd name="connsiteY7" fmla="*/ 1752629 h 1850093"/>
                  <a:gd name="connsiteX8" fmla="*/ 107297 w 1387165"/>
                  <a:gd name="connsiteY8" fmla="*/ 1485832 h 1850093"/>
                  <a:gd name="connsiteX9" fmla="*/ 31777 w 1387165"/>
                  <a:gd name="connsiteY9" fmla="*/ 1248494 h 1850093"/>
                  <a:gd name="connsiteX10" fmla="*/ 36448 w 1387165"/>
                  <a:gd name="connsiteY10" fmla="*/ 997027 h 1850093"/>
                  <a:gd name="connsiteX11" fmla="*/ 123 w 1387165"/>
                  <a:gd name="connsiteY11" fmla="*/ 762854 h 1850093"/>
                  <a:gd name="connsiteX12" fmla="*/ 10599 w 1387165"/>
                  <a:gd name="connsiteY12" fmla="*/ 469946 h 1850093"/>
                  <a:gd name="connsiteX13" fmla="*/ 70330 w 1387165"/>
                  <a:gd name="connsiteY13" fmla="*/ 277443 h 1850093"/>
                  <a:gd name="connsiteX14" fmla="*/ 100019 w 1387165"/>
                  <a:gd name="connsiteY14" fmla="*/ 144635 h 1850093"/>
                  <a:gd name="connsiteX15" fmla="*/ 216812 w 1387165"/>
                  <a:gd name="connsiteY15" fmla="*/ 179549 h 1850093"/>
                  <a:gd name="connsiteX16" fmla="*/ 208996 w 1387165"/>
                  <a:gd name="connsiteY16" fmla="*/ 247673 h 1850093"/>
                  <a:gd name="connsiteX17" fmla="*/ 375488 w 1387165"/>
                  <a:gd name="connsiteY17" fmla="*/ 44721 h 1850093"/>
                  <a:gd name="connsiteX18" fmla="*/ 455785 w 1387165"/>
                  <a:gd name="connsiteY18" fmla="*/ 7352 h 1850093"/>
                  <a:gd name="connsiteX19" fmla="*/ 523314 w 1387165"/>
                  <a:gd name="connsiteY19" fmla="*/ 0 h 1850093"/>
                  <a:gd name="connsiteX20" fmla="*/ 837888 w 1387165"/>
                  <a:gd name="connsiteY20" fmla="*/ 22693 h 1850093"/>
                  <a:gd name="connsiteX21" fmla="*/ 997775 w 1387165"/>
                  <a:gd name="connsiteY21" fmla="*/ 155439 h 1850093"/>
                  <a:gd name="connsiteX22" fmla="*/ 1060593 w 1387165"/>
                  <a:gd name="connsiteY22" fmla="*/ 296472 h 1850093"/>
                  <a:gd name="connsiteX0" fmla="*/ 1060593 w 1387165"/>
                  <a:gd name="connsiteY0" fmla="*/ 312083 h 1865704"/>
                  <a:gd name="connsiteX1" fmla="*/ 1180336 w 1387165"/>
                  <a:gd name="connsiteY1" fmla="*/ 312083 h 1865704"/>
                  <a:gd name="connsiteX2" fmla="*/ 1354508 w 1387165"/>
                  <a:gd name="connsiteY2" fmla="*/ 616883 h 1865704"/>
                  <a:gd name="connsiteX3" fmla="*/ 1387165 w 1387165"/>
                  <a:gd name="connsiteY3" fmla="*/ 1748998 h 1865704"/>
                  <a:gd name="connsiteX4" fmla="*/ 897308 w 1387165"/>
                  <a:gd name="connsiteY4" fmla="*/ 1770769 h 1865704"/>
                  <a:gd name="connsiteX5" fmla="*/ 803587 w 1387165"/>
                  <a:gd name="connsiteY5" fmla="*/ 1853299 h 1865704"/>
                  <a:gd name="connsiteX6" fmla="*/ 509091 w 1387165"/>
                  <a:gd name="connsiteY6" fmla="*/ 1865704 h 1865704"/>
                  <a:gd name="connsiteX7" fmla="*/ 363379 w 1387165"/>
                  <a:gd name="connsiteY7" fmla="*/ 1768240 h 1865704"/>
                  <a:gd name="connsiteX8" fmla="*/ 107297 w 1387165"/>
                  <a:gd name="connsiteY8" fmla="*/ 1501443 h 1865704"/>
                  <a:gd name="connsiteX9" fmla="*/ 31777 w 1387165"/>
                  <a:gd name="connsiteY9" fmla="*/ 1264105 h 1865704"/>
                  <a:gd name="connsiteX10" fmla="*/ 36448 w 1387165"/>
                  <a:gd name="connsiteY10" fmla="*/ 1012638 h 1865704"/>
                  <a:gd name="connsiteX11" fmla="*/ 123 w 1387165"/>
                  <a:gd name="connsiteY11" fmla="*/ 778465 h 1865704"/>
                  <a:gd name="connsiteX12" fmla="*/ 10599 w 1387165"/>
                  <a:gd name="connsiteY12" fmla="*/ 485557 h 1865704"/>
                  <a:gd name="connsiteX13" fmla="*/ 70330 w 1387165"/>
                  <a:gd name="connsiteY13" fmla="*/ 293054 h 1865704"/>
                  <a:gd name="connsiteX14" fmla="*/ 100019 w 1387165"/>
                  <a:gd name="connsiteY14" fmla="*/ 160246 h 1865704"/>
                  <a:gd name="connsiteX15" fmla="*/ 216812 w 1387165"/>
                  <a:gd name="connsiteY15" fmla="*/ 195160 h 1865704"/>
                  <a:gd name="connsiteX16" fmla="*/ 208996 w 1387165"/>
                  <a:gd name="connsiteY16" fmla="*/ 263284 h 1865704"/>
                  <a:gd name="connsiteX17" fmla="*/ 375488 w 1387165"/>
                  <a:gd name="connsiteY17" fmla="*/ 60332 h 1865704"/>
                  <a:gd name="connsiteX18" fmla="*/ 455785 w 1387165"/>
                  <a:gd name="connsiteY18" fmla="*/ 22963 h 1865704"/>
                  <a:gd name="connsiteX19" fmla="*/ 686779 w 1387165"/>
                  <a:gd name="connsiteY19" fmla="*/ 0 h 1865704"/>
                  <a:gd name="connsiteX20" fmla="*/ 837888 w 1387165"/>
                  <a:gd name="connsiteY20" fmla="*/ 38304 h 1865704"/>
                  <a:gd name="connsiteX21" fmla="*/ 997775 w 1387165"/>
                  <a:gd name="connsiteY21" fmla="*/ 171050 h 1865704"/>
                  <a:gd name="connsiteX22" fmla="*/ 1060593 w 1387165"/>
                  <a:gd name="connsiteY22" fmla="*/ 312083 h 1865704"/>
                  <a:gd name="connsiteX0" fmla="*/ 1060593 w 1387165"/>
                  <a:gd name="connsiteY0" fmla="*/ 312083 h 1865704"/>
                  <a:gd name="connsiteX1" fmla="*/ 1180336 w 1387165"/>
                  <a:gd name="connsiteY1" fmla="*/ 312083 h 1865704"/>
                  <a:gd name="connsiteX2" fmla="*/ 1354508 w 1387165"/>
                  <a:gd name="connsiteY2" fmla="*/ 616883 h 1865704"/>
                  <a:gd name="connsiteX3" fmla="*/ 1387165 w 1387165"/>
                  <a:gd name="connsiteY3" fmla="*/ 1748998 h 1865704"/>
                  <a:gd name="connsiteX4" fmla="*/ 897308 w 1387165"/>
                  <a:gd name="connsiteY4" fmla="*/ 1770769 h 1865704"/>
                  <a:gd name="connsiteX5" fmla="*/ 803587 w 1387165"/>
                  <a:gd name="connsiteY5" fmla="*/ 1853299 h 1865704"/>
                  <a:gd name="connsiteX6" fmla="*/ 509091 w 1387165"/>
                  <a:gd name="connsiteY6" fmla="*/ 1865704 h 1865704"/>
                  <a:gd name="connsiteX7" fmla="*/ 363379 w 1387165"/>
                  <a:gd name="connsiteY7" fmla="*/ 1768240 h 1865704"/>
                  <a:gd name="connsiteX8" fmla="*/ 107297 w 1387165"/>
                  <a:gd name="connsiteY8" fmla="*/ 1501443 h 1865704"/>
                  <a:gd name="connsiteX9" fmla="*/ 31777 w 1387165"/>
                  <a:gd name="connsiteY9" fmla="*/ 1264105 h 1865704"/>
                  <a:gd name="connsiteX10" fmla="*/ 36448 w 1387165"/>
                  <a:gd name="connsiteY10" fmla="*/ 1012638 h 1865704"/>
                  <a:gd name="connsiteX11" fmla="*/ 123 w 1387165"/>
                  <a:gd name="connsiteY11" fmla="*/ 778465 h 1865704"/>
                  <a:gd name="connsiteX12" fmla="*/ 10599 w 1387165"/>
                  <a:gd name="connsiteY12" fmla="*/ 485557 h 1865704"/>
                  <a:gd name="connsiteX13" fmla="*/ 70330 w 1387165"/>
                  <a:gd name="connsiteY13" fmla="*/ 293054 h 1865704"/>
                  <a:gd name="connsiteX14" fmla="*/ 100019 w 1387165"/>
                  <a:gd name="connsiteY14" fmla="*/ 160246 h 1865704"/>
                  <a:gd name="connsiteX15" fmla="*/ 216812 w 1387165"/>
                  <a:gd name="connsiteY15" fmla="*/ 195160 h 1865704"/>
                  <a:gd name="connsiteX16" fmla="*/ 208996 w 1387165"/>
                  <a:gd name="connsiteY16" fmla="*/ 263284 h 1865704"/>
                  <a:gd name="connsiteX17" fmla="*/ 375488 w 1387165"/>
                  <a:gd name="connsiteY17" fmla="*/ 60332 h 1865704"/>
                  <a:gd name="connsiteX18" fmla="*/ 492111 w 1387165"/>
                  <a:gd name="connsiteY18" fmla="*/ 10473 h 1865704"/>
                  <a:gd name="connsiteX19" fmla="*/ 686779 w 1387165"/>
                  <a:gd name="connsiteY19" fmla="*/ 0 h 1865704"/>
                  <a:gd name="connsiteX20" fmla="*/ 837888 w 1387165"/>
                  <a:gd name="connsiteY20" fmla="*/ 38304 h 1865704"/>
                  <a:gd name="connsiteX21" fmla="*/ 997775 w 1387165"/>
                  <a:gd name="connsiteY21" fmla="*/ 171050 h 1865704"/>
                  <a:gd name="connsiteX22" fmla="*/ 1060593 w 1387165"/>
                  <a:gd name="connsiteY22" fmla="*/ 312083 h 1865704"/>
                  <a:gd name="connsiteX0" fmla="*/ 1060593 w 1387165"/>
                  <a:gd name="connsiteY0" fmla="*/ 312083 h 1865704"/>
                  <a:gd name="connsiteX1" fmla="*/ 1180336 w 1387165"/>
                  <a:gd name="connsiteY1" fmla="*/ 312083 h 1865704"/>
                  <a:gd name="connsiteX2" fmla="*/ 1354508 w 1387165"/>
                  <a:gd name="connsiteY2" fmla="*/ 616883 h 1865704"/>
                  <a:gd name="connsiteX3" fmla="*/ 1387165 w 1387165"/>
                  <a:gd name="connsiteY3" fmla="*/ 1748998 h 1865704"/>
                  <a:gd name="connsiteX4" fmla="*/ 897308 w 1387165"/>
                  <a:gd name="connsiteY4" fmla="*/ 1770769 h 1865704"/>
                  <a:gd name="connsiteX5" fmla="*/ 803587 w 1387165"/>
                  <a:gd name="connsiteY5" fmla="*/ 1853299 h 1865704"/>
                  <a:gd name="connsiteX6" fmla="*/ 509091 w 1387165"/>
                  <a:gd name="connsiteY6" fmla="*/ 1865704 h 1865704"/>
                  <a:gd name="connsiteX7" fmla="*/ 363379 w 1387165"/>
                  <a:gd name="connsiteY7" fmla="*/ 1768240 h 1865704"/>
                  <a:gd name="connsiteX8" fmla="*/ 107297 w 1387165"/>
                  <a:gd name="connsiteY8" fmla="*/ 1501443 h 1865704"/>
                  <a:gd name="connsiteX9" fmla="*/ 31777 w 1387165"/>
                  <a:gd name="connsiteY9" fmla="*/ 1264105 h 1865704"/>
                  <a:gd name="connsiteX10" fmla="*/ 36448 w 1387165"/>
                  <a:gd name="connsiteY10" fmla="*/ 1012638 h 1865704"/>
                  <a:gd name="connsiteX11" fmla="*/ 123 w 1387165"/>
                  <a:gd name="connsiteY11" fmla="*/ 778465 h 1865704"/>
                  <a:gd name="connsiteX12" fmla="*/ 10599 w 1387165"/>
                  <a:gd name="connsiteY12" fmla="*/ 485557 h 1865704"/>
                  <a:gd name="connsiteX13" fmla="*/ 70330 w 1387165"/>
                  <a:gd name="connsiteY13" fmla="*/ 293054 h 1865704"/>
                  <a:gd name="connsiteX14" fmla="*/ 100019 w 1387165"/>
                  <a:gd name="connsiteY14" fmla="*/ 160246 h 1865704"/>
                  <a:gd name="connsiteX15" fmla="*/ 216812 w 1387165"/>
                  <a:gd name="connsiteY15" fmla="*/ 195160 h 1865704"/>
                  <a:gd name="connsiteX16" fmla="*/ 208996 w 1387165"/>
                  <a:gd name="connsiteY16" fmla="*/ 263284 h 1865704"/>
                  <a:gd name="connsiteX17" fmla="*/ 381542 w 1387165"/>
                  <a:gd name="connsiteY17" fmla="*/ 72821 h 1865704"/>
                  <a:gd name="connsiteX18" fmla="*/ 492111 w 1387165"/>
                  <a:gd name="connsiteY18" fmla="*/ 10473 h 1865704"/>
                  <a:gd name="connsiteX19" fmla="*/ 686779 w 1387165"/>
                  <a:gd name="connsiteY19" fmla="*/ 0 h 1865704"/>
                  <a:gd name="connsiteX20" fmla="*/ 837888 w 1387165"/>
                  <a:gd name="connsiteY20" fmla="*/ 38304 h 1865704"/>
                  <a:gd name="connsiteX21" fmla="*/ 997775 w 1387165"/>
                  <a:gd name="connsiteY21" fmla="*/ 171050 h 1865704"/>
                  <a:gd name="connsiteX22" fmla="*/ 1060593 w 1387165"/>
                  <a:gd name="connsiteY22" fmla="*/ 312083 h 1865704"/>
                  <a:gd name="connsiteX0" fmla="*/ 1060593 w 1387165"/>
                  <a:gd name="connsiteY0" fmla="*/ 312083 h 1865704"/>
                  <a:gd name="connsiteX1" fmla="*/ 1180336 w 1387165"/>
                  <a:gd name="connsiteY1" fmla="*/ 312083 h 1865704"/>
                  <a:gd name="connsiteX2" fmla="*/ 1354508 w 1387165"/>
                  <a:gd name="connsiteY2" fmla="*/ 616883 h 1865704"/>
                  <a:gd name="connsiteX3" fmla="*/ 1387165 w 1387165"/>
                  <a:gd name="connsiteY3" fmla="*/ 1748998 h 1865704"/>
                  <a:gd name="connsiteX4" fmla="*/ 897308 w 1387165"/>
                  <a:gd name="connsiteY4" fmla="*/ 1770769 h 1865704"/>
                  <a:gd name="connsiteX5" fmla="*/ 803587 w 1387165"/>
                  <a:gd name="connsiteY5" fmla="*/ 1853299 h 1865704"/>
                  <a:gd name="connsiteX6" fmla="*/ 509091 w 1387165"/>
                  <a:gd name="connsiteY6" fmla="*/ 1865704 h 1865704"/>
                  <a:gd name="connsiteX7" fmla="*/ 363379 w 1387165"/>
                  <a:gd name="connsiteY7" fmla="*/ 1768240 h 1865704"/>
                  <a:gd name="connsiteX8" fmla="*/ 107297 w 1387165"/>
                  <a:gd name="connsiteY8" fmla="*/ 1501443 h 1865704"/>
                  <a:gd name="connsiteX9" fmla="*/ 31777 w 1387165"/>
                  <a:gd name="connsiteY9" fmla="*/ 1264105 h 1865704"/>
                  <a:gd name="connsiteX10" fmla="*/ 36448 w 1387165"/>
                  <a:gd name="connsiteY10" fmla="*/ 1012638 h 1865704"/>
                  <a:gd name="connsiteX11" fmla="*/ 123 w 1387165"/>
                  <a:gd name="connsiteY11" fmla="*/ 778465 h 1865704"/>
                  <a:gd name="connsiteX12" fmla="*/ 10599 w 1387165"/>
                  <a:gd name="connsiteY12" fmla="*/ 485557 h 1865704"/>
                  <a:gd name="connsiteX13" fmla="*/ 70330 w 1387165"/>
                  <a:gd name="connsiteY13" fmla="*/ 293054 h 1865704"/>
                  <a:gd name="connsiteX14" fmla="*/ 100019 w 1387165"/>
                  <a:gd name="connsiteY14" fmla="*/ 160246 h 1865704"/>
                  <a:gd name="connsiteX15" fmla="*/ 216812 w 1387165"/>
                  <a:gd name="connsiteY15" fmla="*/ 195160 h 1865704"/>
                  <a:gd name="connsiteX16" fmla="*/ 208996 w 1387165"/>
                  <a:gd name="connsiteY16" fmla="*/ 263284 h 1865704"/>
                  <a:gd name="connsiteX17" fmla="*/ 381542 w 1387165"/>
                  <a:gd name="connsiteY17" fmla="*/ 72821 h 1865704"/>
                  <a:gd name="connsiteX18" fmla="*/ 492111 w 1387165"/>
                  <a:gd name="connsiteY18" fmla="*/ 10473 h 1865704"/>
                  <a:gd name="connsiteX19" fmla="*/ 686779 w 1387165"/>
                  <a:gd name="connsiteY19" fmla="*/ 0 h 1865704"/>
                  <a:gd name="connsiteX20" fmla="*/ 837888 w 1387165"/>
                  <a:gd name="connsiteY20" fmla="*/ 38304 h 1865704"/>
                  <a:gd name="connsiteX21" fmla="*/ 997775 w 1387165"/>
                  <a:gd name="connsiteY21" fmla="*/ 171050 h 1865704"/>
                  <a:gd name="connsiteX22" fmla="*/ 1060593 w 1387165"/>
                  <a:gd name="connsiteY22" fmla="*/ 312083 h 1865704"/>
                  <a:gd name="connsiteX0" fmla="*/ 1060593 w 1387165"/>
                  <a:gd name="connsiteY0" fmla="*/ 312083 h 1865704"/>
                  <a:gd name="connsiteX1" fmla="*/ 1180336 w 1387165"/>
                  <a:gd name="connsiteY1" fmla="*/ 312083 h 1865704"/>
                  <a:gd name="connsiteX2" fmla="*/ 1354508 w 1387165"/>
                  <a:gd name="connsiteY2" fmla="*/ 616883 h 1865704"/>
                  <a:gd name="connsiteX3" fmla="*/ 1387165 w 1387165"/>
                  <a:gd name="connsiteY3" fmla="*/ 1748998 h 1865704"/>
                  <a:gd name="connsiteX4" fmla="*/ 942716 w 1387165"/>
                  <a:gd name="connsiteY4" fmla="*/ 1777013 h 1865704"/>
                  <a:gd name="connsiteX5" fmla="*/ 803587 w 1387165"/>
                  <a:gd name="connsiteY5" fmla="*/ 1853299 h 1865704"/>
                  <a:gd name="connsiteX6" fmla="*/ 509091 w 1387165"/>
                  <a:gd name="connsiteY6" fmla="*/ 1865704 h 1865704"/>
                  <a:gd name="connsiteX7" fmla="*/ 363379 w 1387165"/>
                  <a:gd name="connsiteY7" fmla="*/ 1768240 h 1865704"/>
                  <a:gd name="connsiteX8" fmla="*/ 107297 w 1387165"/>
                  <a:gd name="connsiteY8" fmla="*/ 1501443 h 1865704"/>
                  <a:gd name="connsiteX9" fmla="*/ 31777 w 1387165"/>
                  <a:gd name="connsiteY9" fmla="*/ 1264105 h 1865704"/>
                  <a:gd name="connsiteX10" fmla="*/ 36448 w 1387165"/>
                  <a:gd name="connsiteY10" fmla="*/ 1012638 h 1865704"/>
                  <a:gd name="connsiteX11" fmla="*/ 123 w 1387165"/>
                  <a:gd name="connsiteY11" fmla="*/ 778465 h 1865704"/>
                  <a:gd name="connsiteX12" fmla="*/ 10599 w 1387165"/>
                  <a:gd name="connsiteY12" fmla="*/ 485557 h 1865704"/>
                  <a:gd name="connsiteX13" fmla="*/ 70330 w 1387165"/>
                  <a:gd name="connsiteY13" fmla="*/ 293054 h 1865704"/>
                  <a:gd name="connsiteX14" fmla="*/ 100019 w 1387165"/>
                  <a:gd name="connsiteY14" fmla="*/ 160246 h 1865704"/>
                  <a:gd name="connsiteX15" fmla="*/ 216812 w 1387165"/>
                  <a:gd name="connsiteY15" fmla="*/ 195160 h 1865704"/>
                  <a:gd name="connsiteX16" fmla="*/ 208996 w 1387165"/>
                  <a:gd name="connsiteY16" fmla="*/ 263284 h 1865704"/>
                  <a:gd name="connsiteX17" fmla="*/ 381542 w 1387165"/>
                  <a:gd name="connsiteY17" fmla="*/ 72821 h 1865704"/>
                  <a:gd name="connsiteX18" fmla="*/ 492111 w 1387165"/>
                  <a:gd name="connsiteY18" fmla="*/ 10473 h 1865704"/>
                  <a:gd name="connsiteX19" fmla="*/ 686779 w 1387165"/>
                  <a:gd name="connsiteY19" fmla="*/ 0 h 1865704"/>
                  <a:gd name="connsiteX20" fmla="*/ 837888 w 1387165"/>
                  <a:gd name="connsiteY20" fmla="*/ 38304 h 1865704"/>
                  <a:gd name="connsiteX21" fmla="*/ 997775 w 1387165"/>
                  <a:gd name="connsiteY21" fmla="*/ 171050 h 1865704"/>
                  <a:gd name="connsiteX22" fmla="*/ 1060593 w 1387165"/>
                  <a:gd name="connsiteY22" fmla="*/ 312083 h 1865704"/>
                  <a:gd name="connsiteX0" fmla="*/ 1060593 w 1402301"/>
                  <a:gd name="connsiteY0" fmla="*/ 312083 h 1865704"/>
                  <a:gd name="connsiteX1" fmla="*/ 1180336 w 1402301"/>
                  <a:gd name="connsiteY1" fmla="*/ 312083 h 1865704"/>
                  <a:gd name="connsiteX2" fmla="*/ 1354508 w 1402301"/>
                  <a:gd name="connsiteY2" fmla="*/ 616883 h 1865704"/>
                  <a:gd name="connsiteX3" fmla="*/ 1402301 w 1402301"/>
                  <a:gd name="connsiteY3" fmla="*/ 1767732 h 1865704"/>
                  <a:gd name="connsiteX4" fmla="*/ 942716 w 1402301"/>
                  <a:gd name="connsiteY4" fmla="*/ 1777013 h 1865704"/>
                  <a:gd name="connsiteX5" fmla="*/ 803587 w 1402301"/>
                  <a:gd name="connsiteY5" fmla="*/ 1853299 h 1865704"/>
                  <a:gd name="connsiteX6" fmla="*/ 509091 w 1402301"/>
                  <a:gd name="connsiteY6" fmla="*/ 1865704 h 1865704"/>
                  <a:gd name="connsiteX7" fmla="*/ 363379 w 1402301"/>
                  <a:gd name="connsiteY7" fmla="*/ 1768240 h 1865704"/>
                  <a:gd name="connsiteX8" fmla="*/ 107297 w 1402301"/>
                  <a:gd name="connsiteY8" fmla="*/ 1501443 h 1865704"/>
                  <a:gd name="connsiteX9" fmla="*/ 31777 w 1402301"/>
                  <a:gd name="connsiteY9" fmla="*/ 1264105 h 1865704"/>
                  <a:gd name="connsiteX10" fmla="*/ 36448 w 1402301"/>
                  <a:gd name="connsiteY10" fmla="*/ 1012638 h 1865704"/>
                  <a:gd name="connsiteX11" fmla="*/ 123 w 1402301"/>
                  <a:gd name="connsiteY11" fmla="*/ 778465 h 1865704"/>
                  <a:gd name="connsiteX12" fmla="*/ 10599 w 1402301"/>
                  <a:gd name="connsiteY12" fmla="*/ 485557 h 1865704"/>
                  <a:gd name="connsiteX13" fmla="*/ 70330 w 1402301"/>
                  <a:gd name="connsiteY13" fmla="*/ 293054 h 1865704"/>
                  <a:gd name="connsiteX14" fmla="*/ 100019 w 1402301"/>
                  <a:gd name="connsiteY14" fmla="*/ 160246 h 1865704"/>
                  <a:gd name="connsiteX15" fmla="*/ 216812 w 1402301"/>
                  <a:gd name="connsiteY15" fmla="*/ 195160 h 1865704"/>
                  <a:gd name="connsiteX16" fmla="*/ 208996 w 1402301"/>
                  <a:gd name="connsiteY16" fmla="*/ 263284 h 1865704"/>
                  <a:gd name="connsiteX17" fmla="*/ 381542 w 1402301"/>
                  <a:gd name="connsiteY17" fmla="*/ 72821 h 1865704"/>
                  <a:gd name="connsiteX18" fmla="*/ 492111 w 1402301"/>
                  <a:gd name="connsiteY18" fmla="*/ 10473 h 1865704"/>
                  <a:gd name="connsiteX19" fmla="*/ 686779 w 1402301"/>
                  <a:gd name="connsiteY19" fmla="*/ 0 h 1865704"/>
                  <a:gd name="connsiteX20" fmla="*/ 837888 w 1402301"/>
                  <a:gd name="connsiteY20" fmla="*/ 38304 h 1865704"/>
                  <a:gd name="connsiteX21" fmla="*/ 997775 w 1402301"/>
                  <a:gd name="connsiteY21" fmla="*/ 171050 h 1865704"/>
                  <a:gd name="connsiteX22" fmla="*/ 1060593 w 1402301"/>
                  <a:gd name="connsiteY22" fmla="*/ 312083 h 1865704"/>
                  <a:gd name="connsiteX0" fmla="*/ 1060593 w 1402301"/>
                  <a:gd name="connsiteY0" fmla="*/ 312083 h 1865704"/>
                  <a:gd name="connsiteX1" fmla="*/ 1180336 w 1402301"/>
                  <a:gd name="connsiteY1" fmla="*/ 312083 h 1865704"/>
                  <a:gd name="connsiteX2" fmla="*/ 1384779 w 1402301"/>
                  <a:gd name="connsiteY2" fmla="*/ 698063 h 1865704"/>
                  <a:gd name="connsiteX3" fmla="*/ 1402301 w 1402301"/>
                  <a:gd name="connsiteY3" fmla="*/ 1767732 h 1865704"/>
                  <a:gd name="connsiteX4" fmla="*/ 942716 w 1402301"/>
                  <a:gd name="connsiteY4" fmla="*/ 1777013 h 1865704"/>
                  <a:gd name="connsiteX5" fmla="*/ 803587 w 1402301"/>
                  <a:gd name="connsiteY5" fmla="*/ 1853299 h 1865704"/>
                  <a:gd name="connsiteX6" fmla="*/ 509091 w 1402301"/>
                  <a:gd name="connsiteY6" fmla="*/ 1865704 h 1865704"/>
                  <a:gd name="connsiteX7" fmla="*/ 363379 w 1402301"/>
                  <a:gd name="connsiteY7" fmla="*/ 1768240 h 1865704"/>
                  <a:gd name="connsiteX8" fmla="*/ 107297 w 1402301"/>
                  <a:gd name="connsiteY8" fmla="*/ 1501443 h 1865704"/>
                  <a:gd name="connsiteX9" fmla="*/ 31777 w 1402301"/>
                  <a:gd name="connsiteY9" fmla="*/ 1264105 h 1865704"/>
                  <a:gd name="connsiteX10" fmla="*/ 36448 w 1402301"/>
                  <a:gd name="connsiteY10" fmla="*/ 1012638 h 1865704"/>
                  <a:gd name="connsiteX11" fmla="*/ 123 w 1402301"/>
                  <a:gd name="connsiteY11" fmla="*/ 778465 h 1865704"/>
                  <a:gd name="connsiteX12" fmla="*/ 10599 w 1402301"/>
                  <a:gd name="connsiteY12" fmla="*/ 485557 h 1865704"/>
                  <a:gd name="connsiteX13" fmla="*/ 70330 w 1402301"/>
                  <a:gd name="connsiteY13" fmla="*/ 293054 h 1865704"/>
                  <a:gd name="connsiteX14" fmla="*/ 100019 w 1402301"/>
                  <a:gd name="connsiteY14" fmla="*/ 160246 h 1865704"/>
                  <a:gd name="connsiteX15" fmla="*/ 216812 w 1402301"/>
                  <a:gd name="connsiteY15" fmla="*/ 195160 h 1865704"/>
                  <a:gd name="connsiteX16" fmla="*/ 208996 w 1402301"/>
                  <a:gd name="connsiteY16" fmla="*/ 263284 h 1865704"/>
                  <a:gd name="connsiteX17" fmla="*/ 381542 w 1402301"/>
                  <a:gd name="connsiteY17" fmla="*/ 72821 h 1865704"/>
                  <a:gd name="connsiteX18" fmla="*/ 492111 w 1402301"/>
                  <a:gd name="connsiteY18" fmla="*/ 10473 h 1865704"/>
                  <a:gd name="connsiteX19" fmla="*/ 686779 w 1402301"/>
                  <a:gd name="connsiteY19" fmla="*/ 0 h 1865704"/>
                  <a:gd name="connsiteX20" fmla="*/ 837888 w 1402301"/>
                  <a:gd name="connsiteY20" fmla="*/ 38304 h 1865704"/>
                  <a:gd name="connsiteX21" fmla="*/ 997775 w 1402301"/>
                  <a:gd name="connsiteY21" fmla="*/ 171050 h 1865704"/>
                  <a:gd name="connsiteX22" fmla="*/ 1060593 w 1402301"/>
                  <a:gd name="connsiteY22" fmla="*/ 312083 h 1865704"/>
                  <a:gd name="connsiteX0" fmla="*/ 1060593 w 1402301"/>
                  <a:gd name="connsiteY0" fmla="*/ 312083 h 1865704"/>
                  <a:gd name="connsiteX1" fmla="*/ 1180336 w 1402301"/>
                  <a:gd name="connsiteY1" fmla="*/ 312083 h 1865704"/>
                  <a:gd name="connsiteX2" fmla="*/ 1384779 w 1402301"/>
                  <a:gd name="connsiteY2" fmla="*/ 698063 h 1865704"/>
                  <a:gd name="connsiteX3" fmla="*/ 1402301 w 1402301"/>
                  <a:gd name="connsiteY3" fmla="*/ 1767732 h 1865704"/>
                  <a:gd name="connsiteX4" fmla="*/ 942716 w 1402301"/>
                  <a:gd name="connsiteY4" fmla="*/ 1777013 h 1865704"/>
                  <a:gd name="connsiteX5" fmla="*/ 803587 w 1402301"/>
                  <a:gd name="connsiteY5" fmla="*/ 1853299 h 1865704"/>
                  <a:gd name="connsiteX6" fmla="*/ 509091 w 1402301"/>
                  <a:gd name="connsiteY6" fmla="*/ 1865704 h 1865704"/>
                  <a:gd name="connsiteX7" fmla="*/ 363379 w 1402301"/>
                  <a:gd name="connsiteY7" fmla="*/ 1768240 h 1865704"/>
                  <a:gd name="connsiteX8" fmla="*/ 107297 w 1402301"/>
                  <a:gd name="connsiteY8" fmla="*/ 1501443 h 1865704"/>
                  <a:gd name="connsiteX9" fmla="*/ 31777 w 1402301"/>
                  <a:gd name="connsiteY9" fmla="*/ 1264105 h 1865704"/>
                  <a:gd name="connsiteX10" fmla="*/ 36448 w 1402301"/>
                  <a:gd name="connsiteY10" fmla="*/ 1012638 h 1865704"/>
                  <a:gd name="connsiteX11" fmla="*/ 123 w 1402301"/>
                  <a:gd name="connsiteY11" fmla="*/ 778465 h 1865704"/>
                  <a:gd name="connsiteX12" fmla="*/ 10599 w 1402301"/>
                  <a:gd name="connsiteY12" fmla="*/ 485557 h 1865704"/>
                  <a:gd name="connsiteX13" fmla="*/ 70330 w 1402301"/>
                  <a:gd name="connsiteY13" fmla="*/ 293054 h 1865704"/>
                  <a:gd name="connsiteX14" fmla="*/ 100019 w 1402301"/>
                  <a:gd name="connsiteY14" fmla="*/ 160246 h 1865704"/>
                  <a:gd name="connsiteX15" fmla="*/ 216812 w 1402301"/>
                  <a:gd name="connsiteY15" fmla="*/ 195160 h 1865704"/>
                  <a:gd name="connsiteX16" fmla="*/ 208996 w 1402301"/>
                  <a:gd name="connsiteY16" fmla="*/ 263284 h 1865704"/>
                  <a:gd name="connsiteX17" fmla="*/ 381542 w 1402301"/>
                  <a:gd name="connsiteY17" fmla="*/ 72821 h 1865704"/>
                  <a:gd name="connsiteX18" fmla="*/ 492111 w 1402301"/>
                  <a:gd name="connsiteY18" fmla="*/ 10473 h 1865704"/>
                  <a:gd name="connsiteX19" fmla="*/ 686779 w 1402301"/>
                  <a:gd name="connsiteY19" fmla="*/ 0 h 1865704"/>
                  <a:gd name="connsiteX20" fmla="*/ 837888 w 1402301"/>
                  <a:gd name="connsiteY20" fmla="*/ 38304 h 1865704"/>
                  <a:gd name="connsiteX21" fmla="*/ 997775 w 1402301"/>
                  <a:gd name="connsiteY21" fmla="*/ 171050 h 1865704"/>
                  <a:gd name="connsiteX22" fmla="*/ 1060593 w 1402301"/>
                  <a:gd name="connsiteY22" fmla="*/ 312083 h 1865704"/>
                  <a:gd name="connsiteX0" fmla="*/ 1060593 w 1402301"/>
                  <a:gd name="connsiteY0" fmla="*/ 312083 h 1865704"/>
                  <a:gd name="connsiteX1" fmla="*/ 1180336 w 1402301"/>
                  <a:gd name="connsiteY1" fmla="*/ 312083 h 1865704"/>
                  <a:gd name="connsiteX2" fmla="*/ 1332060 w 1402301"/>
                  <a:gd name="connsiteY2" fmla="*/ 575514 h 1865704"/>
                  <a:gd name="connsiteX3" fmla="*/ 1384779 w 1402301"/>
                  <a:gd name="connsiteY3" fmla="*/ 698063 h 1865704"/>
                  <a:gd name="connsiteX4" fmla="*/ 1402301 w 1402301"/>
                  <a:gd name="connsiteY4" fmla="*/ 1767732 h 1865704"/>
                  <a:gd name="connsiteX5" fmla="*/ 942716 w 1402301"/>
                  <a:gd name="connsiteY5" fmla="*/ 1777013 h 1865704"/>
                  <a:gd name="connsiteX6" fmla="*/ 803587 w 1402301"/>
                  <a:gd name="connsiteY6" fmla="*/ 1853299 h 1865704"/>
                  <a:gd name="connsiteX7" fmla="*/ 509091 w 1402301"/>
                  <a:gd name="connsiteY7" fmla="*/ 1865704 h 1865704"/>
                  <a:gd name="connsiteX8" fmla="*/ 363379 w 1402301"/>
                  <a:gd name="connsiteY8" fmla="*/ 1768240 h 1865704"/>
                  <a:gd name="connsiteX9" fmla="*/ 107297 w 1402301"/>
                  <a:gd name="connsiteY9" fmla="*/ 1501443 h 1865704"/>
                  <a:gd name="connsiteX10" fmla="*/ 31777 w 1402301"/>
                  <a:gd name="connsiteY10" fmla="*/ 1264105 h 1865704"/>
                  <a:gd name="connsiteX11" fmla="*/ 36448 w 1402301"/>
                  <a:gd name="connsiteY11" fmla="*/ 1012638 h 1865704"/>
                  <a:gd name="connsiteX12" fmla="*/ 123 w 1402301"/>
                  <a:gd name="connsiteY12" fmla="*/ 778465 h 1865704"/>
                  <a:gd name="connsiteX13" fmla="*/ 10599 w 1402301"/>
                  <a:gd name="connsiteY13" fmla="*/ 485557 h 1865704"/>
                  <a:gd name="connsiteX14" fmla="*/ 70330 w 1402301"/>
                  <a:gd name="connsiteY14" fmla="*/ 293054 h 1865704"/>
                  <a:gd name="connsiteX15" fmla="*/ 100019 w 1402301"/>
                  <a:gd name="connsiteY15" fmla="*/ 160246 h 1865704"/>
                  <a:gd name="connsiteX16" fmla="*/ 216812 w 1402301"/>
                  <a:gd name="connsiteY16" fmla="*/ 195160 h 1865704"/>
                  <a:gd name="connsiteX17" fmla="*/ 208996 w 1402301"/>
                  <a:gd name="connsiteY17" fmla="*/ 263284 h 1865704"/>
                  <a:gd name="connsiteX18" fmla="*/ 381542 w 1402301"/>
                  <a:gd name="connsiteY18" fmla="*/ 72821 h 1865704"/>
                  <a:gd name="connsiteX19" fmla="*/ 492111 w 1402301"/>
                  <a:gd name="connsiteY19" fmla="*/ 10473 h 1865704"/>
                  <a:gd name="connsiteX20" fmla="*/ 686779 w 1402301"/>
                  <a:gd name="connsiteY20" fmla="*/ 0 h 1865704"/>
                  <a:gd name="connsiteX21" fmla="*/ 837888 w 1402301"/>
                  <a:gd name="connsiteY21" fmla="*/ 38304 h 1865704"/>
                  <a:gd name="connsiteX22" fmla="*/ 997775 w 1402301"/>
                  <a:gd name="connsiteY22" fmla="*/ 171050 h 1865704"/>
                  <a:gd name="connsiteX23" fmla="*/ 1060593 w 1402301"/>
                  <a:gd name="connsiteY23" fmla="*/ 312083 h 1865704"/>
                  <a:gd name="connsiteX0" fmla="*/ 1060593 w 1414616"/>
                  <a:gd name="connsiteY0" fmla="*/ 312083 h 1865704"/>
                  <a:gd name="connsiteX1" fmla="*/ 1180336 w 1414616"/>
                  <a:gd name="connsiteY1" fmla="*/ 312083 h 1865704"/>
                  <a:gd name="connsiteX2" fmla="*/ 1404711 w 1414616"/>
                  <a:gd name="connsiteY2" fmla="*/ 634838 h 1865704"/>
                  <a:gd name="connsiteX3" fmla="*/ 1384779 w 1414616"/>
                  <a:gd name="connsiteY3" fmla="*/ 698063 h 1865704"/>
                  <a:gd name="connsiteX4" fmla="*/ 1402301 w 1414616"/>
                  <a:gd name="connsiteY4" fmla="*/ 1767732 h 1865704"/>
                  <a:gd name="connsiteX5" fmla="*/ 942716 w 1414616"/>
                  <a:gd name="connsiteY5" fmla="*/ 1777013 h 1865704"/>
                  <a:gd name="connsiteX6" fmla="*/ 803587 w 1414616"/>
                  <a:gd name="connsiteY6" fmla="*/ 1853299 h 1865704"/>
                  <a:gd name="connsiteX7" fmla="*/ 509091 w 1414616"/>
                  <a:gd name="connsiteY7" fmla="*/ 1865704 h 1865704"/>
                  <a:gd name="connsiteX8" fmla="*/ 363379 w 1414616"/>
                  <a:gd name="connsiteY8" fmla="*/ 1768240 h 1865704"/>
                  <a:gd name="connsiteX9" fmla="*/ 107297 w 1414616"/>
                  <a:gd name="connsiteY9" fmla="*/ 1501443 h 1865704"/>
                  <a:gd name="connsiteX10" fmla="*/ 31777 w 1414616"/>
                  <a:gd name="connsiteY10" fmla="*/ 1264105 h 1865704"/>
                  <a:gd name="connsiteX11" fmla="*/ 36448 w 1414616"/>
                  <a:gd name="connsiteY11" fmla="*/ 1012638 h 1865704"/>
                  <a:gd name="connsiteX12" fmla="*/ 123 w 1414616"/>
                  <a:gd name="connsiteY12" fmla="*/ 778465 h 1865704"/>
                  <a:gd name="connsiteX13" fmla="*/ 10599 w 1414616"/>
                  <a:gd name="connsiteY13" fmla="*/ 485557 h 1865704"/>
                  <a:gd name="connsiteX14" fmla="*/ 70330 w 1414616"/>
                  <a:gd name="connsiteY14" fmla="*/ 293054 h 1865704"/>
                  <a:gd name="connsiteX15" fmla="*/ 100019 w 1414616"/>
                  <a:gd name="connsiteY15" fmla="*/ 160246 h 1865704"/>
                  <a:gd name="connsiteX16" fmla="*/ 216812 w 1414616"/>
                  <a:gd name="connsiteY16" fmla="*/ 195160 h 1865704"/>
                  <a:gd name="connsiteX17" fmla="*/ 208996 w 1414616"/>
                  <a:gd name="connsiteY17" fmla="*/ 263284 h 1865704"/>
                  <a:gd name="connsiteX18" fmla="*/ 381542 w 1414616"/>
                  <a:gd name="connsiteY18" fmla="*/ 72821 h 1865704"/>
                  <a:gd name="connsiteX19" fmla="*/ 492111 w 1414616"/>
                  <a:gd name="connsiteY19" fmla="*/ 10473 h 1865704"/>
                  <a:gd name="connsiteX20" fmla="*/ 686779 w 1414616"/>
                  <a:gd name="connsiteY20" fmla="*/ 0 h 1865704"/>
                  <a:gd name="connsiteX21" fmla="*/ 837888 w 1414616"/>
                  <a:gd name="connsiteY21" fmla="*/ 38304 h 1865704"/>
                  <a:gd name="connsiteX22" fmla="*/ 997775 w 1414616"/>
                  <a:gd name="connsiteY22" fmla="*/ 171050 h 1865704"/>
                  <a:gd name="connsiteX23" fmla="*/ 1060593 w 1414616"/>
                  <a:gd name="connsiteY23" fmla="*/ 312083 h 1865704"/>
                  <a:gd name="connsiteX0" fmla="*/ 1060593 w 1406354"/>
                  <a:gd name="connsiteY0" fmla="*/ 312083 h 1865704"/>
                  <a:gd name="connsiteX1" fmla="*/ 1180336 w 1406354"/>
                  <a:gd name="connsiteY1" fmla="*/ 312083 h 1865704"/>
                  <a:gd name="connsiteX2" fmla="*/ 1322979 w 1406354"/>
                  <a:gd name="connsiteY2" fmla="*/ 513067 h 1865704"/>
                  <a:gd name="connsiteX3" fmla="*/ 1404711 w 1406354"/>
                  <a:gd name="connsiteY3" fmla="*/ 634838 h 1865704"/>
                  <a:gd name="connsiteX4" fmla="*/ 1384779 w 1406354"/>
                  <a:gd name="connsiteY4" fmla="*/ 698063 h 1865704"/>
                  <a:gd name="connsiteX5" fmla="*/ 1402301 w 1406354"/>
                  <a:gd name="connsiteY5" fmla="*/ 1767732 h 1865704"/>
                  <a:gd name="connsiteX6" fmla="*/ 942716 w 1406354"/>
                  <a:gd name="connsiteY6" fmla="*/ 1777013 h 1865704"/>
                  <a:gd name="connsiteX7" fmla="*/ 803587 w 1406354"/>
                  <a:gd name="connsiteY7" fmla="*/ 1853299 h 1865704"/>
                  <a:gd name="connsiteX8" fmla="*/ 509091 w 1406354"/>
                  <a:gd name="connsiteY8" fmla="*/ 1865704 h 1865704"/>
                  <a:gd name="connsiteX9" fmla="*/ 363379 w 1406354"/>
                  <a:gd name="connsiteY9" fmla="*/ 1768240 h 1865704"/>
                  <a:gd name="connsiteX10" fmla="*/ 107297 w 1406354"/>
                  <a:gd name="connsiteY10" fmla="*/ 1501443 h 1865704"/>
                  <a:gd name="connsiteX11" fmla="*/ 31777 w 1406354"/>
                  <a:gd name="connsiteY11" fmla="*/ 1264105 h 1865704"/>
                  <a:gd name="connsiteX12" fmla="*/ 36448 w 1406354"/>
                  <a:gd name="connsiteY12" fmla="*/ 1012638 h 1865704"/>
                  <a:gd name="connsiteX13" fmla="*/ 123 w 1406354"/>
                  <a:gd name="connsiteY13" fmla="*/ 778465 h 1865704"/>
                  <a:gd name="connsiteX14" fmla="*/ 10599 w 1406354"/>
                  <a:gd name="connsiteY14" fmla="*/ 485557 h 1865704"/>
                  <a:gd name="connsiteX15" fmla="*/ 70330 w 1406354"/>
                  <a:gd name="connsiteY15" fmla="*/ 293054 h 1865704"/>
                  <a:gd name="connsiteX16" fmla="*/ 100019 w 1406354"/>
                  <a:gd name="connsiteY16" fmla="*/ 160246 h 1865704"/>
                  <a:gd name="connsiteX17" fmla="*/ 216812 w 1406354"/>
                  <a:gd name="connsiteY17" fmla="*/ 195160 h 1865704"/>
                  <a:gd name="connsiteX18" fmla="*/ 208996 w 1406354"/>
                  <a:gd name="connsiteY18" fmla="*/ 263284 h 1865704"/>
                  <a:gd name="connsiteX19" fmla="*/ 381542 w 1406354"/>
                  <a:gd name="connsiteY19" fmla="*/ 72821 h 1865704"/>
                  <a:gd name="connsiteX20" fmla="*/ 492111 w 1406354"/>
                  <a:gd name="connsiteY20" fmla="*/ 10473 h 1865704"/>
                  <a:gd name="connsiteX21" fmla="*/ 686779 w 1406354"/>
                  <a:gd name="connsiteY21" fmla="*/ 0 h 1865704"/>
                  <a:gd name="connsiteX22" fmla="*/ 837888 w 1406354"/>
                  <a:gd name="connsiteY22" fmla="*/ 38304 h 1865704"/>
                  <a:gd name="connsiteX23" fmla="*/ 997775 w 1406354"/>
                  <a:gd name="connsiteY23" fmla="*/ 171050 h 1865704"/>
                  <a:gd name="connsiteX24" fmla="*/ 1060593 w 1406354"/>
                  <a:gd name="connsiteY24" fmla="*/ 312083 h 1865704"/>
                  <a:gd name="connsiteX0" fmla="*/ 1060593 w 1450691"/>
                  <a:gd name="connsiteY0" fmla="*/ 312083 h 1865704"/>
                  <a:gd name="connsiteX1" fmla="*/ 1180336 w 1450691"/>
                  <a:gd name="connsiteY1" fmla="*/ 312083 h 1865704"/>
                  <a:gd name="connsiteX2" fmla="*/ 1441037 w 1450691"/>
                  <a:gd name="connsiteY2" fmla="*/ 609859 h 1865704"/>
                  <a:gd name="connsiteX3" fmla="*/ 1404711 w 1450691"/>
                  <a:gd name="connsiteY3" fmla="*/ 634838 h 1865704"/>
                  <a:gd name="connsiteX4" fmla="*/ 1384779 w 1450691"/>
                  <a:gd name="connsiteY4" fmla="*/ 698063 h 1865704"/>
                  <a:gd name="connsiteX5" fmla="*/ 1402301 w 1450691"/>
                  <a:gd name="connsiteY5" fmla="*/ 1767732 h 1865704"/>
                  <a:gd name="connsiteX6" fmla="*/ 942716 w 1450691"/>
                  <a:gd name="connsiteY6" fmla="*/ 1777013 h 1865704"/>
                  <a:gd name="connsiteX7" fmla="*/ 803587 w 1450691"/>
                  <a:gd name="connsiteY7" fmla="*/ 1853299 h 1865704"/>
                  <a:gd name="connsiteX8" fmla="*/ 509091 w 1450691"/>
                  <a:gd name="connsiteY8" fmla="*/ 1865704 h 1865704"/>
                  <a:gd name="connsiteX9" fmla="*/ 363379 w 1450691"/>
                  <a:gd name="connsiteY9" fmla="*/ 1768240 h 1865704"/>
                  <a:gd name="connsiteX10" fmla="*/ 107297 w 1450691"/>
                  <a:gd name="connsiteY10" fmla="*/ 1501443 h 1865704"/>
                  <a:gd name="connsiteX11" fmla="*/ 31777 w 1450691"/>
                  <a:gd name="connsiteY11" fmla="*/ 1264105 h 1865704"/>
                  <a:gd name="connsiteX12" fmla="*/ 36448 w 1450691"/>
                  <a:gd name="connsiteY12" fmla="*/ 1012638 h 1865704"/>
                  <a:gd name="connsiteX13" fmla="*/ 123 w 1450691"/>
                  <a:gd name="connsiteY13" fmla="*/ 778465 h 1865704"/>
                  <a:gd name="connsiteX14" fmla="*/ 10599 w 1450691"/>
                  <a:gd name="connsiteY14" fmla="*/ 485557 h 1865704"/>
                  <a:gd name="connsiteX15" fmla="*/ 70330 w 1450691"/>
                  <a:gd name="connsiteY15" fmla="*/ 293054 h 1865704"/>
                  <a:gd name="connsiteX16" fmla="*/ 100019 w 1450691"/>
                  <a:gd name="connsiteY16" fmla="*/ 160246 h 1865704"/>
                  <a:gd name="connsiteX17" fmla="*/ 216812 w 1450691"/>
                  <a:gd name="connsiteY17" fmla="*/ 195160 h 1865704"/>
                  <a:gd name="connsiteX18" fmla="*/ 208996 w 1450691"/>
                  <a:gd name="connsiteY18" fmla="*/ 263284 h 1865704"/>
                  <a:gd name="connsiteX19" fmla="*/ 381542 w 1450691"/>
                  <a:gd name="connsiteY19" fmla="*/ 72821 h 1865704"/>
                  <a:gd name="connsiteX20" fmla="*/ 492111 w 1450691"/>
                  <a:gd name="connsiteY20" fmla="*/ 10473 h 1865704"/>
                  <a:gd name="connsiteX21" fmla="*/ 686779 w 1450691"/>
                  <a:gd name="connsiteY21" fmla="*/ 0 h 1865704"/>
                  <a:gd name="connsiteX22" fmla="*/ 837888 w 1450691"/>
                  <a:gd name="connsiteY22" fmla="*/ 38304 h 1865704"/>
                  <a:gd name="connsiteX23" fmla="*/ 997775 w 1450691"/>
                  <a:gd name="connsiteY23" fmla="*/ 171050 h 1865704"/>
                  <a:gd name="connsiteX24" fmla="*/ 1060593 w 1450691"/>
                  <a:gd name="connsiteY24" fmla="*/ 312083 h 1865704"/>
                  <a:gd name="connsiteX0" fmla="*/ 1060593 w 1450691"/>
                  <a:gd name="connsiteY0" fmla="*/ 312083 h 1865704"/>
                  <a:gd name="connsiteX1" fmla="*/ 1180336 w 1450691"/>
                  <a:gd name="connsiteY1" fmla="*/ 312083 h 1865704"/>
                  <a:gd name="connsiteX2" fmla="*/ 1441037 w 1450691"/>
                  <a:gd name="connsiteY2" fmla="*/ 609859 h 1865704"/>
                  <a:gd name="connsiteX3" fmla="*/ 1404711 w 1450691"/>
                  <a:gd name="connsiteY3" fmla="*/ 634838 h 1865704"/>
                  <a:gd name="connsiteX4" fmla="*/ 1384779 w 1450691"/>
                  <a:gd name="connsiteY4" fmla="*/ 698063 h 1865704"/>
                  <a:gd name="connsiteX5" fmla="*/ 1402301 w 1450691"/>
                  <a:gd name="connsiteY5" fmla="*/ 1767732 h 1865704"/>
                  <a:gd name="connsiteX6" fmla="*/ 942716 w 1450691"/>
                  <a:gd name="connsiteY6" fmla="*/ 1777013 h 1865704"/>
                  <a:gd name="connsiteX7" fmla="*/ 803587 w 1450691"/>
                  <a:gd name="connsiteY7" fmla="*/ 1853299 h 1865704"/>
                  <a:gd name="connsiteX8" fmla="*/ 509091 w 1450691"/>
                  <a:gd name="connsiteY8" fmla="*/ 1865704 h 1865704"/>
                  <a:gd name="connsiteX9" fmla="*/ 363379 w 1450691"/>
                  <a:gd name="connsiteY9" fmla="*/ 1768240 h 1865704"/>
                  <a:gd name="connsiteX10" fmla="*/ 107297 w 1450691"/>
                  <a:gd name="connsiteY10" fmla="*/ 1501443 h 1865704"/>
                  <a:gd name="connsiteX11" fmla="*/ 31777 w 1450691"/>
                  <a:gd name="connsiteY11" fmla="*/ 1264105 h 1865704"/>
                  <a:gd name="connsiteX12" fmla="*/ 36448 w 1450691"/>
                  <a:gd name="connsiteY12" fmla="*/ 1012638 h 1865704"/>
                  <a:gd name="connsiteX13" fmla="*/ 123 w 1450691"/>
                  <a:gd name="connsiteY13" fmla="*/ 778465 h 1865704"/>
                  <a:gd name="connsiteX14" fmla="*/ 10599 w 1450691"/>
                  <a:gd name="connsiteY14" fmla="*/ 485557 h 1865704"/>
                  <a:gd name="connsiteX15" fmla="*/ 70330 w 1450691"/>
                  <a:gd name="connsiteY15" fmla="*/ 293054 h 1865704"/>
                  <a:gd name="connsiteX16" fmla="*/ 100019 w 1450691"/>
                  <a:gd name="connsiteY16" fmla="*/ 160246 h 1865704"/>
                  <a:gd name="connsiteX17" fmla="*/ 216812 w 1450691"/>
                  <a:gd name="connsiteY17" fmla="*/ 195160 h 1865704"/>
                  <a:gd name="connsiteX18" fmla="*/ 208996 w 1450691"/>
                  <a:gd name="connsiteY18" fmla="*/ 263284 h 1865704"/>
                  <a:gd name="connsiteX19" fmla="*/ 381542 w 1450691"/>
                  <a:gd name="connsiteY19" fmla="*/ 72821 h 1865704"/>
                  <a:gd name="connsiteX20" fmla="*/ 492111 w 1450691"/>
                  <a:gd name="connsiteY20" fmla="*/ 10473 h 1865704"/>
                  <a:gd name="connsiteX21" fmla="*/ 686779 w 1450691"/>
                  <a:gd name="connsiteY21" fmla="*/ 0 h 1865704"/>
                  <a:gd name="connsiteX22" fmla="*/ 1131519 w 1450691"/>
                  <a:gd name="connsiteY22" fmla="*/ 7081 h 1865704"/>
                  <a:gd name="connsiteX23" fmla="*/ 997775 w 1450691"/>
                  <a:gd name="connsiteY23" fmla="*/ 171050 h 1865704"/>
                  <a:gd name="connsiteX24" fmla="*/ 1060593 w 1450691"/>
                  <a:gd name="connsiteY24" fmla="*/ 312083 h 1865704"/>
                  <a:gd name="connsiteX0" fmla="*/ 1060593 w 1450691"/>
                  <a:gd name="connsiteY0" fmla="*/ 837309 h 2390930"/>
                  <a:gd name="connsiteX1" fmla="*/ 1180336 w 1450691"/>
                  <a:gd name="connsiteY1" fmla="*/ 837309 h 2390930"/>
                  <a:gd name="connsiteX2" fmla="*/ 1441037 w 1450691"/>
                  <a:gd name="connsiteY2" fmla="*/ 1135085 h 2390930"/>
                  <a:gd name="connsiteX3" fmla="*/ 1404711 w 1450691"/>
                  <a:gd name="connsiteY3" fmla="*/ 1160064 h 2390930"/>
                  <a:gd name="connsiteX4" fmla="*/ 1384779 w 1450691"/>
                  <a:gd name="connsiteY4" fmla="*/ 1223289 h 2390930"/>
                  <a:gd name="connsiteX5" fmla="*/ 1402301 w 1450691"/>
                  <a:gd name="connsiteY5" fmla="*/ 2292958 h 2390930"/>
                  <a:gd name="connsiteX6" fmla="*/ 942716 w 1450691"/>
                  <a:gd name="connsiteY6" fmla="*/ 2302239 h 2390930"/>
                  <a:gd name="connsiteX7" fmla="*/ 803587 w 1450691"/>
                  <a:gd name="connsiteY7" fmla="*/ 2378525 h 2390930"/>
                  <a:gd name="connsiteX8" fmla="*/ 509091 w 1450691"/>
                  <a:gd name="connsiteY8" fmla="*/ 2390930 h 2390930"/>
                  <a:gd name="connsiteX9" fmla="*/ 363379 w 1450691"/>
                  <a:gd name="connsiteY9" fmla="*/ 2293466 h 2390930"/>
                  <a:gd name="connsiteX10" fmla="*/ 107297 w 1450691"/>
                  <a:gd name="connsiteY10" fmla="*/ 2026669 h 2390930"/>
                  <a:gd name="connsiteX11" fmla="*/ 31777 w 1450691"/>
                  <a:gd name="connsiteY11" fmla="*/ 1789331 h 2390930"/>
                  <a:gd name="connsiteX12" fmla="*/ 36448 w 1450691"/>
                  <a:gd name="connsiteY12" fmla="*/ 1537864 h 2390930"/>
                  <a:gd name="connsiteX13" fmla="*/ 123 w 1450691"/>
                  <a:gd name="connsiteY13" fmla="*/ 1303691 h 2390930"/>
                  <a:gd name="connsiteX14" fmla="*/ 10599 w 1450691"/>
                  <a:gd name="connsiteY14" fmla="*/ 1010783 h 2390930"/>
                  <a:gd name="connsiteX15" fmla="*/ 70330 w 1450691"/>
                  <a:gd name="connsiteY15" fmla="*/ 818280 h 2390930"/>
                  <a:gd name="connsiteX16" fmla="*/ 100019 w 1450691"/>
                  <a:gd name="connsiteY16" fmla="*/ 685472 h 2390930"/>
                  <a:gd name="connsiteX17" fmla="*/ 216812 w 1450691"/>
                  <a:gd name="connsiteY17" fmla="*/ 720386 h 2390930"/>
                  <a:gd name="connsiteX18" fmla="*/ 208996 w 1450691"/>
                  <a:gd name="connsiteY18" fmla="*/ 788510 h 2390930"/>
                  <a:gd name="connsiteX19" fmla="*/ 381542 w 1450691"/>
                  <a:gd name="connsiteY19" fmla="*/ 598047 h 2390930"/>
                  <a:gd name="connsiteX20" fmla="*/ 492111 w 1450691"/>
                  <a:gd name="connsiteY20" fmla="*/ 535699 h 2390930"/>
                  <a:gd name="connsiteX21" fmla="*/ 686779 w 1450691"/>
                  <a:gd name="connsiteY21" fmla="*/ 525226 h 2390930"/>
                  <a:gd name="connsiteX22" fmla="*/ 1131519 w 1450691"/>
                  <a:gd name="connsiteY22" fmla="*/ 532307 h 2390930"/>
                  <a:gd name="connsiteX23" fmla="*/ 1212701 w 1450691"/>
                  <a:gd name="connsiteY23" fmla="*/ 0 h 2390930"/>
                  <a:gd name="connsiteX24" fmla="*/ 1060593 w 1450691"/>
                  <a:gd name="connsiteY24" fmla="*/ 837309 h 2390930"/>
                  <a:gd name="connsiteX0" fmla="*/ 1432930 w 1450691"/>
                  <a:gd name="connsiteY0" fmla="*/ 62975 h 2390930"/>
                  <a:gd name="connsiteX1" fmla="*/ 1180336 w 1450691"/>
                  <a:gd name="connsiteY1" fmla="*/ 837309 h 2390930"/>
                  <a:gd name="connsiteX2" fmla="*/ 1441037 w 1450691"/>
                  <a:gd name="connsiteY2" fmla="*/ 1135085 h 2390930"/>
                  <a:gd name="connsiteX3" fmla="*/ 1404711 w 1450691"/>
                  <a:gd name="connsiteY3" fmla="*/ 1160064 h 2390930"/>
                  <a:gd name="connsiteX4" fmla="*/ 1384779 w 1450691"/>
                  <a:gd name="connsiteY4" fmla="*/ 1223289 h 2390930"/>
                  <a:gd name="connsiteX5" fmla="*/ 1402301 w 1450691"/>
                  <a:gd name="connsiteY5" fmla="*/ 2292958 h 2390930"/>
                  <a:gd name="connsiteX6" fmla="*/ 942716 w 1450691"/>
                  <a:gd name="connsiteY6" fmla="*/ 2302239 h 2390930"/>
                  <a:gd name="connsiteX7" fmla="*/ 803587 w 1450691"/>
                  <a:gd name="connsiteY7" fmla="*/ 2378525 h 2390930"/>
                  <a:gd name="connsiteX8" fmla="*/ 509091 w 1450691"/>
                  <a:gd name="connsiteY8" fmla="*/ 2390930 h 2390930"/>
                  <a:gd name="connsiteX9" fmla="*/ 363379 w 1450691"/>
                  <a:gd name="connsiteY9" fmla="*/ 2293466 h 2390930"/>
                  <a:gd name="connsiteX10" fmla="*/ 107297 w 1450691"/>
                  <a:gd name="connsiteY10" fmla="*/ 2026669 h 2390930"/>
                  <a:gd name="connsiteX11" fmla="*/ 31777 w 1450691"/>
                  <a:gd name="connsiteY11" fmla="*/ 1789331 h 2390930"/>
                  <a:gd name="connsiteX12" fmla="*/ 36448 w 1450691"/>
                  <a:gd name="connsiteY12" fmla="*/ 1537864 h 2390930"/>
                  <a:gd name="connsiteX13" fmla="*/ 123 w 1450691"/>
                  <a:gd name="connsiteY13" fmla="*/ 1303691 h 2390930"/>
                  <a:gd name="connsiteX14" fmla="*/ 10599 w 1450691"/>
                  <a:gd name="connsiteY14" fmla="*/ 1010783 h 2390930"/>
                  <a:gd name="connsiteX15" fmla="*/ 70330 w 1450691"/>
                  <a:gd name="connsiteY15" fmla="*/ 818280 h 2390930"/>
                  <a:gd name="connsiteX16" fmla="*/ 100019 w 1450691"/>
                  <a:gd name="connsiteY16" fmla="*/ 685472 h 2390930"/>
                  <a:gd name="connsiteX17" fmla="*/ 216812 w 1450691"/>
                  <a:gd name="connsiteY17" fmla="*/ 720386 h 2390930"/>
                  <a:gd name="connsiteX18" fmla="*/ 208996 w 1450691"/>
                  <a:gd name="connsiteY18" fmla="*/ 788510 h 2390930"/>
                  <a:gd name="connsiteX19" fmla="*/ 381542 w 1450691"/>
                  <a:gd name="connsiteY19" fmla="*/ 598047 h 2390930"/>
                  <a:gd name="connsiteX20" fmla="*/ 492111 w 1450691"/>
                  <a:gd name="connsiteY20" fmla="*/ 535699 h 2390930"/>
                  <a:gd name="connsiteX21" fmla="*/ 686779 w 1450691"/>
                  <a:gd name="connsiteY21" fmla="*/ 525226 h 2390930"/>
                  <a:gd name="connsiteX22" fmla="*/ 1131519 w 1450691"/>
                  <a:gd name="connsiteY22" fmla="*/ 532307 h 2390930"/>
                  <a:gd name="connsiteX23" fmla="*/ 1212701 w 1450691"/>
                  <a:gd name="connsiteY23" fmla="*/ 0 h 2390930"/>
                  <a:gd name="connsiteX24" fmla="*/ 1432930 w 1450691"/>
                  <a:gd name="connsiteY24" fmla="*/ 62975 h 2390930"/>
                  <a:gd name="connsiteX0" fmla="*/ 1432930 w 1450691"/>
                  <a:gd name="connsiteY0" fmla="*/ 62975 h 2390930"/>
                  <a:gd name="connsiteX1" fmla="*/ 1358937 w 1450691"/>
                  <a:gd name="connsiteY1" fmla="*/ 478243 h 2390930"/>
                  <a:gd name="connsiteX2" fmla="*/ 1441037 w 1450691"/>
                  <a:gd name="connsiteY2" fmla="*/ 1135085 h 2390930"/>
                  <a:gd name="connsiteX3" fmla="*/ 1404711 w 1450691"/>
                  <a:gd name="connsiteY3" fmla="*/ 1160064 h 2390930"/>
                  <a:gd name="connsiteX4" fmla="*/ 1384779 w 1450691"/>
                  <a:gd name="connsiteY4" fmla="*/ 1223289 h 2390930"/>
                  <a:gd name="connsiteX5" fmla="*/ 1402301 w 1450691"/>
                  <a:gd name="connsiteY5" fmla="*/ 2292958 h 2390930"/>
                  <a:gd name="connsiteX6" fmla="*/ 942716 w 1450691"/>
                  <a:gd name="connsiteY6" fmla="*/ 2302239 h 2390930"/>
                  <a:gd name="connsiteX7" fmla="*/ 803587 w 1450691"/>
                  <a:gd name="connsiteY7" fmla="*/ 2378525 h 2390930"/>
                  <a:gd name="connsiteX8" fmla="*/ 509091 w 1450691"/>
                  <a:gd name="connsiteY8" fmla="*/ 2390930 h 2390930"/>
                  <a:gd name="connsiteX9" fmla="*/ 363379 w 1450691"/>
                  <a:gd name="connsiteY9" fmla="*/ 2293466 h 2390930"/>
                  <a:gd name="connsiteX10" fmla="*/ 107297 w 1450691"/>
                  <a:gd name="connsiteY10" fmla="*/ 2026669 h 2390930"/>
                  <a:gd name="connsiteX11" fmla="*/ 31777 w 1450691"/>
                  <a:gd name="connsiteY11" fmla="*/ 1789331 h 2390930"/>
                  <a:gd name="connsiteX12" fmla="*/ 36448 w 1450691"/>
                  <a:gd name="connsiteY12" fmla="*/ 1537864 h 2390930"/>
                  <a:gd name="connsiteX13" fmla="*/ 123 w 1450691"/>
                  <a:gd name="connsiteY13" fmla="*/ 1303691 h 2390930"/>
                  <a:gd name="connsiteX14" fmla="*/ 10599 w 1450691"/>
                  <a:gd name="connsiteY14" fmla="*/ 1010783 h 2390930"/>
                  <a:gd name="connsiteX15" fmla="*/ 70330 w 1450691"/>
                  <a:gd name="connsiteY15" fmla="*/ 818280 h 2390930"/>
                  <a:gd name="connsiteX16" fmla="*/ 100019 w 1450691"/>
                  <a:gd name="connsiteY16" fmla="*/ 685472 h 2390930"/>
                  <a:gd name="connsiteX17" fmla="*/ 216812 w 1450691"/>
                  <a:gd name="connsiteY17" fmla="*/ 720386 h 2390930"/>
                  <a:gd name="connsiteX18" fmla="*/ 208996 w 1450691"/>
                  <a:gd name="connsiteY18" fmla="*/ 788510 h 2390930"/>
                  <a:gd name="connsiteX19" fmla="*/ 381542 w 1450691"/>
                  <a:gd name="connsiteY19" fmla="*/ 598047 h 2390930"/>
                  <a:gd name="connsiteX20" fmla="*/ 492111 w 1450691"/>
                  <a:gd name="connsiteY20" fmla="*/ 535699 h 2390930"/>
                  <a:gd name="connsiteX21" fmla="*/ 686779 w 1450691"/>
                  <a:gd name="connsiteY21" fmla="*/ 525226 h 2390930"/>
                  <a:gd name="connsiteX22" fmla="*/ 1131519 w 1450691"/>
                  <a:gd name="connsiteY22" fmla="*/ 532307 h 2390930"/>
                  <a:gd name="connsiteX23" fmla="*/ 1212701 w 1450691"/>
                  <a:gd name="connsiteY23" fmla="*/ 0 h 2390930"/>
                  <a:gd name="connsiteX24" fmla="*/ 1432930 w 1450691"/>
                  <a:gd name="connsiteY24" fmla="*/ 62975 h 2390930"/>
                  <a:gd name="connsiteX0" fmla="*/ 1432930 w 1441078"/>
                  <a:gd name="connsiteY0" fmla="*/ 62975 h 2390930"/>
                  <a:gd name="connsiteX1" fmla="*/ 1358937 w 1441078"/>
                  <a:gd name="connsiteY1" fmla="*/ 478243 h 2390930"/>
                  <a:gd name="connsiteX2" fmla="*/ 1410764 w 1441078"/>
                  <a:gd name="connsiteY2" fmla="*/ 969603 h 2390930"/>
                  <a:gd name="connsiteX3" fmla="*/ 1441037 w 1441078"/>
                  <a:gd name="connsiteY3" fmla="*/ 1135085 h 2390930"/>
                  <a:gd name="connsiteX4" fmla="*/ 1404711 w 1441078"/>
                  <a:gd name="connsiteY4" fmla="*/ 1160064 h 2390930"/>
                  <a:gd name="connsiteX5" fmla="*/ 1384779 w 1441078"/>
                  <a:gd name="connsiteY5" fmla="*/ 1223289 h 2390930"/>
                  <a:gd name="connsiteX6" fmla="*/ 1402301 w 1441078"/>
                  <a:gd name="connsiteY6" fmla="*/ 2292958 h 2390930"/>
                  <a:gd name="connsiteX7" fmla="*/ 942716 w 1441078"/>
                  <a:gd name="connsiteY7" fmla="*/ 2302239 h 2390930"/>
                  <a:gd name="connsiteX8" fmla="*/ 803587 w 1441078"/>
                  <a:gd name="connsiteY8" fmla="*/ 2378525 h 2390930"/>
                  <a:gd name="connsiteX9" fmla="*/ 509091 w 1441078"/>
                  <a:gd name="connsiteY9" fmla="*/ 2390930 h 2390930"/>
                  <a:gd name="connsiteX10" fmla="*/ 363379 w 1441078"/>
                  <a:gd name="connsiteY10" fmla="*/ 2293466 h 2390930"/>
                  <a:gd name="connsiteX11" fmla="*/ 107297 w 1441078"/>
                  <a:gd name="connsiteY11" fmla="*/ 2026669 h 2390930"/>
                  <a:gd name="connsiteX12" fmla="*/ 31777 w 1441078"/>
                  <a:gd name="connsiteY12" fmla="*/ 1789331 h 2390930"/>
                  <a:gd name="connsiteX13" fmla="*/ 36448 w 1441078"/>
                  <a:gd name="connsiteY13" fmla="*/ 1537864 h 2390930"/>
                  <a:gd name="connsiteX14" fmla="*/ 123 w 1441078"/>
                  <a:gd name="connsiteY14" fmla="*/ 1303691 h 2390930"/>
                  <a:gd name="connsiteX15" fmla="*/ 10599 w 1441078"/>
                  <a:gd name="connsiteY15" fmla="*/ 1010783 h 2390930"/>
                  <a:gd name="connsiteX16" fmla="*/ 70330 w 1441078"/>
                  <a:gd name="connsiteY16" fmla="*/ 818280 h 2390930"/>
                  <a:gd name="connsiteX17" fmla="*/ 100019 w 1441078"/>
                  <a:gd name="connsiteY17" fmla="*/ 685472 h 2390930"/>
                  <a:gd name="connsiteX18" fmla="*/ 216812 w 1441078"/>
                  <a:gd name="connsiteY18" fmla="*/ 720386 h 2390930"/>
                  <a:gd name="connsiteX19" fmla="*/ 208996 w 1441078"/>
                  <a:gd name="connsiteY19" fmla="*/ 788510 h 2390930"/>
                  <a:gd name="connsiteX20" fmla="*/ 381542 w 1441078"/>
                  <a:gd name="connsiteY20" fmla="*/ 598047 h 2390930"/>
                  <a:gd name="connsiteX21" fmla="*/ 492111 w 1441078"/>
                  <a:gd name="connsiteY21" fmla="*/ 535699 h 2390930"/>
                  <a:gd name="connsiteX22" fmla="*/ 686779 w 1441078"/>
                  <a:gd name="connsiteY22" fmla="*/ 525226 h 2390930"/>
                  <a:gd name="connsiteX23" fmla="*/ 1131519 w 1441078"/>
                  <a:gd name="connsiteY23" fmla="*/ 532307 h 2390930"/>
                  <a:gd name="connsiteX24" fmla="*/ 1212701 w 1441078"/>
                  <a:gd name="connsiteY24" fmla="*/ 0 h 2390930"/>
                  <a:gd name="connsiteX25" fmla="*/ 1432930 w 1441078"/>
                  <a:gd name="connsiteY25" fmla="*/ 62975 h 2390930"/>
                  <a:gd name="connsiteX0" fmla="*/ 1432930 w 1441052"/>
                  <a:gd name="connsiteY0" fmla="*/ 62975 h 2390930"/>
                  <a:gd name="connsiteX1" fmla="*/ 1358937 w 1441052"/>
                  <a:gd name="connsiteY1" fmla="*/ 478243 h 2390930"/>
                  <a:gd name="connsiteX2" fmla="*/ 1380493 w 1441052"/>
                  <a:gd name="connsiteY2" fmla="*/ 916524 h 2390930"/>
                  <a:gd name="connsiteX3" fmla="*/ 1441037 w 1441052"/>
                  <a:gd name="connsiteY3" fmla="*/ 1135085 h 2390930"/>
                  <a:gd name="connsiteX4" fmla="*/ 1404711 w 1441052"/>
                  <a:gd name="connsiteY4" fmla="*/ 1160064 h 2390930"/>
                  <a:gd name="connsiteX5" fmla="*/ 1384779 w 1441052"/>
                  <a:gd name="connsiteY5" fmla="*/ 1223289 h 2390930"/>
                  <a:gd name="connsiteX6" fmla="*/ 1402301 w 1441052"/>
                  <a:gd name="connsiteY6" fmla="*/ 2292958 h 2390930"/>
                  <a:gd name="connsiteX7" fmla="*/ 942716 w 1441052"/>
                  <a:gd name="connsiteY7" fmla="*/ 2302239 h 2390930"/>
                  <a:gd name="connsiteX8" fmla="*/ 803587 w 1441052"/>
                  <a:gd name="connsiteY8" fmla="*/ 2378525 h 2390930"/>
                  <a:gd name="connsiteX9" fmla="*/ 509091 w 1441052"/>
                  <a:gd name="connsiteY9" fmla="*/ 2390930 h 2390930"/>
                  <a:gd name="connsiteX10" fmla="*/ 363379 w 1441052"/>
                  <a:gd name="connsiteY10" fmla="*/ 2293466 h 2390930"/>
                  <a:gd name="connsiteX11" fmla="*/ 107297 w 1441052"/>
                  <a:gd name="connsiteY11" fmla="*/ 2026669 h 2390930"/>
                  <a:gd name="connsiteX12" fmla="*/ 31777 w 1441052"/>
                  <a:gd name="connsiteY12" fmla="*/ 1789331 h 2390930"/>
                  <a:gd name="connsiteX13" fmla="*/ 36448 w 1441052"/>
                  <a:gd name="connsiteY13" fmla="*/ 1537864 h 2390930"/>
                  <a:gd name="connsiteX14" fmla="*/ 123 w 1441052"/>
                  <a:gd name="connsiteY14" fmla="*/ 1303691 h 2390930"/>
                  <a:gd name="connsiteX15" fmla="*/ 10599 w 1441052"/>
                  <a:gd name="connsiteY15" fmla="*/ 1010783 h 2390930"/>
                  <a:gd name="connsiteX16" fmla="*/ 70330 w 1441052"/>
                  <a:gd name="connsiteY16" fmla="*/ 818280 h 2390930"/>
                  <a:gd name="connsiteX17" fmla="*/ 100019 w 1441052"/>
                  <a:gd name="connsiteY17" fmla="*/ 685472 h 2390930"/>
                  <a:gd name="connsiteX18" fmla="*/ 216812 w 1441052"/>
                  <a:gd name="connsiteY18" fmla="*/ 720386 h 2390930"/>
                  <a:gd name="connsiteX19" fmla="*/ 208996 w 1441052"/>
                  <a:gd name="connsiteY19" fmla="*/ 788510 h 2390930"/>
                  <a:gd name="connsiteX20" fmla="*/ 381542 w 1441052"/>
                  <a:gd name="connsiteY20" fmla="*/ 598047 h 2390930"/>
                  <a:gd name="connsiteX21" fmla="*/ 492111 w 1441052"/>
                  <a:gd name="connsiteY21" fmla="*/ 535699 h 2390930"/>
                  <a:gd name="connsiteX22" fmla="*/ 686779 w 1441052"/>
                  <a:gd name="connsiteY22" fmla="*/ 525226 h 2390930"/>
                  <a:gd name="connsiteX23" fmla="*/ 1131519 w 1441052"/>
                  <a:gd name="connsiteY23" fmla="*/ 532307 h 2390930"/>
                  <a:gd name="connsiteX24" fmla="*/ 1212701 w 1441052"/>
                  <a:gd name="connsiteY24" fmla="*/ 0 h 2390930"/>
                  <a:gd name="connsiteX25" fmla="*/ 1432930 w 1441052"/>
                  <a:gd name="connsiteY25" fmla="*/ 62975 h 2390930"/>
                  <a:gd name="connsiteX0" fmla="*/ 1432930 w 1441209"/>
                  <a:gd name="connsiteY0" fmla="*/ 62975 h 2390930"/>
                  <a:gd name="connsiteX1" fmla="*/ 1358937 w 1441209"/>
                  <a:gd name="connsiteY1" fmla="*/ 478243 h 2390930"/>
                  <a:gd name="connsiteX2" fmla="*/ 1380493 w 1441209"/>
                  <a:gd name="connsiteY2" fmla="*/ 916524 h 2390930"/>
                  <a:gd name="connsiteX3" fmla="*/ 1416819 w 1441209"/>
                  <a:gd name="connsiteY3" fmla="*/ 1050783 h 2390930"/>
                  <a:gd name="connsiteX4" fmla="*/ 1441037 w 1441209"/>
                  <a:gd name="connsiteY4" fmla="*/ 1135085 h 2390930"/>
                  <a:gd name="connsiteX5" fmla="*/ 1404711 w 1441209"/>
                  <a:gd name="connsiteY5" fmla="*/ 1160064 h 2390930"/>
                  <a:gd name="connsiteX6" fmla="*/ 1384779 w 1441209"/>
                  <a:gd name="connsiteY6" fmla="*/ 1223289 h 2390930"/>
                  <a:gd name="connsiteX7" fmla="*/ 1402301 w 1441209"/>
                  <a:gd name="connsiteY7" fmla="*/ 2292958 h 2390930"/>
                  <a:gd name="connsiteX8" fmla="*/ 942716 w 1441209"/>
                  <a:gd name="connsiteY8" fmla="*/ 2302239 h 2390930"/>
                  <a:gd name="connsiteX9" fmla="*/ 803587 w 1441209"/>
                  <a:gd name="connsiteY9" fmla="*/ 2378525 h 2390930"/>
                  <a:gd name="connsiteX10" fmla="*/ 509091 w 1441209"/>
                  <a:gd name="connsiteY10" fmla="*/ 2390930 h 2390930"/>
                  <a:gd name="connsiteX11" fmla="*/ 363379 w 1441209"/>
                  <a:gd name="connsiteY11" fmla="*/ 2293466 h 2390930"/>
                  <a:gd name="connsiteX12" fmla="*/ 107297 w 1441209"/>
                  <a:gd name="connsiteY12" fmla="*/ 2026669 h 2390930"/>
                  <a:gd name="connsiteX13" fmla="*/ 31777 w 1441209"/>
                  <a:gd name="connsiteY13" fmla="*/ 1789331 h 2390930"/>
                  <a:gd name="connsiteX14" fmla="*/ 36448 w 1441209"/>
                  <a:gd name="connsiteY14" fmla="*/ 1537864 h 2390930"/>
                  <a:gd name="connsiteX15" fmla="*/ 123 w 1441209"/>
                  <a:gd name="connsiteY15" fmla="*/ 1303691 h 2390930"/>
                  <a:gd name="connsiteX16" fmla="*/ 10599 w 1441209"/>
                  <a:gd name="connsiteY16" fmla="*/ 1010783 h 2390930"/>
                  <a:gd name="connsiteX17" fmla="*/ 70330 w 1441209"/>
                  <a:gd name="connsiteY17" fmla="*/ 818280 h 2390930"/>
                  <a:gd name="connsiteX18" fmla="*/ 100019 w 1441209"/>
                  <a:gd name="connsiteY18" fmla="*/ 685472 h 2390930"/>
                  <a:gd name="connsiteX19" fmla="*/ 216812 w 1441209"/>
                  <a:gd name="connsiteY19" fmla="*/ 720386 h 2390930"/>
                  <a:gd name="connsiteX20" fmla="*/ 208996 w 1441209"/>
                  <a:gd name="connsiteY20" fmla="*/ 788510 h 2390930"/>
                  <a:gd name="connsiteX21" fmla="*/ 381542 w 1441209"/>
                  <a:gd name="connsiteY21" fmla="*/ 598047 h 2390930"/>
                  <a:gd name="connsiteX22" fmla="*/ 492111 w 1441209"/>
                  <a:gd name="connsiteY22" fmla="*/ 535699 h 2390930"/>
                  <a:gd name="connsiteX23" fmla="*/ 686779 w 1441209"/>
                  <a:gd name="connsiteY23" fmla="*/ 525226 h 2390930"/>
                  <a:gd name="connsiteX24" fmla="*/ 1131519 w 1441209"/>
                  <a:gd name="connsiteY24" fmla="*/ 532307 h 2390930"/>
                  <a:gd name="connsiteX25" fmla="*/ 1212701 w 1441209"/>
                  <a:gd name="connsiteY25" fmla="*/ 0 h 2390930"/>
                  <a:gd name="connsiteX26" fmla="*/ 1432930 w 1441209"/>
                  <a:gd name="connsiteY26" fmla="*/ 62975 h 2390930"/>
                  <a:gd name="connsiteX0" fmla="*/ 1432930 w 1444094"/>
                  <a:gd name="connsiteY0" fmla="*/ 62975 h 2390930"/>
                  <a:gd name="connsiteX1" fmla="*/ 1358937 w 1444094"/>
                  <a:gd name="connsiteY1" fmla="*/ 478243 h 2390930"/>
                  <a:gd name="connsiteX2" fmla="*/ 1380493 w 1444094"/>
                  <a:gd name="connsiteY2" fmla="*/ 916524 h 2390930"/>
                  <a:gd name="connsiteX3" fmla="*/ 1438009 w 1444094"/>
                  <a:gd name="connsiteY3" fmla="*/ 1094496 h 2390930"/>
                  <a:gd name="connsiteX4" fmla="*/ 1441037 w 1444094"/>
                  <a:gd name="connsiteY4" fmla="*/ 1135085 h 2390930"/>
                  <a:gd name="connsiteX5" fmla="*/ 1404711 w 1444094"/>
                  <a:gd name="connsiteY5" fmla="*/ 1160064 h 2390930"/>
                  <a:gd name="connsiteX6" fmla="*/ 1384779 w 1444094"/>
                  <a:gd name="connsiteY6" fmla="*/ 1223289 h 2390930"/>
                  <a:gd name="connsiteX7" fmla="*/ 1402301 w 1444094"/>
                  <a:gd name="connsiteY7" fmla="*/ 2292958 h 2390930"/>
                  <a:gd name="connsiteX8" fmla="*/ 942716 w 1444094"/>
                  <a:gd name="connsiteY8" fmla="*/ 2302239 h 2390930"/>
                  <a:gd name="connsiteX9" fmla="*/ 803587 w 1444094"/>
                  <a:gd name="connsiteY9" fmla="*/ 2378525 h 2390930"/>
                  <a:gd name="connsiteX10" fmla="*/ 509091 w 1444094"/>
                  <a:gd name="connsiteY10" fmla="*/ 2390930 h 2390930"/>
                  <a:gd name="connsiteX11" fmla="*/ 363379 w 1444094"/>
                  <a:gd name="connsiteY11" fmla="*/ 2293466 h 2390930"/>
                  <a:gd name="connsiteX12" fmla="*/ 107297 w 1444094"/>
                  <a:gd name="connsiteY12" fmla="*/ 2026669 h 2390930"/>
                  <a:gd name="connsiteX13" fmla="*/ 31777 w 1444094"/>
                  <a:gd name="connsiteY13" fmla="*/ 1789331 h 2390930"/>
                  <a:gd name="connsiteX14" fmla="*/ 36448 w 1444094"/>
                  <a:gd name="connsiteY14" fmla="*/ 1537864 h 2390930"/>
                  <a:gd name="connsiteX15" fmla="*/ 123 w 1444094"/>
                  <a:gd name="connsiteY15" fmla="*/ 1303691 h 2390930"/>
                  <a:gd name="connsiteX16" fmla="*/ 10599 w 1444094"/>
                  <a:gd name="connsiteY16" fmla="*/ 1010783 h 2390930"/>
                  <a:gd name="connsiteX17" fmla="*/ 70330 w 1444094"/>
                  <a:gd name="connsiteY17" fmla="*/ 818280 h 2390930"/>
                  <a:gd name="connsiteX18" fmla="*/ 100019 w 1444094"/>
                  <a:gd name="connsiteY18" fmla="*/ 685472 h 2390930"/>
                  <a:gd name="connsiteX19" fmla="*/ 216812 w 1444094"/>
                  <a:gd name="connsiteY19" fmla="*/ 720386 h 2390930"/>
                  <a:gd name="connsiteX20" fmla="*/ 208996 w 1444094"/>
                  <a:gd name="connsiteY20" fmla="*/ 788510 h 2390930"/>
                  <a:gd name="connsiteX21" fmla="*/ 381542 w 1444094"/>
                  <a:gd name="connsiteY21" fmla="*/ 598047 h 2390930"/>
                  <a:gd name="connsiteX22" fmla="*/ 492111 w 1444094"/>
                  <a:gd name="connsiteY22" fmla="*/ 535699 h 2390930"/>
                  <a:gd name="connsiteX23" fmla="*/ 686779 w 1444094"/>
                  <a:gd name="connsiteY23" fmla="*/ 525226 h 2390930"/>
                  <a:gd name="connsiteX24" fmla="*/ 1131519 w 1444094"/>
                  <a:gd name="connsiteY24" fmla="*/ 532307 h 2390930"/>
                  <a:gd name="connsiteX25" fmla="*/ 1212701 w 1444094"/>
                  <a:gd name="connsiteY25" fmla="*/ 0 h 2390930"/>
                  <a:gd name="connsiteX26" fmla="*/ 1432930 w 1444094"/>
                  <a:gd name="connsiteY26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407737 w 1442442"/>
                  <a:gd name="connsiteY3" fmla="*/ 1007071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31777 w 1442442"/>
                  <a:gd name="connsiteY14" fmla="*/ 1789331 h 2390930"/>
                  <a:gd name="connsiteX15" fmla="*/ 36448 w 1442442"/>
                  <a:gd name="connsiteY15" fmla="*/ 1537864 h 2390930"/>
                  <a:gd name="connsiteX16" fmla="*/ 123 w 1442442"/>
                  <a:gd name="connsiteY16" fmla="*/ 1303691 h 2390930"/>
                  <a:gd name="connsiteX17" fmla="*/ 10599 w 1442442"/>
                  <a:gd name="connsiteY17" fmla="*/ 1010783 h 2390930"/>
                  <a:gd name="connsiteX18" fmla="*/ 70330 w 1442442"/>
                  <a:gd name="connsiteY18" fmla="*/ 818280 h 2390930"/>
                  <a:gd name="connsiteX19" fmla="*/ 100019 w 1442442"/>
                  <a:gd name="connsiteY19" fmla="*/ 685472 h 2390930"/>
                  <a:gd name="connsiteX20" fmla="*/ 216812 w 1442442"/>
                  <a:gd name="connsiteY20" fmla="*/ 720386 h 2390930"/>
                  <a:gd name="connsiteX21" fmla="*/ 208996 w 1442442"/>
                  <a:gd name="connsiteY21" fmla="*/ 788510 h 2390930"/>
                  <a:gd name="connsiteX22" fmla="*/ 381542 w 1442442"/>
                  <a:gd name="connsiteY22" fmla="*/ 598047 h 2390930"/>
                  <a:gd name="connsiteX23" fmla="*/ 492111 w 1442442"/>
                  <a:gd name="connsiteY23" fmla="*/ 535699 h 2390930"/>
                  <a:gd name="connsiteX24" fmla="*/ 686779 w 1442442"/>
                  <a:gd name="connsiteY24" fmla="*/ 525226 h 2390930"/>
                  <a:gd name="connsiteX25" fmla="*/ 1131519 w 1442442"/>
                  <a:gd name="connsiteY25" fmla="*/ 532307 h 2390930"/>
                  <a:gd name="connsiteX26" fmla="*/ 1212701 w 1442442"/>
                  <a:gd name="connsiteY26" fmla="*/ 0 h 2390930"/>
                  <a:gd name="connsiteX27" fmla="*/ 1432930 w 1442442"/>
                  <a:gd name="connsiteY27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31777 w 1442442"/>
                  <a:gd name="connsiteY14" fmla="*/ 1789331 h 2390930"/>
                  <a:gd name="connsiteX15" fmla="*/ 36448 w 1442442"/>
                  <a:gd name="connsiteY15" fmla="*/ 1537864 h 2390930"/>
                  <a:gd name="connsiteX16" fmla="*/ 123 w 1442442"/>
                  <a:gd name="connsiteY16" fmla="*/ 1303691 h 2390930"/>
                  <a:gd name="connsiteX17" fmla="*/ 10599 w 1442442"/>
                  <a:gd name="connsiteY17" fmla="*/ 1010783 h 2390930"/>
                  <a:gd name="connsiteX18" fmla="*/ 70330 w 1442442"/>
                  <a:gd name="connsiteY18" fmla="*/ 818280 h 2390930"/>
                  <a:gd name="connsiteX19" fmla="*/ 100019 w 1442442"/>
                  <a:gd name="connsiteY19" fmla="*/ 685472 h 2390930"/>
                  <a:gd name="connsiteX20" fmla="*/ 216812 w 1442442"/>
                  <a:gd name="connsiteY20" fmla="*/ 720386 h 2390930"/>
                  <a:gd name="connsiteX21" fmla="*/ 208996 w 1442442"/>
                  <a:gd name="connsiteY21" fmla="*/ 788510 h 2390930"/>
                  <a:gd name="connsiteX22" fmla="*/ 381542 w 1442442"/>
                  <a:gd name="connsiteY22" fmla="*/ 598047 h 2390930"/>
                  <a:gd name="connsiteX23" fmla="*/ 492111 w 1442442"/>
                  <a:gd name="connsiteY23" fmla="*/ 535699 h 2390930"/>
                  <a:gd name="connsiteX24" fmla="*/ 686779 w 1442442"/>
                  <a:gd name="connsiteY24" fmla="*/ 525226 h 2390930"/>
                  <a:gd name="connsiteX25" fmla="*/ 1131519 w 1442442"/>
                  <a:gd name="connsiteY25" fmla="*/ 532307 h 2390930"/>
                  <a:gd name="connsiteX26" fmla="*/ 1212701 w 1442442"/>
                  <a:gd name="connsiteY26" fmla="*/ 0 h 2390930"/>
                  <a:gd name="connsiteX27" fmla="*/ 1432930 w 1442442"/>
                  <a:gd name="connsiteY27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31777 w 1442442"/>
                  <a:gd name="connsiteY14" fmla="*/ 1789331 h 2390930"/>
                  <a:gd name="connsiteX15" fmla="*/ 36448 w 1442442"/>
                  <a:gd name="connsiteY15" fmla="*/ 1537864 h 2390930"/>
                  <a:gd name="connsiteX16" fmla="*/ 123 w 1442442"/>
                  <a:gd name="connsiteY16" fmla="*/ 1303691 h 2390930"/>
                  <a:gd name="connsiteX17" fmla="*/ 10599 w 1442442"/>
                  <a:gd name="connsiteY17" fmla="*/ 1010783 h 2390930"/>
                  <a:gd name="connsiteX18" fmla="*/ 70330 w 1442442"/>
                  <a:gd name="connsiteY18" fmla="*/ 818280 h 2390930"/>
                  <a:gd name="connsiteX19" fmla="*/ 100019 w 1442442"/>
                  <a:gd name="connsiteY19" fmla="*/ 685472 h 2390930"/>
                  <a:gd name="connsiteX20" fmla="*/ 216812 w 1442442"/>
                  <a:gd name="connsiteY20" fmla="*/ 720386 h 2390930"/>
                  <a:gd name="connsiteX21" fmla="*/ 208996 w 1442442"/>
                  <a:gd name="connsiteY21" fmla="*/ 788510 h 2390930"/>
                  <a:gd name="connsiteX22" fmla="*/ 381542 w 1442442"/>
                  <a:gd name="connsiteY22" fmla="*/ 598047 h 2390930"/>
                  <a:gd name="connsiteX23" fmla="*/ 492111 w 1442442"/>
                  <a:gd name="connsiteY23" fmla="*/ 535699 h 2390930"/>
                  <a:gd name="connsiteX24" fmla="*/ 686779 w 1442442"/>
                  <a:gd name="connsiteY24" fmla="*/ 525226 h 2390930"/>
                  <a:gd name="connsiteX25" fmla="*/ 1119410 w 1442442"/>
                  <a:gd name="connsiteY25" fmla="*/ 526062 h 2390930"/>
                  <a:gd name="connsiteX26" fmla="*/ 1212701 w 1442442"/>
                  <a:gd name="connsiteY26" fmla="*/ 0 h 2390930"/>
                  <a:gd name="connsiteX27" fmla="*/ 1432930 w 1442442"/>
                  <a:gd name="connsiteY27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31777 w 1442442"/>
                  <a:gd name="connsiteY14" fmla="*/ 1789331 h 2390930"/>
                  <a:gd name="connsiteX15" fmla="*/ 36448 w 1442442"/>
                  <a:gd name="connsiteY15" fmla="*/ 1537864 h 2390930"/>
                  <a:gd name="connsiteX16" fmla="*/ 123 w 1442442"/>
                  <a:gd name="connsiteY16" fmla="*/ 1303691 h 2390930"/>
                  <a:gd name="connsiteX17" fmla="*/ 10599 w 1442442"/>
                  <a:gd name="connsiteY17" fmla="*/ 1010783 h 2390930"/>
                  <a:gd name="connsiteX18" fmla="*/ 70330 w 1442442"/>
                  <a:gd name="connsiteY18" fmla="*/ 818280 h 2390930"/>
                  <a:gd name="connsiteX19" fmla="*/ 100019 w 1442442"/>
                  <a:gd name="connsiteY19" fmla="*/ 685472 h 2390930"/>
                  <a:gd name="connsiteX20" fmla="*/ 216812 w 1442442"/>
                  <a:gd name="connsiteY20" fmla="*/ 720386 h 2390930"/>
                  <a:gd name="connsiteX21" fmla="*/ 208996 w 1442442"/>
                  <a:gd name="connsiteY21" fmla="*/ 788510 h 2390930"/>
                  <a:gd name="connsiteX22" fmla="*/ 381542 w 1442442"/>
                  <a:gd name="connsiteY22" fmla="*/ 598047 h 2390930"/>
                  <a:gd name="connsiteX23" fmla="*/ 492111 w 1442442"/>
                  <a:gd name="connsiteY23" fmla="*/ 535699 h 2390930"/>
                  <a:gd name="connsiteX24" fmla="*/ 686779 w 1442442"/>
                  <a:gd name="connsiteY24" fmla="*/ 525226 h 2390930"/>
                  <a:gd name="connsiteX25" fmla="*/ 1119410 w 1442442"/>
                  <a:gd name="connsiteY25" fmla="*/ 526062 h 2390930"/>
                  <a:gd name="connsiteX26" fmla="*/ 1150432 w 1442442"/>
                  <a:gd name="connsiteY26" fmla="*/ 301427 h 2390930"/>
                  <a:gd name="connsiteX27" fmla="*/ 1212701 w 1442442"/>
                  <a:gd name="connsiteY27" fmla="*/ 0 h 2390930"/>
                  <a:gd name="connsiteX28" fmla="*/ 1432930 w 1442442"/>
                  <a:gd name="connsiteY28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31777 w 1442442"/>
                  <a:gd name="connsiteY14" fmla="*/ 1789331 h 2390930"/>
                  <a:gd name="connsiteX15" fmla="*/ 36448 w 1442442"/>
                  <a:gd name="connsiteY15" fmla="*/ 1537864 h 2390930"/>
                  <a:gd name="connsiteX16" fmla="*/ 123 w 1442442"/>
                  <a:gd name="connsiteY16" fmla="*/ 1303691 h 2390930"/>
                  <a:gd name="connsiteX17" fmla="*/ 10599 w 1442442"/>
                  <a:gd name="connsiteY17" fmla="*/ 1010783 h 2390930"/>
                  <a:gd name="connsiteX18" fmla="*/ 70330 w 1442442"/>
                  <a:gd name="connsiteY18" fmla="*/ 818280 h 2390930"/>
                  <a:gd name="connsiteX19" fmla="*/ 100019 w 1442442"/>
                  <a:gd name="connsiteY19" fmla="*/ 685472 h 2390930"/>
                  <a:gd name="connsiteX20" fmla="*/ 216812 w 1442442"/>
                  <a:gd name="connsiteY20" fmla="*/ 720386 h 2390930"/>
                  <a:gd name="connsiteX21" fmla="*/ 208996 w 1442442"/>
                  <a:gd name="connsiteY21" fmla="*/ 788510 h 2390930"/>
                  <a:gd name="connsiteX22" fmla="*/ 381542 w 1442442"/>
                  <a:gd name="connsiteY22" fmla="*/ 598047 h 2390930"/>
                  <a:gd name="connsiteX23" fmla="*/ 492111 w 1442442"/>
                  <a:gd name="connsiteY23" fmla="*/ 535699 h 2390930"/>
                  <a:gd name="connsiteX24" fmla="*/ 686779 w 1442442"/>
                  <a:gd name="connsiteY24" fmla="*/ 525226 h 2390930"/>
                  <a:gd name="connsiteX25" fmla="*/ 1119410 w 1442442"/>
                  <a:gd name="connsiteY25" fmla="*/ 526062 h 2390930"/>
                  <a:gd name="connsiteX26" fmla="*/ 1177676 w 1442442"/>
                  <a:gd name="connsiteY26" fmla="*/ 313916 h 2390930"/>
                  <a:gd name="connsiteX27" fmla="*/ 1212701 w 1442442"/>
                  <a:gd name="connsiteY27" fmla="*/ 0 h 2390930"/>
                  <a:gd name="connsiteX28" fmla="*/ 1432930 w 1442442"/>
                  <a:gd name="connsiteY28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31777 w 1442442"/>
                  <a:gd name="connsiteY14" fmla="*/ 1789331 h 2390930"/>
                  <a:gd name="connsiteX15" fmla="*/ 25773 w 1442442"/>
                  <a:gd name="connsiteY15" fmla="*/ 1583831 h 2390930"/>
                  <a:gd name="connsiteX16" fmla="*/ 123 w 1442442"/>
                  <a:gd name="connsiteY16" fmla="*/ 1303691 h 2390930"/>
                  <a:gd name="connsiteX17" fmla="*/ 10599 w 1442442"/>
                  <a:gd name="connsiteY17" fmla="*/ 1010783 h 2390930"/>
                  <a:gd name="connsiteX18" fmla="*/ 70330 w 1442442"/>
                  <a:gd name="connsiteY18" fmla="*/ 818280 h 2390930"/>
                  <a:gd name="connsiteX19" fmla="*/ 100019 w 1442442"/>
                  <a:gd name="connsiteY19" fmla="*/ 685472 h 2390930"/>
                  <a:gd name="connsiteX20" fmla="*/ 216812 w 1442442"/>
                  <a:gd name="connsiteY20" fmla="*/ 720386 h 2390930"/>
                  <a:gd name="connsiteX21" fmla="*/ 208996 w 1442442"/>
                  <a:gd name="connsiteY21" fmla="*/ 788510 h 2390930"/>
                  <a:gd name="connsiteX22" fmla="*/ 381542 w 1442442"/>
                  <a:gd name="connsiteY22" fmla="*/ 598047 h 2390930"/>
                  <a:gd name="connsiteX23" fmla="*/ 492111 w 1442442"/>
                  <a:gd name="connsiteY23" fmla="*/ 535699 h 2390930"/>
                  <a:gd name="connsiteX24" fmla="*/ 686779 w 1442442"/>
                  <a:gd name="connsiteY24" fmla="*/ 525226 h 2390930"/>
                  <a:gd name="connsiteX25" fmla="*/ 1119410 w 1442442"/>
                  <a:gd name="connsiteY25" fmla="*/ 526062 h 2390930"/>
                  <a:gd name="connsiteX26" fmla="*/ 1177676 w 1442442"/>
                  <a:gd name="connsiteY26" fmla="*/ 313916 h 2390930"/>
                  <a:gd name="connsiteX27" fmla="*/ 1212701 w 1442442"/>
                  <a:gd name="connsiteY27" fmla="*/ 0 h 2390930"/>
                  <a:gd name="connsiteX28" fmla="*/ 1432930 w 1442442"/>
                  <a:gd name="connsiteY28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31777 w 1442442"/>
                  <a:gd name="connsiteY14" fmla="*/ 1789331 h 2390930"/>
                  <a:gd name="connsiteX15" fmla="*/ 25773 w 1442442"/>
                  <a:gd name="connsiteY15" fmla="*/ 1583831 h 2390930"/>
                  <a:gd name="connsiteX16" fmla="*/ 123 w 1442442"/>
                  <a:gd name="connsiteY16" fmla="*/ 1303691 h 2390930"/>
                  <a:gd name="connsiteX17" fmla="*/ 10599 w 1442442"/>
                  <a:gd name="connsiteY17" fmla="*/ 1010783 h 2390930"/>
                  <a:gd name="connsiteX18" fmla="*/ 70330 w 1442442"/>
                  <a:gd name="connsiteY18" fmla="*/ 818280 h 2390930"/>
                  <a:gd name="connsiteX19" fmla="*/ 100019 w 1442442"/>
                  <a:gd name="connsiteY19" fmla="*/ 685472 h 2390930"/>
                  <a:gd name="connsiteX20" fmla="*/ 216812 w 1442442"/>
                  <a:gd name="connsiteY20" fmla="*/ 720386 h 2390930"/>
                  <a:gd name="connsiteX21" fmla="*/ 208996 w 1442442"/>
                  <a:gd name="connsiteY21" fmla="*/ 788510 h 2390930"/>
                  <a:gd name="connsiteX22" fmla="*/ 381542 w 1442442"/>
                  <a:gd name="connsiteY22" fmla="*/ 598047 h 2390930"/>
                  <a:gd name="connsiteX23" fmla="*/ 492111 w 1442442"/>
                  <a:gd name="connsiteY23" fmla="*/ 535699 h 2390930"/>
                  <a:gd name="connsiteX24" fmla="*/ 686779 w 1442442"/>
                  <a:gd name="connsiteY24" fmla="*/ 525226 h 2390930"/>
                  <a:gd name="connsiteX25" fmla="*/ 1066025 w 1442442"/>
                  <a:gd name="connsiteY25" fmla="*/ 709933 h 2390930"/>
                  <a:gd name="connsiteX26" fmla="*/ 1177676 w 1442442"/>
                  <a:gd name="connsiteY26" fmla="*/ 313916 h 2390930"/>
                  <a:gd name="connsiteX27" fmla="*/ 1212701 w 1442442"/>
                  <a:gd name="connsiteY27" fmla="*/ 0 h 2390930"/>
                  <a:gd name="connsiteX28" fmla="*/ 1432930 w 1442442"/>
                  <a:gd name="connsiteY28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31777 w 1442442"/>
                  <a:gd name="connsiteY14" fmla="*/ 1789331 h 2390930"/>
                  <a:gd name="connsiteX15" fmla="*/ 25773 w 1442442"/>
                  <a:gd name="connsiteY15" fmla="*/ 1583831 h 2390930"/>
                  <a:gd name="connsiteX16" fmla="*/ 123 w 1442442"/>
                  <a:gd name="connsiteY16" fmla="*/ 1303691 h 2390930"/>
                  <a:gd name="connsiteX17" fmla="*/ 10599 w 1442442"/>
                  <a:gd name="connsiteY17" fmla="*/ 1010783 h 2390930"/>
                  <a:gd name="connsiteX18" fmla="*/ 70330 w 1442442"/>
                  <a:gd name="connsiteY18" fmla="*/ 818280 h 2390930"/>
                  <a:gd name="connsiteX19" fmla="*/ 100019 w 1442442"/>
                  <a:gd name="connsiteY19" fmla="*/ 685472 h 2390930"/>
                  <a:gd name="connsiteX20" fmla="*/ 216812 w 1442442"/>
                  <a:gd name="connsiteY20" fmla="*/ 720386 h 2390930"/>
                  <a:gd name="connsiteX21" fmla="*/ 208996 w 1442442"/>
                  <a:gd name="connsiteY21" fmla="*/ 788510 h 2390930"/>
                  <a:gd name="connsiteX22" fmla="*/ 381542 w 1442442"/>
                  <a:gd name="connsiteY22" fmla="*/ 598047 h 2390930"/>
                  <a:gd name="connsiteX23" fmla="*/ 492111 w 1442442"/>
                  <a:gd name="connsiteY23" fmla="*/ 535699 h 2390930"/>
                  <a:gd name="connsiteX24" fmla="*/ 686779 w 1442442"/>
                  <a:gd name="connsiteY24" fmla="*/ 525226 h 2390930"/>
                  <a:gd name="connsiteX25" fmla="*/ 1066025 w 1442442"/>
                  <a:gd name="connsiteY25" fmla="*/ 709933 h 2390930"/>
                  <a:gd name="connsiteX26" fmla="*/ 1177676 w 1442442"/>
                  <a:gd name="connsiteY26" fmla="*/ 313916 h 2390930"/>
                  <a:gd name="connsiteX27" fmla="*/ 1212701 w 1442442"/>
                  <a:gd name="connsiteY27" fmla="*/ 0 h 2390930"/>
                  <a:gd name="connsiteX28" fmla="*/ 1432930 w 1442442"/>
                  <a:gd name="connsiteY28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31777 w 1442442"/>
                  <a:gd name="connsiteY14" fmla="*/ 1789331 h 2390930"/>
                  <a:gd name="connsiteX15" fmla="*/ 25773 w 1442442"/>
                  <a:gd name="connsiteY15" fmla="*/ 1583831 h 2390930"/>
                  <a:gd name="connsiteX16" fmla="*/ 123 w 1442442"/>
                  <a:gd name="connsiteY16" fmla="*/ 1303691 h 2390930"/>
                  <a:gd name="connsiteX17" fmla="*/ 10599 w 1442442"/>
                  <a:gd name="connsiteY17" fmla="*/ 1010783 h 2390930"/>
                  <a:gd name="connsiteX18" fmla="*/ 70330 w 1442442"/>
                  <a:gd name="connsiteY18" fmla="*/ 818280 h 2390930"/>
                  <a:gd name="connsiteX19" fmla="*/ 100019 w 1442442"/>
                  <a:gd name="connsiteY19" fmla="*/ 685472 h 2390930"/>
                  <a:gd name="connsiteX20" fmla="*/ 216812 w 1442442"/>
                  <a:gd name="connsiteY20" fmla="*/ 720386 h 2390930"/>
                  <a:gd name="connsiteX21" fmla="*/ 208996 w 1442442"/>
                  <a:gd name="connsiteY21" fmla="*/ 788510 h 2390930"/>
                  <a:gd name="connsiteX22" fmla="*/ 381542 w 1442442"/>
                  <a:gd name="connsiteY22" fmla="*/ 598047 h 2390930"/>
                  <a:gd name="connsiteX23" fmla="*/ 492111 w 1442442"/>
                  <a:gd name="connsiteY23" fmla="*/ 535699 h 2390930"/>
                  <a:gd name="connsiteX24" fmla="*/ 772192 w 1442442"/>
                  <a:gd name="connsiteY24" fmla="*/ 502242 h 2390930"/>
                  <a:gd name="connsiteX25" fmla="*/ 1066025 w 1442442"/>
                  <a:gd name="connsiteY25" fmla="*/ 709933 h 2390930"/>
                  <a:gd name="connsiteX26" fmla="*/ 1177676 w 1442442"/>
                  <a:gd name="connsiteY26" fmla="*/ 313916 h 2390930"/>
                  <a:gd name="connsiteX27" fmla="*/ 1212701 w 1442442"/>
                  <a:gd name="connsiteY27" fmla="*/ 0 h 2390930"/>
                  <a:gd name="connsiteX28" fmla="*/ 1432930 w 1442442"/>
                  <a:gd name="connsiteY28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31777 w 1442442"/>
                  <a:gd name="connsiteY14" fmla="*/ 1789331 h 2390930"/>
                  <a:gd name="connsiteX15" fmla="*/ 25773 w 1442442"/>
                  <a:gd name="connsiteY15" fmla="*/ 1583831 h 2390930"/>
                  <a:gd name="connsiteX16" fmla="*/ 123 w 1442442"/>
                  <a:gd name="connsiteY16" fmla="*/ 1303691 h 2390930"/>
                  <a:gd name="connsiteX17" fmla="*/ 10599 w 1442442"/>
                  <a:gd name="connsiteY17" fmla="*/ 1010783 h 2390930"/>
                  <a:gd name="connsiteX18" fmla="*/ 70330 w 1442442"/>
                  <a:gd name="connsiteY18" fmla="*/ 818280 h 2390930"/>
                  <a:gd name="connsiteX19" fmla="*/ 100019 w 1442442"/>
                  <a:gd name="connsiteY19" fmla="*/ 685472 h 2390930"/>
                  <a:gd name="connsiteX20" fmla="*/ 216812 w 1442442"/>
                  <a:gd name="connsiteY20" fmla="*/ 720386 h 2390930"/>
                  <a:gd name="connsiteX21" fmla="*/ 208996 w 1442442"/>
                  <a:gd name="connsiteY21" fmla="*/ 788510 h 2390930"/>
                  <a:gd name="connsiteX22" fmla="*/ 381542 w 1442442"/>
                  <a:gd name="connsiteY22" fmla="*/ 598047 h 2390930"/>
                  <a:gd name="connsiteX23" fmla="*/ 492111 w 1442442"/>
                  <a:gd name="connsiteY23" fmla="*/ 535699 h 2390930"/>
                  <a:gd name="connsiteX24" fmla="*/ 772192 w 1442442"/>
                  <a:gd name="connsiteY24" fmla="*/ 502242 h 2390930"/>
                  <a:gd name="connsiteX25" fmla="*/ 1044672 w 1442442"/>
                  <a:gd name="connsiteY25" fmla="*/ 709933 h 2390930"/>
                  <a:gd name="connsiteX26" fmla="*/ 1177676 w 1442442"/>
                  <a:gd name="connsiteY26" fmla="*/ 313916 h 2390930"/>
                  <a:gd name="connsiteX27" fmla="*/ 1212701 w 1442442"/>
                  <a:gd name="connsiteY27" fmla="*/ 0 h 2390930"/>
                  <a:gd name="connsiteX28" fmla="*/ 1432930 w 1442442"/>
                  <a:gd name="connsiteY28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31777 w 1442442"/>
                  <a:gd name="connsiteY14" fmla="*/ 1789331 h 2390930"/>
                  <a:gd name="connsiteX15" fmla="*/ 25773 w 1442442"/>
                  <a:gd name="connsiteY15" fmla="*/ 1583831 h 2390930"/>
                  <a:gd name="connsiteX16" fmla="*/ 123 w 1442442"/>
                  <a:gd name="connsiteY16" fmla="*/ 1303691 h 2390930"/>
                  <a:gd name="connsiteX17" fmla="*/ 10599 w 1442442"/>
                  <a:gd name="connsiteY17" fmla="*/ 1010783 h 2390930"/>
                  <a:gd name="connsiteX18" fmla="*/ 70330 w 1442442"/>
                  <a:gd name="connsiteY18" fmla="*/ 818280 h 2390930"/>
                  <a:gd name="connsiteX19" fmla="*/ 100019 w 1442442"/>
                  <a:gd name="connsiteY19" fmla="*/ 685472 h 2390930"/>
                  <a:gd name="connsiteX20" fmla="*/ 216812 w 1442442"/>
                  <a:gd name="connsiteY20" fmla="*/ 720386 h 2390930"/>
                  <a:gd name="connsiteX21" fmla="*/ 208996 w 1442442"/>
                  <a:gd name="connsiteY21" fmla="*/ 788510 h 2390930"/>
                  <a:gd name="connsiteX22" fmla="*/ 381542 w 1442442"/>
                  <a:gd name="connsiteY22" fmla="*/ 598047 h 2390930"/>
                  <a:gd name="connsiteX23" fmla="*/ 556172 w 1442442"/>
                  <a:gd name="connsiteY23" fmla="*/ 512714 h 2390930"/>
                  <a:gd name="connsiteX24" fmla="*/ 772192 w 1442442"/>
                  <a:gd name="connsiteY24" fmla="*/ 502242 h 2390930"/>
                  <a:gd name="connsiteX25" fmla="*/ 1044672 w 1442442"/>
                  <a:gd name="connsiteY25" fmla="*/ 709933 h 2390930"/>
                  <a:gd name="connsiteX26" fmla="*/ 1177676 w 1442442"/>
                  <a:gd name="connsiteY26" fmla="*/ 313916 h 2390930"/>
                  <a:gd name="connsiteX27" fmla="*/ 1212701 w 1442442"/>
                  <a:gd name="connsiteY27" fmla="*/ 0 h 2390930"/>
                  <a:gd name="connsiteX28" fmla="*/ 1432930 w 1442442"/>
                  <a:gd name="connsiteY28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31777 w 1442442"/>
                  <a:gd name="connsiteY14" fmla="*/ 1789331 h 2390930"/>
                  <a:gd name="connsiteX15" fmla="*/ 25773 w 1442442"/>
                  <a:gd name="connsiteY15" fmla="*/ 1583831 h 2390930"/>
                  <a:gd name="connsiteX16" fmla="*/ 123 w 1442442"/>
                  <a:gd name="connsiteY16" fmla="*/ 1303691 h 2390930"/>
                  <a:gd name="connsiteX17" fmla="*/ 10599 w 1442442"/>
                  <a:gd name="connsiteY17" fmla="*/ 1010783 h 2390930"/>
                  <a:gd name="connsiteX18" fmla="*/ 70330 w 1442442"/>
                  <a:gd name="connsiteY18" fmla="*/ 818280 h 2390930"/>
                  <a:gd name="connsiteX19" fmla="*/ 100019 w 1442442"/>
                  <a:gd name="connsiteY19" fmla="*/ 685472 h 2390930"/>
                  <a:gd name="connsiteX20" fmla="*/ 216812 w 1442442"/>
                  <a:gd name="connsiteY20" fmla="*/ 720386 h 2390930"/>
                  <a:gd name="connsiteX21" fmla="*/ 208996 w 1442442"/>
                  <a:gd name="connsiteY21" fmla="*/ 788510 h 2390930"/>
                  <a:gd name="connsiteX22" fmla="*/ 392219 w 1442442"/>
                  <a:gd name="connsiteY22" fmla="*/ 586556 h 2390930"/>
                  <a:gd name="connsiteX23" fmla="*/ 556172 w 1442442"/>
                  <a:gd name="connsiteY23" fmla="*/ 512714 h 2390930"/>
                  <a:gd name="connsiteX24" fmla="*/ 772192 w 1442442"/>
                  <a:gd name="connsiteY24" fmla="*/ 502242 h 2390930"/>
                  <a:gd name="connsiteX25" fmla="*/ 1044672 w 1442442"/>
                  <a:gd name="connsiteY25" fmla="*/ 709933 h 2390930"/>
                  <a:gd name="connsiteX26" fmla="*/ 1177676 w 1442442"/>
                  <a:gd name="connsiteY26" fmla="*/ 313916 h 2390930"/>
                  <a:gd name="connsiteX27" fmla="*/ 1212701 w 1442442"/>
                  <a:gd name="connsiteY27" fmla="*/ 0 h 2390930"/>
                  <a:gd name="connsiteX28" fmla="*/ 1432930 w 1442442"/>
                  <a:gd name="connsiteY28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31777 w 1442442"/>
                  <a:gd name="connsiteY14" fmla="*/ 1789331 h 2390930"/>
                  <a:gd name="connsiteX15" fmla="*/ 123 w 1442442"/>
                  <a:gd name="connsiteY15" fmla="*/ 1303691 h 2390930"/>
                  <a:gd name="connsiteX16" fmla="*/ 10599 w 1442442"/>
                  <a:gd name="connsiteY16" fmla="*/ 1010783 h 2390930"/>
                  <a:gd name="connsiteX17" fmla="*/ 70330 w 1442442"/>
                  <a:gd name="connsiteY17" fmla="*/ 818280 h 2390930"/>
                  <a:gd name="connsiteX18" fmla="*/ 100019 w 1442442"/>
                  <a:gd name="connsiteY18" fmla="*/ 685472 h 2390930"/>
                  <a:gd name="connsiteX19" fmla="*/ 216812 w 1442442"/>
                  <a:gd name="connsiteY19" fmla="*/ 720386 h 2390930"/>
                  <a:gd name="connsiteX20" fmla="*/ 208996 w 1442442"/>
                  <a:gd name="connsiteY20" fmla="*/ 788510 h 2390930"/>
                  <a:gd name="connsiteX21" fmla="*/ 392219 w 1442442"/>
                  <a:gd name="connsiteY21" fmla="*/ 586556 h 2390930"/>
                  <a:gd name="connsiteX22" fmla="*/ 556172 w 1442442"/>
                  <a:gd name="connsiteY22" fmla="*/ 512714 h 2390930"/>
                  <a:gd name="connsiteX23" fmla="*/ 772192 w 1442442"/>
                  <a:gd name="connsiteY23" fmla="*/ 502242 h 2390930"/>
                  <a:gd name="connsiteX24" fmla="*/ 1044672 w 1442442"/>
                  <a:gd name="connsiteY24" fmla="*/ 709933 h 2390930"/>
                  <a:gd name="connsiteX25" fmla="*/ 1177676 w 1442442"/>
                  <a:gd name="connsiteY25" fmla="*/ 313916 h 2390930"/>
                  <a:gd name="connsiteX26" fmla="*/ 1212701 w 1442442"/>
                  <a:gd name="connsiteY26" fmla="*/ 0 h 2390930"/>
                  <a:gd name="connsiteX27" fmla="*/ 1432930 w 1442442"/>
                  <a:gd name="connsiteY27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21101 w 1442442"/>
                  <a:gd name="connsiteY14" fmla="*/ 1743364 h 2390930"/>
                  <a:gd name="connsiteX15" fmla="*/ 123 w 1442442"/>
                  <a:gd name="connsiteY15" fmla="*/ 1303691 h 2390930"/>
                  <a:gd name="connsiteX16" fmla="*/ 10599 w 1442442"/>
                  <a:gd name="connsiteY16" fmla="*/ 1010783 h 2390930"/>
                  <a:gd name="connsiteX17" fmla="*/ 70330 w 1442442"/>
                  <a:gd name="connsiteY17" fmla="*/ 818280 h 2390930"/>
                  <a:gd name="connsiteX18" fmla="*/ 100019 w 1442442"/>
                  <a:gd name="connsiteY18" fmla="*/ 685472 h 2390930"/>
                  <a:gd name="connsiteX19" fmla="*/ 216812 w 1442442"/>
                  <a:gd name="connsiteY19" fmla="*/ 720386 h 2390930"/>
                  <a:gd name="connsiteX20" fmla="*/ 208996 w 1442442"/>
                  <a:gd name="connsiteY20" fmla="*/ 788510 h 2390930"/>
                  <a:gd name="connsiteX21" fmla="*/ 392219 w 1442442"/>
                  <a:gd name="connsiteY21" fmla="*/ 586556 h 2390930"/>
                  <a:gd name="connsiteX22" fmla="*/ 556172 w 1442442"/>
                  <a:gd name="connsiteY22" fmla="*/ 512714 h 2390930"/>
                  <a:gd name="connsiteX23" fmla="*/ 772192 w 1442442"/>
                  <a:gd name="connsiteY23" fmla="*/ 502242 h 2390930"/>
                  <a:gd name="connsiteX24" fmla="*/ 1044672 w 1442442"/>
                  <a:gd name="connsiteY24" fmla="*/ 709933 h 2390930"/>
                  <a:gd name="connsiteX25" fmla="*/ 1177676 w 1442442"/>
                  <a:gd name="connsiteY25" fmla="*/ 313916 h 2390930"/>
                  <a:gd name="connsiteX26" fmla="*/ 1212701 w 1442442"/>
                  <a:gd name="connsiteY26" fmla="*/ 0 h 2390930"/>
                  <a:gd name="connsiteX27" fmla="*/ 1432930 w 1442442"/>
                  <a:gd name="connsiteY27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21101 w 1442442"/>
                  <a:gd name="connsiteY14" fmla="*/ 1743364 h 2390930"/>
                  <a:gd name="connsiteX15" fmla="*/ 123 w 1442442"/>
                  <a:gd name="connsiteY15" fmla="*/ 1303691 h 2390930"/>
                  <a:gd name="connsiteX16" fmla="*/ 10599 w 1442442"/>
                  <a:gd name="connsiteY16" fmla="*/ 1010783 h 2390930"/>
                  <a:gd name="connsiteX17" fmla="*/ 70330 w 1442442"/>
                  <a:gd name="connsiteY17" fmla="*/ 818280 h 2390930"/>
                  <a:gd name="connsiteX18" fmla="*/ 100019 w 1442442"/>
                  <a:gd name="connsiteY18" fmla="*/ 685472 h 2390930"/>
                  <a:gd name="connsiteX19" fmla="*/ 216812 w 1442442"/>
                  <a:gd name="connsiteY19" fmla="*/ 720386 h 2390930"/>
                  <a:gd name="connsiteX20" fmla="*/ 208996 w 1442442"/>
                  <a:gd name="connsiteY20" fmla="*/ 788510 h 2390930"/>
                  <a:gd name="connsiteX21" fmla="*/ 402896 w 1442442"/>
                  <a:gd name="connsiteY21" fmla="*/ 586556 h 2390930"/>
                  <a:gd name="connsiteX22" fmla="*/ 556172 w 1442442"/>
                  <a:gd name="connsiteY22" fmla="*/ 512714 h 2390930"/>
                  <a:gd name="connsiteX23" fmla="*/ 772192 w 1442442"/>
                  <a:gd name="connsiteY23" fmla="*/ 502242 h 2390930"/>
                  <a:gd name="connsiteX24" fmla="*/ 1044672 w 1442442"/>
                  <a:gd name="connsiteY24" fmla="*/ 709933 h 2390930"/>
                  <a:gd name="connsiteX25" fmla="*/ 1177676 w 1442442"/>
                  <a:gd name="connsiteY25" fmla="*/ 313916 h 2390930"/>
                  <a:gd name="connsiteX26" fmla="*/ 1212701 w 1442442"/>
                  <a:gd name="connsiteY26" fmla="*/ 0 h 2390930"/>
                  <a:gd name="connsiteX27" fmla="*/ 1432930 w 1442442"/>
                  <a:gd name="connsiteY27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21101 w 1442442"/>
                  <a:gd name="connsiteY14" fmla="*/ 1743364 h 2390930"/>
                  <a:gd name="connsiteX15" fmla="*/ 123 w 1442442"/>
                  <a:gd name="connsiteY15" fmla="*/ 1303691 h 2390930"/>
                  <a:gd name="connsiteX16" fmla="*/ 10599 w 1442442"/>
                  <a:gd name="connsiteY16" fmla="*/ 1010783 h 2390930"/>
                  <a:gd name="connsiteX17" fmla="*/ 70330 w 1442442"/>
                  <a:gd name="connsiteY17" fmla="*/ 818280 h 2390930"/>
                  <a:gd name="connsiteX18" fmla="*/ 100019 w 1442442"/>
                  <a:gd name="connsiteY18" fmla="*/ 685472 h 2390930"/>
                  <a:gd name="connsiteX19" fmla="*/ 216812 w 1442442"/>
                  <a:gd name="connsiteY19" fmla="*/ 720386 h 2390930"/>
                  <a:gd name="connsiteX20" fmla="*/ 208996 w 1442442"/>
                  <a:gd name="connsiteY20" fmla="*/ 788510 h 2390930"/>
                  <a:gd name="connsiteX21" fmla="*/ 402896 w 1442442"/>
                  <a:gd name="connsiteY21" fmla="*/ 580810 h 2390930"/>
                  <a:gd name="connsiteX22" fmla="*/ 556172 w 1442442"/>
                  <a:gd name="connsiteY22" fmla="*/ 512714 h 2390930"/>
                  <a:gd name="connsiteX23" fmla="*/ 772192 w 1442442"/>
                  <a:gd name="connsiteY23" fmla="*/ 502242 h 2390930"/>
                  <a:gd name="connsiteX24" fmla="*/ 1044672 w 1442442"/>
                  <a:gd name="connsiteY24" fmla="*/ 709933 h 2390930"/>
                  <a:gd name="connsiteX25" fmla="*/ 1177676 w 1442442"/>
                  <a:gd name="connsiteY25" fmla="*/ 313916 h 2390930"/>
                  <a:gd name="connsiteX26" fmla="*/ 1212701 w 1442442"/>
                  <a:gd name="connsiteY26" fmla="*/ 0 h 2390930"/>
                  <a:gd name="connsiteX27" fmla="*/ 1432930 w 1442442"/>
                  <a:gd name="connsiteY27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21101 w 1442442"/>
                  <a:gd name="connsiteY14" fmla="*/ 1743364 h 2390930"/>
                  <a:gd name="connsiteX15" fmla="*/ 123 w 1442442"/>
                  <a:gd name="connsiteY15" fmla="*/ 1303691 h 2390930"/>
                  <a:gd name="connsiteX16" fmla="*/ 10599 w 1442442"/>
                  <a:gd name="connsiteY16" fmla="*/ 1010783 h 2390930"/>
                  <a:gd name="connsiteX17" fmla="*/ 70330 w 1442442"/>
                  <a:gd name="connsiteY17" fmla="*/ 818280 h 2390930"/>
                  <a:gd name="connsiteX18" fmla="*/ 100019 w 1442442"/>
                  <a:gd name="connsiteY18" fmla="*/ 685472 h 2390930"/>
                  <a:gd name="connsiteX19" fmla="*/ 216812 w 1442442"/>
                  <a:gd name="connsiteY19" fmla="*/ 720386 h 2390930"/>
                  <a:gd name="connsiteX20" fmla="*/ 208996 w 1442442"/>
                  <a:gd name="connsiteY20" fmla="*/ 788510 h 2390930"/>
                  <a:gd name="connsiteX21" fmla="*/ 402896 w 1442442"/>
                  <a:gd name="connsiteY21" fmla="*/ 580810 h 2390930"/>
                  <a:gd name="connsiteX22" fmla="*/ 556172 w 1442442"/>
                  <a:gd name="connsiteY22" fmla="*/ 512714 h 2390930"/>
                  <a:gd name="connsiteX23" fmla="*/ 772192 w 1442442"/>
                  <a:gd name="connsiteY23" fmla="*/ 502242 h 2390930"/>
                  <a:gd name="connsiteX24" fmla="*/ 1044672 w 1442442"/>
                  <a:gd name="connsiteY24" fmla="*/ 709933 h 2390930"/>
                  <a:gd name="connsiteX25" fmla="*/ 1177676 w 1442442"/>
                  <a:gd name="connsiteY25" fmla="*/ 313916 h 2390930"/>
                  <a:gd name="connsiteX26" fmla="*/ 1212701 w 1442442"/>
                  <a:gd name="connsiteY26" fmla="*/ 0 h 2390930"/>
                  <a:gd name="connsiteX27" fmla="*/ 1432930 w 1442442"/>
                  <a:gd name="connsiteY27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21101 w 1442442"/>
                  <a:gd name="connsiteY14" fmla="*/ 1743364 h 2390930"/>
                  <a:gd name="connsiteX15" fmla="*/ 123 w 1442442"/>
                  <a:gd name="connsiteY15" fmla="*/ 1303691 h 2390930"/>
                  <a:gd name="connsiteX16" fmla="*/ 10599 w 1442442"/>
                  <a:gd name="connsiteY16" fmla="*/ 1010783 h 2390930"/>
                  <a:gd name="connsiteX17" fmla="*/ 70330 w 1442442"/>
                  <a:gd name="connsiteY17" fmla="*/ 818280 h 2390930"/>
                  <a:gd name="connsiteX18" fmla="*/ 100019 w 1442442"/>
                  <a:gd name="connsiteY18" fmla="*/ 685472 h 2390930"/>
                  <a:gd name="connsiteX19" fmla="*/ 216812 w 1442442"/>
                  <a:gd name="connsiteY19" fmla="*/ 720386 h 2390930"/>
                  <a:gd name="connsiteX20" fmla="*/ 208996 w 1442442"/>
                  <a:gd name="connsiteY20" fmla="*/ 788510 h 2390930"/>
                  <a:gd name="connsiteX21" fmla="*/ 397557 w 1442442"/>
                  <a:gd name="connsiteY21" fmla="*/ 575064 h 2390930"/>
                  <a:gd name="connsiteX22" fmla="*/ 556172 w 1442442"/>
                  <a:gd name="connsiteY22" fmla="*/ 512714 h 2390930"/>
                  <a:gd name="connsiteX23" fmla="*/ 772192 w 1442442"/>
                  <a:gd name="connsiteY23" fmla="*/ 502242 h 2390930"/>
                  <a:gd name="connsiteX24" fmla="*/ 1044672 w 1442442"/>
                  <a:gd name="connsiteY24" fmla="*/ 709933 h 2390930"/>
                  <a:gd name="connsiteX25" fmla="*/ 1177676 w 1442442"/>
                  <a:gd name="connsiteY25" fmla="*/ 313916 h 2390930"/>
                  <a:gd name="connsiteX26" fmla="*/ 1212701 w 1442442"/>
                  <a:gd name="connsiteY26" fmla="*/ 0 h 2390930"/>
                  <a:gd name="connsiteX27" fmla="*/ 1432930 w 1442442"/>
                  <a:gd name="connsiteY27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21101 w 1442442"/>
                  <a:gd name="connsiteY14" fmla="*/ 1743364 h 2390930"/>
                  <a:gd name="connsiteX15" fmla="*/ 123 w 1442442"/>
                  <a:gd name="connsiteY15" fmla="*/ 1303691 h 2390930"/>
                  <a:gd name="connsiteX16" fmla="*/ 10599 w 1442442"/>
                  <a:gd name="connsiteY16" fmla="*/ 1010783 h 2390930"/>
                  <a:gd name="connsiteX17" fmla="*/ 70330 w 1442442"/>
                  <a:gd name="connsiteY17" fmla="*/ 818280 h 2390930"/>
                  <a:gd name="connsiteX18" fmla="*/ 100019 w 1442442"/>
                  <a:gd name="connsiteY18" fmla="*/ 685472 h 2390930"/>
                  <a:gd name="connsiteX19" fmla="*/ 216812 w 1442442"/>
                  <a:gd name="connsiteY19" fmla="*/ 720386 h 2390930"/>
                  <a:gd name="connsiteX20" fmla="*/ 208996 w 1442442"/>
                  <a:gd name="connsiteY20" fmla="*/ 788510 h 2390930"/>
                  <a:gd name="connsiteX21" fmla="*/ 397557 w 1442442"/>
                  <a:gd name="connsiteY21" fmla="*/ 575064 h 2390930"/>
                  <a:gd name="connsiteX22" fmla="*/ 598879 w 1442442"/>
                  <a:gd name="connsiteY22" fmla="*/ 506968 h 2390930"/>
                  <a:gd name="connsiteX23" fmla="*/ 772192 w 1442442"/>
                  <a:gd name="connsiteY23" fmla="*/ 502242 h 2390930"/>
                  <a:gd name="connsiteX24" fmla="*/ 1044672 w 1442442"/>
                  <a:gd name="connsiteY24" fmla="*/ 709933 h 2390930"/>
                  <a:gd name="connsiteX25" fmla="*/ 1177676 w 1442442"/>
                  <a:gd name="connsiteY25" fmla="*/ 313916 h 2390930"/>
                  <a:gd name="connsiteX26" fmla="*/ 1212701 w 1442442"/>
                  <a:gd name="connsiteY26" fmla="*/ 0 h 2390930"/>
                  <a:gd name="connsiteX27" fmla="*/ 1432930 w 1442442"/>
                  <a:gd name="connsiteY27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21101 w 1442442"/>
                  <a:gd name="connsiteY14" fmla="*/ 1743364 h 2390930"/>
                  <a:gd name="connsiteX15" fmla="*/ 123 w 1442442"/>
                  <a:gd name="connsiteY15" fmla="*/ 1303691 h 2390930"/>
                  <a:gd name="connsiteX16" fmla="*/ 10599 w 1442442"/>
                  <a:gd name="connsiteY16" fmla="*/ 1010783 h 2390930"/>
                  <a:gd name="connsiteX17" fmla="*/ 70330 w 1442442"/>
                  <a:gd name="connsiteY17" fmla="*/ 818280 h 2390930"/>
                  <a:gd name="connsiteX18" fmla="*/ 100019 w 1442442"/>
                  <a:gd name="connsiteY18" fmla="*/ 685472 h 2390930"/>
                  <a:gd name="connsiteX19" fmla="*/ 216812 w 1442442"/>
                  <a:gd name="connsiteY19" fmla="*/ 720386 h 2390930"/>
                  <a:gd name="connsiteX20" fmla="*/ 208996 w 1442442"/>
                  <a:gd name="connsiteY20" fmla="*/ 788510 h 2390930"/>
                  <a:gd name="connsiteX21" fmla="*/ 397557 w 1442442"/>
                  <a:gd name="connsiteY21" fmla="*/ 575064 h 2390930"/>
                  <a:gd name="connsiteX22" fmla="*/ 598879 w 1442442"/>
                  <a:gd name="connsiteY22" fmla="*/ 506968 h 2390930"/>
                  <a:gd name="connsiteX23" fmla="*/ 772192 w 1442442"/>
                  <a:gd name="connsiteY23" fmla="*/ 502242 h 2390930"/>
                  <a:gd name="connsiteX24" fmla="*/ 1044672 w 1442442"/>
                  <a:gd name="connsiteY24" fmla="*/ 709933 h 2390930"/>
                  <a:gd name="connsiteX25" fmla="*/ 1177676 w 1442442"/>
                  <a:gd name="connsiteY25" fmla="*/ 313916 h 2390930"/>
                  <a:gd name="connsiteX26" fmla="*/ 1212701 w 1442442"/>
                  <a:gd name="connsiteY26" fmla="*/ 0 h 2390930"/>
                  <a:gd name="connsiteX27" fmla="*/ 1432930 w 1442442"/>
                  <a:gd name="connsiteY27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21101 w 1442442"/>
                  <a:gd name="connsiteY14" fmla="*/ 1743364 h 2390930"/>
                  <a:gd name="connsiteX15" fmla="*/ 123 w 1442442"/>
                  <a:gd name="connsiteY15" fmla="*/ 1303691 h 2390930"/>
                  <a:gd name="connsiteX16" fmla="*/ 10599 w 1442442"/>
                  <a:gd name="connsiteY16" fmla="*/ 1010783 h 2390930"/>
                  <a:gd name="connsiteX17" fmla="*/ 70330 w 1442442"/>
                  <a:gd name="connsiteY17" fmla="*/ 818280 h 2390930"/>
                  <a:gd name="connsiteX18" fmla="*/ 100019 w 1442442"/>
                  <a:gd name="connsiteY18" fmla="*/ 685472 h 2390930"/>
                  <a:gd name="connsiteX19" fmla="*/ 216812 w 1442442"/>
                  <a:gd name="connsiteY19" fmla="*/ 720386 h 2390930"/>
                  <a:gd name="connsiteX20" fmla="*/ 208996 w 1442442"/>
                  <a:gd name="connsiteY20" fmla="*/ 788510 h 2390930"/>
                  <a:gd name="connsiteX21" fmla="*/ 397557 w 1442442"/>
                  <a:gd name="connsiteY21" fmla="*/ 575064 h 2390930"/>
                  <a:gd name="connsiteX22" fmla="*/ 598879 w 1442442"/>
                  <a:gd name="connsiteY22" fmla="*/ 506968 h 2390930"/>
                  <a:gd name="connsiteX23" fmla="*/ 793545 w 1442442"/>
                  <a:gd name="connsiteY23" fmla="*/ 519480 h 2390930"/>
                  <a:gd name="connsiteX24" fmla="*/ 1044672 w 1442442"/>
                  <a:gd name="connsiteY24" fmla="*/ 709933 h 2390930"/>
                  <a:gd name="connsiteX25" fmla="*/ 1177676 w 1442442"/>
                  <a:gd name="connsiteY25" fmla="*/ 313916 h 2390930"/>
                  <a:gd name="connsiteX26" fmla="*/ 1212701 w 1442442"/>
                  <a:gd name="connsiteY26" fmla="*/ 0 h 2390930"/>
                  <a:gd name="connsiteX27" fmla="*/ 1432930 w 1442442"/>
                  <a:gd name="connsiteY27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21101 w 1442442"/>
                  <a:gd name="connsiteY14" fmla="*/ 1743364 h 2390930"/>
                  <a:gd name="connsiteX15" fmla="*/ 123 w 1442442"/>
                  <a:gd name="connsiteY15" fmla="*/ 1303691 h 2390930"/>
                  <a:gd name="connsiteX16" fmla="*/ 10599 w 1442442"/>
                  <a:gd name="connsiteY16" fmla="*/ 1010783 h 2390930"/>
                  <a:gd name="connsiteX17" fmla="*/ 70330 w 1442442"/>
                  <a:gd name="connsiteY17" fmla="*/ 818280 h 2390930"/>
                  <a:gd name="connsiteX18" fmla="*/ 100019 w 1442442"/>
                  <a:gd name="connsiteY18" fmla="*/ 685472 h 2390930"/>
                  <a:gd name="connsiteX19" fmla="*/ 216812 w 1442442"/>
                  <a:gd name="connsiteY19" fmla="*/ 720386 h 2390930"/>
                  <a:gd name="connsiteX20" fmla="*/ 208996 w 1442442"/>
                  <a:gd name="connsiteY20" fmla="*/ 788510 h 2390930"/>
                  <a:gd name="connsiteX21" fmla="*/ 397557 w 1442442"/>
                  <a:gd name="connsiteY21" fmla="*/ 575064 h 2390930"/>
                  <a:gd name="connsiteX22" fmla="*/ 598879 w 1442442"/>
                  <a:gd name="connsiteY22" fmla="*/ 506968 h 2390930"/>
                  <a:gd name="connsiteX23" fmla="*/ 793545 w 1442442"/>
                  <a:gd name="connsiteY23" fmla="*/ 519480 h 2390930"/>
                  <a:gd name="connsiteX24" fmla="*/ 1044672 w 1442442"/>
                  <a:gd name="connsiteY24" fmla="*/ 709933 h 2390930"/>
                  <a:gd name="connsiteX25" fmla="*/ 1177676 w 1442442"/>
                  <a:gd name="connsiteY25" fmla="*/ 313916 h 2390930"/>
                  <a:gd name="connsiteX26" fmla="*/ 1212701 w 1442442"/>
                  <a:gd name="connsiteY26" fmla="*/ 0 h 2390930"/>
                  <a:gd name="connsiteX27" fmla="*/ 1432930 w 1442442"/>
                  <a:gd name="connsiteY27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21101 w 1442442"/>
                  <a:gd name="connsiteY14" fmla="*/ 1743364 h 2390930"/>
                  <a:gd name="connsiteX15" fmla="*/ 123 w 1442442"/>
                  <a:gd name="connsiteY15" fmla="*/ 1303691 h 2390930"/>
                  <a:gd name="connsiteX16" fmla="*/ 10599 w 1442442"/>
                  <a:gd name="connsiteY16" fmla="*/ 1010783 h 2390930"/>
                  <a:gd name="connsiteX17" fmla="*/ 70330 w 1442442"/>
                  <a:gd name="connsiteY17" fmla="*/ 818280 h 2390930"/>
                  <a:gd name="connsiteX18" fmla="*/ 100019 w 1442442"/>
                  <a:gd name="connsiteY18" fmla="*/ 685472 h 2390930"/>
                  <a:gd name="connsiteX19" fmla="*/ 216812 w 1442442"/>
                  <a:gd name="connsiteY19" fmla="*/ 720386 h 2390930"/>
                  <a:gd name="connsiteX20" fmla="*/ 208996 w 1442442"/>
                  <a:gd name="connsiteY20" fmla="*/ 788510 h 2390930"/>
                  <a:gd name="connsiteX21" fmla="*/ 397557 w 1442442"/>
                  <a:gd name="connsiteY21" fmla="*/ 575064 h 2390930"/>
                  <a:gd name="connsiteX22" fmla="*/ 598879 w 1442442"/>
                  <a:gd name="connsiteY22" fmla="*/ 506968 h 2390930"/>
                  <a:gd name="connsiteX23" fmla="*/ 793545 w 1442442"/>
                  <a:gd name="connsiteY23" fmla="*/ 519480 h 2390930"/>
                  <a:gd name="connsiteX24" fmla="*/ 1044672 w 1442442"/>
                  <a:gd name="connsiteY24" fmla="*/ 709933 h 2390930"/>
                  <a:gd name="connsiteX25" fmla="*/ 1177676 w 1442442"/>
                  <a:gd name="connsiteY25" fmla="*/ 313916 h 2390930"/>
                  <a:gd name="connsiteX26" fmla="*/ 1212701 w 1442442"/>
                  <a:gd name="connsiteY26" fmla="*/ 0 h 2390930"/>
                  <a:gd name="connsiteX27" fmla="*/ 1432930 w 1442442"/>
                  <a:gd name="connsiteY27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21101 w 1442442"/>
                  <a:gd name="connsiteY14" fmla="*/ 1743364 h 2390930"/>
                  <a:gd name="connsiteX15" fmla="*/ 123 w 1442442"/>
                  <a:gd name="connsiteY15" fmla="*/ 1303691 h 2390930"/>
                  <a:gd name="connsiteX16" fmla="*/ 10599 w 1442442"/>
                  <a:gd name="connsiteY16" fmla="*/ 1010783 h 2390930"/>
                  <a:gd name="connsiteX17" fmla="*/ 70330 w 1442442"/>
                  <a:gd name="connsiteY17" fmla="*/ 818280 h 2390930"/>
                  <a:gd name="connsiteX18" fmla="*/ 100019 w 1442442"/>
                  <a:gd name="connsiteY18" fmla="*/ 685472 h 2390930"/>
                  <a:gd name="connsiteX19" fmla="*/ 216812 w 1442442"/>
                  <a:gd name="connsiteY19" fmla="*/ 720386 h 2390930"/>
                  <a:gd name="connsiteX20" fmla="*/ 208996 w 1442442"/>
                  <a:gd name="connsiteY20" fmla="*/ 788510 h 2390930"/>
                  <a:gd name="connsiteX21" fmla="*/ 397557 w 1442442"/>
                  <a:gd name="connsiteY21" fmla="*/ 575064 h 2390930"/>
                  <a:gd name="connsiteX22" fmla="*/ 598879 w 1442442"/>
                  <a:gd name="connsiteY22" fmla="*/ 506968 h 2390930"/>
                  <a:gd name="connsiteX23" fmla="*/ 809560 w 1442442"/>
                  <a:gd name="connsiteY23" fmla="*/ 519480 h 2390930"/>
                  <a:gd name="connsiteX24" fmla="*/ 1044672 w 1442442"/>
                  <a:gd name="connsiteY24" fmla="*/ 709933 h 2390930"/>
                  <a:gd name="connsiteX25" fmla="*/ 1177676 w 1442442"/>
                  <a:gd name="connsiteY25" fmla="*/ 313916 h 2390930"/>
                  <a:gd name="connsiteX26" fmla="*/ 1212701 w 1442442"/>
                  <a:gd name="connsiteY26" fmla="*/ 0 h 2390930"/>
                  <a:gd name="connsiteX27" fmla="*/ 1432930 w 1442442"/>
                  <a:gd name="connsiteY27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21101 w 1442442"/>
                  <a:gd name="connsiteY14" fmla="*/ 1743364 h 2390930"/>
                  <a:gd name="connsiteX15" fmla="*/ 123 w 1442442"/>
                  <a:gd name="connsiteY15" fmla="*/ 1303691 h 2390930"/>
                  <a:gd name="connsiteX16" fmla="*/ 10599 w 1442442"/>
                  <a:gd name="connsiteY16" fmla="*/ 1010783 h 2390930"/>
                  <a:gd name="connsiteX17" fmla="*/ 70330 w 1442442"/>
                  <a:gd name="connsiteY17" fmla="*/ 818280 h 2390930"/>
                  <a:gd name="connsiteX18" fmla="*/ 100019 w 1442442"/>
                  <a:gd name="connsiteY18" fmla="*/ 685472 h 2390930"/>
                  <a:gd name="connsiteX19" fmla="*/ 216812 w 1442442"/>
                  <a:gd name="connsiteY19" fmla="*/ 720386 h 2390930"/>
                  <a:gd name="connsiteX20" fmla="*/ 208996 w 1442442"/>
                  <a:gd name="connsiteY20" fmla="*/ 788510 h 2390930"/>
                  <a:gd name="connsiteX21" fmla="*/ 397557 w 1442442"/>
                  <a:gd name="connsiteY21" fmla="*/ 575064 h 2390930"/>
                  <a:gd name="connsiteX22" fmla="*/ 598879 w 1442442"/>
                  <a:gd name="connsiteY22" fmla="*/ 506968 h 2390930"/>
                  <a:gd name="connsiteX23" fmla="*/ 809560 w 1442442"/>
                  <a:gd name="connsiteY23" fmla="*/ 519480 h 2390930"/>
                  <a:gd name="connsiteX24" fmla="*/ 1044672 w 1442442"/>
                  <a:gd name="connsiteY24" fmla="*/ 709933 h 2390930"/>
                  <a:gd name="connsiteX25" fmla="*/ 1177676 w 1442442"/>
                  <a:gd name="connsiteY25" fmla="*/ 313916 h 2390930"/>
                  <a:gd name="connsiteX26" fmla="*/ 1212701 w 1442442"/>
                  <a:gd name="connsiteY26" fmla="*/ 0 h 2390930"/>
                  <a:gd name="connsiteX27" fmla="*/ 1432930 w 1442442"/>
                  <a:gd name="connsiteY27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21101 w 1442442"/>
                  <a:gd name="connsiteY14" fmla="*/ 1743364 h 2390930"/>
                  <a:gd name="connsiteX15" fmla="*/ 123 w 1442442"/>
                  <a:gd name="connsiteY15" fmla="*/ 1303691 h 2390930"/>
                  <a:gd name="connsiteX16" fmla="*/ 10599 w 1442442"/>
                  <a:gd name="connsiteY16" fmla="*/ 1010783 h 2390930"/>
                  <a:gd name="connsiteX17" fmla="*/ 70330 w 1442442"/>
                  <a:gd name="connsiteY17" fmla="*/ 818280 h 2390930"/>
                  <a:gd name="connsiteX18" fmla="*/ 100019 w 1442442"/>
                  <a:gd name="connsiteY18" fmla="*/ 685472 h 2390930"/>
                  <a:gd name="connsiteX19" fmla="*/ 216812 w 1442442"/>
                  <a:gd name="connsiteY19" fmla="*/ 720386 h 2390930"/>
                  <a:gd name="connsiteX20" fmla="*/ 208996 w 1442442"/>
                  <a:gd name="connsiteY20" fmla="*/ 788510 h 2390930"/>
                  <a:gd name="connsiteX21" fmla="*/ 397557 w 1442442"/>
                  <a:gd name="connsiteY21" fmla="*/ 575064 h 2390930"/>
                  <a:gd name="connsiteX22" fmla="*/ 598879 w 1442442"/>
                  <a:gd name="connsiteY22" fmla="*/ 506968 h 2390930"/>
                  <a:gd name="connsiteX23" fmla="*/ 809560 w 1442442"/>
                  <a:gd name="connsiteY23" fmla="*/ 519480 h 2390930"/>
                  <a:gd name="connsiteX24" fmla="*/ 1044672 w 1442442"/>
                  <a:gd name="connsiteY24" fmla="*/ 709933 h 2390930"/>
                  <a:gd name="connsiteX25" fmla="*/ 1177676 w 1442442"/>
                  <a:gd name="connsiteY25" fmla="*/ 313916 h 2390930"/>
                  <a:gd name="connsiteX26" fmla="*/ 1212701 w 1442442"/>
                  <a:gd name="connsiteY26" fmla="*/ 0 h 2390930"/>
                  <a:gd name="connsiteX27" fmla="*/ 1432930 w 1442442"/>
                  <a:gd name="connsiteY27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21101 w 1442442"/>
                  <a:gd name="connsiteY14" fmla="*/ 1743364 h 2390930"/>
                  <a:gd name="connsiteX15" fmla="*/ 123 w 1442442"/>
                  <a:gd name="connsiteY15" fmla="*/ 1303691 h 2390930"/>
                  <a:gd name="connsiteX16" fmla="*/ 10599 w 1442442"/>
                  <a:gd name="connsiteY16" fmla="*/ 1010783 h 2390930"/>
                  <a:gd name="connsiteX17" fmla="*/ 70330 w 1442442"/>
                  <a:gd name="connsiteY17" fmla="*/ 818280 h 2390930"/>
                  <a:gd name="connsiteX18" fmla="*/ 100019 w 1442442"/>
                  <a:gd name="connsiteY18" fmla="*/ 685472 h 2390930"/>
                  <a:gd name="connsiteX19" fmla="*/ 216812 w 1442442"/>
                  <a:gd name="connsiteY19" fmla="*/ 720386 h 2390930"/>
                  <a:gd name="connsiteX20" fmla="*/ 208996 w 1442442"/>
                  <a:gd name="connsiteY20" fmla="*/ 788510 h 2390930"/>
                  <a:gd name="connsiteX21" fmla="*/ 397557 w 1442442"/>
                  <a:gd name="connsiteY21" fmla="*/ 575064 h 2390930"/>
                  <a:gd name="connsiteX22" fmla="*/ 598879 w 1442442"/>
                  <a:gd name="connsiteY22" fmla="*/ 506968 h 2390930"/>
                  <a:gd name="connsiteX23" fmla="*/ 809560 w 1442442"/>
                  <a:gd name="connsiteY23" fmla="*/ 519480 h 2390930"/>
                  <a:gd name="connsiteX24" fmla="*/ 1044672 w 1442442"/>
                  <a:gd name="connsiteY24" fmla="*/ 709933 h 2390930"/>
                  <a:gd name="connsiteX25" fmla="*/ 1177676 w 1442442"/>
                  <a:gd name="connsiteY25" fmla="*/ 313916 h 2390930"/>
                  <a:gd name="connsiteX26" fmla="*/ 1212701 w 1442442"/>
                  <a:gd name="connsiteY26" fmla="*/ 0 h 2390930"/>
                  <a:gd name="connsiteX27" fmla="*/ 1432930 w 1442442"/>
                  <a:gd name="connsiteY27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21101 w 1442442"/>
                  <a:gd name="connsiteY14" fmla="*/ 1743364 h 2390930"/>
                  <a:gd name="connsiteX15" fmla="*/ 123 w 1442442"/>
                  <a:gd name="connsiteY15" fmla="*/ 1303691 h 2390930"/>
                  <a:gd name="connsiteX16" fmla="*/ 10599 w 1442442"/>
                  <a:gd name="connsiteY16" fmla="*/ 1010783 h 2390930"/>
                  <a:gd name="connsiteX17" fmla="*/ 70330 w 1442442"/>
                  <a:gd name="connsiteY17" fmla="*/ 818280 h 2390930"/>
                  <a:gd name="connsiteX18" fmla="*/ 100019 w 1442442"/>
                  <a:gd name="connsiteY18" fmla="*/ 685472 h 2390930"/>
                  <a:gd name="connsiteX19" fmla="*/ 216812 w 1442442"/>
                  <a:gd name="connsiteY19" fmla="*/ 720386 h 2390930"/>
                  <a:gd name="connsiteX20" fmla="*/ 208996 w 1442442"/>
                  <a:gd name="connsiteY20" fmla="*/ 788510 h 2390930"/>
                  <a:gd name="connsiteX21" fmla="*/ 397557 w 1442442"/>
                  <a:gd name="connsiteY21" fmla="*/ 575064 h 2390930"/>
                  <a:gd name="connsiteX22" fmla="*/ 598879 w 1442442"/>
                  <a:gd name="connsiteY22" fmla="*/ 506968 h 2390930"/>
                  <a:gd name="connsiteX23" fmla="*/ 809560 w 1442442"/>
                  <a:gd name="connsiteY23" fmla="*/ 519480 h 2390930"/>
                  <a:gd name="connsiteX24" fmla="*/ 1044672 w 1442442"/>
                  <a:gd name="connsiteY24" fmla="*/ 709933 h 2390930"/>
                  <a:gd name="connsiteX25" fmla="*/ 1177676 w 1442442"/>
                  <a:gd name="connsiteY25" fmla="*/ 313916 h 2390930"/>
                  <a:gd name="connsiteX26" fmla="*/ 1212701 w 1442442"/>
                  <a:gd name="connsiteY26" fmla="*/ 0 h 2390930"/>
                  <a:gd name="connsiteX27" fmla="*/ 1432930 w 1442442"/>
                  <a:gd name="connsiteY27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21101 w 1442442"/>
                  <a:gd name="connsiteY14" fmla="*/ 1743364 h 2390930"/>
                  <a:gd name="connsiteX15" fmla="*/ 123 w 1442442"/>
                  <a:gd name="connsiteY15" fmla="*/ 1303691 h 2390930"/>
                  <a:gd name="connsiteX16" fmla="*/ 10599 w 1442442"/>
                  <a:gd name="connsiteY16" fmla="*/ 1010783 h 2390930"/>
                  <a:gd name="connsiteX17" fmla="*/ 70330 w 1442442"/>
                  <a:gd name="connsiteY17" fmla="*/ 818280 h 2390930"/>
                  <a:gd name="connsiteX18" fmla="*/ 100019 w 1442442"/>
                  <a:gd name="connsiteY18" fmla="*/ 685472 h 2390930"/>
                  <a:gd name="connsiteX19" fmla="*/ 216812 w 1442442"/>
                  <a:gd name="connsiteY19" fmla="*/ 720386 h 2390930"/>
                  <a:gd name="connsiteX20" fmla="*/ 208996 w 1442442"/>
                  <a:gd name="connsiteY20" fmla="*/ 788510 h 2390930"/>
                  <a:gd name="connsiteX21" fmla="*/ 397557 w 1442442"/>
                  <a:gd name="connsiteY21" fmla="*/ 575064 h 2390930"/>
                  <a:gd name="connsiteX22" fmla="*/ 598879 w 1442442"/>
                  <a:gd name="connsiteY22" fmla="*/ 506968 h 2390930"/>
                  <a:gd name="connsiteX23" fmla="*/ 809560 w 1442442"/>
                  <a:gd name="connsiteY23" fmla="*/ 519480 h 2390930"/>
                  <a:gd name="connsiteX24" fmla="*/ 1044672 w 1442442"/>
                  <a:gd name="connsiteY24" fmla="*/ 709933 h 2390930"/>
                  <a:gd name="connsiteX25" fmla="*/ 1177676 w 1442442"/>
                  <a:gd name="connsiteY25" fmla="*/ 313916 h 2390930"/>
                  <a:gd name="connsiteX26" fmla="*/ 1212701 w 1442442"/>
                  <a:gd name="connsiteY26" fmla="*/ 0 h 2390930"/>
                  <a:gd name="connsiteX27" fmla="*/ 1432930 w 1442442"/>
                  <a:gd name="connsiteY27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21101 w 1442442"/>
                  <a:gd name="connsiteY14" fmla="*/ 1743364 h 2390930"/>
                  <a:gd name="connsiteX15" fmla="*/ 123 w 1442442"/>
                  <a:gd name="connsiteY15" fmla="*/ 1303691 h 2390930"/>
                  <a:gd name="connsiteX16" fmla="*/ 10599 w 1442442"/>
                  <a:gd name="connsiteY16" fmla="*/ 1010783 h 2390930"/>
                  <a:gd name="connsiteX17" fmla="*/ 70330 w 1442442"/>
                  <a:gd name="connsiteY17" fmla="*/ 818280 h 2390930"/>
                  <a:gd name="connsiteX18" fmla="*/ 100019 w 1442442"/>
                  <a:gd name="connsiteY18" fmla="*/ 685472 h 2390930"/>
                  <a:gd name="connsiteX19" fmla="*/ 216812 w 1442442"/>
                  <a:gd name="connsiteY19" fmla="*/ 720386 h 2390930"/>
                  <a:gd name="connsiteX20" fmla="*/ 208996 w 1442442"/>
                  <a:gd name="connsiteY20" fmla="*/ 788510 h 2390930"/>
                  <a:gd name="connsiteX21" fmla="*/ 397557 w 1442442"/>
                  <a:gd name="connsiteY21" fmla="*/ 575064 h 2390930"/>
                  <a:gd name="connsiteX22" fmla="*/ 598879 w 1442442"/>
                  <a:gd name="connsiteY22" fmla="*/ 506968 h 2390930"/>
                  <a:gd name="connsiteX23" fmla="*/ 809560 w 1442442"/>
                  <a:gd name="connsiteY23" fmla="*/ 519480 h 2390930"/>
                  <a:gd name="connsiteX24" fmla="*/ 895204 w 1442442"/>
                  <a:gd name="connsiteY24" fmla="*/ 579296 h 2390930"/>
                  <a:gd name="connsiteX25" fmla="*/ 1044672 w 1442442"/>
                  <a:gd name="connsiteY25" fmla="*/ 709933 h 2390930"/>
                  <a:gd name="connsiteX26" fmla="*/ 1177676 w 1442442"/>
                  <a:gd name="connsiteY26" fmla="*/ 313916 h 2390930"/>
                  <a:gd name="connsiteX27" fmla="*/ 1212701 w 1442442"/>
                  <a:gd name="connsiteY27" fmla="*/ 0 h 2390930"/>
                  <a:gd name="connsiteX28" fmla="*/ 1432930 w 1442442"/>
                  <a:gd name="connsiteY28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21101 w 1442442"/>
                  <a:gd name="connsiteY14" fmla="*/ 1743364 h 2390930"/>
                  <a:gd name="connsiteX15" fmla="*/ 123 w 1442442"/>
                  <a:gd name="connsiteY15" fmla="*/ 1303691 h 2390930"/>
                  <a:gd name="connsiteX16" fmla="*/ 10599 w 1442442"/>
                  <a:gd name="connsiteY16" fmla="*/ 1010783 h 2390930"/>
                  <a:gd name="connsiteX17" fmla="*/ 70330 w 1442442"/>
                  <a:gd name="connsiteY17" fmla="*/ 818280 h 2390930"/>
                  <a:gd name="connsiteX18" fmla="*/ 100019 w 1442442"/>
                  <a:gd name="connsiteY18" fmla="*/ 685472 h 2390930"/>
                  <a:gd name="connsiteX19" fmla="*/ 216812 w 1442442"/>
                  <a:gd name="connsiteY19" fmla="*/ 720386 h 2390930"/>
                  <a:gd name="connsiteX20" fmla="*/ 208996 w 1442442"/>
                  <a:gd name="connsiteY20" fmla="*/ 788510 h 2390930"/>
                  <a:gd name="connsiteX21" fmla="*/ 397557 w 1442442"/>
                  <a:gd name="connsiteY21" fmla="*/ 575064 h 2390930"/>
                  <a:gd name="connsiteX22" fmla="*/ 598879 w 1442442"/>
                  <a:gd name="connsiteY22" fmla="*/ 506968 h 2390930"/>
                  <a:gd name="connsiteX23" fmla="*/ 809560 w 1442442"/>
                  <a:gd name="connsiteY23" fmla="*/ 519480 h 2390930"/>
                  <a:gd name="connsiteX24" fmla="*/ 932572 w 1442442"/>
                  <a:gd name="connsiteY24" fmla="*/ 602280 h 2390930"/>
                  <a:gd name="connsiteX25" fmla="*/ 1044672 w 1442442"/>
                  <a:gd name="connsiteY25" fmla="*/ 709933 h 2390930"/>
                  <a:gd name="connsiteX26" fmla="*/ 1177676 w 1442442"/>
                  <a:gd name="connsiteY26" fmla="*/ 313916 h 2390930"/>
                  <a:gd name="connsiteX27" fmla="*/ 1212701 w 1442442"/>
                  <a:gd name="connsiteY27" fmla="*/ 0 h 2390930"/>
                  <a:gd name="connsiteX28" fmla="*/ 1432930 w 1442442"/>
                  <a:gd name="connsiteY28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21101 w 1442442"/>
                  <a:gd name="connsiteY14" fmla="*/ 1743364 h 2390930"/>
                  <a:gd name="connsiteX15" fmla="*/ 123 w 1442442"/>
                  <a:gd name="connsiteY15" fmla="*/ 1303691 h 2390930"/>
                  <a:gd name="connsiteX16" fmla="*/ 10599 w 1442442"/>
                  <a:gd name="connsiteY16" fmla="*/ 1010783 h 2390930"/>
                  <a:gd name="connsiteX17" fmla="*/ 70330 w 1442442"/>
                  <a:gd name="connsiteY17" fmla="*/ 818280 h 2390930"/>
                  <a:gd name="connsiteX18" fmla="*/ 100019 w 1442442"/>
                  <a:gd name="connsiteY18" fmla="*/ 685472 h 2390930"/>
                  <a:gd name="connsiteX19" fmla="*/ 216812 w 1442442"/>
                  <a:gd name="connsiteY19" fmla="*/ 720386 h 2390930"/>
                  <a:gd name="connsiteX20" fmla="*/ 208996 w 1442442"/>
                  <a:gd name="connsiteY20" fmla="*/ 788510 h 2390930"/>
                  <a:gd name="connsiteX21" fmla="*/ 397557 w 1442442"/>
                  <a:gd name="connsiteY21" fmla="*/ 575064 h 2390930"/>
                  <a:gd name="connsiteX22" fmla="*/ 598879 w 1442442"/>
                  <a:gd name="connsiteY22" fmla="*/ 506968 h 2390930"/>
                  <a:gd name="connsiteX23" fmla="*/ 809560 w 1442442"/>
                  <a:gd name="connsiteY23" fmla="*/ 519480 h 2390930"/>
                  <a:gd name="connsiteX24" fmla="*/ 932572 w 1442442"/>
                  <a:gd name="connsiteY24" fmla="*/ 602280 h 2390930"/>
                  <a:gd name="connsiteX25" fmla="*/ 1044672 w 1442442"/>
                  <a:gd name="connsiteY25" fmla="*/ 709933 h 2390930"/>
                  <a:gd name="connsiteX26" fmla="*/ 1177676 w 1442442"/>
                  <a:gd name="connsiteY26" fmla="*/ 313916 h 2390930"/>
                  <a:gd name="connsiteX27" fmla="*/ 1212701 w 1442442"/>
                  <a:gd name="connsiteY27" fmla="*/ 0 h 2390930"/>
                  <a:gd name="connsiteX28" fmla="*/ 1432930 w 1442442"/>
                  <a:gd name="connsiteY28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21101 w 1442442"/>
                  <a:gd name="connsiteY14" fmla="*/ 1743364 h 2390930"/>
                  <a:gd name="connsiteX15" fmla="*/ 123 w 1442442"/>
                  <a:gd name="connsiteY15" fmla="*/ 1303691 h 2390930"/>
                  <a:gd name="connsiteX16" fmla="*/ 10599 w 1442442"/>
                  <a:gd name="connsiteY16" fmla="*/ 1010783 h 2390930"/>
                  <a:gd name="connsiteX17" fmla="*/ 70330 w 1442442"/>
                  <a:gd name="connsiteY17" fmla="*/ 818280 h 2390930"/>
                  <a:gd name="connsiteX18" fmla="*/ 100019 w 1442442"/>
                  <a:gd name="connsiteY18" fmla="*/ 685472 h 2390930"/>
                  <a:gd name="connsiteX19" fmla="*/ 216812 w 1442442"/>
                  <a:gd name="connsiteY19" fmla="*/ 720386 h 2390930"/>
                  <a:gd name="connsiteX20" fmla="*/ 208996 w 1442442"/>
                  <a:gd name="connsiteY20" fmla="*/ 788510 h 2390930"/>
                  <a:gd name="connsiteX21" fmla="*/ 397557 w 1442442"/>
                  <a:gd name="connsiteY21" fmla="*/ 575064 h 2390930"/>
                  <a:gd name="connsiteX22" fmla="*/ 598879 w 1442442"/>
                  <a:gd name="connsiteY22" fmla="*/ 506968 h 2390930"/>
                  <a:gd name="connsiteX23" fmla="*/ 809560 w 1442442"/>
                  <a:gd name="connsiteY23" fmla="*/ 519480 h 2390930"/>
                  <a:gd name="connsiteX24" fmla="*/ 932572 w 1442442"/>
                  <a:gd name="connsiteY24" fmla="*/ 602280 h 2390930"/>
                  <a:gd name="connsiteX25" fmla="*/ 1044672 w 1442442"/>
                  <a:gd name="connsiteY25" fmla="*/ 709933 h 2390930"/>
                  <a:gd name="connsiteX26" fmla="*/ 1177676 w 1442442"/>
                  <a:gd name="connsiteY26" fmla="*/ 313916 h 2390930"/>
                  <a:gd name="connsiteX27" fmla="*/ 1212701 w 1442442"/>
                  <a:gd name="connsiteY27" fmla="*/ 0 h 2390930"/>
                  <a:gd name="connsiteX28" fmla="*/ 1432930 w 1442442"/>
                  <a:gd name="connsiteY28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21101 w 1442442"/>
                  <a:gd name="connsiteY14" fmla="*/ 1743364 h 2390930"/>
                  <a:gd name="connsiteX15" fmla="*/ 123 w 1442442"/>
                  <a:gd name="connsiteY15" fmla="*/ 1303691 h 2390930"/>
                  <a:gd name="connsiteX16" fmla="*/ 10599 w 1442442"/>
                  <a:gd name="connsiteY16" fmla="*/ 1010783 h 2390930"/>
                  <a:gd name="connsiteX17" fmla="*/ 70330 w 1442442"/>
                  <a:gd name="connsiteY17" fmla="*/ 818280 h 2390930"/>
                  <a:gd name="connsiteX18" fmla="*/ 100019 w 1442442"/>
                  <a:gd name="connsiteY18" fmla="*/ 685472 h 2390930"/>
                  <a:gd name="connsiteX19" fmla="*/ 216812 w 1442442"/>
                  <a:gd name="connsiteY19" fmla="*/ 720386 h 2390930"/>
                  <a:gd name="connsiteX20" fmla="*/ 208996 w 1442442"/>
                  <a:gd name="connsiteY20" fmla="*/ 788510 h 2390930"/>
                  <a:gd name="connsiteX21" fmla="*/ 397557 w 1442442"/>
                  <a:gd name="connsiteY21" fmla="*/ 575064 h 2390930"/>
                  <a:gd name="connsiteX22" fmla="*/ 598879 w 1442442"/>
                  <a:gd name="connsiteY22" fmla="*/ 506968 h 2390930"/>
                  <a:gd name="connsiteX23" fmla="*/ 809560 w 1442442"/>
                  <a:gd name="connsiteY23" fmla="*/ 519480 h 2390930"/>
                  <a:gd name="connsiteX24" fmla="*/ 932572 w 1442442"/>
                  <a:gd name="connsiteY24" fmla="*/ 602280 h 2390930"/>
                  <a:gd name="connsiteX25" fmla="*/ 1044672 w 1442442"/>
                  <a:gd name="connsiteY25" fmla="*/ 709933 h 2390930"/>
                  <a:gd name="connsiteX26" fmla="*/ 1177676 w 1442442"/>
                  <a:gd name="connsiteY26" fmla="*/ 313916 h 2390930"/>
                  <a:gd name="connsiteX27" fmla="*/ 1212701 w 1442442"/>
                  <a:gd name="connsiteY27" fmla="*/ 0 h 2390930"/>
                  <a:gd name="connsiteX28" fmla="*/ 1432930 w 1442442"/>
                  <a:gd name="connsiteY28" fmla="*/ 62975 h 2390930"/>
                  <a:gd name="connsiteX0" fmla="*/ 1432930 w 1442442"/>
                  <a:gd name="connsiteY0" fmla="*/ 62975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21101 w 1442442"/>
                  <a:gd name="connsiteY14" fmla="*/ 1743364 h 2390930"/>
                  <a:gd name="connsiteX15" fmla="*/ 123 w 1442442"/>
                  <a:gd name="connsiteY15" fmla="*/ 1303691 h 2390930"/>
                  <a:gd name="connsiteX16" fmla="*/ 10599 w 1442442"/>
                  <a:gd name="connsiteY16" fmla="*/ 1010783 h 2390930"/>
                  <a:gd name="connsiteX17" fmla="*/ 70330 w 1442442"/>
                  <a:gd name="connsiteY17" fmla="*/ 818280 h 2390930"/>
                  <a:gd name="connsiteX18" fmla="*/ 100019 w 1442442"/>
                  <a:gd name="connsiteY18" fmla="*/ 685472 h 2390930"/>
                  <a:gd name="connsiteX19" fmla="*/ 216812 w 1442442"/>
                  <a:gd name="connsiteY19" fmla="*/ 720386 h 2390930"/>
                  <a:gd name="connsiteX20" fmla="*/ 208996 w 1442442"/>
                  <a:gd name="connsiteY20" fmla="*/ 788510 h 2390930"/>
                  <a:gd name="connsiteX21" fmla="*/ 397557 w 1442442"/>
                  <a:gd name="connsiteY21" fmla="*/ 575064 h 2390930"/>
                  <a:gd name="connsiteX22" fmla="*/ 598879 w 1442442"/>
                  <a:gd name="connsiteY22" fmla="*/ 506968 h 2390930"/>
                  <a:gd name="connsiteX23" fmla="*/ 809560 w 1442442"/>
                  <a:gd name="connsiteY23" fmla="*/ 519480 h 2390930"/>
                  <a:gd name="connsiteX24" fmla="*/ 932572 w 1442442"/>
                  <a:gd name="connsiteY24" fmla="*/ 602280 h 2390930"/>
                  <a:gd name="connsiteX25" fmla="*/ 1039333 w 1442442"/>
                  <a:gd name="connsiteY25" fmla="*/ 709933 h 2390930"/>
                  <a:gd name="connsiteX26" fmla="*/ 1177676 w 1442442"/>
                  <a:gd name="connsiteY26" fmla="*/ 313916 h 2390930"/>
                  <a:gd name="connsiteX27" fmla="*/ 1212701 w 1442442"/>
                  <a:gd name="connsiteY27" fmla="*/ 0 h 2390930"/>
                  <a:gd name="connsiteX28" fmla="*/ 1432930 w 1442442"/>
                  <a:gd name="connsiteY28" fmla="*/ 62975 h 2390930"/>
                  <a:gd name="connsiteX0" fmla="*/ 1425090 w 1442442"/>
                  <a:gd name="connsiteY0" fmla="*/ 133513 h 2390930"/>
                  <a:gd name="connsiteX1" fmla="*/ 1358937 w 1442442"/>
                  <a:gd name="connsiteY1" fmla="*/ 478243 h 2390930"/>
                  <a:gd name="connsiteX2" fmla="*/ 1380493 w 1442442"/>
                  <a:gd name="connsiteY2" fmla="*/ 916524 h 2390930"/>
                  <a:gd name="connsiteX3" fmla="*/ 1380493 w 1442442"/>
                  <a:gd name="connsiteY3" fmla="*/ 1069517 h 2390930"/>
                  <a:gd name="connsiteX4" fmla="*/ 1438009 w 1442442"/>
                  <a:gd name="connsiteY4" fmla="*/ 1094496 h 2390930"/>
                  <a:gd name="connsiteX5" fmla="*/ 1441037 w 1442442"/>
                  <a:gd name="connsiteY5" fmla="*/ 1135085 h 2390930"/>
                  <a:gd name="connsiteX6" fmla="*/ 1404711 w 1442442"/>
                  <a:gd name="connsiteY6" fmla="*/ 1160064 h 2390930"/>
                  <a:gd name="connsiteX7" fmla="*/ 1384779 w 1442442"/>
                  <a:gd name="connsiteY7" fmla="*/ 1223289 h 2390930"/>
                  <a:gd name="connsiteX8" fmla="*/ 1402301 w 1442442"/>
                  <a:gd name="connsiteY8" fmla="*/ 2292958 h 2390930"/>
                  <a:gd name="connsiteX9" fmla="*/ 942716 w 1442442"/>
                  <a:gd name="connsiteY9" fmla="*/ 2302239 h 2390930"/>
                  <a:gd name="connsiteX10" fmla="*/ 803587 w 1442442"/>
                  <a:gd name="connsiteY10" fmla="*/ 2378525 h 2390930"/>
                  <a:gd name="connsiteX11" fmla="*/ 509091 w 1442442"/>
                  <a:gd name="connsiteY11" fmla="*/ 2390930 h 2390930"/>
                  <a:gd name="connsiteX12" fmla="*/ 363379 w 1442442"/>
                  <a:gd name="connsiteY12" fmla="*/ 2293466 h 2390930"/>
                  <a:gd name="connsiteX13" fmla="*/ 107297 w 1442442"/>
                  <a:gd name="connsiteY13" fmla="*/ 2026669 h 2390930"/>
                  <a:gd name="connsiteX14" fmla="*/ 21101 w 1442442"/>
                  <a:gd name="connsiteY14" fmla="*/ 1743364 h 2390930"/>
                  <a:gd name="connsiteX15" fmla="*/ 123 w 1442442"/>
                  <a:gd name="connsiteY15" fmla="*/ 1303691 h 2390930"/>
                  <a:gd name="connsiteX16" fmla="*/ 10599 w 1442442"/>
                  <a:gd name="connsiteY16" fmla="*/ 1010783 h 2390930"/>
                  <a:gd name="connsiteX17" fmla="*/ 70330 w 1442442"/>
                  <a:gd name="connsiteY17" fmla="*/ 818280 h 2390930"/>
                  <a:gd name="connsiteX18" fmla="*/ 100019 w 1442442"/>
                  <a:gd name="connsiteY18" fmla="*/ 685472 h 2390930"/>
                  <a:gd name="connsiteX19" fmla="*/ 216812 w 1442442"/>
                  <a:gd name="connsiteY19" fmla="*/ 720386 h 2390930"/>
                  <a:gd name="connsiteX20" fmla="*/ 208996 w 1442442"/>
                  <a:gd name="connsiteY20" fmla="*/ 788510 h 2390930"/>
                  <a:gd name="connsiteX21" fmla="*/ 397557 w 1442442"/>
                  <a:gd name="connsiteY21" fmla="*/ 575064 h 2390930"/>
                  <a:gd name="connsiteX22" fmla="*/ 598879 w 1442442"/>
                  <a:gd name="connsiteY22" fmla="*/ 506968 h 2390930"/>
                  <a:gd name="connsiteX23" fmla="*/ 809560 w 1442442"/>
                  <a:gd name="connsiteY23" fmla="*/ 519480 h 2390930"/>
                  <a:gd name="connsiteX24" fmla="*/ 932572 w 1442442"/>
                  <a:gd name="connsiteY24" fmla="*/ 602280 h 2390930"/>
                  <a:gd name="connsiteX25" fmla="*/ 1039333 w 1442442"/>
                  <a:gd name="connsiteY25" fmla="*/ 709933 h 2390930"/>
                  <a:gd name="connsiteX26" fmla="*/ 1177676 w 1442442"/>
                  <a:gd name="connsiteY26" fmla="*/ 313916 h 2390930"/>
                  <a:gd name="connsiteX27" fmla="*/ 1212701 w 1442442"/>
                  <a:gd name="connsiteY27" fmla="*/ 0 h 2390930"/>
                  <a:gd name="connsiteX28" fmla="*/ 1425090 w 1442442"/>
                  <a:gd name="connsiteY28" fmla="*/ 133513 h 2390930"/>
                  <a:gd name="connsiteX0" fmla="*/ 1425090 w 1442442"/>
                  <a:gd name="connsiteY0" fmla="*/ 70812 h 2328229"/>
                  <a:gd name="connsiteX1" fmla="*/ 1358937 w 1442442"/>
                  <a:gd name="connsiteY1" fmla="*/ 415542 h 2328229"/>
                  <a:gd name="connsiteX2" fmla="*/ 1380493 w 1442442"/>
                  <a:gd name="connsiteY2" fmla="*/ 853823 h 2328229"/>
                  <a:gd name="connsiteX3" fmla="*/ 1380493 w 1442442"/>
                  <a:gd name="connsiteY3" fmla="*/ 1006816 h 2328229"/>
                  <a:gd name="connsiteX4" fmla="*/ 1438009 w 1442442"/>
                  <a:gd name="connsiteY4" fmla="*/ 1031795 h 2328229"/>
                  <a:gd name="connsiteX5" fmla="*/ 1441037 w 1442442"/>
                  <a:gd name="connsiteY5" fmla="*/ 1072384 h 2328229"/>
                  <a:gd name="connsiteX6" fmla="*/ 1404711 w 1442442"/>
                  <a:gd name="connsiteY6" fmla="*/ 1097363 h 2328229"/>
                  <a:gd name="connsiteX7" fmla="*/ 1384779 w 1442442"/>
                  <a:gd name="connsiteY7" fmla="*/ 1160588 h 2328229"/>
                  <a:gd name="connsiteX8" fmla="*/ 1402301 w 1442442"/>
                  <a:gd name="connsiteY8" fmla="*/ 2230257 h 2328229"/>
                  <a:gd name="connsiteX9" fmla="*/ 942716 w 1442442"/>
                  <a:gd name="connsiteY9" fmla="*/ 2239538 h 2328229"/>
                  <a:gd name="connsiteX10" fmla="*/ 803587 w 1442442"/>
                  <a:gd name="connsiteY10" fmla="*/ 2315824 h 2328229"/>
                  <a:gd name="connsiteX11" fmla="*/ 509091 w 1442442"/>
                  <a:gd name="connsiteY11" fmla="*/ 2328229 h 2328229"/>
                  <a:gd name="connsiteX12" fmla="*/ 363379 w 1442442"/>
                  <a:gd name="connsiteY12" fmla="*/ 2230765 h 2328229"/>
                  <a:gd name="connsiteX13" fmla="*/ 107297 w 1442442"/>
                  <a:gd name="connsiteY13" fmla="*/ 1963968 h 2328229"/>
                  <a:gd name="connsiteX14" fmla="*/ 21101 w 1442442"/>
                  <a:gd name="connsiteY14" fmla="*/ 1680663 h 2328229"/>
                  <a:gd name="connsiteX15" fmla="*/ 123 w 1442442"/>
                  <a:gd name="connsiteY15" fmla="*/ 1240990 h 2328229"/>
                  <a:gd name="connsiteX16" fmla="*/ 10599 w 1442442"/>
                  <a:gd name="connsiteY16" fmla="*/ 948082 h 2328229"/>
                  <a:gd name="connsiteX17" fmla="*/ 70330 w 1442442"/>
                  <a:gd name="connsiteY17" fmla="*/ 755579 h 2328229"/>
                  <a:gd name="connsiteX18" fmla="*/ 100019 w 1442442"/>
                  <a:gd name="connsiteY18" fmla="*/ 622771 h 2328229"/>
                  <a:gd name="connsiteX19" fmla="*/ 216812 w 1442442"/>
                  <a:gd name="connsiteY19" fmla="*/ 657685 h 2328229"/>
                  <a:gd name="connsiteX20" fmla="*/ 208996 w 1442442"/>
                  <a:gd name="connsiteY20" fmla="*/ 725809 h 2328229"/>
                  <a:gd name="connsiteX21" fmla="*/ 397557 w 1442442"/>
                  <a:gd name="connsiteY21" fmla="*/ 512363 h 2328229"/>
                  <a:gd name="connsiteX22" fmla="*/ 598879 w 1442442"/>
                  <a:gd name="connsiteY22" fmla="*/ 444267 h 2328229"/>
                  <a:gd name="connsiteX23" fmla="*/ 809560 w 1442442"/>
                  <a:gd name="connsiteY23" fmla="*/ 456779 h 2328229"/>
                  <a:gd name="connsiteX24" fmla="*/ 932572 w 1442442"/>
                  <a:gd name="connsiteY24" fmla="*/ 539579 h 2328229"/>
                  <a:gd name="connsiteX25" fmla="*/ 1039333 w 1442442"/>
                  <a:gd name="connsiteY25" fmla="*/ 647232 h 2328229"/>
                  <a:gd name="connsiteX26" fmla="*/ 1177676 w 1442442"/>
                  <a:gd name="connsiteY26" fmla="*/ 251215 h 2328229"/>
                  <a:gd name="connsiteX27" fmla="*/ 1220542 w 1442442"/>
                  <a:gd name="connsiteY27" fmla="*/ 0 h 2328229"/>
                  <a:gd name="connsiteX28" fmla="*/ 1425090 w 1442442"/>
                  <a:gd name="connsiteY28" fmla="*/ 70812 h 2328229"/>
                  <a:gd name="connsiteX0" fmla="*/ 1425090 w 1442442"/>
                  <a:gd name="connsiteY0" fmla="*/ 70812 h 2328229"/>
                  <a:gd name="connsiteX1" fmla="*/ 1358937 w 1442442"/>
                  <a:gd name="connsiteY1" fmla="*/ 415542 h 2328229"/>
                  <a:gd name="connsiteX2" fmla="*/ 1380493 w 1442442"/>
                  <a:gd name="connsiteY2" fmla="*/ 853823 h 2328229"/>
                  <a:gd name="connsiteX3" fmla="*/ 1380493 w 1442442"/>
                  <a:gd name="connsiteY3" fmla="*/ 1006816 h 2328229"/>
                  <a:gd name="connsiteX4" fmla="*/ 1438009 w 1442442"/>
                  <a:gd name="connsiteY4" fmla="*/ 1031795 h 2328229"/>
                  <a:gd name="connsiteX5" fmla="*/ 1441037 w 1442442"/>
                  <a:gd name="connsiteY5" fmla="*/ 1072384 h 2328229"/>
                  <a:gd name="connsiteX6" fmla="*/ 1404711 w 1442442"/>
                  <a:gd name="connsiteY6" fmla="*/ 1097363 h 2328229"/>
                  <a:gd name="connsiteX7" fmla="*/ 1384779 w 1442442"/>
                  <a:gd name="connsiteY7" fmla="*/ 1160588 h 2328229"/>
                  <a:gd name="connsiteX8" fmla="*/ 1402301 w 1442442"/>
                  <a:gd name="connsiteY8" fmla="*/ 2230257 h 2328229"/>
                  <a:gd name="connsiteX9" fmla="*/ 942716 w 1442442"/>
                  <a:gd name="connsiteY9" fmla="*/ 2239538 h 2328229"/>
                  <a:gd name="connsiteX10" fmla="*/ 803587 w 1442442"/>
                  <a:gd name="connsiteY10" fmla="*/ 2315824 h 2328229"/>
                  <a:gd name="connsiteX11" fmla="*/ 509091 w 1442442"/>
                  <a:gd name="connsiteY11" fmla="*/ 2328229 h 2328229"/>
                  <a:gd name="connsiteX12" fmla="*/ 363379 w 1442442"/>
                  <a:gd name="connsiteY12" fmla="*/ 2230765 h 2328229"/>
                  <a:gd name="connsiteX13" fmla="*/ 107297 w 1442442"/>
                  <a:gd name="connsiteY13" fmla="*/ 1963968 h 2328229"/>
                  <a:gd name="connsiteX14" fmla="*/ 21101 w 1442442"/>
                  <a:gd name="connsiteY14" fmla="*/ 1680663 h 2328229"/>
                  <a:gd name="connsiteX15" fmla="*/ 123 w 1442442"/>
                  <a:gd name="connsiteY15" fmla="*/ 1240990 h 2328229"/>
                  <a:gd name="connsiteX16" fmla="*/ 10599 w 1442442"/>
                  <a:gd name="connsiteY16" fmla="*/ 948082 h 2328229"/>
                  <a:gd name="connsiteX17" fmla="*/ 70330 w 1442442"/>
                  <a:gd name="connsiteY17" fmla="*/ 755579 h 2328229"/>
                  <a:gd name="connsiteX18" fmla="*/ 100019 w 1442442"/>
                  <a:gd name="connsiteY18" fmla="*/ 622771 h 2328229"/>
                  <a:gd name="connsiteX19" fmla="*/ 216812 w 1442442"/>
                  <a:gd name="connsiteY19" fmla="*/ 657685 h 2328229"/>
                  <a:gd name="connsiteX20" fmla="*/ 208996 w 1442442"/>
                  <a:gd name="connsiteY20" fmla="*/ 725809 h 2328229"/>
                  <a:gd name="connsiteX21" fmla="*/ 397557 w 1442442"/>
                  <a:gd name="connsiteY21" fmla="*/ 512363 h 2328229"/>
                  <a:gd name="connsiteX22" fmla="*/ 598879 w 1442442"/>
                  <a:gd name="connsiteY22" fmla="*/ 444267 h 2328229"/>
                  <a:gd name="connsiteX23" fmla="*/ 809560 w 1442442"/>
                  <a:gd name="connsiteY23" fmla="*/ 456779 h 2328229"/>
                  <a:gd name="connsiteX24" fmla="*/ 932572 w 1442442"/>
                  <a:gd name="connsiteY24" fmla="*/ 539579 h 2328229"/>
                  <a:gd name="connsiteX25" fmla="*/ 1031492 w 1442442"/>
                  <a:gd name="connsiteY25" fmla="*/ 623718 h 2328229"/>
                  <a:gd name="connsiteX26" fmla="*/ 1177676 w 1442442"/>
                  <a:gd name="connsiteY26" fmla="*/ 251215 h 2328229"/>
                  <a:gd name="connsiteX27" fmla="*/ 1220542 w 1442442"/>
                  <a:gd name="connsiteY27" fmla="*/ 0 h 2328229"/>
                  <a:gd name="connsiteX28" fmla="*/ 1425090 w 1442442"/>
                  <a:gd name="connsiteY28" fmla="*/ 70812 h 2328229"/>
                  <a:gd name="connsiteX0" fmla="*/ 1425090 w 1442442"/>
                  <a:gd name="connsiteY0" fmla="*/ 70812 h 2328229"/>
                  <a:gd name="connsiteX1" fmla="*/ 1358937 w 1442442"/>
                  <a:gd name="connsiteY1" fmla="*/ 415542 h 2328229"/>
                  <a:gd name="connsiteX2" fmla="*/ 1380493 w 1442442"/>
                  <a:gd name="connsiteY2" fmla="*/ 853823 h 2328229"/>
                  <a:gd name="connsiteX3" fmla="*/ 1380493 w 1442442"/>
                  <a:gd name="connsiteY3" fmla="*/ 1006816 h 2328229"/>
                  <a:gd name="connsiteX4" fmla="*/ 1438009 w 1442442"/>
                  <a:gd name="connsiteY4" fmla="*/ 1031795 h 2328229"/>
                  <a:gd name="connsiteX5" fmla="*/ 1441037 w 1442442"/>
                  <a:gd name="connsiteY5" fmla="*/ 1072384 h 2328229"/>
                  <a:gd name="connsiteX6" fmla="*/ 1404711 w 1442442"/>
                  <a:gd name="connsiteY6" fmla="*/ 1097363 h 2328229"/>
                  <a:gd name="connsiteX7" fmla="*/ 1384779 w 1442442"/>
                  <a:gd name="connsiteY7" fmla="*/ 1160588 h 2328229"/>
                  <a:gd name="connsiteX8" fmla="*/ 1402301 w 1442442"/>
                  <a:gd name="connsiteY8" fmla="*/ 2230257 h 2328229"/>
                  <a:gd name="connsiteX9" fmla="*/ 942716 w 1442442"/>
                  <a:gd name="connsiteY9" fmla="*/ 2239538 h 2328229"/>
                  <a:gd name="connsiteX10" fmla="*/ 803587 w 1442442"/>
                  <a:gd name="connsiteY10" fmla="*/ 2315824 h 2328229"/>
                  <a:gd name="connsiteX11" fmla="*/ 509091 w 1442442"/>
                  <a:gd name="connsiteY11" fmla="*/ 2328229 h 2328229"/>
                  <a:gd name="connsiteX12" fmla="*/ 363379 w 1442442"/>
                  <a:gd name="connsiteY12" fmla="*/ 2230765 h 2328229"/>
                  <a:gd name="connsiteX13" fmla="*/ 107297 w 1442442"/>
                  <a:gd name="connsiteY13" fmla="*/ 1963968 h 2328229"/>
                  <a:gd name="connsiteX14" fmla="*/ 21101 w 1442442"/>
                  <a:gd name="connsiteY14" fmla="*/ 1680663 h 2328229"/>
                  <a:gd name="connsiteX15" fmla="*/ 123 w 1442442"/>
                  <a:gd name="connsiteY15" fmla="*/ 1240990 h 2328229"/>
                  <a:gd name="connsiteX16" fmla="*/ 10599 w 1442442"/>
                  <a:gd name="connsiteY16" fmla="*/ 948082 h 2328229"/>
                  <a:gd name="connsiteX17" fmla="*/ 70330 w 1442442"/>
                  <a:gd name="connsiteY17" fmla="*/ 755579 h 2328229"/>
                  <a:gd name="connsiteX18" fmla="*/ 100019 w 1442442"/>
                  <a:gd name="connsiteY18" fmla="*/ 622771 h 2328229"/>
                  <a:gd name="connsiteX19" fmla="*/ 216812 w 1442442"/>
                  <a:gd name="connsiteY19" fmla="*/ 657685 h 2328229"/>
                  <a:gd name="connsiteX20" fmla="*/ 208996 w 1442442"/>
                  <a:gd name="connsiteY20" fmla="*/ 725809 h 2328229"/>
                  <a:gd name="connsiteX21" fmla="*/ 397557 w 1442442"/>
                  <a:gd name="connsiteY21" fmla="*/ 512363 h 2328229"/>
                  <a:gd name="connsiteX22" fmla="*/ 598879 w 1442442"/>
                  <a:gd name="connsiteY22" fmla="*/ 444267 h 2328229"/>
                  <a:gd name="connsiteX23" fmla="*/ 809560 w 1442442"/>
                  <a:gd name="connsiteY23" fmla="*/ 456779 h 2328229"/>
                  <a:gd name="connsiteX24" fmla="*/ 932572 w 1442442"/>
                  <a:gd name="connsiteY24" fmla="*/ 539579 h 2328229"/>
                  <a:gd name="connsiteX25" fmla="*/ 1031492 w 1442442"/>
                  <a:gd name="connsiteY25" fmla="*/ 623718 h 2328229"/>
                  <a:gd name="connsiteX26" fmla="*/ 1138478 w 1442442"/>
                  <a:gd name="connsiteY26" fmla="*/ 235542 h 2328229"/>
                  <a:gd name="connsiteX27" fmla="*/ 1220542 w 1442442"/>
                  <a:gd name="connsiteY27" fmla="*/ 0 h 2328229"/>
                  <a:gd name="connsiteX28" fmla="*/ 1425090 w 1442442"/>
                  <a:gd name="connsiteY28" fmla="*/ 70812 h 2328229"/>
                  <a:gd name="connsiteX0" fmla="*/ 1425090 w 1442442"/>
                  <a:gd name="connsiteY0" fmla="*/ 86489 h 2343906"/>
                  <a:gd name="connsiteX1" fmla="*/ 1358937 w 1442442"/>
                  <a:gd name="connsiteY1" fmla="*/ 431219 h 2343906"/>
                  <a:gd name="connsiteX2" fmla="*/ 1380493 w 1442442"/>
                  <a:gd name="connsiteY2" fmla="*/ 869500 h 2343906"/>
                  <a:gd name="connsiteX3" fmla="*/ 1380493 w 1442442"/>
                  <a:gd name="connsiteY3" fmla="*/ 1022493 h 2343906"/>
                  <a:gd name="connsiteX4" fmla="*/ 1438009 w 1442442"/>
                  <a:gd name="connsiteY4" fmla="*/ 1047472 h 2343906"/>
                  <a:gd name="connsiteX5" fmla="*/ 1441037 w 1442442"/>
                  <a:gd name="connsiteY5" fmla="*/ 1088061 h 2343906"/>
                  <a:gd name="connsiteX6" fmla="*/ 1404711 w 1442442"/>
                  <a:gd name="connsiteY6" fmla="*/ 1113040 h 2343906"/>
                  <a:gd name="connsiteX7" fmla="*/ 1384779 w 1442442"/>
                  <a:gd name="connsiteY7" fmla="*/ 1176265 h 2343906"/>
                  <a:gd name="connsiteX8" fmla="*/ 1402301 w 1442442"/>
                  <a:gd name="connsiteY8" fmla="*/ 2245934 h 2343906"/>
                  <a:gd name="connsiteX9" fmla="*/ 942716 w 1442442"/>
                  <a:gd name="connsiteY9" fmla="*/ 2255215 h 2343906"/>
                  <a:gd name="connsiteX10" fmla="*/ 803587 w 1442442"/>
                  <a:gd name="connsiteY10" fmla="*/ 2331501 h 2343906"/>
                  <a:gd name="connsiteX11" fmla="*/ 509091 w 1442442"/>
                  <a:gd name="connsiteY11" fmla="*/ 2343906 h 2343906"/>
                  <a:gd name="connsiteX12" fmla="*/ 363379 w 1442442"/>
                  <a:gd name="connsiteY12" fmla="*/ 2246442 h 2343906"/>
                  <a:gd name="connsiteX13" fmla="*/ 107297 w 1442442"/>
                  <a:gd name="connsiteY13" fmla="*/ 1979645 h 2343906"/>
                  <a:gd name="connsiteX14" fmla="*/ 21101 w 1442442"/>
                  <a:gd name="connsiteY14" fmla="*/ 1696340 h 2343906"/>
                  <a:gd name="connsiteX15" fmla="*/ 123 w 1442442"/>
                  <a:gd name="connsiteY15" fmla="*/ 1256667 h 2343906"/>
                  <a:gd name="connsiteX16" fmla="*/ 10599 w 1442442"/>
                  <a:gd name="connsiteY16" fmla="*/ 963759 h 2343906"/>
                  <a:gd name="connsiteX17" fmla="*/ 70330 w 1442442"/>
                  <a:gd name="connsiteY17" fmla="*/ 771256 h 2343906"/>
                  <a:gd name="connsiteX18" fmla="*/ 100019 w 1442442"/>
                  <a:gd name="connsiteY18" fmla="*/ 638448 h 2343906"/>
                  <a:gd name="connsiteX19" fmla="*/ 216812 w 1442442"/>
                  <a:gd name="connsiteY19" fmla="*/ 673362 h 2343906"/>
                  <a:gd name="connsiteX20" fmla="*/ 208996 w 1442442"/>
                  <a:gd name="connsiteY20" fmla="*/ 741486 h 2343906"/>
                  <a:gd name="connsiteX21" fmla="*/ 397557 w 1442442"/>
                  <a:gd name="connsiteY21" fmla="*/ 528040 h 2343906"/>
                  <a:gd name="connsiteX22" fmla="*/ 598879 w 1442442"/>
                  <a:gd name="connsiteY22" fmla="*/ 459944 h 2343906"/>
                  <a:gd name="connsiteX23" fmla="*/ 809560 w 1442442"/>
                  <a:gd name="connsiteY23" fmla="*/ 472456 h 2343906"/>
                  <a:gd name="connsiteX24" fmla="*/ 932572 w 1442442"/>
                  <a:gd name="connsiteY24" fmla="*/ 555256 h 2343906"/>
                  <a:gd name="connsiteX25" fmla="*/ 1031492 w 1442442"/>
                  <a:gd name="connsiteY25" fmla="*/ 639395 h 2343906"/>
                  <a:gd name="connsiteX26" fmla="*/ 1138478 w 1442442"/>
                  <a:gd name="connsiteY26" fmla="*/ 251219 h 2343906"/>
                  <a:gd name="connsiteX27" fmla="*/ 1181345 w 1442442"/>
                  <a:gd name="connsiteY27" fmla="*/ 0 h 2343906"/>
                  <a:gd name="connsiteX28" fmla="*/ 1425090 w 1442442"/>
                  <a:gd name="connsiteY28" fmla="*/ 86489 h 2343906"/>
                  <a:gd name="connsiteX0" fmla="*/ 1425090 w 1442442"/>
                  <a:gd name="connsiteY0" fmla="*/ 86489 h 2343906"/>
                  <a:gd name="connsiteX1" fmla="*/ 1358937 w 1442442"/>
                  <a:gd name="connsiteY1" fmla="*/ 431219 h 2343906"/>
                  <a:gd name="connsiteX2" fmla="*/ 1380493 w 1442442"/>
                  <a:gd name="connsiteY2" fmla="*/ 869500 h 2343906"/>
                  <a:gd name="connsiteX3" fmla="*/ 1380493 w 1442442"/>
                  <a:gd name="connsiteY3" fmla="*/ 1022493 h 2343906"/>
                  <a:gd name="connsiteX4" fmla="*/ 1438009 w 1442442"/>
                  <a:gd name="connsiteY4" fmla="*/ 1047472 h 2343906"/>
                  <a:gd name="connsiteX5" fmla="*/ 1441037 w 1442442"/>
                  <a:gd name="connsiteY5" fmla="*/ 1088061 h 2343906"/>
                  <a:gd name="connsiteX6" fmla="*/ 1404711 w 1442442"/>
                  <a:gd name="connsiteY6" fmla="*/ 1113040 h 2343906"/>
                  <a:gd name="connsiteX7" fmla="*/ 1384779 w 1442442"/>
                  <a:gd name="connsiteY7" fmla="*/ 1176265 h 2343906"/>
                  <a:gd name="connsiteX8" fmla="*/ 1402301 w 1442442"/>
                  <a:gd name="connsiteY8" fmla="*/ 2245934 h 2343906"/>
                  <a:gd name="connsiteX9" fmla="*/ 942716 w 1442442"/>
                  <a:gd name="connsiteY9" fmla="*/ 2255215 h 2343906"/>
                  <a:gd name="connsiteX10" fmla="*/ 803587 w 1442442"/>
                  <a:gd name="connsiteY10" fmla="*/ 2331501 h 2343906"/>
                  <a:gd name="connsiteX11" fmla="*/ 509091 w 1442442"/>
                  <a:gd name="connsiteY11" fmla="*/ 2343906 h 2343906"/>
                  <a:gd name="connsiteX12" fmla="*/ 363379 w 1442442"/>
                  <a:gd name="connsiteY12" fmla="*/ 2246442 h 2343906"/>
                  <a:gd name="connsiteX13" fmla="*/ 107297 w 1442442"/>
                  <a:gd name="connsiteY13" fmla="*/ 1979645 h 2343906"/>
                  <a:gd name="connsiteX14" fmla="*/ 21101 w 1442442"/>
                  <a:gd name="connsiteY14" fmla="*/ 1696340 h 2343906"/>
                  <a:gd name="connsiteX15" fmla="*/ 123 w 1442442"/>
                  <a:gd name="connsiteY15" fmla="*/ 1256667 h 2343906"/>
                  <a:gd name="connsiteX16" fmla="*/ 10599 w 1442442"/>
                  <a:gd name="connsiteY16" fmla="*/ 963759 h 2343906"/>
                  <a:gd name="connsiteX17" fmla="*/ 70330 w 1442442"/>
                  <a:gd name="connsiteY17" fmla="*/ 771256 h 2343906"/>
                  <a:gd name="connsiteX18" fmla="*/ 100019 w 1442442"/>
                  <a:gd name="connsiteY18" fmla="*/ 638448 h 2343906"/>
                  <a:gd name="connsiteX19" fmla="*/ 216812 w 1442442"/>
                  <a:gd name="connsiteY19" fmla="*/ 673362 h 2343906"/>
                  <a:gd name="connsiteX20" fmla="*/ 208996 w 1442442"/>
                  <a:gd name="connsiteY20" fmla="*/ 741486 h 2343906"/>
                  <a:gd name="connsiteX21" fmla="*/ 397557 w 1442442"/>
                  <a:gd name="connsiteY21" fmla="*/ 528040 h 2343906"/>
                  <a:gd name="connsiteX22" fmla="*/ 598879 w 1442442"/>
                  <a:gd name="connsiteY22" fmla="*/ 459944 h 2343906"/>
                  <a:gd name="connsiteX23" fmla="*/ 809560 w 1442442"/>
                  <a:gd name="connsiteY23" fmla="*/ 472456 h 2343906"/>
                  <a:gd name="connsiteX24" fmla="*/ 932572 w 1442442"/>
                  <a:gd name="connsiteY24" fmla="*/ 555256 h 2343906"/>
                  <a:gd name="connsiteX25" fmla="*/ 1031492 w 1442442"/>
                  <a:gd name="connsiteY25" fmla="*/ 639395 h 2343906"/>
                  <a:gd name="connsiteX26" fmla="*/ 1169835 w 1442442"/>
                  <a:gd name="connsiteY26" fmla="*/ 266893 h 2343906"/>
                  <a:gd name="connsiteX27" fmla="*/ 1181345 w 1442442"/>
                  <a:gd name="connsiteY27" fmla="*/ 0 h 2343906"/>
                  <a:gd name="connsiteX28" fmla="*/ 1425090 w 1442442"/>
                  <a:gd name="connsiteY28" fmla="*/ 86489 h 2343906"/>
                  <a:gd name="connsiteX0" fmla="*/ 1425090 w 1442442"/>
                  <a:gd name="connsiteY0" fmla="*/ 86489 h 2343906"/>
                  <a:gd name="connsiteX1" fmla="*/ 1358937 w 1442442"/>
                  <a:gd name="connsiteY1" fmla="*/ 431219 h 2343906"/>
                  <a:gd name="connsiteX2" fmla="*/ 1380493 w 1442442"/>
                  <a:gd name="connsiteY2" fmla="*/ 869500 h 2343906"/>
                  <a:gd name="connsiteX3" fmla="*/ 1380493 w 1442442"/>
                  <a:gd name="connsiteY3" fmla="*/ 1022493 h 2343906"/>
                  <a:gd name="connsiteX4" fmla="*/ 1438009 w 1442442"/>
                  <a:gd name="connsiteY4" fmla="*/ 1047472 h 2343906"/>
                  <a:gd name="connsiteX5" fmla="*/ 1441037 w 1442442"/>
                  <a:gd name="connsiteY5" fmla="*/ 1088061 h 2343906"/>
                  <a:gd name="connsiteX6" fmla="*/ 1404711 w 1442442"/>
                  <a:gd name="connsiteY6" fmla="*/ 1113040 h 2343906"/>
                  <a:gd name="connsiteX7" fmla="*/ 1384779 w 1442442"/>
                  <a:gd name="connsiteY7" fmla="*/ 1176265 h 2343906"/>
                  <a:gd name="connsiteX8" fmla="*/ 1402301 w 1442442"/>
                  <a:gd name="connsiteY8" fmla="*/ 2245934 h 2343906"/>
                  <a:gd name="connsiteX9" fmla="*/ 942716 w 1442442"/>
                  <a:gd name="connsiteY9" fmla="*/ 2255215 h 2343906"/>
                  <a:gd name="connsiteX10" fmla="*/ 803587 w 1442442"/>
                  <a:gd name="connsiteY10" fmla="*/ 2331501 h 2343906"/>
                  <a:gd name="connsiteX11" fmla="*/ 509091 w 1442442"/>
                  <a:gd name="connsiteY11" fmla="*/ 2343906 h 2343906"/>
                  <a:gd name="connsiteX12" fmla="*/ 363379 w 1442442"/>
                  <a:gd name="connsiteY12" fmla="*/ 2246442 h 2343906"/>
                  <a:gd name="connsiteX13" fmla="*/ 107297 w 1442442"/>
                  <a:gd name="connsiteY13" fmla="*/ 1979645 h 2343906"/>
                  <a:gd name="connsiteX14" fmla="*/ 21101 w 1442442"/>
                  <a:gd name="connsiteY14" fmla="*/ 1696340 h 2343906"/>
                  <a:gd name="connsiteX15" fmla="*/ 123 w 1442442"/>
                  <a:gd name="connsiteY15" fmla="*/ 1256667 h 2343906"/>
                  <a:gd name="connsiteX16" fmla="*/ 10599 w 1442442"/>
                  <a:gd name="connsiteY16" fmla="*/ 963759 h 2343906"/>
                  <a:gd name="connsiteX17" fmla="*/ 70330 w 1442442"/>
                  <a:gd name="connsiteY17" fmla="*/ 771256 h 2343906"/>
                  <a:gd name="connsiteX18" fmla="*/ 100019 w 1442442"/>
                  <a:gd name="connsiteY18" fmla="*/ 638448 h 2343906"/>
                  <a:gd name="connsiteX19" fmla="*/ 216812 w 1442442"/>
                  <a:gd name="connsiteY19" fmla="*/ 673362 h 2343906"/>
                  <a:gd name="connsiteX20" fmla="*/ 208996 w 1442442"/>
                  <a:gd name="connsiteY20" fmla="*/ 741486 h 2343906"/>
                  <a:gd name="connsiteX21" fmla="*/ 397557 w 1442442"/>
                  <a:gd name="connsiteY21" fmla="*/ 528040 h 2343906"/>
                  <a:gd name="connsiteX22" fmla="*/ 598879 w 1442442"/>
                  <a:gd name="connsiteY22" fmla="*/ 459944 h 2343906"/>
                  <a:gd name="connsiteX23" fmla="*/ 809560 w 1442442"/>
                  <a:gd name="connsiteY23" fmla="*/ 472456 h 2343906"/>
                  <a:gd name="connsiteX24" fmla="*/ 932572 w 1442442"/>
                  <a:gd name="connsiteY24" fmla="*/ 555256 h 2343906"/>
                  <a:gd name="connsiteX25" fmla="*/ 1031492 w 1442442"/>
                  <a:gd name="connsiteY25" fmla="*/ 639395 h 2343906"/>
                  <a:gd name="connsiteX26" fmla="*/ 1146318 w 1442442"/>
                  <a:gd name="connsiteY26" fmla="*/ 259054 h 2343906"/>
                  <a:gd name="connsiteX27" fmla="*/ 1181345 w 1442442"/>
                  <a:gd name="connsiteY27" fmla="*/ 0 h 2343906"/>
                  <a:gd name="connsiteX28" fmla="*/ 1425090 w 1442442"/>
                  <a:gd name="connsiteY28" fmla="*/ 86489 h 2343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442442" h="2343906">
                    <a:moveTo>
                      <a:pt x="1425090" y="86489"/>
                    </a:moveTo>
                    <a:cubicBezTo>
                      <a:pt x="1400426" y="224912"/>
                      <a:pt x="1383601" y="292796"/>
                      <a:pt x="1358937" y="431219"/>
                    </a:cubicBezTo>
                    <a:cubicBezTo>
                      <a:pt x="1355243" y="582324"/>
                      <a:pt x="1366810" y="760026"/>
                      <a:pt x="1380493" y="869500"/>
                    </a:cubicBezTo>
                    <a:cubicBezTo>
                      <a:pt x="1388626" y="957638"/>
                      <a:pt x="1370907" y="992831"/>
                      <a:pt x="1380493" y="1022493"/>
                    </a:cubicBezTo>
                    <a:cubicBezTo>
                      <a:pt x="1390079" y="1052155"/>
                      <a:pt x="1432459" y="1026136"/>
                      <a:pt x="1438009" y="1047472"/>
                    </a:cubicBezTo>
                    <a:cubicBezTo>
                      <a:pt x="1443559" y="1068808"/>
                      <a:pt x="1443055" y="1069848"/>
                      <a:pt x="1441037" y="1088061"/>
                    </a:cubicBezTo>
                    <a:cubicBezTo>
                      <a:pt x="1439019" y="1106274"/>
                      <a:pt x="1394411" y="1082207"/>
                      <a:pt x="1404711" y="1113040"/>
                    </a:cubicBezTo>
                    <a:cubicBezTo>
                      <a:pt x="1415011" y="1143873"/>
                      <a:pt x="1373072" y="977562"/>
                      <a:pt x="1384779" y="1176265"/>
                    </a:cubicBezTo>
                    <a:lnTo>
                      <a:pt x="1402301" y="2245934"/>
                    </a:lnTo>
                    <a:lnTo>
                      <a:pt x="942716" y="2255215"/>
                    </a:lnTo>
                    <a:lnTo>
                      <a:pt x="803587" y="2331501"/>
                    </a:lnTo>
                    <a:lnTo>
                      <a:pt x="509091" y="2343906"/>
                    </a:lnTo>
                    <a:cubicBezTo>
                      <a:pt x="429669" y="2321924"/>
                      <a:pt x="430345" y="2308713"/>
                      <a:pt x="363379" y="2246442"/>
                    </a:cubicBezTo>
                    <a:cubicBezTo>
                      <a:pt x="296413" y="2184171"/>
                      <a:pt x="162564" y="2063668"/>
                      <a:pt x="107297" y="1979645"/>
                    </a:cubicBezTo>
                    <a:cubicBezTo>
                      <a:pt x="51852" y="1906776"/>
                      <a:pt x="25084" y="1791064"/>
                      <a:pt x="21101" y="1696340"/>
                    </a:cubicBezTo>
                    <a:lnTo>
                      <a:pt x="123" y="1256667"/>
                    </a:lnTo>
                    <a:cubicBezTo>
                      <a:pt x="-1430" y="1160072"/>
                      <a:pt x="12152" y="1060354"/>
                      <a:pt x="10599" y="963759"/>
                    </a:cubicBezTo>
                    <a:lnTo>
                      <a:pt x="70330" y="771256"/>
                    </a:lnTo>
                    <a:lnTo>
                      <a:pt x="100019" y="638448"/>
                    </a:lnTo>
                    <a:lnTo>
                      <a:pt x="216812" y="673362"/>
                    </a:lnTo>
                    <a:lnTo>
                      <a:pt x="208996" y="741486"/>
                    </a:lnTo>
                    <a:lnTo>
                      <a:pt x="397557" y="528040"/>
                    </a:lnTo>
                    <a:cubicBezTo>
                      <a:pt x="469469" y="477029"/>
                      <a:pt x="529993" y="469235"/>
                      <a:pt x="598879" y="459944"/>
                    </a:cubicBezTo>
                    <a:cubicBezTo>
                      <a:pt x="664259" y="454370"/>
                      <a:pt x="717488" y="460792"/>
                      <a:pt x="809560" y="472456"/>
                    </a:cubicBezTo>
                    <a:cubicBezTo>
                      <a:pt x="858947" y="484511"/>
                      <a:pt x="895583" y="527433"/>
                      <a:pt x="932572" y="555256"/>
                    </a:cubicBezTo>
                    <a:cubicBezTo>
                      <a:pt x="969561" y="583079"/>
                      <a:pt x="979075" y="597436"/>
                      <a:pt x="1031492" y="639395"/>
                    </a:cubicBezTo>
                    <a:lnTo>
                      <a:pt x="1146318" y="259054"/>
                    </a:lnTo>
                    <a:lnTo>
                      <a:pt x="1181345" y="0"/>
                    </a:lnTo>
                    <a:lnTo>
                      <a:pt x="1425090" y="86489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de-DE" sz="600" dirty="0">
                  <a:solidFill>
                    <a:sysClr val="windowText" lastClr="000000"/>
                  </a:solidFill>
                </a:endParaRPr>
              </a:p>
            </p:txBody>
          </p:sp>
        </p:grpSp>
        <p:grpSp>
          <p:nvGrpSpPr>
            <p:cNvPr id="51" name="G009/T108">
              <a:extLst>
                <a:ext uri="{FF2B5EF4-FFF2-40B4-BE49-F238E27FC236}">
                  <a16:creationId xmlns:a16="http://schemas.microsoft.com/office/drawing/2014/main" id="{785C2B71-7337-4163-B593-DE604B4485E8}"/>
                </a:ext>
              </a:extLst>
            </p:cNvPr>
            <p:cNvGrpSpPr/>
            <p:nvPr/>
          </p:nvGrpSpPr>
          <p:grpSpPr>
            <a:xfrm>
              <a:off x="4729868" y="5629247"/>
              <a:ext cx="1110577" cy="2163246"/>
              <a:chOff x="1144643" y="661301"/>
              <a:chExt cx="765560" cy="1628304"/>
            </a:xfrm>
            <a:solidFill>
              <a:srgbClr val="FFFF00"/>
            </a:solidFill>
          </p:grpSpPr>
          <p:sp>
            <p:nvSpPr>
              <p:cNvPr id="106" name="T108">
                <a:extLst>
                  <a:ext uri="{FF2B5EF4-FFF2-40B4-BE49-F238E27FC236}">
                    <a16:creationId xmlns:a16="http://schemas.microsoft.com/office/drawing/2014/main" id="{B73E4579-FFB1-4752-9636-7E1B31014FB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144643" y="661301"/>
                <a:ext cx="764319" cy="1628304"/>
              </a:xfrm>
              <a:custGeom>
                <a:avLst/>
                <a:gdLst>
                  <a:gd name="connsiteX0" fmla="*/ 108857 w 533400"/>
                  <a:gd name="connsiteY0" fmla="*/ 2383971 h 2394857"/>
                  <a:gd name="connsiteX1" fmla="*/ 217714 w 533400"/>
                  <a:gd name="connsiteY1" fmla="*/ 2394857 h 2394857"/>
                  <a:gd name="connsiteX2" fmla="*/ 239485 w 533400"/>
                  <a:gd name="connsiteY2" fmla="*/ 2057400 h 2394857"/>
                  <a:gd name="connsiteX3" fmla="*/ 533400 w 533400"/>
                  <a:gd name="connsiteY3" fmla="*/ 1774371 h 2394857"/>
                  <a:gd name="connsiteX4" fmla="*/ 522514 w 533400"/>
                  <a:gd name="connsiteY4" fmla="*/ 631371 h 2394857"/>
                  <a:gd name="connsiteX5" fmla="*/ 250371 w 533400"/>
                  <a:gd name="connsiteY5" fmla="*/ 391885 h 2394857"/>
                  <a:gd name="connsiteX6" fmla="*/ 228600 w 533400"/>
                  <a:gd name="connsiteY6" fmla="*/ 10885 h 2394857"/>
                  <a:gd name="connsiteX7" fmla="*/ 108857 w 533400"/>
                  <a:gd name="connsiteY7" fmla="*/ 0 h 2394857"/>
                  <a:gd name="connsiteX8" fmla="*/ 119742 w 533400"/>
                  <a:gd name="connsiteY8" fmla="*/ 326571 h 2394857"/>
                  <a:gd name="connsiteX9" fmla="*/ 0 w 533400"/>
                  <a:gd name="connsiteY9" fmla="*/ 609600 h 2394857"/>
                  <a:gd name="connsiteX10" fmla="*/ 21771 w 533400"/>
                  <a:gd name="connsiteY10" fmla="*/ 1774371 h 2394857"/>
                  <a:gd name="connsiteX11" fmla="*/ 119742 w 533400"/>
                  <a:gd name="connsiteY11" fmla="*/ 2024743 h 2394857"/>
                  <a:gd name="connsiteX12" fmla="*/ 108857 w 533400"/>
                  <a:gd name="connsiteY12" fmla="*/ 2383971 h 2394857"/>
                  <a:gd name="connsiteX0" fmla="*/ 108857 w 533400"/>
                  <a:gd name="connsiteY0" fmla="*/ 2383971 h 2394857"/>
                  <a:gd name="connsiteX1" fmla="*/ 217714 w 533400"/>
                  <a:gd name="connsiteY1" fmla="*/ 2394857 h 2394857"/>
                  <a:gd name="connsiteX2" fmla="*/ 239485 w 533400"/>
                  <a:gd name="connsiteY2" fmla="*/ 2057400 h 2394857"/>
                  <a:gd name="connsiteX3" fmla="*/ 533400 w 533400"/>
                  <a:gd name="connsiteY3" fmla="*/ 1774371 h 2394857"/>
                  <a:gd name="connsiteX4" fmla="*/ 522514 w 533400"/>
                  <a:gd name="connsiteY4" fmla="*/ 762000 h 2394857"/>
                  <a:gd name="connsiteX5" fmla="*/ 522514 w 533400"/>
                  <a:gd name="connsiteY5" fmla="*/ 631371 h 2394857"/>
                  <a:gd name="connsiteX6" fmla="*/ 250371 w 533400"/>
                  <a:gd name="connsiteY6" fmla="*/ 391885 h 2394857"/>
                  <a:gd name="connsiteX7" fmla="*/ 228600 w 533400"/>
                  <a:gd name="connsiteY7" fmla="*/ 10885 h 2394857"/>
                  <a:gd name="connsiteX8" fmla="*/ 108857 w 533400"/>
                  <a:gd name="connsiteY8" fmla="*/ 0 h 2394857"/>
                  <a:gd name="connsiteX9" fmla="*/ 119742 w 533400"/>
                  <a:gd name="connsiteY9" fmla="*/ 326571 h 2394857"/>
                  <a:gd name="connsiteX10" fmla="*/ 0 w 533400"/>
                  <a:gd name="connsiteY10" fmla="*/ 609600 h 2394857"/>
                  <a:gd name="connsiteX11" fmla="*/ 21771 w 533400"/>
                  <a:gd name="connsiteY11" fmla="*/ 1774371 h 2394857"/>
                  <a:gd name="connsiteX12" fmla="*/ 119742 w 533400"/>
                  <a:gd name="connsiteY12" fmla="*/ 2024743 h 2394857"/>
                  <a:gd name="connsiteX13" fmla="*/ 108857 w 533400"/>
                  <a:gd name="connsiteY13" fmla="*/ 2383971 h 2394857"/>
                  <a:gd name="connsiteX0" fmla="*/ 108857 w 533400"/>
                  <a:gd name="connsiteY0" fmla="*/ 2383971 h 2394857"/>
                  <a:gd name="connsiteX1" fmla="*/ 217714 w 533400"/>
                  <a:gd name="connsiteY1" fmla="*/ 2394857 h 2394857"/>
                  <a:gd name="connsiteX2" fmla="*/ 239485 w 533400"/>
                  <a:gd name="connsiteY2" fmla="*/ 2057400 h 2394857"/>
                  <a:gd name="connsiteX3" fmla="*/ 533400 w 533400"/>
                  <a:gd name="connsiteY3" fmla="*/ 1774371 h 2394857"/>
                  <a:gd name="connsiteX4" fmla="*/ 522514 w 533400"/>
                  <a:gd name="connsiteY4" fmla="*/ 762000 h 2394857"/>
                  <a:gd name="connsiteX5" fmla="*/ 522514 w 533400"/>
                  <a:gd name="connsiteY5" fmla="*/ 631371 h 2394857"/>
                  <a:gd name="connsiteX6" fmla="*/ 402771 w 533400"/>
                  <a:gd name="connsiteY6" fmla="*/ 533400 h 2394857"/>
                  <a:gd name="connsiteX7" fmla="*/ 250371 w 533400"/>
                  <a:gd name="connsiteY7" fmla="*/ 391885 h 2394857"/>
                  <a:gd name="connsiteX8" fmla="*/ 228600 w 533400"/>
                  <a:gd name="connsiteY8" fmla="*/ 10885 h 2394857"/>
                  <a:gd name="connsiteX9" fmla="*/ 108857 w 533400"/>
                  <a:gd name="connsiteY9" fmla="*/ 0 h 2394857"/>
                  <a:gd name="connsiteX10" fmla="*/ 119742 w 533400"/>
                  <a:gd name="connsiteY10" fmla="*/ 326571 h 2394857"/>
                  <a:gd name="connsiteX11" fmla="*/ 0 w 533400"/>
                  <a:gd name="connsiteY11" fmla="*/ 609600 h 2394857"/>
                  <a:gd name="connsiteX12" fmla="*/ 21771 w 533400"/>
                  <a:gd name="connsiteY12" fmla="*/ 1774371 h 2394857"/>
                  <a:gd name="connsiteX13" fmla="*/ 119742 w 533400"/>
                  <a:gd name="connsiteY13" fmla="*/ 2024743 h 2394857"/>
                  <a:gd name="connsiteX14" fmla="*/ 108857 w 533400"/>
                  <a:gd name="connsiteY14" fmla="*/ 2383971 h 2394857"/>
                  <a:gd name="connsiteX0" fmla="*/ 108857 w 533400"/>
                  <a:gd name="connsiteY0" fmla="*/ 2383971 h 2394857"/>
                  <a:gd name="connsiteX1" fmla="*/ 217714 w 533400"/>
                  <a:gd name="connsiteY1" fmla="*/ 2394857 h 2394857"/>
                  <a:gd name="connsiteX2" fmla="*/ 239485 w 533400"/>
                  <a:gd name="connsiteY2" fmla="*/ 2057400 h 2394857"/>
                  <a:gd name="connsiteX3" fmla="*/ 533400 w 533400"/>
                  <a:gd name="connsiteY3" fmla="*/ 1774371 h 2394857"/>
                  <a:gd name="connsiteX4" fmla="*/ 522514 w 533400"/>
                  <a:gd name="connsiteY4" fmla="*/ 762000 h 2394857"/>
                  <a:gd name="connsiteX5" fmla="*/ 478971 w 533400"/>
                  <a:gd name="connsiteY5" fmla="*/ 598714 h 2394857"/>
                  <a:gd name="connsiteX6" fmla="*/ 402771 w 533400"/>
                  <a:gd name="connsiteY6" fmla="*/ 533400 h 2394857"/>
                  <a:gd name="connsiteX7" fmla="*/ 250371 w 533400"/>
                  <a:gd name="connsiteY7" fmla="*/ 391885 h 2394857"/>
                  <a:gd name="connsiteX8" fmla="*/ 228600 w 533400"/>
                  <a:gd name="connsiteY8" fmla="*/ 10885 h 2394857"/>
                  <a:gd name="connsiteX9" fmla="*/ 108857 w 533400"/>
                  <a:gd name="connsiteY9" fmla="*/ 0 h 2394857"/>
                  <a:gd name="connsiteX10" fmla="*/ 119742 w 533400"/>
                  <a:gd name="connsiteY10" fmla="*/ 326571 h 2394857"/>
                  <a:gd name="connsiteX11" fmla="*/ 0 w 533400"/>
                  <a:gd name="connsiteY11" fmla="*/ 609600 h 2394857"/>
                  <a:gd name="connsiteX12" fmla="*/ 21771 w 533400"/>
                  <a:gd name="connsiteY12" fmla="*/ 1774371 h 2394857"/>
                  <a:gd name="connsiteX13" fmla="*/ 119742 w 533400"/>
                  <a:gd name="connsiteY13" fmla="*/ 2024743 h 2394857"/>
                  <a:gd name="connsiteX14" fmla="*/ 108857 w 533400"/>
                  <a:gd name="connsiteY14" fmla="*/ 2383971 h 2394857"/>
                  <a:gd name="connsiteX0" fmla="*/ 108857 w 533400"/>
                  <a:gd name="connsiteY0" fmla="*/ 2383971 h 2394857"/>
                  <a:gd name="connsiteX1" fmla="*/ 217714 w 533400"/>
                  <a:gd name="connsiteY1" fmla="*/ 2394857 h 2394857"/>
                  <a:gd name="connsiteX2" fmla="*/ 239485 w 533400"/>
                  <a:gd name="connsiteY2" fmla="*/ 2057400 h 2394857"/>
                  <a:gd name="connsiteX3" fmla="*/ 533400 w 533400"/>
                  <a:gd name="connsiteY3" fmla="*/ 1774371 h 2394857"/>
                  <a:gd name="connsiteX4" fmla="*/ 522514 w 533400"/>
                  <a:gd name="connsiteY4" fmla="*/ 762000 h 2394857"/>
                  <a:gd name="connsiteX5" fmla="*/ 478971 w 533400"/>
                  <a:gd name="connsiteY5" fmla="*/ 598714 h 2394857"/>
                  <a:gd name="connsiteX6" fmla="*/ 370114 w 533400"/>
                  <a:gd name="connsiteY6" fmla="*/ 500743 h 2394857"/>
                  <a:gd name="connsiteX7" fmla="*/ 250371 w 533400"/>
                  <a:gd name="connsiteY7" fmla="*/ 391885 h 2394857"/>
                  <a:gd name="connsiteX8" fmla="*/ 228600 w 533400"/>
                  <a:gd name="connsiteY8" fmla="*/ 10885 h 2394857"/>
                  <a:gd name="connsiteX9" fmla="*/ 108857 w 533400"/>
                  <a:gd name="connsiteY9" fmla="*/ 0 h 2394857"/>
                  <a:gd name="connsiteX10" fmla="*/ 119742 w 533400"/>
                  <a:gd name="connsiteY10" fmla="*/ 326571 h 2394857"/>
                  <a:gd name="connsiteX11" fmla="*/ 0 w 533400"/>
                  <a:gd name="connsiteY11" fmla="*/ 609600 h 2394857"/>
                  <a:gd name="connsiteX12" fmla="*/ 21771 w 533400"/>
                  <a:gd name="connsiteY12" fmla="*/ 1774371 h 2394857"/>
                  <a:gd name="connsiteX13" fmla="*/ 119742 w 533400"/>
                  <a:gd name="connsiteY13" fmla="*/ 2024743 h 2394857"/>
                  <a:gd name="connsiteX14" fmla="*/ 108857 w 533400"/>
                  <a:gd name="connsiteY14" fmla="*/ 2383971 h 2394857"/>
                  <a:gd name="connsiteX0" fmla="*/ 108857 w 533400"/>
                  <a:gd name="connsiteY0" fmla="*/ 2383971 h 2394857"/>
                  <a:gd name="connsiteX1" fmla="*/ 217714 w 533400"/>
                  <a:gd name="connsiteY1" fmla="*/ 2394857 h 2394857"/>
                  <a:gd name="connsiteX2" fmla="*/ 239485 w 533400"/>
                  <a:gd name="connsiteY2" fmla="*/ 2057400 h 2394857"/>
                  <a:gd name="connsiteX3" fmla="*/ 533400 w 533400"/>
                  <a:gd name="connsiteY3" fmla="*/ 1774371 h 2394857"/>
                  <a:gd name="connsiteX4" fmla="*/ 522514 w 533400"/>
                  <a:gd name="connsiteY4" fmla="*/ 762000 h 2394857"/>
                  <a:gd name="connsiteX5" fmla="*/ 478971 w 533400"/>
                  <a:gd name="connsiteY5" fmla="*/ 598714 h 2394857"/>
                  <a:gd name="connsiteX6" fmla="*/ 370114 w 533400"/>
                  <a:gd name="connsiteY6" fmla="*/ 500743 h 2394857"/>
                  <a:gd name="connsiteX7" fmla="*/ 239485 w 533400"/>
                  <a:gd name="connsiteY7" fmla="*/ 348342 h 2394857"/>
                  <a:gd name="connsiteX8" fmla="*/ 228600 w 533400"/>
                  <a:gd name="connsiteY8" fmla="*/ 10885 h 2394857"/>
                  <a:gd name="connsiteX9" fmla="*/ 108857 w 533400"/>
                  <a:gd name="connsiteY9" fmla="*/ 0 h 2394857"/>
                  <a:gd name="connsiteX10" fmla="*/ 119742 w 533400"/>
                  <a:gd name="connsiteY10" fmla="*/ 326571 h 2394857"/>
                  <a:gd name="connsiteX11" fmla="*/ 0 w 533400"/>
                  <a:gd name="connsiteY11" fmla="*/ 609600 h 2394857"/>
                  <a:gd name="connsiteX12" fmla="*/ 21771 w 533400"/>
                  <a:gd name="connsiteY12" fmla="*/ 1774371 h 2394857"/>
                  <a:gd name="connsiteX13" fmla="*/ 119742 w 533400"/>
                  <a:gd name="connsiteY13" fmla="*/ 2024743 h 2394857"/>
                  <a:gd name="connsiteX14" fmla="*/ 108857 w 533400"/>
                  <a:gd name="connsiteY14" fmla="*/ 2383971 h 2394857"/>
                  <a:gd name="connsiteX0" fmla="*/ 108857 w 533400"/>
                  <a:gd name="connsiteY0" fmla="*/ 2383971 h 2394857"/>
                  <a:gd name="connsiteX1" fmla="*/ 217714 w 533400"/>
                  <a:gd name="connsiteY1" fmla="*/ 2394857 h 2394857"/>
                  <a:gd name="connsiteX2" fmla="*/ 239485 w 533400"/>
                  <a:gd name="connsiteY2" fmla="*/ 2057400 h 2394857"/>
                  <a:gd name="connsiteX3" fmla="*/ 533400 w 533400"/>
                  <a:gd name="connsiteY3" fmla="*/ 1774371 h 2394857"/>
                  <a:gd name="connsiteX4" fmla="*/ 522514 w 533400"/>
                  <a:gd name="connsiteY4" fmla="*/ 762000 h 2394857"/>
                  <a:gd name="connsiteX5" fmla="*/ 522514 w 533400"/>
                  <a:gd name="connsiteY5" fmla="*/ 609600 h 2394857"/>
                  <a:gd name="connsiteX6" fmla="*/ 370114 w 533400"/>
                  <a:gd name="connsiteY6" fmla="*/ 500743 h 2394857"/>
                  <a:gd name="connsiteX7" fmla="*/ 239485 w 533400"/>
                  <a:gd name="connsiteY7" fmla="*/ 348342 h 2394857"/>
                  <a:gd name="connsiteX8" fmla="*/ 228600 w 533400"/>
                  <a:gd name="connsiteY8" fmla="*/ 10885 h 2394857"/>
                  <a:gd name="connsiteX9" fmla="*/ 108857 w 533400"/>
                  <a:gd name="connsiteY9" fmla="*/ 0 h 2394857"/>
                  <a:gd name="connsiteX10" fmla="*/ 119742 w 533400"/>
                  <a:gd name="connsiteY10" fmla="*/ 326571 h 2394857"/>
                  <a:gd name="connsiteX11" fmla="*/ 0 w 533400"/>
                  <a:gd name="connsiteY11" fmla="*/ 609600 h 2394857"/>
                  <a:gd name="connsiteX12" fmla="*/ 21771 w 533400"/>
                  <a:gd name="connsiteY12" fmla="*/ 1774371 h 2394857"/>
                  <a:gd name="connsiteX13" fmla="*/ 119742 w 533400"/>
                  <a:gd name="connsiteY13" fmla="*/ 2024743 h 2394857"/>
                  <a:gd name="connsiteX14" fmla="*/ 108857 w 533400"/>
                  <a:gd name="connsiteY14" fmla="*/ 2383971 h 2394857"/>
                  <a:gd name="connsiteX0" fmla="*/ 108857 w 533400"/>
                  <a:gd name="connsiteY0" fmla="*/ 2383971 h 2394857"/>
                  <a:gd name="connsiteX1" fmla="*/ 217714 w 533400"/>
                  <a:gd name="connsiteY1" fmla="*/ 2394857 h 2394857"/>
                  <a:gd name="connsiteX2" fmla="*/ 239485 w 533400"/>
                  <a:gd name="connsiteY2" fmla="*/ 2057400 h 2394857"/>
                  <a:gd name="connsiteX3" fmla="*/ 533400 w 533400"/>
                  <a:gd name="connsiteY3" fmla="*/ 1774371 h 2394857"/>
                  <a:gd name="connsiteX4" fmla="*/ 522514 w 533400"/>
                  <a:gd name="connsiteY4" fmla="*/ 762000 h 2394857"/>
                  <a:gd name="connsiteX5" fmla="*/ 522514 w 533400"/>
                  <a:gd name="connsiteY5" fmla="*/ 609600 h 2394857"/>
                  <a:gd name="connsiteX6" fmla="*/ 370114 w 533400"/>
                  <a:gd name="connsiteY6" fmla="*/ 500743 h 2394857"/>
                  <a:gd name="connsiteX7" fmla="*/ 250371 w 533400"/>
                  <a:gd name="connsiteY7" fmla="*/ 293914 h 2394857"/>
                  <a:gd name="connsiteX8" fmla="*/ 228600 w 533400"/>
                  <a:gd name="connsiteY8" fmla="*/ 10885 h 2394857"/>
                  <a:gd name="connsiteX9" fmla="*/ 108857 w 533400"/>
                  <a:gd name="connsiteY9" fmla="*/ 0 h 2394857"/>
                  <a:gd name="connsiteX10" fmla="*/ 119742 w 533400"/>
                  <a:gd name="connsiteY10" fmla="*/ 326571 h 2394857"/>
                  <a:gd name="connsiteX11" fmla="*/ 0 w 533400"/>
                  <a:gd name="connsiteY11" fmla="*/ 609600 h 2394857"/>
                  <a:gd name="connsiteX12" fmla="*/ 21771 w 533400"/>
                  <a:gd name="connsiteY12" fmla="*/ 1774371 h 2394857"/>
                  <a:gd name="connsiteX13" fmla="*/ 119742 w 533400"/>
                  <a:gd name="connsiteY13" fmla="*/ 2024743 h 2394857"/>
                  <a:gd name="connsiteX14" fmla="*/ 108857 w 533400"/>
                  <a:gd name="connsiteY14" fmla="*/ 2383971 h 2394857"/>
                  <a:gd name="connsiteX0" fmla="*/ 108857 w 533400"/>
                  <a:gd name="connsiteY0" fmla="*/ 2383971 h 2394857"/>
                  <a:gd name="connsiteX1" fmla="*/ 217714 w 533400"/>
                  <a:gd name="connsiteY1" fmla="*/ 2394857 h 2394857"/>
                  <a:gd name="connsiteX2" fmla="*/ 239485 w 533400"/>
                  <a:gd name="connsiteY2" fmla="*/ 2057400 h 2394857"/>
                  <a:gd name="connsiteX3" fmla="*/ 533400 w 533400"/>
                  <a:gd name="connsiteY3" fmla="*/ 1774371 h 2394857"/>
                  <a:gd name="connsiteX4" fmla="*/ 522514 w 533400"/>
                  <a:gd name="connsiteY4" fmla="*/ 762000 h 2394857"/>
                  <a:gd name="connsiteX5" fmla="*/ 522514 w 533400"/>
                  <a:gd name="connsiteY5" fmla="*/ 609600 h 2394857"/>
                  <a:gd name="connsiteX6" fmla="*/ 370114 w 533400"/>
                  <a:gd name="connsiteY6" fmla="*/ 500743 h 2394857"/>
                  <a:gd name="connsiteX7" fmla="*/ 250371 w 533400"/>
                  <a:gd name="connsiteY7" fmla="*/ 337457 h 2394857"/>
                  <a:gd name="connsiteX8" fmla="*/ 228600 w 533400"/>
                  <a:gd name="connsiteY8" fmla="*/ 10885 h 2394857"/>
                  <a:gd name="connsiteX9" fmla="*/ 108857 w 533400"/>
                  <a:gd name="connsiteY9" fmla="*/ 0 h 2394857"/>
                  <a:gd name="connsiteX10" fmla="*/ 119742 w 533400"/>
                  <a:gd name="connsiteY10" fmla="*/ 326571 h 2394857"/>
                  <a:gd name="connsiteX11" fmla="*/ 0 w 533400"/>
                  <a:gd name="connsiteY11" fmla="*/ 609600 h 2394857"/>
                  <a:gd name="connsiteX12" fmla="*/ 21771 w 533400"/>
                  <a:gd name="connsiteY12" fmla="*/ 1774371 h 2394857"/>
                  <a:gd name="connsiteX13" fmla="*/ 119742 w 533400"/>
                  <a:gd name="connsiteY13" fmla="*/ 2024743 h 2394857"/>
                  <a:gd name="connsiteX14" fmla="*/ 108857 w 533400"/>
                  <a:gd name="connsiteY14" fmla="*/ 2383971 h 2394857"/>
                  <a:gd name="connsiteX0" fmla="*/ 108857 w 533400"/>
                  <a:gd name="connsiteY0" fmla="*/ 2383971 h 2394857"/>
                  <a:gd name="connsiteX1" fmla="*/ 217714 w 533400"/>
                  <a:gd name="connsiteY1" fmla="*/ 2394857 h 2394857"/>
                  <a:gd name="connsiteX2" fmla="*/ 239485 w 533400"/>
                  <a:gd name="connsiteY2" fmla="*/ 2057400 h 2394857"/>
                  <a:gd name="connsiteX3" fmla="*/ 533400 w 533400"/>
                  <a:gd name="connsiteY3" fmla="*/ 1774371 h 2394857"/>
                  <a:gd name="connsiteX4" fmla="*/ 522514 w 533400"/>
                  <a:gd name="connsiteY4" fmla="*/ 762000 h 2394857"/>
                  <a:gd name="connsiteX5" fmla="*/ 522514 w 533400"/>
                  <a:gd name="connsiteY5" fmla="*/ 609600 h 2394857"/>
                  <a:gd name="connsiteX6" fmla="*/ 424543 w 533400"/>
                  <a:gd name="connsiteY6" fmla="*/ 457200 h 2394857"/>
                  <a:gd name="connsiteX7" fmla="*/ 250371 w 533400"/>
                  <a:gd name="connsiteY7" fmla="*/ 337457 h 2394857"/>
                  <a:gd name="connsiteX8" fmla="*/ 228600 w 533400"/>
                  <a:gd name="connsiteY8" fmla="*/ 10885 h 2394857"/>
                  <a:gd name="connsiteX9" fmla="*/ 108857 w 533400"/>
                  <a:gd name="connsiteY9" fmla="*/ 0 h 2394857"/>
                  <a:gd name="connsiteX10" fmla="*/ 119742 w 533400"/>
                  <a:gd name="connsiteY10" fmla="*/ 326571 h 2394857"/>
                  <a:gd name="connsiteX11" fmla="*/ 0 w 533400"/>
                  <a:gd name="connsiteY11" fmla="*/ 609600 h 2394857"/>
                  <a:gd name="connsiteX12" fmla="*/ 21771 w 533400"/>
                  <a:gd name="connsiteY12" fmla="*/ 1774371 h 2394857"/>
                  <a:gd name="connsiteX13" fmla="*/ 119742 w 533400"/>
                  <a:gd name="connsiteY13" fmla="*/ 2024743 h 2394857"/>
                  <a:gd name="connsiteX14" fmla="*/ 108857 w 533400"/>
                  <a:gd name="connsiteY14" fmla="*/ 2383971 h 2394857"/>
                  <a:gd name="connsiteX0" fmla="*/ 108857 w 533400"/>
                  <a:gd name="connsiteY0" fmla="*/ 2383971 h 2394857"/>
                  <a:gd name="connsiteX1" fmla="*/ 217714 w 533400"/>
                  <a:gd name="connsiteY1" fmla="*/ 2394857 h 2394857"/>
                  <a:gd name="connsiteX2" fmla="*/ 239485 w 533400"/>
                  <a:gd name="connsiteY2" fmla="*/ 2057400 h 2394857"/>
                  <a:gd name="connsiteX3" fmla="*/ 533400 w 533400"/>
                  <a:gd name="connsiteY3" fmla="*/ 1774371 h 2394857"/>
                  <a:gd name="connsiteX4" fmla="*/ 522514 w 533400"/>
                  <a:gd name="connsiteY4" fmla="*/ 762000 h 2394857"/>
                  <a:gd name="connsiteX5" fmla="*/ 522514 w 533400"/>
                  <a:gd name="connsiteY5" fmla="*/ 609600 h 2394857"/>
                  <a:gd name="connsiteX6" fmla="*/ 391886 w 533400"/>
                  <a:gd name="connsiteY6" fmla="*/ 489857 h 2394857"/>
                  <a:gd name="connsiteX7" fmla="*/ 250371 w 533400"/>
                  <a:gd name="connsiteY7" fmla="*/ 337457 h 2394857"/>
                  <a:gd name="connsiteX8" fmla="*/ 228600 w 533400"/>
                  <a:gd name="connsiteY8" fmla="*/ 10885 h 2394857"/>
                  <a:gd name="connsiteX9" fmla="*/ 108857 w 533400"/>
                  <a:gd name="connsiteY9" fmla="*/ 0 h 2394857"/>
                  <a:gd name="connsiteX10" fmla="*/ 119742 w 533400"/>
                  <a:gd name="connsiteY10" fmla="*/ 326571 h 2394857"/>
                  <a:gd name="connsiteX11" fmla="*/ 0 w 533400"/>
                  <a:gd name="connsiteY11" fmla="*/ 609600 h 2394857"/>
                  <a:gd name="connsiteX12" fmla="*/ 21771 w 533400"/>
                  <a:gd name="connsiteY12" fmla="*/ 1774371 h 2394857"/>
                  <a:gd name="connsiteX13" fmla="*/ 119742 w 533400"/>
                  <a:gd name="connsiteY13" fmla="*/ 2024743 h 2394857"/>
                  <a:gd name="connsiteX14" fmla="*/ 108857 w 533400"/>
                  <a:gd name="connsiteY14" fmla="*/ 2383971 h 2394857"/>
                  <a:gd name="connsiteX0" fmla="*/ 108857 w 533400"/>
                  <a:gd name="connsiteY0" fmla="*/ 2383971 h 2394857"/>
                  <a:gd name="connsiteX1" fmla="*/ 217714 w 533400"/>
                  <a:gd name="connsiteY1" fmla="*/ 2394857 h 2394857"/>
                  <a:gd name="connsiteX2" fmla="*/ 239485 w 533400"/>
                  <a:gd name="connsiteY2" fmla="*/ 2057400 h 2394857"/>
                  <a:gd name="connsiteX3" fmla="*/ 391885 w 533400"/>
                  <a:gd name="connsiteY3" fmla="*/ 1926771 h 2394857"/>
                  <a:gd name="connsiteX4" fmla="*/ 533400 w 533400"/>
                  <a:gd name="connsiteY4" fmla="*/ 1774371 h 2394857"/>
                  <a:gd name="connsiteX5" fmla="*/ 522514 w 533400"/>
                  <a:gd name="connsiteY5" fmla="*/ 762000 h 2394857"/>
                  <a:gd name="connsiteX6" fmla="*/ 522514 w 533400"/>
                  <a:gd name="connsiteY6" fmla="*/ 609600 h 2394857"/>
                  <a:gd name="connsiteX7" fmla="*/ 391886 w 533400"/>
                  <a:gd name="connsiteY7" fmla="*/ 489857 h 2394857"/>
                  <a:gd name="connsiteX8" fmla="*/ 250371 w 533400"/>
                  <a:gd name="connsiteY8" fmla="*/ 337457 h 2394857"/>
                  <a:gd name="connsiteX9" fmla="*/ 228600 w 533400"/>
                  <a:gd name="connsiteY9" fmla="*/ 10885 h 2394857"/>
                  <a:gd name="connsiteX10" fmla="*/ 108857 w 533400"/>
                  <a:gd name="connsiteY10" fmla="*/ 0 h 2394857"/>
                  <a:gd name="connsiteX11" fmla="*/ 119742 w 533400"/>
                  <a:gd name="connsiteY11" fmla="*/ 326571 h 2394857"/>
                  <a:gd name="connsiteX12" fmla="*/ 0 w 533400"/>
                  <a:gd name="connsiteY12" fmla="*/ 609600 h 2394857"/>
                  <a:gd name="connsiteX13" fmla="*/ 21771 w 533400"/>
                  <a:gd name="connsiteY13" fmla="*/ 1774371 h 2394857"/>
                  <a:gd name="connsiteX14" fmla="*/ 119742 w 533400"/>
                  <a:gd name="connsiteY14" fmla="*/ 2024743 h 2394857"/>
                  <a:gd name="connsiteX15" fmla="*/ 108857 w 533400"/>
                  <a:gd name="connsiteY15" fmla="*/ 2383971 h 2394857"/>
                  <a:gd name="connsiteX0" fmla="*/ 108857 w 533400"/>
                  <a:gd name="connsiteY0" fmla="*/ 2383971 h 2394857"/>
                  <a:gd name="connsiteX1" fmla="*/ 217714 w 533400"/>
                  <a:gd name="connsiteY1" fmla="*/ 2394857 h 2394857"/>
                  <a:gd name="connsiteX2" fmla="*/ 228600 w 533400"/>
                  <a:gd name="connsiteY2" fmla="*/ 2188028 h 2394857"/>
                  <a:gd name="connsiteX3" fmla="*/ 239485 w 533400"/>
                  <a:gd name="connsiteY3" fmla="*/ 2057400 h 2394857"/>
                  <a:gd name="connsiteX4" fmla="*/ 391885 w 533400"/>
                  <a:gd name="connsiteY4" fmla="*/ 1926771 h 2394857"/>
                  <a:gd name="connsiteX5" fmla="*/ 533400 w 533400"/>
                  <a:gd name="connsiteY5" fmla="*/ 1774371 h 2394857"/>
                  <a:gd name="connsiteX6" fmla="*/ 522514 w 533400"/>
                  <a:gd name="connsiteY6" fmla="*/ 762000 h 2394857"/>
                  <a:gd name="connsiteX7" fmla="*/ 522514 w 533400"/>
                  <a:gd name="connsiteY7" fmla="*/ 609600 h 2394857"/>
                  <a:gd name="connsiteX8" fmla="*/ 391886 w 533400"/>
                  <a:gd name="connsiteY8" fmla="*/ 489857 h 2394857"/>
                  <a:gd name="connsiteX9" fmla="*/ 250371 w 533400"/>
                  <a:gd name="connsiteY9" fmla="*/ 337457 h 2394857"/>
                  <a:gd name="connsiteX10" fmla="*/ 228600 w 533400"/>
                  <a:gd name="connsiteY10" fmla="*/ 10885 h 2394857"/>
                  <a:gd name="connsiteX11" fmla="*/ 108857 w 533400"/>
                  <a:gd name="connsiteY11" fmla="*/ 0 h 2394857"/>
                  <a:gd name="connsiteX12" fmla="*/ 119742 w 533400"/>
                  <a:gd name="connsiteY12" fmla="*/ 326571 h 2394857"/>
                  <a:gd name="connsiteX13" fmla="*/ 0 w 533400"/>
                  <a:gd name="connsiteY13" fmla="*/ 609600 h 2394857"/>
                  <a:gd name="connsiteX14" fmla="*/ 21771 w 533400"/>
                  <a:gd name="connsiteY14" fmla="*/ 1774371 h 2394857"/>
                  <a:gd name="connsiteX15" fmla="*/ 119742 w 533400"/>
                  <a:gd name="connsiteY15" fmla="*/ 2024743 h 2394857"/>
                  <a:gd name="connsiteX16" fmla="*/ 108857 w 533400"/>
                  <a:gd name="connsiteY16" fmla="*/ 2383971 h 2394857"/>
                  <a:gd name="connsiteX0" fmla="*/ 108857 w 533400"/>
                  <a:gd name="connsiteY0" fmla="*/ 2383971 h 2394857"/>
                  <a:gd name="connsiteX1" fmla="*/ 217714 w 533400"/>
                  <a:gd name="connsiteY1" fmla="*/ 2394857 h 2394857"/>
                  <a:gd name="connsiteX2" fmla="*/ 228600 w 533400"/>
                  <a:gd name="connsiteY2" fmla="*/ 2188028 h 2394857"/>
                  <a:gd name="connsiteX3" fmla="*/ 239485 w 533400"/>
                  <a:gd name="connsiteY3" fmla="*/ 2057400 h 2394857"/>
                  <a:gd name="connsiteX4" fmla="*/ 424542 w 533400"/>
                  <a:gd name="connsiteY4" fmla="*/ 1894114 h 2394857"/>
                  <a:gd name="connsiteX5" fmla="*/ 533400 w 533400"/>
                  <a:gd name="connsiteY5" fmla="*/ 1774371 h 2394857"/>
                  <a:gd name="connsiteX6" fmla="*/ 522514 w 533400"/>
                  <a:gd name="connsiteY6" fmla="*/ 762000 h 2394857"/>
                  <a:gd name="connsiteX7" fmla="*/ 522514 w 533400"/>
                  <a:gd name="connsiteY7" fmla="*/ 609600 h 2394857"/>
                  <a:gd name="connsiteX8" fmla="*/ 391886 w 533400"/>
                  <a:gd name="connsiteY8" fmla="*/ 489857 h 2394857"/>
                  <a:gd name="connsiteX9" fmla="*/ 250371 w 533400"/>
                  <a:gd name="connsiteY9" fmla="*/ 337457 h 2394857"/>
                  <a:gd name="connsiteX10" fmla="*/ 228600 w 533400"/>
                  <a:gd name="connsiteY10" fmla="*/ 10885 h 2394857"/>
                  <a:gd name="connsiteX11" fmla="*/ 108857 w 533400"/>
                  <a:gd name="connsiteY11" fmla="*/ 0 h 2394857"/>
                  <a:gd name="connsiteX12" fmla="*/ 119742 w 533400"/>
                  <a:gd name="connsiteY12" fmla="*/ 326571 h 2394857"/>
                  <a:gd name="connsiteX13" fmla="*/ 0 w 533400"/>
                  <a:gd name="connsiteY13" fmla="*/ 609600 h 2394857"/>
                  <a:gd name="connsiteX14" fmla="*/ 21771 w 533400"/>
                  <a:gd name="connsiteY14" fmla="*/ 1774371 h 2394857"/>
                  <a:gd name="connsiteX15" fmla="*/ 119742 w 533400"/>
                  <a:gd name="connsiteY15" fmla="*/ 2024743 h 2394857"/>
                  <a:gd name="connsiteX16" fmla="*/ 108857 w 533400"/>
                  <a:gd name="connsiteY16" fmla="*/ 2383971 h 2394857"/>
                  <a:gd name="connsiteX0" fmla="*/ 108857 w 533400"/>
                  <a:gd name="connsiteY0" fmla="*/ 2383971 h 2383971"/>
                  <a:gd name="connsiteX1" fmla="*/ 250371 w 533400"/>
                  <a:gd name="connsiteY1" fmla="*/ 2383971 h 2383971"/>
                  <a:gd name="connsiteX2" fmla="*/ 228600 w 533400"/>
                  <a:gd name="connsiteY2" fmla="*/ 2188028 h 2383971"/>
                  <a:gd name="connsiteX3" fmla="*/ 239485 w 533400"/>
                  <a:gd name="connsiteY3" fmla="*/ 2057400 h 2383971"/>
                  <a:gd name="connsiteX4" fmla="*/ 424542 w 533400"/>
                  <a:gd name="connsiteY4" fmla="*/ 1894114 h 2383971"/>
                  <a:gd name="connsiteX5" fmla="*/ 533400 w 533400"/>
                  <a:gd name="connsiteY5" fmla="*/ 1774371 h 2383971"/>
                  <a:gd name="connsiteX6" fmla="*/ 522514 w 533400"/>
                  <a:gd name="connsiteY6" fmla="*/ 762000 h 2383971"/>
                  <a:gd name="connsiteX7" fmla="*/ 522514 w 533400"/>
                  <a:gd name="connsiteY7" fmla="*/ 609600 h 2383971"/>
                  <a:gd name="connsiteX8" fmla="*/ 391886 w 533400"/>
                  <a:gd name="connsiteY8" fmla="*/ 489857 h 2383971"/>
                  <a:gd name="connsiteX9" fmla="*/ 250371 w 533400"/>
                  <a:gd name="connsiteY9" fmla="*/ 337457 h 2383971"/>
                  <a:gd name="connsiteX10" fmla="*/ 228600 w 533400"/>
                  <a:gd name="connsiteY10" fmla="*/ 10885 h 2383971"/>
                  <a:gd name="connsiteX11" fmla="*/ 108857 w 533400"/>
                  <a:gd name="connsiteY11" fmla="*/ 0 h 2383971"/>
                  <a:gd name="connsiteX12" fmla="*/ 119742 w 533400"/>
                  <a:gd name="connsiteY12" fmla="*/ 326571 h 2383971"/>
                  <a:gd name="connsiteX13" fmla="*/ 0 w 533400"/>
                  <a:gd name="connsiteY13" fmla="*/ 609600 h 2383971"/>
                  <a:gd name="connsiteX14" fmla="*/ 21771 w 533400"/>
                  <a:gd name="connsiteY14" fmla="*/ 1774371 h 2383971"/>
                  <a:gd name="connsiteX15" fmla="*/ 119742 w 533400"/>
                  <a:gd name="connsiteY15" fmla="*/ 2024743 h 2383971"/>
                  <a:gd name="connsiteX16" fmla="*/ 108857 w 533400"/>
                  <a:gd name="connsiteY16" fmla="*/ 2383971 h 2383971"/>
                  <a:gd name="connsiteX0" fmla="*/ 108857 w 533400"/>
                  <a:gd name="connsiteY0" fmla="*/ 2383971 h 2383971"/>
                  <a:gd name="connsiteX1" fmla="*/ 250371 w 533400"/>
                  <a:gd name="connsiteY1" fmla="*/ 2383971 h 2383971"/>
                  <a:gd name="connsiteX2" fmla="*/ 228600 w 533400"/>
                  <a:gd name="connsiteY2" fmla="*/ 2188028 h 2383971"/>
                  <a:gd name="connsiteX3" fmla="*/ 293914 w 533400"/>
                  <a:gd name="connsiteY3" fmla="*/ 2035629 h 2383971"/>
                  <a:gd name="connsiteX4" fmla="*/ 424542 w 533400"/>
                  <a:gd name="connsiteY4" fmla="*/ 1894114 h 2383971"/>
                  <a:gd name="connsiteX5" fmla="*/ 533400 w 533400"/>
                  <a:gd name="connsiteY5" fmla="*/ 1774371 h 2383971"/>
                  <a:gd name="connsiteX6" fmla="*/ 522514 w 533400"/>
                  <a:gd name="connsiteY6" fmla="*/ 762000 h 2383971"/>
                  <a:gd name="connsiteX7" fmla="*/ 522514 w 533400"/>
                  <a:gd name="connsiteY7" fmla="*/ 609600 h 2383971"/>
                  <a:gd name="connsiteX8" fmla="*/ 391886 w 533400"/>
                  <a:gd name="connsiteY8" fmla="*/ 489857 h 2383971"/>
                  <a:gd name="connsiteX9" fmla="*/ 250371 w 533400"/>
                  <a:gd name="connsiteY9" fmla="*/ 337457 h 2383971"/>
                  <a:gd name="connsiteX10" fmla="*/ 228600 w 533400"/>
                  <a:gd name="connsiteY10" fmla="*/ 10885 h 2383971"/>
                  <a:gd name="connsiteX11" fmla="*/ 108857 w 533400"/>
                  <a:gd name="connsiteY11" fmla="*/ 0 h 2383971"/>
                  <a:gd name="connsiteX12" fmla="*/ 119742 w 533400"/>
                  <a:gd name="connsiteY12" fmla="*/ 326571 h 2383971"/>
                  <a:gd name="connsiteX13" fmla="*/ 0 w 533400"/>
                  <a:gd name="connsiteY13" fmla="*/ 609600 h 2383971"/>
                  <a:gd name="connsiteX14" fmla="*/ 21771 w 533400"/>
                  <a:gd name="connsiteY14" fmla="*/ 1774371 h 2383971"/>
                  <a:gd name="connsiteX15" fmla="*/ 119742 w 533400"/>
                  <a:gd name="connsiteY15" fmla="*/ 2024743 h 2383971"/>
                  <a:gd name="connsiteX16" fmla="*/ 108857 w 533400"/>
                  <a:gd name="connsiteY16" fmla="*/ 2383971 h 2383971"/>
                  <a:gd name="connsiteX0" fmla="*/ 108857 w 533400"/>
                  <a:gd name="connsiteY0" fmla="*/ 2383971 h 2383971"/>
                  <a:gd name="connsiteX1" fmla="*/ 250371 w 533400"/>
                  <a:gd name="connsiteY1" fmla="*/ 2383971 h 2383971"/>
                  <a:gd name="connsiteX2" fmla="*/ 272143 w 533400"/>
                  <a:gd name="connsiteY2" fmla="*/ 2166257 h 2383971"/>
                  <a:gd name="connsiteX3" fmla="*/ 293914 w 533400"/>
                  <a:gd name="connsiteY3" fmla="*/ 2035629 h 2383971"/>
                  <a:gd name="connsiteX4" fmla="*/ 424542 w 533400"/>
                  <a:gd name="connsiteY4" fmla="*/ 1894114 h 2383971"/>
                  <a:gd name="connsiteX5" fmla="*/ 533400 w 533400"/>
                  <a:gd name="connsiteY5" fmla="*/ 1774371 h 2383971"/>
                  <a:gd name="connsiteX6" fmla="*/ 522514 w 533400"/>
                  <a:gd name="connsiteY6" fmla="*/ 762000 h 2383971"/>
                  <a:gd name="connsiteX7" fmla="*/ 522514 w 533400"/>
                  <a:gd name="connsiteY7" fmla="*/ 609600 h 2383971"/>
                  <a:gd name="connsiteX8" fmla="*/ 391886 w 533400"/>
                  <a:gd name="connsiteY8" fmla="*/ 489857 h 2383971"/>
                  <a:gd name="connsiteX9" fmla="*/ 250371 w 533400"/>
                  <a:gd name="connsiteY9" fmla="*/ 337457 h 2383971"/>
                  <a:gd name="connsiteX10" fmla="*/ 228600 w 533400"/>
                  <a:gd name="connsiteY10" fmla="*/ 10885 h 2383971"/>
                  <a:gd name="connsiteX11" fmla="*/ 108857 w 533400"/>
                  <a:gd name="connsiteY11" fmla="*/ 0 h 2383971"/>
                  <a:gd name="connsiteX12" fmla="*/ 119742 w 533400"/>
                  <a:gd name="connsiteY12" fmla="*/ 326571 h 2383971"/>
                  <a:gd name="connsiteX13" fmla="*/ 0 w 533400"/>
                  <a:gd name="connsiteY13" fmla="*/ 609600 h 2383971"/>
                  <a:gd name="connsiteX14" fmla="*/ 21771 w 533400"/>
                  <a:gd name="connsiteY14" fmla="*/ 1774371 h 2383971"/>
                  <a:gd name="connsiteX15" fmla="*/ 119742 w 533400"/>
                  <a:gd name="connsiteY15" fmla="*/ 2024743 h 2383971"/>
                  <a:gd name="connsiteX16" fmla="*/ 108857 w 533400"/>
                  <a:gd name="connsiteY16" fmla="*/ 2383971 h 2383971"/>
                  <a:gd name="connsiteX0" fmla="*/ 108857 w 533400"/>
                  <a:gd name="connsiteY0" fmla="*/ 2383971 h 2383971"/>
                  <a:gd name="connsiteX1" fmla="*/ 250371 w 533400"/>
                  <a:gd name="connsiteY1" fmla="*/ 2383971 h 2383971"/>
                  <a:gd name="connsiteX2" fmla="*/ 239486 w 533400"/>
                  <a:gd name="connsiteY2" fmla="*/ 2166257 h 2383971"/>
                  <a:gd name="connsiteX3" fmla="*/ 293914 w 533400"/>
                  <a:gd name="connsiteY3" fmla="*/ 2035629 h 2383971"/>
                  <a:gd name="connsiteX4" fmla="*/ 424542 w 533400"/>
                  <a:gd name="connsiteY4" fmla="*/ 1894114 h 2383971"/>
                  <a:gd name="connsiteX5" fmla="*/ 533400 w 533400"/>
                  <a:gd name="connsiteY5" fmla="*/ 1774371 h 2383971"/>
                  <a:gd name="connsiteX6" fmla="*/ 522514 w 533400"/>
                  <a:gd name="connsiteY6" fmla="*/ 762000 h 2383971"/>
                  <a:gd name="connsiteX7" fmla="*/ 522514 w 533400"/>
                  <a:gd name="connsiteY7" fmla="*/ 609600 h 2383971"/>
                  <a:gd name="connsiteX8" fmla="*/ 391886 w 533400"/>
                  <a:gd name="connsiteY8" fmla="*/ 489857 h 2383971"/>
                  <a:gd name="connsiteX9" fmla="*/ 250371 w 533400"/>
                  <a:gd name="connsiteY9" fmla="*/ 337457 h 2383971"/>
                  <a:gd name="connsiteX10" fmla="*/ 228600 w 533400"/>
                  <a:gd name="connsiteY10" fmla="*/ 10885 h 2383971"/>
                  <a:gd name="connsiteX11" fmla="*/ 108857 w 533400"/>
                  <a:gd name="connsiteY11" fmla="*/ 0 h 2383971"/>
                  <a:gd name="connsiteX12" fmla="*/ 119742 w 533400"/>
                  <a:gd name="connsiteY12" fmla="*/ 326571 h 2383971"/>
                  <a:gd name="connsiteX13" fmla="*/ 0 w 533400"/>
                  <a:gd name="connsiteY13" fmla="*/ 609600 h 2383971"/>
                  <a:gd name="connsiteX14" fmla="*/ 21771 w 533400"/>
                  <a:gd name="connsiteY14" fmla="*/ 1774371 h 2383971"/>
                  <a:gd name="connsiteX15" fmla="*/ 119742 w 533400"/>
                  <a:gd name="connsiteY15" fmla="*/ 2024743 h 2383971"/>
                  <a:gd name="connsiteX16" fmla="*/ 108857 w 533400"/>
                  <a:gd name="connsiteY16" fmla="*/ 2383971 h 2383971"/>
                  <a:gd name="connsiteX0" fmla="*/ 108857 w 533400"/>
                  <a:gd name="connsiteY0" fmla="*/ 2383971 h 2383971"/>
                  <a:gd name="connsiteX1" fmla="*/ 250371 w 533400"/>
                  <a:gd name="connsiteY1" fmla="*/ 2383971 h 2383971"/>
                  <a:gd name="connsiteX2" fmla="*/ 239486 w 533400"/>
                  <a:gd name="connsiteY2" fmla="*/ 2166257 h 2383971"/>
                  <a:gd name="connsiteX3" fmla="*/ 293914 w 533400"/>
                  <a:gd name="connsiteY3" fmla="*/ 2035629 h 2383971"/>
                  <a:gd name="connsiteX4" fmla="*/ 424542 w 533400"/>
                  <a:gd name="connsiteY4" fmla="*/ 1894114 h 2383971"/>
                  <a:gd name="connsiteX5" fmla="*/ 533400 w 533400"/>
                  <a:gd name="connsiteY5" fmla="*/ 1774371 h 2383971"/>
                  <a:gd name="connsiteX6" fmla="*/ 522514 w 533400"/>
                  <a:gd name="connsiteY6" fmla="*/ 762000 h 2383971"/>
                  <a:gd name="connsiteX7" fmla="*/ 522514 w 533400"/>
                  <a:gd name="connsiteY7" fmla="*/ 609600 h 2383971"/>
                  <a:gd name="connsiteX8" fmla="*/ 391886 w 533400"/>
                  <a:gd name="connsiteY8" fmla="*/ 489857 h 2383971"/>
                  <a:gd name="connsiteX9" fmla="*/ 250371 w 533400"/>
                  <a:gd name="connsiteY9" fmla="*/ 337457 h 2383971"/>
                  <a:gd name="connsiteX10" fmla="*/ 228600 w 533400"/>
                  <a:gd name="connsiteY10" fmla="*/ 10885 h 2383971"/>
                  <a:gd name="connsiteX11" fmla="*/ 172151 w 533400"/>
                  <a:gd name="connsiteY11" fmla="*/ 10478 h 2383971"/>
                  <a:gd name="connsiteX12" fmla="*/ 108857 w 533400"/>
                  <a:gd name="connsiteY12" fmla="*/ 0 h 2383971"/>
                  <a:gd name="connsiteX13" fmla="*/ 119742 w 533400"/>
                  <a:gd name="connsiteY13" fmla="*/ 326571 h 2383971"/>
                  <a:gd name="connsiteX14" fmla="*/ 0 w 533400"/>
                  <a:gd name="connsiteY14" fmla="*/ 609600 h 2383971"/>
                  <a:gd name="connsiteX15" fmla="*/ 21771 w 533400"/>
                  <a:gd name="connsiteY15" fmla="*/ 1774371 h 2383971"/>
                  <a:gd name="connsiteX16" fmla="*/ 119742 w 533400"/>
                  <a:gd name="connsiteY16" fmla="*/ 2024743 h 2383971"/>
                  <a:gd name="connsiteX17" fmla="*/ 108857 w 533400"/>
                  <a:gd name="connsiteY17" fmla="*/ 2383971 h 2383971"/>
                  <a:gd name="connsiteX0" fmla="*/ 108857 w 666324"/>
                  <a:gd name="connsiteY0" fmla="*/ 3245600 h 3245600"/>
                  <a:gd name="connsiteX1" fmla="*/ 250371 w 666324"/>
                  <a:gd name="connsiteY1" fmla="*/ 3245600 h 3245600"/>
                  <a:gd name="connsiteX2" fmla="*/ 239486 w 666324"/>
                  <a:gd name="connsiteY2" fmla="*/ 3027886 h 3245600"/>
                  <a:gd name="connsiteX3" fmla="*/ 293914 w 666324"/>
                  <a:gd name="connsiteY3" fmla="*/ 2897258 h 3245600"/>
                  <a:gd name="connsiteX4" fmla="*/ 424542 w 666324"/>
                  <a:gd name="connsiteY4" fmla="*/ 2755743 h 3245600"/>
                  <a:gd name="connsiteX5" fmla="*/ 533400 w 666324"/>
                  <a:gd name="connsiteY5" fmla="*/ 2636000 h 3245600"/>
                  <a:gd name="connsiteX6" fmla="*/ 522514 w 666324"/>
                  <a:gd name="connsiteY6" fmla="*/ 1623629 h 3245600"/>
                  <a:gd name="connsiteX7" fmla="*/ 522514 w 666324"/>
                  <a:gd name="connsiteY7" fmla="*/ 1471229 h 3245600"/>
                  <a:gd name="connsiteX8" fmla="*/ 391886 w 666324"/>
                  <a:gd name="connsiteY8" fmla="*/ 1351486 h 3245600"/>
                  <a:gd name="connsiteX9" fmla="*/ 250371 w 666324"/>
                  <a:gd name="connsiteY9" fmla="*/ 1199086 h 3245600"/>
                  <a:gd name="connsiteX10" fmla="*/ 228600 w 666324"/>
                  <a:gd name="connsiteY10" fmla="*/ 872514 h 3245600"/>
                  <a:gd name="connsiteX11" fmla="*/ 666324 w 666324"/>
                  <a:gd name="connsiteY11" fmla="*/ 0 h 3245600"/>
                  <a:gd name="connsiteX12" fmla="*/ 108857 w 666324"/>
                  <a:gd name="connsiteY12" fmla="*/ 861629 h 3245600"/>
                  <a:gd name="connsiteX13" fmla="*/ 119742 w 666324"/>
                  <a:gd name="connsiteY13" fmla="*/ 1188200 h 3245600"/>
                  <a:gd name="connsiteX14" fmla="*/ 0 w 666324"/>
                  <a:gd name="connsiteY14" fmla="*/ 1471229 h 3245600"/>
                  <a:gd name="connsiteX15" fmla="*/ 21771 w 666324"/>
                  <a:gd name="connsiteY15" fmla="*/ 2636000 h 3245600"/>
                  <a:gd name="connsiteX16" fmla="*/ 119742 w 666324"/>
                  <a:gd name="connsiteY16" fmla="*/ 2886372 h 3245600"/>
                  <a:gd name="connsiteX17" fmla="*/ 108857 w 666324"/>
                  <a:gd name="connsiteY17" fmla="*/ 3245600 h 3245600"/>
                  <a:gd name="connsiteX0" fmla="*/ 108857 w 666324"/>
                  <a:gd name="connsiteY0" fmla="*/ 3245600 h 3245600"/>
                  <a:gd name="connsiteX1" fmla="*/ 250371 w 666324"/>
                  <a:gd name="connsiteY1" fmla="*/ 3245600 h 3245600"/>
                  <a:gd name="connsiteX2" fmla="*/ 239486 w 666324"/>
                  <a:gd name="connsiteY2" fmla="*/ 3027886 h 3245600"/>
                  <a:gd name="connsiteX3" fmla="*/ 293914 w 666324"/>
                  <a:gd name="connsiteY3" fmla="*/ 2897258 h 3245600"/>
                  <a:gd name="connsiteX4" fmla="*/ 424542 w 666324"/>
                  <a:gd name="connsiteY4" fmla="*/ 2755743 h 3245600"/>
                  <a:gd name="connsiteX5" fmla="*/ 533400 w 666324"/>
                  <a:gd name="connsiteY5" fmla="*/ 2636000 h 3245600"/>
                  <a:gd name="connsiteX6" fmla="*/ 522514 w 666324"/>
                  <a:gd name="connsiteY6" fmla="*/ 1623629 h 3245600"/>
                  <a:gd name="connsiteX7" fmla="*/ 522514 w 666324"/>
                  <a:gd name="connsiteY7" fmla="*/ 1471229 h 3245600"/>
                  <a:gd name="connsiteX8" fmla="*/ 391886 w 666324"/>
                  <a:gd name="connsiteY8" fmla="*/ 1351486 h 3245600"/>
                  <a:gd name="connsiteX9" fmla="*/ 250371 w 666324"/>
                  <a:gd name="connsiteY9" fmla="*/ 1199086 h 3245600"/>
                  <a:gd name="connsiteX10" fmla="*/ 228600 w 666324"/>
                  <a:gd name="connsiteY10" fmla="*/ 872514 h 3245600"/>
                  <a:gd name="connsiteX11" fmla="*/ 412902 w 666324"/>
                  <a:gd name="connsiteY11" fmla="*/ 501064 h 3245600"/>
                  <a:gd name="connsiteX12" fmla="*/ 666324 w 666324"/>
                  <a:gd name="connsiteY12" fmla="*/ 0 h 3245600"/>
                  <a:gd name="connsiteX13" fmla="*/ 108857 w 666324"/>
                  <a:gd name="connsiteY13" fmla="*/ 861629 h 3245600"/>
                  <a:gd name="connsiteX14" fmla="*/ 119742 w 666324"/>
                  <a:gd name="connsiteY14" fmla="*/ 1188200 h 3245600"/>
                  <a:gd name="connsiteX15" fmla="*/ 0 w 666324"/>
                  <a:gd name="connsiteY15" fmla="*/ 1471229 h 3245600"/>
                  <a:gd name="connsiteX16" fmla="*/ 21771 w 666324"/>
                  <a:gd name="connsiteY16" fmla="*/ 2636000 h 3245600"/>
                  <a:gd name="connsiteX17" fmla="*/ 119742 w 666324"/>
                  <a:gd name="connsiteY17" fmla="*/ 2886372 h 3245600"/>
                  <a:gd name="connsiteX18" fmla="*/ 108857 w 666324"/>
                  <a:gd name="connsiteY18" fmla="*/ 3245600 h 3245600"/>
                  <a:gd name="connsiteX0" fmla="*/ 108857 w 1705354"/>
                  <a:gd name="connsiteY0" fmla="*/ 3245600 h 3245600"/>
                  <a:gd name="connsiteX1" fmla="*/ 250371 w 1705354"/>
                  <a:gd name="connsiteY1" fmla="*/ 3245600 h 3245600"/>
                  <a:gd name="connsiteX2" fmla="*/ 239486 w 1705354"/>
                  <a:gd name="connsiteY2" fmla="*/ 3027886 h 3245600"/>
                  <a:gd name="connsiteX3" fmla="*/ 293914 w 1705354"/>
                  <a:gd name="connsiteY3" fmla="*/ 2897258 h 3245600"/>
                  <a:gd name="connsiteX4" fmla="*/ 424542 w 1705354"/>
                  <a:gd name="connsiteY4" fmla="*/ 2755743 h 3245600"/>
                  <a:gd name="connsiteX5" fmla="*/ 533400 w 1705354"/>
                  <a:gd name="connsiteY5" fmla="*/ 2636000 h 3245600"/>
                  <a:gd name="connsiteX6" fmla="*/ 522514 w 1705354"/>
                  <a:gd name="connsiteY6" fmla="*/ 1623629 h 3245600"/>
                  <a:gd name="connsiteX7" fmla="*/ 522514 w 1705354"/>
                  <a:gd name="connsiteY7" fmla="*/ 1471229 h 3245600"/>
                  <a:gd name="connsiteX8" fmla="*/ 391886 w 1705354"/>
                  <a:gd name="connsiteY8" fmla="*/ 1351486 h 3245600"/>
                  <a:gd name="connsiteX9" fmla="*/ 250371 w 1705354"/>
                  <a:gd name="connsiteY9" fmla="*/ 1199086 h 3245600"/>
                  <a:gd name="connsiteX10" fmla="*/ 228600 w 1705354"/>
                  <a:gd name="connsiteY10" fmla="*/ 872514 h 3245600"/>
                  <a:gd name="connsiteX11" fmla="*/ 1705354 w 1705354"/>
                  <a:gd name="connsiteY11" fmla="*/ 421781 h 3245600"/>
                  <a:gd name="connsiteX12" fmla="*/ 666324 w 1705354"/>
                  <a:gd name="connsiteY12" fmla="*/ 0 h 3245600"/>
                  <a:gd name="connsiteX13" fmla="*/ 108857 w 1705354"/>
                  <a:gd name="connsiteY13" fmla="*/ 861629 h 3245600"/>
                  <a:gd name="connsiteX14" fmla="*/ 119742 w 1705354"/>
                  <a:gd name="connsiteY14" fmla="*/ 1188200 h 3245600"/>
                  <a:gd name="connsiteX15" fmla="*/ 0 w 1705354"/>
                  <a:gd name="connsiteY15" fmla="*/ 1471229 h 3245600"/>
                  <a:gd name="connsiteX16" fmla="*/ 21771 w 1705354"/>
                  <a:gd name="connsiteY16" fmla="*/ 2636000 h 3245600"/>
                  <a:gd name="connsiteX17" fmla="*/ 119742 w 1705354"/>
                  <a:gd name="connsiteY17" fmla="*/ 2886372 h 3245600"/>
                  <a:gd name="connsiteX18" fmla="*/ 108857 w 1705354"/>
                  <a:gd name="connsiteY18" fmla="*/ 3245600 h 3245600"/>
                  <a:gd name="connsiteX0" fmla="*/ 108857 w 1705354"/>
                  <a:gd name="connsiteY0" fmla="*/ 3245600 h 3245600"/>
                  <a:gd name="connsiteX1" fmla="*/ 250371 w 1705354"/>
                  <a:gd name="connsiteY1" fmla="*/ 3245600 h 3245600"/>
                  <a:gd name="connsiteX2" fmla="*/ 239486 w 1705354"/>
                  <a:gd name="connsiteY2" fmla="*/ 3027886 h 3245600"/>
                  <a:gd name="connsiteX3" fmla="*/ 293914 w 1705354"/>
                  <a:gd name="connsiteY3" fmla="*/ 2897258 h 3245600"/>
                  <a:gd name="connsiteX4" fmla="*/ 424542 w 1705354"/>
                  <a:gd name="connsiteY4" fmla="*/ 2755743 h 3245600"/>
                  <a:gd name="connsiteX5" fmla="*/ 533400 w 1705354"/>
                  <a:gd name="connsiteY5" fmla="*/ 2636000 h 3245600"/>
                  <a:gd name="connsiteX6" fmla="*/ 522514 w 1705354"/>
                  <a:gd name="connsiteY6" fmla="*/ 1623629 h 3245600"/>
                  <a:gd name="connsiteX7" fmla="*/ 522514 w 1705354"/>
                  <a:gd name="connsiteY7" fmla="*/ 1471229 h 3245600"/>
                  <a:gd name="connsiteX8" fmla="*/ 391886 w 1705354"/>
                  <a:gd name="connsiteY8" fmla="*/ 1351486 h 3245600"/>
                  <a:gd name="connsiteX9" fmla="*/ 250371 w 1705354"/>
                  <a:gd name="connsiteY9" fmla="*/ 1199086 h 3245600"/>
                  <a:gd name="connsiteX10" fmla="*/ 228600 w 1705354"/>
                  <a:gd name="connsiteY10" fmla="*/ 872514 h 3245600"/>
                  <a:gd name="connsiteX11" fmla="*/ 1040122 w 1705354"/>
                  <a:gd name="connsiteY11" fmla="*/ 624745 h 3245600"/>
                  <a:gd name="connsiteX12" fmla="*/ 1705354 w 1705354"/>
                  <a:gd name="connsiteY12" fmla="*/ 421781 h 3245600"/>
                  <a:gd name="connsiteX13" fmla="*/ 666324 w 1705354"/>
                  <a:gd name="connsiteY13" fmla="*/ 0 h 3245600"/>
                  <a:gd name="connsiteX14" fmla="*/ 108857 w 1705354"/>
                  <a:gd name="connsiteY14" fmla="*/ 861629 h 3245600"/>
                  <a:gd name="connsiteX15" fmla="*/ 119742 w 1705354"/>
                  <a:gd name="connsiteY15" fmla="*/ 1188200 h 3245600"/>
                  <a:gd name="connsiteX16" fmla="*/ 0 w 1705354"/>
                  <a:gd name="connsiteY16" fmla="*/ 1471229 h 3245600"/>
                  <a:gd name="connsiteX17" fmla="*/ 21771 w 1705354"/>
                  <a:gd name="connsiteY17" fmla="*/ 2636000 h 3245600"/>
                  <a:gd name="connsiteX18" fmla="*/ 119742 w 1705354"/>
                  <a:gd name="connsiteY18" fmla="*/ 2886372 h 3245600"/>
                  <a:gd name="connsiteX19" fmla="*/ 108857 w 1705354"/>
                  <a:gd name="connsiteY19" fmla="*/ 3245600 h 3245600"/>
                  <a:gd name="connsiteX0" fmla="*/ 108857 w 1870079"/>
                  <a:gd name="connsiteY0" fmla="*/ 3245600 h 3245600"/>
                  <a:gd name="connsiteX1" fmla="*/ 250371 w 1870079"/>
                  <a:gd name="connsiteY1" fmla="*/ 3245600 h 3245600"/>
                  <a:gd name="connsiteX2" fmla="*/ 239486 w 1870079"/>
                  <a:gd name="connsiteY2" fmla="*/ 3027886 h 3245600"/>
                  <a:gd name="connsiteX3" fmla="*/ 293914 w 1870079"/>
                  <a:gd name="connsiteY3" fmla="*/ 2897258 h 3245600"/>
                  <a:gd name="connsiteX4" fmla="*/ 424542 w 1870079"/>
                  <a:gd name="connsiteY4" fmla="*/ 2755743 h 3245600"/>
                  <a:gd name="connsiteX5" fmla="*/ 533400 w 1870079"/>
                  <a:gd name="connsiteY5" fmla="*/ 2636000 h 3245600"/>
                  <a:gd name="connsiteX6" fmla="*/ 522514 w 1870079"/>
                  <a:gd name="connsiteY6" fmla="*/ 1623629 h 3245600"/>
                  <a:gd name="connsiteX7" fmla="*/ 522514 w 1870079"/>
                  <a:gd name="connsiteY7" fmla="*/ 1471229 h 3245600"/>
                  <a:gd name="connsiteX8" fmla="*/ 391886 w 1870079"/>
                  <a:gd name="connsiteY8" fmla="*/ 1351486 h 3245600"/>
                  <a:gd name="connsiteX9" fmla="*/ 250371 w 1870079"/>
                  <a:gd name="connsiteY9" fmla="*/ 1199086 h 3245600"/>
                  <a:gd name="connsiteX10" fmla="*/ 228600 w 1870079"/>
                  <a:gd name="connsiteY10" fmla="*/ 872514 h 3245600"/>
                  <a:gd name="connsiteX11" fmla="*/ 1870079 w 1870079"/>
                  <a:gd name="connsiteY11" fmla="*/ 1030671 h 3245600"/>
                  <a:gd name="connsiteX12" fmla="*/ 1705354 w 1870079"/>
                  <a:gd name="connsiteY12" fmla="*/ 421781 h 3245600"/>
                  <a:gd name="connsiteX13" fmla="*/ 666324 w 1870079"/>
                  <a:gd name="connsiteY13" fmla="*/ 0 h 3245600"/>
                  <a:gd name="connsiteX14" fmla="*/ 108857 w 1870079"/>
                  <a:gd name="connsiteY14" fmla="*/ 861629 h 3245600"/>
                  <a:gd name="connsiteX15" fmla="*/ 119742 w 1870079"/>
                  <a:gd name="connsiteY15" fmla="*/ 1188200 h 3245600"/>
                  <a:gd name="connsiteX16" fmla="*/ 0 w 1870079"/>
                  <a:gd name="connsiteY16" fmla="*/ 1471229 h 3245600"/>
                  <a:gd name="connsiteX17" fmla="*/ 21771 w 1870079"/>
                  <a:gd name="connsiteY17" fmla="*/ 2636000 h 3245600"/>
                  <a:gd name="connsiteX18" fmla="*/ 119742 w 1870079"/>
                  <a:gd name="connsiteY18" fmla="*/ 2886372 h 3245600"/>
                  <a:gd name="connsiteX19" fmla="*/ 108857 w 1870079"/>
                  <a:gd name="connsiteY19" fmla="*/ 3245600 h 3245600"/>
                  <a:gd name="connsiteX0" fmla="*/ 108857 w 1870079"/>
                  <a:gd name="connsiteY0" fmla="*/ 3245600 h 3245600"/>
                  <a:gd name="connsiteX1" fmla="*/ 250371 w 1870079"/>
                  <a:gd name="connsiteY1" fmla="*/ 3245600 h 3245600"/>
                  <a:gd name="connsiteX2" fmla="*/ 239486 w 1870079"/>
                  <a:gd name="connsiteY2" fmla="*/ 3027886 h 3245600"/>
                  <a:gd name="connsiteX3" fmla="*/ 293914 w 1870079"/>
                  <a:gd name="connsiteY3" fmla="*/ 2897258 h 3245600"/>
                  <a:gd name="connsiteX4" fmla="*/ 424542 w 1870079"/>
                  <a:gd name="connsiteY4" fmla="*/ 2755743 h 3245600"/>
                  <a:gd name="connsiteX5" fmla="*/ 533400 w 1870079"/>
                  <a:gd name="connsiteY5" fmla="*/ 2636000 h 3245600"/>
                  <a:gd name="connsiteX6" fmla="*/ 522514 w 1870079"/>
                  <a:gd name="connsiteY6" fmla="*/ 1623629 h 3245600"/>
                  <a:gd name="connsiteX7" fmla="*/ 522514 w 1870079"/>
                  <a:gd name="connsiteY7" fmla="*/ 1471229 h 3245600"/>
                  <a:gd name="connsiteX8" fmla="*/ 391886 w 1870079"/>
                  <a:gd name="connsiteY8" fmla="*/ 1351486 h 3245600"/>
                  <a:gd name="connsiteX9" fmla="*/ 250371 w 1870079"/>
                  <a:gd name="connsiteY9" fmla="*/ 1199086 h 3245600"/>
                  <a:gd name="connsiteX10" fmla="*/ 228600 w 1870079"/>
                  <a:gd name="connsiteY10" fmla="*/ 872514 h 3245600"/>
                  <a:gd name="connsiteX11" fmla="*/ 1870079 w 1870079"/>
                  <a:gd name="connsiteY11" fmla="*/ 1030671 h 3245600"/>
                  <a:gd name="connsiteX12" fmla="*/ 1705354 w 1870079"/>
                  <a:gd name="connsiteY12" fmla="*/ 421781 h 3245600"/>
                  <a:gd name="connsiteX13" fmla="*/ 666324 w 1870079"/>
                  <a:gd name="connsiteY13" fmla="*/ 0 h 3245600"/>
                  <a:gd name="connsiteX14" fmla="*/ 99354 w 1870079"/>
                  <a:gd name="connsiteY14" fmla="*/ 807717 h 3245600"/>
                  <a:gd name="connsiteX15" fmla="*/ 119742 w 1870079"/>
                  <a:gd name="connsiteY15" fmla="*/ 1188200 h 3245600"/>
                  <a:gd name="connsiteX16" fmla="*/ 0 w 1870079"/>
                  <a:gd name="connsiteY16" fmla="*/ 1471229 h 3245600"/>
                  <a:gd name="connsiteX17" fmla="*/ 21771 w 1870079"/>
                  <a:gd name="connsiteY17" fmla="*/ 2636000 h 3245600"/>
                  <a:gd name="connsiteX18" fmla="*/ 119742 w 1870079"/>
                  <a:gd name="connsiteY18" fmla="*/ 2886372 h 3245600"/>
                  <a:gd name="connsiteX19" fmla="*/ 108857 w 1870079"/>
                  <a:gd name="connsiteY19" fmla="*/ 3245600 h 324560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8600 w 1870079"/>
                  <a:gd name="connsiteY10" fmla="*/ 923254 h 3296340"/>
                  <a:gd name="connsiteX11" fmla="*/ 1870079 w 1870079"/>
                  <a:gd name="connsiteY11" fmla="*/ 1081411 h 3296340"/>
                  <a:gd name="connsiteX12" fmla="*/ 1705354 w 1870079"/>
                  <a:gd name="connsiteY12" fmla="*/ 472521 h 3296340"/>
                  <a:gd name="connsiteX13" fmla="*/ 948256 w 1870079"/>
                  <a:gd name="connsiteY13" fmla="*/ 0 h 3296340"/>
                  <a:gd name="connsiteX14" fmla="*/ 99354 w 1870079"/>
                  <a:gd name="connsiteY14" fmla="*/ 858457 h 3296340"/>
                  <a:gd name="connsiteX15" fmla="*/ 119742 w 1870079"/>
                  <a:gd name="connsiteY15" fmla="*/ 1238940 h 3296340"/>
                  <a:gd name="connsiteX16" fmla="*/ 0 w 1870079"/>
                  <a:gd name="connsiteY16" fmla="*/ 1521969 h 3296340"/>
                  <a:gd name="connsiteX17" fmla="*/ 21771 w 1870079"/>
                  <a:gd name="connsiteY17" fmla="*/ 2686740 h 3296340"/>
                  <a:gd name="connsiteX18" fmla="*/ 119742 w 1870079"/>
                  <a:gd name="connsiteY18" fmla="*/ 2937112 h 3296340"/>
                  <a:gd name="connsiteX19" fmla="*/ 108857 w 1870079"/>
                  <a:gd name="connsiteY19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8600 w 1870079"/>
                  <a:gd name="connsiteY10" fmla="*/ 923254 h 3296340"/>
                  <a:gd name="connsiteX11" fmla="*/ 1870079 w 1870079"/>
                  <a:gd name="connsiteY11" fmla="*/ 1081411 h 3296340"/>
                  <a:gd name="connsiteX12" fmla="*/ 1806723 w 1870079"/>
                  <a:gd name="connsiteY12" fmla="*/ 913332 h 3296340"/>
                  <a:gd name="connsiteX13" fmla="*/ 948256 w 1870079"/>
                  <a:gd name="connsiteY13" fmla="*/ 0 h 3296340"/>
                  <a:gd name="connsiteX14" fmla="*/ 99354 w 1870079"/>
                  <a:gd name="connsiteY14" fmla="*/ 858457 h 3296340"/>
                  <a:gd name="connsiteX15" fmla="*/ 119742 w 1870079"/>
                  <a:gd name="connsiteY15" fmla="*/ 1238940 h 3296340"/>
                  <a:gd name="connsiteX16" fmla="*/ 0 w 1870079"/>
                  <a:gd name="connsiteY16" fmla="*/ 1521969 h 3296340"/>
                  <a:gd name="connsiteX17" fmla="*/ 21771 w 1870079"/>
                  <a:gd name="connsiteY17" fmla="*/ 2686740 h 3296340"/>
                  <a:gd name="connsiteX18" fmla="*/ 119742 w 1870079"/>
                  <a:gd name="connsiteY18" fmla="*/ 2937112 h 3296340"/>
                  <a:gd name="connsiteX19" fmla="*/ 108857 w 1870079"/>
                  <a:gd name="connsiteY19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8600 w 1870079"/>
                  <a:gd name="connsiteY10" fmla="*/ 923254 h 3296340"/>
                  <a:gd name="connsiteX11" fmla="*/ 1870079 w 1870079"/>
                  <a:gd name="connsiteY11" fmla="*/ 1081411 h 3296340"/>
                  <a:gd name="connsiteX12" fmla="*/ 1806723 w 1870079"/>
                  <a:gd name="connsiteY12" fmla="*/ 913332 h 3296340"/>
                  <a:gd name="connsiteX13" fmla="*/ 948256 w 1870079"/>
                  <a:gd name="connsiteY13" fmla="*/ 0 h 3296340"/>
                  <a:gd name="connsiteX14" fmla="*/ 99354 w 1870079"/>
                  <a:gd name="connsiteY14" fmla="*/ 858457 h 3296340"/>
                  <a:gd name="connsiteX15" fmla="*/ 119742 w 1870079"/>
                  <a:gd name="connsiteY15" fmla="*/ 1238940 h 3296340"/>
                  <a:gd name="connsiteX16" fmla="*/ 0 w 1870079"/>
                  <a:gd name="connsiteY16" fmla="*/ 1521969 h 3296340"/>
                  <a:gd name="connsiteX17" fmla="*/ 21771 w 1870079"/>
                  <a:gd name="connsiteY17" fmla="*/ 2686740 h 3296340"/>
                  <a:gd name="connsiteX18" fmla="*/ 119742 w 1870079"/>
                  <a:gd name="connsiteY18" fmla="*/ 2937112 h 3296340"/>
                  <a:gd name="connsiteX19" fmla="*/ 108857 w 1870079"/>
                  <a:gd name="connsiteY19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8600 w 1870079"/>
                  <a:gd name="connsiteY10" fmla="*/ 923254 h 3296340"/>
                  <a:gd name="connsiteX11" fmla="*/ 1870079 w 1870079"/>
                  <a:gd name="connsiteY11" fmla="*/ 1081411 h 3296340"/>
                  <a:gd name="connsiteX12" fmla="*/ 1806723 w 1870079"/>
                  <a:gd name="connsiteY12" fmla="*/ 913332 h 3296340"/>
                  <a:gd name="connsiteX13" fmla="*/ 948256 w 1870079"/>
                  <a:gd name="connsiteY13" fmla="*/ 0 h 3296340"/>
                  <a:gd name="connsiteX14" fmla="*/ 99354 w 1870079"/>
                  <a:gd name="connsiteY14" fmla="*/ 858457 h 3296340"/>
                  <a:gd name="connsiteX15" fmla="*/ 119742 w 1870079"/>
                  <a:gd name="connsiteY15" fmla="*/ 1238940 h 3296340"/>
                  <a:gd name="connsiteX16" fmla="*/ 0 w 1870079"/>
                  <a:gd name="connsiteY16" fmla="*/ 1521969 h 3296340"/>
                  <a:gd name="connsiteX17" fmla="*/ 21771 w 1870079"/>
                  <a:gd name="connsiteY17" fmla="*/ 2686740 h 3296340"/>
                  <a:gd name="connsiteX18" fmla="*/ 119742 w 1870079"/>
                  <a:gd name="connsiteY18" fmla="*/ 2937112 h 3296340"/>
                  <a:gd name="connsiteX19" fmla="*/ 108857 w 1870079"/>
                  <a:gd name="connsiteY19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8600 w 1870079"/>
                  <a:gd name="connsiteY10" fmla="*/ 923254 h 3296340"/>
                  <a:gd name="connsiteX11" fmla="*/ 1870079 w 1870079"/>
                  <a:gd name="connsiteY11" fmla="*/ 1081411 h 3296340"/>
                  <a:gd name="connsiteX12" fmla="*/ 1806723 w 1870079"/>
                  <a:gd name="connsiteY12" fmla="*/ 913332 h 3296340"/>
                  <a:gd name="connsiteX13" fmla="*/ 948256 w 1870079"/>
                  <a:gd name="connsiteY13" fmla="*/ 0 h 3296340"/>
                  <a:gd name="connsiteX14" fmla="*/ 99354 w 1870079"/>
                  <a:gd name="connsiteY14" fmla="*/ 858457 h 3296340"/>
                  <a:gd name="connsiteX15" fmla="*/ 119742 w 1870079"/>
                  <a:gd name="connsiteY15" fmla="*/ 1238940 h 3296340"/>
                  <a:gd name="connsiteX16" fmla="*/ 0 w 1870079"/>
                  <a:gd name="connsiteY16" fmla="*/ 1521969 h 3296340"/>
                  <a:gd name="connsiteX17" fmla="*/ 21771 w 1870079"/>
                  <a:gd name="connsiteY17" fmla="*/ 2686740 h 3296340"/>
                  <a:gd name="connsiteX18" fmla="*/ 119742 w 1870079"/>
                  <a:gd name="connsiteY18" fmla="*/ 2937112 h 3296340"/>
                  <a:gd name="connsiteX19" fmla="*/ 108857 w 1870079"/>
                  <a:gd name="connsiteY19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8600 w 1870079"/>
                  <a:gd name="connsiteY10" fmla="*/ 923254 h 3296340"/>
                  <a:gd name="connsiteX11" fmla="*/ 1870079 w 1870079"/>
                  <a:gd name="connsiteY11" fmla="*/ 1081411 h 3296340"/>
                  <a:gd name="connsiteX12" fmla="*/ 1806723 w 1870079"/>
                  <a:gd name="connsiteY12" fmla="*/ 913332 h 3296340"/>
                  <a:gd name="connsiteX13" fmla="*/ 948256 w 1870079"/>
                  <a:gd name="connsiteY13" fmla="*/ 0 h 3296340"/>
                  <a:gd name="connsiteX14" fmla="*/ 99354 w 1870079"/>
                  <a:gd name="connsiteY14" fmla="*/ 858457 h 3296340"/>
                  <a:gd name="connsiteX15" fmla="*/ 119742 w 1870079"/>
                  <a:gd name="connsiteY15" fmla="*/ 1238940 h 3296340"/>
                  <a:gd name="connsiteX16" fmla="*/ 0 w 1870079"/>
                  <a:gd name="connsiteY16" fmla="*/ 1521969 h 3296340"/>
                  <a:gd name="connsiteX17" fmla="*/ 21771 w 1870079"/>
                  <a:gd name="connsiteY17" fmla="*/ 2686740 h 3296340"/>
                  <a:gd name="connsiteX18" fmla="*/ 119742 w 1870079"/>
                  <a:gd name="connsiteY18" fmla="*/ 2937112 h 3296340"/>
                  <a:gd name="connsiteX19" fmla="*/ 108857 w 1870079"/>
                  <a:gd name="connsiteY19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8600 w 1870079"/>
                  <a:gd name="connsiteY10" fmla="*/ 923254 h 3296340"/>
                  <a:gd name="connsiteX11" fmla="*/ 1870079 w 1870079"/>
                  <a:gd name="connsiteY11" fmla="*/ 1081411 h 3296340"/>
                  <a:gd name="connsiteX12" fmla="*/ 1806723 w 1870079"/>
                  <a:gd name="connsiteY12" fmla="*/ 913332 h 3296340"/>
                  <a:gd name="connsiteX13" fmla="*/ 948256 w 1870079"/>
                  <a:gd name="connsiteY13" fmla="*/ 0 h 3296340"/>
                  <a:gd name="connsiteX14" fmla="*/ 99354 w 1870079"/>
                  <a:gd name="connsiteY14" fmla="*/ 858457 h 3296340"/>
                  <a:gd name="connsiteX15" fmla="*/ 119742 w 1870079"/>
                  <a:gd name="connsiteY15" fmla="*/ 1238940 h 3296340"/>
                  <a:gd name="connsiteX16" fmla="*/ 0 w 1870079"/>
                  <a:gd name="connsiteY16" fmla="*/ 1521969 h 3296340"/>
                  <a:gd name="connsiteX17" fmla="*/ 21771 w 1870079"/>
                  <a:gd name="connsiteY17" fmla="*/ 2686740 h 3296340"/>
                  <a:gd name="connsiteX18" fmla="*/ 119742 w 1870079"/>
                  <a:gd name="connsiteY18" fmla="*/ 2937112 h 3296340"/>
                  <a:gd name="connsiteX19" fmla="*/ 108857 w 1870079"/>
                  <a:gd name="connsiteY19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8600 w 1870079"/>
                  <a:gd name="connsiteY10" fmla="*/ 923254 h 3296340"/>
                  <a:gd name="connsiteX11" fmla="*/ 1870079 w 1870079"/>
                  <a:gd name="connsiteY11" fmla="*/ 1081411 h 3296340"/>
                  <a:gd name="connsiteX12" fmla="*/ 1806723 w 1870079"/>
                  <a:gd name="connsiteY12" fmla="*/ 913332 h 3296340"/>
                  <a:gd name="connsiteX13" fmla="*/ 948256 w 1870079"/>
                  <a:gd name="connsiteY13" fmla="*/ 0 h 3296340"/>
                  <a:gd name="connsiteX14" fmla="*/ 99354 w 1870079"/>
                  <a:gd name="connsiteY14" fmla="*/ 858457 h 3296340"/>
                  <a:gd name="connsiteX15" fmla="*/ 119742 w 1870079"/>
                  <a:gd name="connsiteY15" fmla="*/ 1238940 h 3296340"/>
                  <a:gd name="connsiteX16" fmla="*/ 0 w 1870079"/>
                  <a:gd name="connsiteY16" fmla="*/ 1521969 h 3296340"/>
                  <a:gd name="connsiteX17" fmla="*/ 21771 w 1870079"/>
                  <a:gd name="connsiteY17" fmla="*/ 2686740 h 3296340"/>
                  <a:gd name="connsiteX18" fmla="*/ 119742 w 1870079"/>
                  <a:gd name="connsiteY18" fmla="*/ 2937112 h 3296340"/>
                  <a:gd name="connsiteX19" fmla="*/ 108857 w 1870079"/>
                  <a:gd name="connsiteY19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8600 w 1870079"/>
                  <a:gd name="connsiteY10" fmla="*/ 923254 h 3296340"/>
                  <a:gd name="connsiteX11" fmla="*/ 672660 w 1870079"/>
                  <a:gd name="connsiteY11" fmla="*/ 970417 h 3296340"/>
                  <a:gd name="connsiteX12" fmla="*/ 1870079 w 1870079"/>
                  <a:gd name="connsiteY12" fmla="*/ 1081411 h 3296340"/>
                  <a:gd name="connsiteX13" fmla="*/ 1806723 w 1870079"/>
                  <a:gd name="connsiteY13" fmla="*/ 913332 h 3296340"/>
                  <a:gd name="connsiteX14" fmla="*/ 948256 w 1870079"/>
                  <a:gd name="connsiteY14" fmla="*/ 0 h 3296340"/>
                  <a:gd name="connsiteX15" fmla="*/ 99354 w 1870079"/>
                  <a:gd name="connsiteY15" fmla="*/ 858457 h 3296340"/>
                  <a:gd name="connsiteX16" fmla="*/ 119742 w 1870079"/>
                  <a:gd name="connsiteY16" fmla="*/ 1238940 h 3296340"/>
                  <a:gd name="connsiteX17" fmla="*/ 0 w 1870079"/>
                  <a:gd name="connsiteY17" fmla="*/ 1521969 h 3296340"/>
                  <a:gd name="connsiteX18" fmla="*/ 21771 w 1870079"/>
                  <a:gd name="connsiteY18" fmla="*/ 2686740 h 3296340"/>
                  <a:gd name="connsiteX19" fmla="*/ 119742 w 1870079"/>
                  <a:gd name="connsiteY19" fmla="*/ 2937112 h 3296340"/>
                  <a:gd name="connsiteX20" fmla="*/ 108857 w 1870079"/>
                  <a:gd name="connsiteY20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8600 w 1870079"/>
                  <a:gd name="connsiteY10" fmla="*/ 923254 h 3296340"/>
                  <a:gd name="connsiteX11" fmla="*/ 593467 w 1870079"/>
                  <a:gd name="connsiteY11" fmla="*/ 237848 h 3296340"/>
                  <a:gd name="connsiteX12" fmla="*/ 1870079 w 1870079"/>
                  <a:gd name="connsiteY12" fmla="*/ 1081411 h 3296340"/>
                  <a:gd name="connsiteX13" fmla="*/ 1806723 w 1870079"/>
                  <a:gd name="connsiteY13" fmla="*/ 913332 h 3296340"/>
                  <a:gd name="connsiteX14" fmla="*/ 948256 w 1870079"/>
                  <a:gd name="connsiteY14" fmla="*/ 0 h 3296340"/>
                  <a:gd name="connsiteX15" fmla="*/ 99354 w 1870079"/>
                  <a:gd name="connsiteY15" fmla="*/ 858457 h 3296340"/>
                  <a:gd name="connsiteX16" fmla="*/ 119742 w 1870079"/>
                  <a:gd name="connsiteY16" fmla="*/ 1238940 h 3296340"/>
                  <a:gd name="connsiteX17" fmla="*/ 0 w 1870079"/>
                  <a:gd name="connsiteY17" fmla="*/ 1521969 h 3296340"/>
                  <a:gd name="connsiteX18" fmla="*/ 21771 w 1870079"/>
                  <a:gd name="connsiteY18" fmla="*/ 2686740 h 3296340"/>
                  <a:gd name="connsiteX19" fmla="*/ 119742 w 1870079"/>
                  <a:gd name="connsiteY19" fmla="*/ 2937112 h 3296340"/>
                  <a:gd name="connsiteX20" fmla="*/ 108857 w 1870079"/>
                  <a:gd name="connsiteY20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8600 w 1870079"/>
                  <a:gd name="connsiteY10" fmla="*/ 923254 h 3296340"/>
                  <a:gd name="connsiteX11" fmla="*/ 593467 w 1870079"/>
                  <a:gd name="connsiteY11" fmla="*/ 237848 h 3296340"/>
                  <a:gd name="connsiteX12" fmla="*/ 1455100 w 1870079"/>
                  <a:gd name="connsiteY12" fmla="*/ 811852 h 3296340"/>
                  <a:gd name="connsiteX13" fmla="*/ 1870079 w 1870079"/>
                  <a:gd name="connsiteY13" fmla="*/ 1081411 h 3296340"/>
                  <a:gd name="connsiteX14" fmla="*/ 1806723 w 1870079"/>
                  <a:gd name="connsiteY14" fmla="*/ 913332 h 3296340"/>
                  <a:gd name="connsiteX15" fmla="*/ 948256 w 1870079"/>
                  <a:gd name="connsiteY15" fmla="*/ 0 h 3296340"/>
                  <a:gd name="connsiteX16" fmla="*/ 99354 w 1870079"/>
                  <a:gd name="connsiteY16" fmla="*/ 858457 h 3296340"/>
                  <a:gd name="connsiteX17" fmla="*/ 119742 w 1870079"/>
                  <a:gd name="connsiteY17" fmla="*/ 1238940 h 3296340"/>
                  <a:gd name="connsiteX18" fmla="*/ 0 w 1870079"/>
                  <a:gd name="connsiteY18" fmla="*/ 1521969 h 3296340"/>
                  <a:gd name="connsiteX19" fmla="*/ 21771 w 1870079"/>
                  <a:gd name="connsiteY19" fmla="*/ 2686740 h 3296340"/>
                  <a:gd name="connsiteX20" fmla="*/ 119742 w 1870079"/>
                  <a:gd name="connsiteY20" fmla="*/ 2937112 h 3296340"/>
                  <a:gd name="connsiteX21" fmla="*/ 108857 w 1870079"/>
                  <a:gd name="connsiteY21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8600 w 1870079"/>
                  <a:gd name="connsiteY10" fmla="*/ 923254 h 3296340"/>
                  <a:gd name="connsiteX11" fmla="*/ 593467 w 1870079"/>
                  <a:gd name="connsiteY11" fmla="*/ 237848 h 3296340"/>
                  <a:gd name="connsiteX12" fmla="*/ 1670508 w 1870079"/>
                  <a:gd name="connsiteY12" fmla="*/ 1068728 h 3296340"/>
                  <a:gd name="connsiteX13" fmla="*/ 1870079 w 1870079"/>
                  <a:gd name="connsiteY13" fmla="*/ 1081411 h 3296340"/>
                  <a:gd name="connsiteX14" fmla="*/ 1806723 w 1870079"/>
                  <a:gd name="connsiteY14" fmla="*/ 913332 h 3296340"/>
                  <a:gd name="connsiteX15" fmla="*/ 948256 w 1870079"/>
                  <a:gd name="connsiteY15" fmla="*/ 0 h 3296340"/>
                  <a:gd name="connsiteX16" fmla="*/ 99354 w 1870079"/>
                  <a:gd name="connsiteY16" fmla="*/ 858457 h 3296340"/>
                  <a:gd name="connsiteX17" fmla="*/ 119742 w 1870079"/>
                  <a:gd name="connsiteY17" fmla="*/ 1238940 h 3296340"/>
                  <a:gd name="connsiteX18" fmla="*/ 0 w 1870079"/>
                  <a:gd name="connsiteY18" fmla="*/ 1521969 h 3296340"/>
                  <a:gd name="connsiteX19" fmla="*/ 21771 w 1870079"/>
                  <a:gd name="connsiteY19" fmla="*/ 2686740 h 3296340"/>
                  <a:gd name="connsiteX20" fmla="*/ 119742 w 1870079"/>
                  <a:gd name="connsiteY20" fmla="*/ 2937112 h 3296340"/>
                  <a:gd name="connsiteX21" fmla="*/ 108857 w 1870079"/>
                  <a:gd name="connsiteY21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2264 w 1870079"/>
                  <a:gd name="connsiteY10" fmla="*/ 1119875 h 3296340"/>
                  <a:gd name="connsiteX11" fmla="*/ 593467 w 1870079"/>
                  <a:gd name="connsiteY11" fmla="*/ 237848 h 3296340"/>
                  <a:gd name="connsiteX12" fmla="*/ 1670508 w 1870079"/>
                  <a:gd name="connsiteY12" fmla="*/ 1068728 h 3296340"/>
                  <a:gd name="connsiteX13" fmla="*/ 1870079 w 1870079"/>
                  <a:gd name="connsiteY13" fmla="*/ 1081411 h 3296340"/>
                  <a:gd name="connsiteX14" fmla="*/ 1806723 w 1870079"/>
                  <a:gd name="connsiteY14" fmla="*/ 913332 h 3296340"/>
                  <a:gd name="connsiteX15" fmla="*/ 948256 w 1870079"/>
                  <a:gd name="connsiteY15" fmla="*/ 0 h 3296340"/>
                  <a:gd name="connsiteX16" fmla="*/ 99354 w 1870079"/>
                  <a:gd name="connsiteY16" fmla="*/ 858457 h 3296340"/>
                  <a:gd name="connsiteX17" fmla="*/ 119742 w 1870079"/>
                  <a:gd name="connsiteY17" fmla="*/ 1238940 h 3296340"/>
                  <a:gd name="connsiteX18" fmla="*/ 0 w 1870079"/>
                  <a:gd name="connsiteY18" fmla="*/ 1521969 h 3296340"/>
                  <a:gd name="connsiteX19" fmla="*/ 21771 w 1870079"/>
                  <a:gd name="connsiteY19" fmla="*/ 2686740 h 3296340"/>
                  <a:gd name="connsiteX20" fmla="*/ 119742 w 1870079"/>
                  <a:gd name="connsiteY20" fmla="*/ 2937112 h 3296340"/>
                  <a:gd name="connsiteX21" fmla="*/ 108857 w 1870079"/>
                  <a:gd name="connsiteY21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5432 w 1870079"/>
                  <a:gd name="connsiteY10" fmla="*/ 923254 h 3296340"/>
                  <a:gd name="connsiteX11" fmla="*/ 593467 w 1870079"/>
                  <a:gd name="connsiteY11" fmla="*/ 237848 h 3296340"/>
                  <a:gd name="connsiteX12" fmla="*/ 1670508 w 1870079"/>
                  <a:gd name="connsiteY12" fmla="*/ 1068728 h 3296340"/>
                  <a:gd name="connsiteX13" fmla="*/ 1870079 w 1870079"/>
                  <a:gd name="connsiteY13" fmla="*/ 1081411 h 3296340"/>
                  <a:gd name="connsiteX14" fmla="*/ 1806723 w 1870079"/>
                  <a:gd name="connsiteY14" fmla="*/ 913332 h 3296340"/>
                  <a:gd name="connsiteX15" fmla="*/ 948256 w 1870079"/>
                  <a:gd name="connsiteY15" fmla="*/ 0 h 3296340"/>
                  <a:gd name="connsiteX16" fmla="*/ 99354 w 1870079"/>
                  <a:gd name="connsiteY16" fmla="*/ 858457 h 3296340"/>
                  <a:gd name="connsiteX17" fmla="*/ 119742 w 1870079"/>
                  <a:gd name="connsiteY17" fmla="*/ 1238940 h 3296340"/>
                  <a:gd name="connsiteX18" fmla="*/ 0 w 1870079"/>
                  <a:gd name="connsiteY18" fmla="*/ 1521969 h 3296340"/>
                  <a:gd name="connsiteX19" fmla="*/ 21771 w 1870079"/>
                  <a:gd name="connsiteY19" fmla="*/ 2686740 h 3296340"/>
                  <a:gd name="connsiteX20" fmla="*/ 119742 w 1870079"/>
                  <a:gd name="connsiteY20" fmla="*/ 2937112 h 3296340"/>
                  <a:gd name="connsiteX21" fmla="*/ 108857 w 1870079"/>
                  <a:gd name="connsiteY21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5432 w 1870079"/>
                  <a:gd name="connsiteY10" fmla="*/ 923254 h 3296340"/>
                  <a:gd name="connsiteX11" fmla="*/ 593467 w 1870079"/>
                  <a:gd name="connsiteY11" fmla="*/ 237848 h 3296340"/>
                  <a:gd name="connsiteX12" fmla="*/ 1670508 w 1870079"/>
                  <a:gd name="connsiteY12" fmla="*/ 1068728 h 3296340"/>
                  <a:gd name="connsiteX13" fmla="*/ 1870079 w 1870079"/>
                  <a:gd name="connsiteY13" fmla="*/ 1081411 h 3296340"/>
                  <a:gd name="connsiteX14" fmla="*/ 1806723 w 1870079"/>
                  <a:gd name="connsiteY14" fmla="*/ 913332 h 3296340"/>
                  <a:gd name="connsiteX15" fmla="*/ 948256 w 1870079"/>
                  <a:gd name="connsiteY15" fmla="*/ 0 h 3296340"/>
                  <a:gd name="connsiteX16" fmla="*/ 99354 w 1870079"/>
                  <a:gd name="connsiteY16" fmla="*/ 858457 h 3296340"/>
                  <a:gd name="connsiteX17" fmla="*/ 119742 w 1870079"/>
                  <a:gd name="connsiteY17" fmla="*/ 1238940 h 3296340"/>
                  <a:gd name="connsiteX18" fmla="*/ 0 w 1870079"/>
                  <a:gd name="connsiteY18" fmla="*/ 1521969 h 3296340"/>
                  <a:gd name="connsiteX19" fmla="*/ 21771 w 1870079"/>
                  <a:gd name="connsiteY19" fmla="*/ 2686740 h 3296340"/>
                  <a:gd name="connsiteX20" fmla="*/ 119742 w 1870079"/>
                  <a:gd name="connsiteY20" fmla="*/ 2937112 h 3296340"/>
                  <a:gd name="connsiteX21" fmla="*/ 108857 w 1870079"/>
                  <a:gd name="connsiteY21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5432 w 1870079"/>
                  <a:gd name="connsiteY10" fmla="*/ 923254 h 3296340"/>
                  <a:gd name="connsiteX11" fmla="*/ 593467 w 1870079"/>
                  <a:gd name="connsiteY11" fmla="*/ 237848 h 3296340"/>
                  <a:gd name="connsiteX12" fmla="*/ 1670508 w 1870079"/>
                  <a:gd name="connsiteY12" fmla="*/ 1068728 h 3296340"/>
                  <a:gd name="connsiteX13" fmla="*/ 1870079 w 1870079"/>
                  <a:gd name="connsiteY13" fmla="*/ 1081411 h 3296340"/>
                  <a:gd name="connsiteX14" fmla="*/ 1806723 w 1870079"/>
                  <a:gd name="connsiteY14" fmla="*/ 913332 h 3296340"/>
                  <a:gd name="connsiteX15" fmla="*/ 948256 w 1870079"/>
                  <a:gd name="connsiteY15" fmla="*/ 0 h 3296340"/>
                  <a:gd name="connsiteX16" fmla="*/ 99354 w 1870079"/>
                  <a:gd name="connsiteY16" fmla="*/ 858457 h 3296340"/>
                  <a:gd name="connsiteX17" fmla="*/ 119742 w 1870079"/>
                  <a:gd name="connsiteY17" fmla="*/ 1238940 h 3296340"/>
                  <a:gd name="connsiteX18" fmla="*/ 0 w 1870079"/>
                  <a:gd name="connsiteY18" fmla="*/ 1521969 h 3296340"/>
                  <a:gd name="connsiteX19" fmla="*/ 21771 w 1870079"/>
                  <a:gd name="connsiteY19" fmla="*/ 2686740 h 3296340"/>
                  <a:gd name="connsiteX20" fmla="*/ 119742 w 1870079"/>
                  <a:gd name="connsiteY20" fmla="*/ 2937112 h 3296340"/>
                  <a:gd name="connsiteX21" fmla="*/ 108857 w 1870079"/>
                  <a:gd name="connsiteY21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5432 w 1870079"/>
                  <a:gd name="connsiteY10" fmla="*/ 923254 h 3296340"/>
                  <a:gd name="connsiteX11" fmla="*/ 593467 w 1870079"/>
                  <a:gd name="connsiteY11" fmla="*/ 237848 h 3296340"/>
                  <a:gd name="connsiteX12" fmla="*/ 1670508 w 1870079"/>
                  <a:gd name="connsiteY12" fmla="*/ 1068728 h 3296340"/>
                  <a:gd name="connsiteX13" fmla="*/ 1870079 w 1870079"/>
                  <a:gd name="connsiteY13" fmla="*/ 1081411 h 3296340"/>
                  <a:gd name="connsiteX14" fmla="*/ 1806723 w 1870079"/>
                  <a:gd name="connsiteY14" fmla="*/ 913332 h 3296340"/>
                  <a:gd name="connsiteX15" fmla="*/ 948256 w 1870079"/>
                  <a:gd name="connsiteY15" fmla="*/ 0 h 3296340"/>
                  <a:gd name="connsiteX16" fmla="*/ 99354 w 1870079"/>
                  <a:gd name="connsiteY16" fmla="*/ 858457 h 3296340"/>
                  <a:gd name="connsiteX17" fmla="*/ 84897 w 1870079"/>
                  <a:gd name="connsiteY17" fmla="*/ 1146972 h 3296340"/>
                  <a:gd name="connsiteX18" fmla="*/ 0 w 1870079"/>
                  <a:gd name="connsiteY18" fmla="*/ 1521969 h 3296340"/>
                  <a:gd name="connsiteX19" fmla="*/ 21771 w 1870079"/>
                  <a:gd name="connsiteY19" fmla="*/ 2686740 h 3296340"/>
                  <a:gd name="connsiteX20" fmla="*/ 119742 w 1870079"/>
                  <a:gd name="connsiteY20" fmla="*/ 2937112 h 3296340"/>
                  <a:gd name="connsiteX21" fmla="*/ 108857 w 1870079"/>
                  <a:gd name="connsiteY21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03821 w 1879986"/>
                  <a:gd name="connsiteY3" fmla="*/ 2947998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32421 w 1879986"/>
                  <a:gd name="connsiteY6" fmla="*/ 1674369 h 3296340"/>
                  <a:gd name="connsiteX7" fmla="*/ 532421 w 1879986"/>
                  <a:gd name="connsiteY7" fmla="*/ 1521969 h 3296340"/>
                  <a:gd name="connsiteX8" fmla="*/ 401793 w 1879986"/>
                  <a:gd name="connsiteY8" fmla="*/ 1402226 h 3296340"/>
                  <a:gd name="connsiteX9" fmla="*/ 260278 w 1879986"/>
                  <a:gd name="connsiteY9" fmla="*/ 1249826 h 3296340"/>
                  <a:gd name="connsiteX10" fmla="*/ 235339 w 1879986"/>
                  <a:gd name="connsiteY10" fmla="*/ 923254 h 3296340"/>
                  <a:gd name="connsiteX11" fmla="*/ 603374 w 1879986"/>
                  <a:gd name="connsiteY11" fmla="*/ 237848 h 3296340"/>
                  <a:gd name="connsiteX12" fmla="*/ 1680415 w 1879986"/>
                  <a:gd name="connsiteY12" fmla="*/ 1068728 h 3296340"/>
                  <a:gd name="connsiteX13" fmla="*/ 1879986 w 1879986"/>
                  <a:gd name="connsiteY13" fmla="*/ 1081411 h 3296340"/>
                  <a:gd name="connsiteX14" fmla="*/ 1816630 w 1879986"/>
                  <a:gd name="connsiteY14" fmla="*/ 913332 h 3296340"/>
                  <a:gd name="connsiteX15" fmla="*/ 958163 w 1879986"/>
                  <a:gd name="connsiteY15" fmla="*/ 0 h 3296340"/>
                  <a:gd name="connsiteX16" fmla="*/ 109261 w 1879986"/>
                  <a:gd name="connsiteY16" fmla="*/ 858457 h 3296340"/>
                  <a:gd name="connsiteX17" fmla="*/ 94804 w 1879986"/>
                  <a:gd name="connsiteY17" fmla="*/ 1146972 h 3296340"/>
                  <a:gd name="connsiteX18" fmla="*/ 9907 w 1879986"/>
                  <a:gd name="connsiteY18" fmla="*/ 1521969 h 3296340"/>
                  <a:gd name="connsiteX19" fmla="*/ 0 w 1879986"/>
                  <a:gd name="connsiteY19" fmla="*/ 2778708 h 3296340"/>
                  <a:gd name="connsiteX20" fmla="*/ 129649 w 1879986"/>
                  <a:gd name="connsiteY20" fmla="*/ 2937112 h 3296340"/>
                  <a:gd name="connsiteX21" fmla="*/ 118764 w 1879986"/>
                  <a:gd name="connsiteY21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03821 w 1879986"/>
                  <a:gd name="connsiteY3" fmla="*/ 2947998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32421 w 1879986"/>
                  <a:gd name="connsiteY6" fmla="*/ 1674369 h 3296340"/>
                  <a:gd name="connsiteX7" fmla="*/ 532421 w 1879986"/>
                  <a:gd name="connsiteY7" fmla="*/ 1521969 h 3296340"/>
                  <a:gd name="connsiteX8" fmla="*/ 401793 w 1879986"/>
                  <a:gd name="connsiteY8" fmla="*/ 1402226 h 3296340"/>
                  <a:gd name="connsiteX9" fmla="*/ 234935 w 1879986"/>
                  <a:gd name="connsiteY9" fmla="*/ 1138830 h 3296340"/>
                  <a:gd name="connsiteX10" fmla="*/ 235339 w 1879986"/>
                  <a:gd name="connsiteY10" fmla="*/ 923254 h 3296340"/>
                  <a:gd name="connsiteX11" fmla="*/ 603374 w 1879986"/>
                  <a:gd name="connsiteY11" fmla="*/ 237848 h 3296340"/>
                  <a:gd name="connsiteX12" fmla="*/ 1680415 w 1879986"/>
                  <a:gd name="connsiteY12" fmla="*/ 1068728 h 3296340"/>
                  <a:gd name="connsiteX13" fmla="*/ 1879986 w 1879986"/>
                  <a:gd name="connsiteY13" fmla="*/ 1081411 h 3296340"/>
                  <a:gd name="connsiteX14" fmla="*/ 1816630 w 1879986"/>
                  <a:gd name="connsiteY14" fmla="*/ 913332 h 3296340"/>
                  <a:gd name="connsiteX15" fmla="*/ 958163 w 1879986"/>
                  <a:gd name="connsiteY15" fmla="*/ 0 h 3296340"/>
                  <a:gd name="connsiteX16" fmla="*/ 109261 w 1879986"/>
                  <a:gd name="connsiteY16" fmla="*/ 858457 h 3296340"/>
                  <a:gd name="connsiteX17" fmla="*/ 94804 w 1879986"/>
                  <a:gd name="connsiteY17" fmla="*/ 1146972 h 3296340"/>
                  <a:gd name="connsiteX18" fmla="*/ 9907 w 1879986"/>
                  <a:gd name="connsiteY18" fmla="*/ 1521969 h 3296340"/>
                  <a:gd name="connsiteX19" fmla="*/ 0 w 1879986"/>
                  <a:gd name="connsiteY19" fmla="*/ 2778708 h 3296340"/>
                  <a:gd name="connsiteX20" fmla="*/ 129649 w 1879986"/>
                  <a:gd name="connsiteY20" fmla="*/ 2937112 h 3296340"/>
                  <a:gd name="connsiteX21" fmla="*/ 118764 w 1879986"/>
                  <a:gd name="connsiteY21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03821 w 1879986"/>
                  <a:gd name="connsiteY3" fmla="*/ 2947998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32421 w 1879986"/>
                  <a:gd name="connsiteY6" fmla="*/ 1674369 h 3296340"/>
                  <a:gd name="connsiteX7" fmla="*/ 532421 w 1879986"/>
                  <a:gd name="connsiteY7" fmla="*/ 1521969 h 3296340"/>
                  <a:gd name="connsiteX8" fmla="*/ 401793 w 1879986"/>
                  <a:gd name="connsiteY8" fmla="*/ 1402226 h 3296340"/>
                  <a:gd name="connsiteX9" fmla="*/ 362622 w 1879986"/>
                  <a:gd name="connsiteY9" fmla="*/ 1341459 h 3296340"/>
                  <a:gd name="connsiteX10" fmla="*/ 234935 w 1879986"/>
                  <a:gd name="connsiteY10" fmla="*/ 1138830 h 3296340"/>
                  <a:gd name="connsiteX11" fmla="*/ 235339 w 1879986"/>
                  <a:gd name="connsiteY11" fmla="*/ 923254 h 3296340"/>
                  <a:gd name="connsiteX12" fmla="*/ 603374 w 1879986"/>
                  <a:gd name="connsiteY12" fmla="*/ 237848 h 3296340"/>
                  <a:gd name="connsiteX13" fmla="*/ 1680415 w 1879986"/>
                  <a:gd name="connsiteY13" fmla="*/ 1068728 h 3296340"/>
                  <a:gd name="connsiteX14" fmla="*/ 1879986 w 1879986"/>
                  <a:gd name="connsiteY14" fmla="*/ 1081411 h 3296340"/>
                  <a:gd name="connsiteX15" fmla="*/ 1816630 w 1879986"/>
                  <a:gd name="connsiteY15" fmla="*/ 913332 h 3296340"/>
                  <a:gd name="connsiteX16" fmla="*/ 958163 w 1879986"/>
                  <a:gd name="connsiteY16" fmla="*/ 0 h 3296340"/>
                  <a:gd name="connsiteX17" fmla="*/ 109261 w 1879986"/>
                  <a:gd name="connsiteY17" fmla="*/ 858457 h 3296340"/>
                  <a:gd name="connsiteX18" fmla="*/ 94804 w 1879986"/>
                  <a:gd name="connsiteY18" fmla="*/ 1146972 h 3296340"/>
                  <a:gd name="connsiteX19" fmla="*/ 9907 w 1879986"/>
                  <a:gd name="connsiteY19" fmla="*/ 1521969 h 3296340"/>
                  <a:gd name="connsiteX20" fmla="*/ 0 w 1879986"/>
                  <a:gd name="connsiteY20" fmla="*/ 2778708 h 3296340"/>
                  <a:gd name="connsiteX21" fmla="*/ 129649 w 1879986"/>
                  <a:gd name="connsiteY21" fmla="*/ 2937112 h 3296340"/>
                  <a:gd name="connsiteX22" fmla="*/ 118764 w 1879986"/>
                  <a:gd name="connsiteY22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03821 w 1879986"/>
                  <a:gd name="connsiteY3" fmla="*/ 2947998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32421 w 1879986"/>
                  <a:gd name="connsiteY6" fmla="*/ 1674369 h 3296340"/>
                  <a:gd name="connsiteX7" fmla="*/ 532421 w 1879986"/>
                  <a:gd name="connsiteY7" fmla="*/ 1521969 h 3296340"/>
                  <a:gd name="connsiteX8" fmla="*/ 401793 w 1879986"/>
                  <a:gd name="connsiteY8" fmla="*/ 1402226 h 3296340"/>
                  <a:gd name="connsiteX9" fmla="*/ 353118 w 1879986"/>
                  <a:gd name="connsiteY9" fmla="*/ 1138495 h 3296340"/>
                  <a:gd name="connsiteX10" fmla="*/ 234935 w 1879986"/>
                  <a:gd name="connsiteY10" fmla="*/ 1138830 h 3296340"/>
                  <a:gd name="connsiteX11" fmla="*/ 235339 w 1879986"/>
                  <a:gd name="connsiteY11" fmla="*/ 923254 h 3296340"/>
                  <a:gd name="connsiteX12" fmla="*/ 603374 w 1879986"/>
                  <a:gd name="connsiteY12" fmla="*/ 237848 h 3296340"/>
                  <a:gd name="connsiteX13" fmla="*/ 1680415 w 1879986"/>
                  <a:gd name="connsiteY13" fmla="*/ 1068728 h 3296340"/>
                  <a:gd name="connsiteX14" fmla="*/ 1879986 w 1879986"/>
                  <a:gd name="connsiteY14" fmla="*/ 1081411 h 3296340"/>
                  <a:gd name="connsiteX15" fmla="*/ 1816630 w 1879986"/>
                  <a:gd name="connsiteY15" fmla="*/ 913332 h 3296340"/>
                  <a:gd name="connsiteX16" fmla="*/ 958163 w 1879986"/>
                  <a:gd name="connsiteY16" fmla="*/ 0 h 3296340"/>
                  <a:gd name="connsiteX17" fmla="*/ 109261 w 1879986"/>
                  <a:gd name="connsiteY17" fmla="*/ 858457 h 3296340"/>
                  <a:gd name="connsiteX18" fmla="*/ 94804 w 1879986"/>
                  <a:gd name="connsiteY18" fmla="*/ 1146972 h 3296340"/>
                  <a:gd name="connsiteX19" fmla="*/ 9907 w 1879986"/>
                  <a:gd name="connsiteY19" fmla="*/ 1521969 h 3296340"/>
                  <a:gd name="connsiteX20" fmla="*/ 0 w 1879986"/>
                  <a:gd name="connsiteY20" fmla="*/ 2778708 h 3296340"/>
                  <a:gd name="connsiteX21" fmla="*/ 129649 w 1879986"/>
                  <a:gd name="connsiteY21" fmla="*/ 2937112 h 3296340"/>
                  <a:gd name="connsiteX22" fmla="*/ 118764 w 1879986"/>
                  <a:gd name="connsiteY22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03821 w 1879986"/>
                  <a:gd name="connsiteY3" fmla="*/ 2947998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32421 w 1879986"/>
                  <a:gd name="connsiteY6" fmla="*/ 1674369 h 3296340"/>
                  <a:gd name="connsiteX7" fmla="*/ 532421 w 1879986"/>
                  <a:gd name="connsiteY7" fmla="*/ 1521969 h 3296340"/>
                  <a:gd name="connsiteX8" fmla="*/ 401793 w 1879986"/>
                  <a:gd name="connsiteY8" fmla="*/ 1402226 h 3296340"/>
                  <a:gd name="connsiteX9" fmla="*/ 375293 w 1879986"/>
                  <a:gd name="connsiteY9" fmla="*/ 1293890 h 3296340"/>
                  <a:gd name="connsiteX10" fmla="*/ 353118 w 1879986"/>
                  <a:gd name="connsiteY10" fmla="*/ 1138495 h 3296340"/>
                  <a:gd name="connsiteX11" fmla="*/ 234935 w 1879986"/>
                  <a:gd name="connsiteY11" fmla="*/ 1138830 h 3296340"/>
                  <a:gd name="connsiteX12" fmla="*/ 235339 w 1879986"/>
                  <a:gd name="connsiteY12" fmla="*/ 923254 h 3296340"/>
                  <a:gd name="connsiteX13" fmla="*/ 603374 w 1879986"/>
                  <a:gd name="connsiteY13" fmla="*/ 237848 h 3296340"/>
                  <a:gd name="connsiteX14" fmla="*/ 1680415 w 1879986"/>
                  <a:gd name="connsiteY14" fmla="*/ 1068728 h 3296340"/>
                  <a:gd name="connsiteX15" fmla="*/ 1879986 w 1879986"/>
                  <a:gd name="connsiteY15" fmla="*/ 1081411 h 3296340"/>
                  <a:gd name="connsiteX16" fmla="*/ 1816630 w 1879986"/>
                  <a:gd name="connsiteY16" fmla="*/ 913332 h 3296340"/>
                  <a:gd name="connsiteX17" fmla="*/ 958163 w 1879986"/>
                  <a:gd name="connsiteY17" fmla="*/ 0 h 3296340"/>
                  <a:gd name="connsiteX18" fmla="*/ 109261 w 1879986"/>
                  <a:gd name="connsiteY18" fmla="*/ 858457 h 3296340"/>
                  <a:gd name="connsiteX19" fmla="*/ 94804 w 1879986"/>
                  <a:gd name="connsiteY19" fmla="*/ 1146972 h 3296340"/>
                  <a:gd name="connsiteX20" fmla="*/ 9907 w 1879986"/>
                  <a:gd name="connsiteY20" fmla="*/ 1521969 h 3296340"/>
                  <a:gd name="connsiteX21" fmla="*/ 0 w 1879986"/>
                  <a:gd name="connsiteY21" fmla="*/ 2778708 h 3296340"/>
                  <a:gd name="connsiteX22" fmla="*/ 129649 w 1879986"/>
                  <a:gd name="connsiteY22" fmla="*/ 2937112 h 3296340"/>
                  <a:gd name="connsiteX23" fmla="*/ 118764 w 1879986"/>
                  <a:gd name="connsiteY23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03821 w 1879986"/>
                  <a:gd name="connsiteY3" fmla="*/ 2947998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32421 w 1879986"/>
                  <a:gd name="connsiteY6" fmla="*/ 1674369 h 3296340"/>
                  <a:gd name="connsiteX7" fmla="*/ 532421 w 1879986"/>
                  <a:gd name="connsiteY7" fmla="*/ 1521969 h 3296340"/>
                  <a:gd name="connsiteX8" fmla="*/ 401793 w 1879986"/>
                  <a:gd name="connsiteY8" fmla="*/ 1402226 h 3296340"/>
                  <a:gd name="connsiteX9" fmla="*/ 356286 w 1879986"/>
                  <a:gd name="connsiteY9" fmla="*/ 1268519 h 3296340"/>
                  <a:gd name="connsiteX10" fmla="*/ 353118 w 1879986"/>
                  <a:gd name="connsiteY10" fmla="*/ 1138495 h 3296340"/>
                  <a:gd name="connsiteX11" fmla="*/ 234935 w 1879986"/>
                  <a:gd name="connsiteY11" fmla="*/ 1138830 h 3296340"/>
                  <a:gd name="connsiteX12" fmla="*/ 235339 w 1879986"/>
                  <a:gd name="connsiteY12" fmla="*/ 923254 h 3296340"/>
                  <a:gd name="connsiteX13" fmla="*/ 603374 w 1879986"/>
                  <a:gd name="connsiteY13" fmla="*/ 237848 h 3296340"/>
                  <a:gd name="connsiteX14" fmla="*/ 1680415 w 1879986"/>
                  <a:gd name="connsiteY14" fmla="*/ 1068728 h 3296340"/>
                  <a:gd name="connsiteX15" fmla="*/ 1879986 w 1879986"/>
                  <a:gd name="connsiteY15" fmla="*/ 1081411 h 3296340"/>
                  <a:gd name="connsiteX16" fmla="*/ 1816630 w 1879986"/>
                  <a:gd name="connsiteY16" fmla="*/ 913332 h 3296340"/>
                  <a:gd name="connsiteX17" fmla="*/ 958163 w 1879986"/>
                  <a:gd name="connsiteY17" fmla="*/ 0 h 3296340"/>
                  <a:gd name="connsiteX18" fmla="*/ 109261 w 1879986"/>
                  <a:gd name="connsiteY18" fmla="*/ 858457 h 3296340"/>
                  <a:gd name="connsiteX19" fmla="*/ 94804 w 1879986"/>
                  <a:gd name="connsiteY19" fmla="*/ 1146972 h 3296340"/>
                  <a:gd name="connsiteX20" fmla="*/ 9907 w 1879986"/>
                  <a:gd name="connsiteY20" fmla="*/ 1521969 h 3296340"/>
                  <a:gd name="connsiteX21" fmla="*/ 0 w 1879986"/>
                  <a:gd name="connsiteY21" fmla="*/ 2778708 h 3296340"/>
                  <a:gd name="connsiteX22" fmla="*/ 129649 w 1879986"/>
                  <a:gd name="connsiteY22" fmla="*/ 2937112 h 3296340"/>
                  <a:gd name="connsiteX23" fmla="*/ 118764 w 1879986"/>
                  <a:gd name="connsiteY23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03821 w 1879986"/>
                  <a:gd name="connsiteY3" fmla="*/ 2947998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32421 w 1879986"/>
                  <a:gd name="connsiteY6" fmla="*/ 1674369 h 3296340"/>
                  <a:gd name="connsiteX7" fmla="*/ 532421 w 1879986"/>
                  <a:gd name="connsiteY7" fmla="*/ 1521969 h 3296340"/>
                  <a:gd name="connsiteX8" fmla="*/ 328934 w 1879986"/>
                  <a:gd name="connsiteY8" fmla="*/ 1269031 h 3296340"/>
                  <a:gd name="connsiteX9" fmla="*/ 356286 w 1879986"/>
                  <a:gd name="connsiteY9" fmla="*/ 1268519 h 3296340"/>
                  <a:gd name="connsiteX10" fmla="*/ 353118 w 1879986"/>
                  <a:gd name="connsiteY10" fmla="*/ 1138495 h 3296340"/>
                  <a:gd name="connsiteX11" fmla="*/ 234935 w 1879986"/>
                  <a:gd name="connsiteY11" fmla="*/ 1138830 h 3296340"/>
                  <a:gd name="connsiteX12" fmla="*/ 235339 w 1879986"/>
                  <a:gd name="connsiteY12" fmla="*/ 923254 h 3296340"/>
                  <a:gd name="connsiteX13" fmla="*/ 603374 w 1879986"/>
                  <a:gd name="connsiteY13" fmla="*/ 237848 h 3296340"/>
                  <a:gd name="connsiteX14" fmla="*/ 1680415 w 1879986"/>
                  <a:gd name="connsiteY14" fmla="*/ 1068728 h 3296340"/>
                  <a:gd name="connsiteX15" fmla="*/ 1879986 w 1879986"/>
                  <a:gd name="connsiteY15" fmla="*/ 1081411 h 3296340"/>
                  <a:gd name="connsiteX16" fmla="*/ 1816630 w 1879986"/>
                  <a:gd name="connsiteY16" fmla="*/ 913332 h 3296340"/>
                  <a:gd name="connsiteX17" fmla="*/ 958163 w 1879986"/>
                  <a:gd name="connsiteY17" fmla="*/ 0 h 3296340"/>
                  <a:gd name="connsiteX18" fmla="*/ 109261 w 1879986"/>
                  <a:gd name="connsiteY18" fmla="*/ 858457 h 3296340"/>
                  <a:gd name="connsiteX19" fmla="*/ 94804 w 1879986"/>
                  <a:gd name="connsiteY19" fmla="*/ 1146972 h 3296340"/>
                  <a:gd name="connsiteX20" fmla="*/ 9907 w 1879986"/>
                  <a:gd name="connsiteY20" fmla="*/ 1521969 h 3296340"/>
                  <a:gd name="connsiteX21" fmla="*/ 0 w 1879986"/>
                  <a:gd name="connsiteY21" fmla="*/ 2778708 h 3296340"/>
                  <a:gd name="connsiteX22" fmla="*/ 129649 w 1879986"/>
                  <a:gd name="connsiteY22" fmla="*/ 2937112 h 3296340"/>
                  <a:gd name="connsiteX23" fmla="*/ 118764 w 1879986"/>
                  <a:gd name="connsiteY23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03821 w 1879986"/>
                  <a:gd name="connsiteY3" fmla="*/ 2947998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32421 w 1879986"/>
                  <a:gd name="connsiteY6" fmla="*/ 1674369 h 3296340"/>
                  <a:gd name="connsiteX7" fmla="*/ 532421 w 1879986"/>
                  <a:gd name="connsiteY7" fmla="*/ 1521969 h 3296340"/>
                  <a:gd name="connsiteX8" fmla="*/ 359454 w 1879986"/>
                  <a:gd name="connsiteY8" fmla="*/ 1309746 h 3296340"/>
                  <a:gd name="connsiteX9" fmla="*/ 328934 w 1879986"/>
                  <a:gd name="connsiteY9" fmla="*/ 1269031 h 3296340"/>
                  <a:gd name="connsiteX10" fmla="*/ 356286 w 1879986"/>
                  <a:gd name="connsiteY10" fmla="*/ 1268519 h 3296340"/>
                  <a:gd name="connsiteX11" fmla="*/ 353118 w 1879986"/>
                  <a:gd name="connsiteY11" fmla="*/ 1138495 h 3296340"/>
                  <a:gd name="connsiteX12" fmla="*/ 234935 w 1879986"/>
                  <a:gd name="connsiteY12" fmla="*/ 1138830 h 3296340"/>
                  <a:gd name="connsiteX13" fmla="*/ 235339 w 1879986"/>
                  <a:gd name="connsiteY13" fmla="*/ 923254 h 3296340"/>
                  <a:gd name="connsiteX14" fmla="*/ 603374 w 1879986"/>
                  <a:gd name="connsiteY14" fmla="*/ 237848 h 3296340"/>
                  <a:gd name="connsiteX15" fmla="*/ 1680415 w 1879986"/>
                  <a:gd name="connsiteY15" fmla="*/ 1068728 h 3296340"/>
                  <a:gd name="connsiteX16" fmla="*/ 1879986 w 1879986"/>
                  <a:gd name="connsiteY16" fmla="*/ 1081411 h 3296340"/>
                  <a:gd name="connsiteX17" fmla="*/ 1816630 w 1879986"/>
                  <a:gd name="connsiteY17" fmla="*/ 913332 h 3296340"/>
                  <a:gd name="connsiteX18" fmla="*/ 958163 w 1879986"/>
                  <a:gd name="connsiteY18" fmla="*/ 0 h 3296340"/>
                  <a:gd name="connsiteX19" fmla="*/ 109261 w 1879986"/>
                  <a:gd name="connsiteY19" fmla="*/ 858457 h 3296340"/>
                  <a:gd name="connsiteX20" fmla="*/ 94804 w 1879986"/>
                  <a:gd name="connsiteY20" fmla="*/ 1146972 h 3296340"/>
                  <a:gd name="connsiteX21" fmla="*/ 9907 w 1879986"/>
                  <a:gd name="connsiteY21" fmla="*/ 1521969 h 3296340"/>
                  <a:gd name="connsiteX22" fmla="*/ 0 w 1879986"/>
                  <a:gd name="connsiteY22" fmla="*/ 2778708 h 3296340"/>
                  <a:gd name="connsiteX23" fmla="*/ 129649 w 1879986"/>
                  <a:gd name="connsiteY23" fmla="*/ 2937112 h 3296340"/>
                  <a:gd name="connsiteX24" fmla="*/ 118764 w 1879986"/>
                  <a:gd name="connsiteY24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03821 w 1879986"/>
                  <a:gd name="connsiteY3" fmla="*/ 2947998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32421 w 1879986"/>
                  <a:gd name="connsiteY6" fmla="*/ 1674369 h 3296340"/>
                  <a:gd name="connsiteX7" fmla="*/ 532421 w 1879986"/>
                  <a:gd name="connsiteY7" fmla="*/ 1521969 h 3296340"/>
                  <a:gd name="connsiteX8" fmla="*/ 334112 w 1879986"/>
                  <a:gd name="connsiteY8" fmla="*/ 1290719 h 3296340"/>
                  <a:gd name="connsiteX9" fmla="*/ 328934 w 1879986"/>
                  <a:gd name="connsiteY9" fmla="*/ 1269031 h 3296340"/>
                  <a:gd name="connsiteX10" fmla="*/ 356286 w 1879986"/>
                  <a:gd name="connsiteY10" fmla="*/ 1268519 h 3296340"/>
                  <a:gd name="connsiteX11" fmla="*/ 353118 w 1879986"/>
                  <a:gd name="connsiteY11" fmla="*/ 1138495 h 3296340"/>
                  <a:gd name="connsiteX12" fmla="*/ 234935 w 1879986"/>
                  <a:gd name="connsiteY12" fmla="*/ 1138830 h 3296340"/>
                  <a:gd name="connsiteX13" fmla="*/ 235339 w 1879986"/>
                  <a:gd name="connsiteY13" fmla="*/ 923254 h 3296340"/>
                  <a:gd name="connsiteX14" fmla="*/ 603374 w 1879986"/>
                  <a:gd name="connsiteY14" fmla="*/ 237848 h 3296340"/>
                  <a:gd name="connsiteX15" fmla="*/ 1680415 w 1879986"/>
                  <a:gd name="connsiteY15" fmla="*/ 1068728 h 3296340"/>
                  <a:gd name="connsiteX16" fmla="*/ 1879986 w 1879986"/>
                  <a:gd name="connsiteY16" fmla="*/ 1081411 h 3296340"/>
                  <a:gd name="connsiteX17" fmla="*/ 1816630 w 1879986"/>
                  <a:gd name="connsiteY17" fmla="*/ 913332 h 3296340"/>
                  <a:gd name="connsiteX18" fmla="*/ 958163 w 1879986"/>
                  <a:gd name="connsiteY18" fmla="*/ 0 h 3296340"/>
                  <a:gd name="connsiteX19" fmla="*/ 109261 w 1879986"/>
                  <a:gd name="connsiteY19" fmla="*/ 858457 h 3296340"/>
                  <a:gd name="connsiteX20" fmla="*/ 94804 w 1879986"/>
                  <a:gd name="connsiteY20" fmla="*/ 1146972 h 3296340"/>
                  <a:gd name="connsiteX21" fmla="*/ 9907 w 1879986"/>
                  <a:gd name="connsiteY21" fmla="*/ 1521969 h 3296340"/>
                  <a:gd name="connsiteX22" fmla="*/ 0 w 1879986"/>
                  <a:gd name="connsiteY22" fmla="*/ 2778708 h 3296340"/>
                  <a:gd name="connsiteX23" fmla="*/ 129649 w 1879986"/>
                  <a:gd name="connsiteY23" fmla="*/ 2937112 h 3296340"/>
                  <a:gd name="connsiteX24" fmla="*/ 118764 w 1879986"/>
                  <a:gd name="connsiteY24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03821 w 1879986"/>
                  <a:gd name="connsiteY3" fmla="*/ 2947998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32421 w 1879986"/>
                  <a:gd name="connsiteY6" fmla="*/ 1674369 h 3296340"/>
                  <a:gd name="connsiteX7" fmla="*/ 532421 w 1879986"/>
                  <a:gd name="connsiteY7" fmla="*/ 1521969 h 3296340"/>
                  <a:gd name="connsiteX8" fmla="*/ 424261 w 1879986"/>
                  <a:gd name="connsiteY8" fmla="*/ 1397278 h 3296340"/>
                  <a:gd name="connsiteX9" fmla="*/ 334112 w 1879986"/>
                  <a:gd name="connsiteY9" fmla="*/ 1290719 h 3296340"/>
                  <a:gd name="connsiteX10" fmla="*/ 328934 w 1879986"/>
                  <a:gd name="connsiteY10" fmla="*/ 1269031 h 3296340"/>
                  <a:gd name="connsiteX11" fmla="*/ 356286 w 1879986"/>
                  <a:gd name="connsiteY11" fmla="*/ 1268519 h 3296340"/>
                  <a:gd name="connsiteX12" fmla="*/ 353118 w 1879986"/>
                  <a:gd name="connsiteY12" fmla="*/ 1138495 h 3296340"/>
                  <a:gd name="connsiteX13" fmla="*/ 234935 w 1879986"/>
                  <a:gd name="connsiteY13" fmla="*/ 1138830 h 3296340"/>
                  <a:gd name="connsiteX14" fmla="*/ 235339 w 1879986"/>
                  <a:gd name="connsiteY14" fmla="*/ 923254 h 3296340"/>
                  <a:gd name="connsiteX15" fmla="*/ 603374 w 1879986"/>
                  <a:gd name="connsiteY15" fmla="*/ 237848 h 3296340"/>
                  <a:gd name="connsiteX16" fmla="*/ 1680415 w 1879986"/>
                  <a:gd name="connsiteY16" fmla="*/ 1068728 h 3296340"/>
                  <a:gd name="connsiteX17" fmla="*/ 1879986 w 1879986"/>
                  <a:gd name="connsiteY17" fmla="*/ 1081411 h 3296340"/>
                  <a:gd name="connsiteX18" fmla="*/ 1816630 w 1879986"/>
                  <a:gd name="connsiteY18" fmla="*/ 913332 h 3296340"/>
                  <a:gd name="connsiteX19" fmla="*/ 958163 w 1879986"/>
                  <a:gd name="connsiteY19" fmla="*/ 0 h 3296340"/>
                  <a:gd name="connsiteX20" fmla="*/ 109261 w 1879986"/>
                  <a:gd name="connsiteY20" fmla="*/ 858457 h 3296340"/>
                  <a:gd name="connsiteX21" fmla="*/ 94804 w 1879986"/>
                  <a:gd name="connsiteY21" fmla="*/ 1146972 h 3296340"/>
                  <a:gd name="connsiteX22" fmla="*/ 9907 w 1879986"/>
                  <a:gd name="connsiteY22" fmla="*/ 1521969 h 3296340"/>
                  <a:gd name="connsiteX23" fmla="*/ 0 w 1879986"/>
                  <a:gd name="connsiteY23" fmla="*/ 2778708 h 3296340"/>
                  <a:gd name="connsiteX24" fmla="*/ 129649 w 1879986"/>
                  <a:gd name="connsiteY24" fmla="*/ 2937112 h 3296340"/>
                  <a:gd name="connsiteX25" fmla="*/ 118764 w 1879986"/>
                  <a:gd name="connsiteY25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03821 w 1879986"/>
                  <a:gd name="connsiteY3" fmla="*/ 2947998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32421 w 1879986"/>
                  <a:gd name="connsiteY6" fmla="*/ 1674369 h 3296340"/>
                  <a:gd name="connsiteX7" fmla="*/ 532421 w 1879986"/>
                  <a:gd name="connsiteY7" fmla="*/ 1521969 h 3296340"/>
                  <a:gd name="connsiteX8" fmla="*/ 368764 w 1879986"/>
                  <a:gd name="connsiteY8" fmla="*/ 1302973 h 3296340"/>
                  <a:gd name="connsiteX9" fmla="*/ 334112 w 1879986"/>
                  <a:gd name="connsiteY9" fmla="*/ 1290719 h 3296340"/>
                  <a:gd name="connsiteX10" fmla="*/ 328934 w 1879986"/>
                  <a:gd name="connsiteY10" fmla="*/ 1269031 h 3296340"/>
                  <a:gd name="connsiteX11" fmla="*/ 356286 w 1879986"/>
                  <a:gd name="connsiteY11" fmla="*/ 1268519 h 3296340"/>
                  <a:gd name="connsiteX12" fmla="*/ 353118 w 1879986"/>
                  <a:gd name="connsiteY12" fmla="*/ 1138495 h 3296340"/>
                  <a:gd name="connsiteX13" fmla="*/ 234935 w 1879986"/>
                  <a:gd name="connsiteY13" fmla="*/ 1138830 h 3296340"/>
                  <a:gd name="connsiteX14" fmla="*/ 235339 w 1879986"/>
                  <a:gd name="connsiteY14" fmla="*/ 923254 h 3296340"/>
                  <a:gd name="connsiteX15" fmla="*/ 603374 w 1879986"/>
                  <a:gd name="connsiteY15" fmla="*/ 237848 h 3296340"/>
                  <a:gd name="connsiteX16" fmla="*/ 1680415 w 1879986"/>
                  <a:gd name="connsiteY16" fmla="*/ 1068728 h 3296340"/>
                  <a:gd name="connsiteX17" fmla="*/ 1879986 w 1879986"/>
                  <a:gd name="connsiteY17" fmla="*/ 1081411 h 3296340"/>
                  <a:gd name="connsiteX18" fmla="*/ 1816630 w 1879986"/>
                  <a:gd name="connsiteY18" fmla="*/ 913332 h 3296340"/>
                  <a:gd name="connsiteX19" fmla="*/ 958163 w 1879986"/>
                  <a:gd name="connsiteY19" fmla="*/ 0 h 3296340"/>
                  <a:gd name="connsiteX20" fmla="*/ 109261 w 1879986"/>
                  <a:gd name="connsiteY20" fmla="*/ 858457 h 3296340"/>
                  <a:gd name="connsiteX21" fmla="*/ 94804 w 1879986"/>
                  <a:gd name="connsiteY21" fmla="*/ 1146972 h 3296340"/>
                  <a:gd name="connsiteX22" fmla="*/ 9907 w 1879986"/>
                  <a:gd name="connsiteY22" fmla="*/ 1521969 h 3296340"/>
                  <a:gd name="connsiteX23" fmla="*/ 0 w 1879986"/>
                  <a:gd name="connsiteY23" fmla="*/ 2778708 h 3296340"/>
                  <a:gd name="connsiteX24" fmla="*/ 129649 w 1879986"/>
                  <a:gd name="connsiteY24" fmla="*/ 2937112 h 3296340"/>
                  <a:gd name="connsiteX25" fmla="*/ 118764 w 1879986"/>
                  <a:gd name="connsiteY25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03821 w 1879986"/>
                  <a:gd name="connsiteY3" fmla="*/ 2947998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32421 w 1879986"/>
                  <a:gd name="connsiteY6" fmla="*/ 1674369 h 3296340"/>
                  <a:gd name="connsiteX7" fmla="*/ 542073 w 1879986"/>
                  <a:gd name="connsiteY7" fmla="*/ 1512297 h 3296340"/>
                  <a:gd name="connsiteX8" fmla="*/ 368764 w 1879986"/>
                  <a:gd name="connsiteY8" fmla="*/ 1302973 h 3296340"/>
                  <a:gd name="connsiteX9" fmla="*/ 334112 w 1879986"/>
                  <a:gd name="connsiteY9" fmla="*/ 1290719 h 3296340"/>
                  <a:gd name="connsiteX10" fmla="*/ 328934 w 1879986"/>
                  <a:gd name="connsiteY10" fmla="*/ 1269031 h 3296340"/>
                  <a:gd name="connsiteX11" fmla="*/ 356286 w 1879986"/>
                  <a:gd name="connsiteY11" fmla="*/ 1268519 h 3296340"/>
                  <a:gd name="connsiteX12" fmla="*/ 353118 w 1879986"/>
                  <a:gd name="connsiteY12" fmla="*/ 1138495 h 3296340"/>
                  <a:gd name="connsiteX13" fmla="*/ 234935 w 1879986"/>
                  <a:gd name="connsiteY13" fmla="*/ 1138830 h 3296340"/>
                  <a:gd name="connsiteX14" fmla="*/ 235339 w 1879986"/>
                  <a:gd name="connsiteY14" fmla="*/ 923254 h 3296340"/>
                  <a:gd name="connsiteX15" fmla="*/ 603374 w 1879986"/>
                  <a:gd name="connsiteY15" fmla="*/ 237848 h 3296340"/>
                  <a:gd name="connsiteX16" fmla="*/ 1680415 w 1879986"/>
                  <a:gd name="connsiteY16" fmla="*/ 1068728 h 3296340"/>
                  <a:gd name="connsiteX17" fmla="*/ 1879986 w 1879986"/>
                  <a:gd name="connsiteY17" fmla="*/ 1081411 h 3296340"/>
                  <a:gd name="connsiteX18" fmla="*/ 1816630 w 1879986"/>
                  <a:gd name="connsiteY18" fmla="*/ 913332 h 3296340"/>
                  <a:gd name="connsiteX19" fmla="*/ 958163 w 1879986"/>
                  <a:gd name="connsiteY19" fmla="*/ 0 h 3296340"/>
                  <a:gd name="connsiteX20" fmla="*/ 109261 w 1879986"/>
                  <a:gd name="connsiteY20" fmla="*/ 858457 h 3296340"/>
                  <a:gd name="connsiteX21" fmla="*/ 94804 w 1879986"/>
                  <a:gd name="connsiteY21" fmla="*/ 1146972 h 3296340"/>
                  <a:gd name="connsiteX22" fmla="*/ 9907 w 1879986"/>
                  <a:gd name="connsiteY22" fmla="*/ 1521969 h 3296340"/>
                  <a:gd name="connsiteX23" fmla="*/ 0 w 1879986"/>
                  <a:gd name="connsiteY23" fmla="*/ 2778708 h 3296340"/>
                  <a:gd name="connsiteX24" fmla="*/ 129649 w 1879986"/>
                  <a:gd name="connsiteY24" fmla="*/ 2937112 h 3296340"/>
                  <a:gd name="connsiteX25" fmla="*/ 118764 w 1879986"/>
                  <a:gd name="connsiteY25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03821 w 1879986"/>
                  <a:gd name="connsiteY3" fmla="*/ 2947998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56550 w 1879986"/>
                  <a:gd name="connsiteY6" fmla="*/ 1594571 h 3296340"/>
                  <a:gd name="connsiteX7" fmla="*/ 542073 w 1879986"/>
                  <a:gd name="connsiteY7" fmla="*/ 1512297 h 3296340"/>
                  <a:gd name="connsiteX8" fmla="*/ 368764 w 1879986"/>
                  <a:gd name="connsiteY8" fmla="*/ 1302973 h 3296340"/>
                  <a:gd name="connsiteX9" fmla="*/ 334112 w 1879986"/>
                  <a:gd name="connsiteY9" fmla="*/ 1290719 h 3296340"/>
                  <a:gd name="connsiteX10" fmla="*/ 328934 w 1879986"/>
                  <a:gd name="connsiteY10" fmla="*/ 1269031 h 3296340"/>
                  <a:gd name="connsiteX11" fmla="*/ 356286 w 1879986"/>
                  <a:gd name="connsiteY11" fmla="*/ 1268519 h 3296340"/>
                  <a:gd name="connsiteX12" fmla="*/ 353118 w 1879986"/>
                  <a:gd name="connsiteY12" fmla="*/ 1138495 h 3296340"/>
                  <a:gd name="connsiteX13" fmla="*/ 234935 w 1879986"/>
                  <a:gd name="connsiteY13" fmla="*/ 1138830 h 3296340"/>
                  <a:gd name="connsiteX14" fmla="*/ 235339 w 1879986"/>
                  <a:gd name="connsiteY14" fmla="*/ 923254 h 3296340"/>
                  <a:gd name="connsiteX15" fmla="*/ 603374 w 1879986"/>
                  <a:gd name="connsiteY15" fmla="*/ 237848 h 3296340"/>
                  <a:gd name="connsiteX16" fmla="*/ 1680415 w 1879986"/>
                  <a:gd name="connsiteY16" fmla="*/ 1068728 h 3296340"/>
                  <a:gd name="connsiteX17" fmla="*/ 1879986 w 1879986"/>
                  <a:gd name="connsiteY17" fmla="*/ 1081411 h 3296340"/>
                  <a:gd name="connsiteX18" fmla="*/ 1816630 w 1879986"/>
                  <a:gd name="connsiteY18" fmla="*/ 913332 h 3296340"/>
                  <a:gd name="connsiteX19" fmla="*/ 958163 w 1879986"/>
                  <a:gd name="connsiteY19" fmla="*/ 0 h 3296340"/>
                  <a:gd name="connsiteX20" fmla="*/ 109261 w 1879986"/>
                  <a:gd name="connsiteY20" fmla="*/ 858457 h 3296340"/>
                  <a:gd name="connsiteX21" fmla="*/ 94804 w 1879986"/>
                  <a:gd name="connsiteY21" fmla="*/ 1146972 h 3296340"/>
                  <a:gd name="connsiteX22" fmla="*/ 9907 w 1879986"/>
                  <a:gd name="connsiteY22" fmla="*/ 1521969 h 3296340"/>
                  <a:gd name="connsiteX23" fmla="*/ 0 w 1879986"/>
                  <a:gd name="connsiteY23" fmla="*/ 2778708 h 3296340"/>
                  <a:gd name="connsiteX24" fmla="*/ 129649 w 1879986"/>
                  <a:gd name="connsiteY24" fmla="*/ 2937112 h 3296340"/>
                  <a:gd name="connsiteX25" fmla="*/ 118764 w 1879986"/>
                  <a:gd name="connsiteY25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03821 w 1879986"/>
                  <a:gd name="connsiteY3" fmla="*/ 2947998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56550 w 1879986"/>
                  <a:gd name="connsiteY6" fmla="*/ 1594571 h 3296340"/>
                  <a:gd name="connsiteX7" fmla="*/ 542073 w 1879986"/>
                  <a:gd name="connsiteY7" fmla="*/ 1512297 h 3296340"/>
                  <a:gd name="connsiteX8" fmla="*/ 368764 w 1879986"/>
                  <a:gd name="connsiteY8" fmla="*/ 1302973 h 3296340"/>
                  <a:gd name="connsiteX9" fmla="*/ 329287 w 1879986"/>
                  <a:gd name="connsiteY9" fmla="*/ 1302809 h 3296340"/>
                  <a:gd name="connsiteX10" fmla="*/ 328934 w 1879986"/>
                  <a:gd name="connsiteY10" fmla="*/ 1269031 h 3296340"/>
                  <a:gd name="connsiteX11" fmla="*/ 356286 w 1879986"/>
                  <a:gd name="connsiteY11" fmla="*/ 1268519 h 3296340"/>
                  <a:gd name="connsiteX12" fmla="*/ 353118 w 1879986"/>
                  <a:gd name="connsiteY12" fmla="*/ 1138495 h 3296340"/>
                  <a:gd name="connsiteX13" fmla="*/ 234935 w 1879986"/>
                  <a:gd name="connsiteY13" fmla="*/ 1138830 h 3296340"/>
                  <a:gd name="connsiteX14" fmla="*/ 235339 w 1879986"/>
                  <a:gd name="connsiteY14" fmla="*/ 923254 h 3296340"/>
                  <a:gd name="connsiteX15" fmla="*/ 603374 w 1879986"/>
                  <a:gd name="connsiteY15" fmla="*/ 237848 h 3296340"/>
                  <a:gd name="connsiteX16" fmla="*/ 1680415 w 1879986"/>
                  <a:gd name="connsiteY16" fmla="*/ 1068728 h 3296340"/>
                  <a:gd name="connsiteX17" fmla="*/ 1879986 w 1879986"/>
                  <a:gd name="connsiteY17" fmla="*/ 1081411 h 3296340"/>
                  <a:gd name="connsiteX18" fmla="*/ 1816630 w 1879986"/>
                  <a:gd name="connsiteY18" fmla="*/ 913332 h 3296340"/>
                  <a:gd name="connsiteX19" fmla="*/ 958163 w 1879986"/>
                  <a:gd name="connsiteY19" fmla="*/ 0 h 3296340"/>
                  <a:gd name="connsiteX20" fmla="*/ 109261 w 1879986"/>
                  <a:gd name="connsiteY20" fmla="*/ 858457 h 3296340"/>
                  <a:gd name="connsiteX21" fmla="*/ 94804 w 1879986"/>
                  <a:gd name="connsiteY21" fmla="*/ 1146972 h 3296340"/>
                  <a:gd name="connsiteX22" fmla="*/ 9907 w 1879986"/>
                  <a:gd name="connsiteY22" fmla="*/ 1521969 h 3296340"/>
                  <a:gd name="connsiteX23" fmla="*/ 0 w 1879986"/>
                  <a:gd name="connsiteY23" fmla="*/ 2778708 h 3296340"/>
                  <a:gd name="connsiteX24" fmla="*/ 129649 w 1879986"/>
                  <a:gd name="connsiteY24" fmla="*/ 2937112 h 3296340"/>
                  <a:gd name="connsiteX25" fmla="*/ 118764 w 1879986"/>
                  <a:gd name="connsiteY25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23124 w 1879986"/>
                  <a:gd name="connsiteY3" fmla="*/ 3071321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56550 w 1879986"/>
                  <a:gd name="connsiteY6" fmla="*/ 1594571 h 3296340"/>
                  <a:gd name="connsiteX7" fmla="*/ 542073 w 1879986"/>
                  <a:gd name="connsiteY7" fmla="*/ 1512297 h 3296340"/>
                  <a:gd name="connsiteX8" fmla="*/ 368764 w 1879986"/>
                  <a:gd name="connsiteY8" fmla="*/ 1302973 h 3296340"/>
                  <a:gd name="connsiteX9" fmla="*/ 329287 w 1879986"/>
                  <a:gd name="connsiteY9" fmla="*/ 1302809 h 3296340"/>
                  <a:gd name="connsiteX10" fmla="*/ 328934 w 1879986"/>
                  <a:gd name="connsiteY10" fmla="*/ 1269031 h 3296340"/>
                  <a:gd name="connsiteX11" fmla="*/ 356286 w 1879986"/>
                  <a:gd name="connsiteY11" fmla="*/ 1268519 h 3296340"/>
                  <a:gd name="connsiteX12" fmla="*/ 353118 w 1879986"/>
                  <a:gd name="connsiteY12" fmla="*/ 1138495 h 3296340"/>
                  <a:gd name="connsiteX13" fmla="*/ 234935 w 1879986"/>
                  <a:gd name="connsiteY13" fmla="*/ 1138830 h 3296340"/>
                  <a:gd name="connsiteX14" fmla="*/ 235339 w 1879986"/>
                  <a:gd name="connsiteY14" fmla="*/ 923254 h 3296340"/>
                  <a:gd name="connsiteX15" fmla="*/ 603374 w 1879986"/>
                  <a:gd name="connsiteY15" fmla="*/ 237848 h 3296340"/>
                  <a:gd name="connsiteX16" fmla="*/ 1680415 w 1879986"/>
                  <a:gd name="connsiteY16" fmla="*/ 1068728 h 3296340"/>
                  <a:gd name="connsiteX17" fmla="*/ 1879986 w 1879986"/>
                  <a:gd name="connsiteY17" fmla="*/ 1081411 h 3296340"/>
                  <a:gd name="connsiteX18" fmla="*/ 1816630 w 1879986"/>
                  <a:gd name="connsiteY18" fmla="*/ 913332 h 3296340"/>
                  <a:gd name="connsiteX19" fmla="*/ 958163 w 1879986"/>
                  <a:gd name="connsiteY19" fmla="*/ 0 h 3296340"/>
                  <a:gd name="connsiteX20" fmla="*/ 109261 w 1879986"/>
                  <a:gd name="connsiteY20" fmla="*/ 858457 h 3296340"/>
                  <a:gd name="connsiteX21" fmla="*/ 94804 w 1879986"/>
                  <a:gd name="connsiteY21" fmla="*/ 1146972 h 3296340"/>
                  <a:gd name="connsiteX22" fmla="*/ 9907 w 1879986"/>
                  <a:gd name="connsiteY22" fmla="*/ 1521969 h 3296340"/>
                  <a:gd name="connsiteX23" fmla="*/ 0 w 1879986"/>
                  <a:gd name="connsiteY23" fmla="*/ 2778708 h 3296340"/>
                  <a:gd name="connsiteX24" fmla="*/ 129649 w 1879986"/>
                  <a:gd name="connsiteY24" fmla="*/ 2937112 h 3296340"/>
                  <a:gd name="connsiteX25" fmla="*/ 118764 w 1879986"/>
                  <a:gd name="connsiteY25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23124 w 1879986"/>
                  <a:gd name="connsiteY3" fmla="*/ 3071321 h 3296340"/>
                  <a:gd name="connsiteX4" fmla="*/ 511661 w 1879986"/>
                  <a:gd name="connsiteY4" fmla="*/ 2854845 h 3296340"/>
                  <a:gd name="connsiteX5" fmla="*/ 543307 w 1879986"/>
                  <a:gd name="connsiteY5" fmla="*/ 2686740 h 3296340"/>
                  <a:gd name="connsiteX6" fmla="*/ 556550 w 1879986"/>
                  <a:gd name="connsiteY6" fmla="*/ 1594571 h 3296340"/>
                  <a:gd name="connsiteX7" fmla="*/ 542073 w 1879986"/>
                  <a:gd name="connsiteY7" fmla="*/ 1512297 h 3296340"/>
                  <a:gd name="connsiteX8" fmla="*/ 368764 w 1879986"/>
                  <a:gd name="connsiteY8" fmla="*/ 1302973 h 3296340"/>
                  <a:gd name="connsiteX9" fmla="*/ 329287 w 1879986"/>
                  <a:gd name="connsiteY9" fmla="*/ 1302809 h 3296340"/>
                  <a:gd name="connsiteX10" fmla="*/ 328934 w 1879986"/>
                  <a:gd name="connsiteY10" fmla="*/ 1269031 h 3296340"/>
                  <a:gd name="connsiteX11" fmla="*/ 356286 w 1879986"/>
                  <a:gd name="connsiteY11" fmla="*/ 1268519 h 3296340"/>
                  <a:gd name="connsiteX12" fmla="*/ 353118 w 1879986"/>
                  <a:gd name="connsiteY12" fmla="*/ 1138495 h 3296340"/>
                  <a:gd name="connsiteX13" fmla="*/ 234935 w 1879986"/>
                  <a:gd name="connsiteY13" fmla="*/ 1138830 h 3296340"/>
                  <a:gd name="connsiteX14" fmla="*/ 235339 w 1879986"/>
                  <a:gd name="connsiteY14" fmla="*/ 923254 h 3296340"/>
                  <a:gd name="connsiteX15" fmla="*/ 603374 w 1879986"/>
                  <a:gd name="connsiteY15" fmla="*/ 237848 h 3296340"/>
                  <a:gd name="connsiteX16" fmla="*/ 1680415 w 1879986"/>
                  <a:gd name="connsiteY16" fmla="*/ 1068728 h 3296340"/>
                  <a:gd name="connsiteX17" fmla="*/ 1879986 w 1879986"/>
                  <a:gd name="connsiteY17" fmla="*/ 1081411 h 3296340"/>
                  <a:gd name="connsiteX18" fmla="*/ 1816630 w 1879986"/>
                  <a:gd name="connsiteY18" fmla="*/ 913332 h 3296340"/>
                  <a:gd name="connsiteX19" fmla="*/ 958163 w 1879986"/>
                  <a:gd name="connsiteY19" fmla="*/ 0 h 3296340"/>
                  <a:gd name="connsiteX20" fmla="*/ 109261 w 1879986"/>
                  <a:gd name="connsiteY20" fmla="*/ 858457 h 3296340"/>
                  <a:gd name="connsiteX21" fmla="*/ 94804 w 1879986"/>
                  <a:gd name="connsiteY21" fmla="*/ 1146972 h 3296340"/>
                  <a:gd name="connsiteX22" fmla="*/ 9907 w 1879986"/>
                  <a:gd name="connsiteY22" fmla="*/ 1521969 h 3296340"/>
                  <a:gd name="connsiteX23" fmla="*/ 0 w 1879986"/>
                  <a:gd name="connsiteY23" fmla="*/ 2778708 h 3296340"/>
                  <a:gd name="connsiteX24" fmla="*/ 129649 w 1879986"/>
                  <a:gd name="connsiteY24" fmla="*/ 2937112 h 3296340"/>
                  <a:gd name="connsiteX25" fmla="*/ 118764 w 1879986"/>
                  <a:gd name="connsiteY25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23124 w 1879986"/>
                  <a:gd name="connsiteY3" fmla="*/ 3071321 h 3296340"/>
                  <a:gd name="connsiteX4" fmla="*/ 511661 w 1879986"/>
                  <a:gd name="connsiteY4" fmla="*/ 2854845 h 3296340"/>
                  <a:gd name="connsiteX5" fmla="*/ 555371 w 1879986"/>
                  <a:gd name="connsiteY5" fmla="*/ 2747193 h 3296340"/>
                  <a:gd name="connsiteX6" fmla="*/ 556550 w 1879986"/>
                  <a:gd name="connsiteY6" fmla="*/ 1594571 h 3296340"/>
                  <a:gd name="connsiteX7" fmla="*/ 542073 w 1879986"/>
                  <a:gd name="connsiteY7" fmla="*/ 1512297 h 3296340"/>
                  <a:gd name="connsiteX8" fmla="*/ 368764 w 1879986"/>
                  <a:gd name="connsiteY8" fmla="*/ 1302973 h 3296340"/>
                  <a:gd name="connsiteX9" fmla="*/ 329287 w 1879986"/>
                  <a:gd name="connsiteY9" fmla="*/ 1302809 h 3296340"/>
                  <a:gd name="connsiteX10" fmla="*/ 328934 w 1879986"/>
                  <a:gd name="connsiteY10" fmla="*/ 1269031 h 3296340"/>
                  <a:gd name="connsiteX11" fmla="*/ 356286 w 1879986"/>
                  <a:gd name="connsiteY11" fmla="*/ 1268519 h 3296340"/>
                  <a:gd name="connsiteX12" fmla="*/ 353118 w 1879986"/>
                  <a:gd name="connsiteY12" fmla="*/ 1138495 h 3296340"/>
                  <a:gd name="connsiteX13" fmla="*/ 234935 w 1879986"/>
                  <a:gd name="connsiteY13" fmla="*/ 1138830 h 3296340"/>
                  <a:gd name="connsiteX14" fmla="*/ 235339 w 1879986"/>
                  <a:gd name="connsiteY14" fmla="*/ 923254 h 3296340"/>
                  <a:gd name="connsiteX15" fmla="*/ 603374 w 1879986"/>
                  <a:gd name="connsiteY15" fmla="*/ 237848 h 3296340"/>
                  <a:gd name="connsiteX16" fmla="*/ 1680415 w 1879986"/>
                  <a:gd name="connsiteY16" fmla="*/ 1068728 h 3296340"/>
                  <a:gd name="connsiteX17" fmla="*/ 1879986 w 1879986"/>
                  <a:gd name="connsiteY17" fmla="*/ 1081411 h 3296340"/>
                  <a:gd name="connsiteX18" fmla="*/ 1816630 w 1879986"/>
                  <a:gd name="connsiteY18" fmla="*/ 913332 h 3296340"/>
                  <a:gd name="connsiteX19" fmla="*/ 958163 w 1879986"/>
                  <a:gd name="connsiteY19" fmla="*/ 0 h 3296340"/>
                  <a:gd name="connsiteX20" fmla="*/ 109261 w 1879986"/>
                  <a:gd name="connsiteY20" fmla="*/ 858457 h 3296340"/>
                  <a:gd name="connsiteX21" fmla="*/ 94804 w 1879986"/>
                  <a:gd name="connsiteY21" fmla="*/ 1146972 h 3296340"/>
                  <a:gd name="connsiteX22" fmla="*/ 9907 w 1879986"/>
                  <a:gd name="connsiteY22" fmla="*/ 1521969 h 3296340"/>
                  <a:gd name="connsiteX23" fmla="*/ 0 w 1879986"/>
                  <a:gd name="connsiteY23" fmla="*/ 2778708 h 3296340"/>
                  <a:gd name="connsiteX24" fmla="*/ 129649 w 1879986"/>
                  <a:gd name="connsiteY24" fmla="*/ 2937112 h 3296340"/>
                  <a:gd name="connsiteX25" fmla="*/ 118764 w 1879986"/>
                  <a:gd name="connsiteY25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23124 w 1879986"/>
                  <a:gd name="connsiteY3" fmla="*/ 3071321 h 3296340"/>
                  <a:gd name="connsiteX4" fmla="*/ 511661 w 1879986"/>
                  <a:gd name="connsiteY4" fmla="*/ 2854845 h 3296340"/>
                  <a:gd name="connsiteX5" fmla="*/ 555371 w 1879986"/>
                  <a:gd name="connsiteY5" fmla="*/ 2747193 h 3296340"/>
                  <a:gd name="connsiteX6" fmla="*/ 556550 w 1879986"/>
                  <a:gd name="connsiteY6" fmla="*/ 1594571 h 3296340"/>
                  <a:gd name="connsiteX7" fmla="*/ 542073 w 1879986"/>
                  <a:gd name="connsiteY7" fmla="*/ 1512297 h 3296340"/>
                  <a:gd name="connsiteX8" fmla="*/ 368764 w 1879986"/>
                  <a:gd name="connsiteY8" fmla="*/ 1302973 h 3296340"/>
                  <a:gd name="connsiteX9" fmla="*/ 329287 w 1879986"/>
                  <a:gd name="connsiteY9" fmla="*/ 1302809 h 3296340"/>
                  <a:gd name="connsiteX10" fmla="*/ 328934 w 1879986"/>
                  <a:gd name="connsiteY10" fmla="*/ 1269031 h 3296340"/>
                  <a:gd name="connsiteX11" fmla="*/ 356286 w 1879986"/>
                  <a:gd name="connsiteY11" fmla="*/ 1268519 h 3296340"/>
                  <a:gd name="connsiteX12" fmla="*/ 353118 w 1879986"/>
                  <a:gd name="connsiteY12" fmla="*/ 1138495 h 3296340"/>
                  <a:gd name="connsiteX13" fmla="*/ 234935 w 1879986"/>
                  <a:gd name="connsiteY13" fmla="*/ 1138830 h 3296340"/>
                  <a:gd name="connsiteX14" fmla="*/ 235339 w 1879986"/>
                  <a:gd name="connsiteY14" fmla="*/ 923254 h 3296340"/>
                  <a:gd name="connsiteX15" fmla="*/ 603374 w 1879986"/>
                  <a:gd name="connsiteY15" fmla="*/ 237848 h 3296340"/>
                  <a:gd name="connsiteX16" fmla="*/ 1680415 w 1879986"/>
                  <a:gd name="connsiteY16" fmla="*/ 1068728 h 3296340"/>
                  <a:gd name="connsiteX17" fmla="*/ 1879986 w 1879986"/>
                  <a:gd name="connsiteY17" fmla="*/ 1081411 h 3296340"/>
                  <a:gd name="connsiteX18" fmla="*/ 1816630 w 1879986"/>
                  <a:gd name="connsiteY18" fmla="*/ 913332 h 3296340"/>
                  <a:gd name="connsiteX19" fmla="*/ 958163 w 1879986"/>
                  <a:gd name="connsiteY19" fmla="*/ 0 h 3296340"/>
                  <a:gd name="connsiteX20" fmla="*/ 109261 w 1879986"/>
                  <a:gd name="connsiteY20" fmla="*/ 858457 h 3296340"/>
                  <a:gd name="connsiteX21" fmla="*/ 94804 w 1879986"/>
                  <a:gd name="connsiteY21" fmla="*/ 1146972 h 3296340"/>
                  <a:gd name="connsiteX22" fmla="*/ 9907 w 1879986"/>
                  <a:gd name="connsiteY22" fmla="*/ 1521969 h 3296340"/>
                  <a:gd name="connsiteX23" fmla="*/ 0 w 1879986"/>
                  <a:gd name="connsiteY23" fmla="*/ 2778708 h 3296340"/>
                  <a:gd name="connsiteX24" fmla="*/ 129649 w 1879986"/>
                  <a:gd name="connsiteY24" fmla="*/ 2937112 h 3296340"/>
                  <a:gd name="connsiteX25" fmla="*/ 118764 w 1879986"/>
                  <a:gd name="connsiteY25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23124 w 1879986"/>
                  <a:gd name="connsiteY3" fmla="*/ 3071321 h 3296340"/>
                  <a:gd name="connsiteX4" fmla="*/ 511661 w 1879986"/>
                  <a:gd name="connsiteY4" fmla="*/ 2854845 h 3296340"/>
                  <a:gd name="connsiteX5" fmla="*/ 555371 w 1879986"/>
                  <a:gd name="connsiteY5" fmla="*/ 2747193 h 3296340"/>
                  <a:gd name="connsiteX6" fmla="*/ 556550 w 1879986"/>
                  <a:gd name="connsiteY6" fmla="*/ 1594571 h 3296340"/>
                  <a:gd name="connsiteX7" fmla="*/ 542073 w 1879986"/>
                  <a:gd name="connsiteY7" fmla="*/ 1512297 h 3296340"/>
                  <a:gd name="connsiteX8" fmla="*/ 368764 w 1879986"/>
                  <a:gd name="connsiteY8" fmla="*/ 1302973 h 3296340"/>
                  <a:gd name="connsiteX9" fmla="*/ 329287 w 1879986"/>
                  <a:gd name="connsiteY9" fmla="*/ 1302809 h 3296340"/>
                  <a:gd name="connsiteX10" fmla="*/ 328934 w 1879986"/>
                  <a:gd name="connsiteY10" fmla="*/ 1269031 h 3296340"/>
                  <a:gd name="connsiteX11" fmla="*/ 356286 w 1879986"/>
                  <a:gd name="connsiteY11" fmla="*/ 1268519 h 3296340"/>
                  <a:gd name="connsiteX12" fmla="*/ 353118 w 1879986"/>
                  <a:gd name="connsiteY12" fmla="*/ 1138495 h 3296340"/>
                  <a:gd name="connsiteX13" fmla="*/ 234935 w 1879986"/>
                  <a:gd name="connsiteY13" fmla="*/ 1138830 h 3296340"/>
                  <a:gd name="connsiteX14" fmla="*/ 235339 w 1879986"/>
                  <a:gd name="connsiteY14" fmla="*/ 923254 h 3296340"/>
                  <a:gd name="connsiteX15" fmla="*/ 603374 w 1879986"/>
                  <a:gd name="connsiteY15" fmla="*/ 237848 h 3296340"/>
                  <a:gd name="connsiteX16" fmla="*/ 1680415 w 1879986"/>
                  <a:gd name="connsiteY16" fmla="*/ 1068728 h 3296340"/>
                  <a:gd name="connsiteX17" fmla="*/ 1879986 w 1879986"/>
                  <a:gd name="connsiteY17" fmla="*/ 1081411 h 3296340"/>
                  <a:gd name="connsiteX18" fmla="*/ 1816630 w 1879986"/>
                  <a:gd name="connsiteY18" fmla="*/ 913332 h 3296340"/>
                  <a:gd name="connsiteX19" fmla="*/ 958163 w 1879986"/>
                  <a:gd name="connsiteY19" fmla="*/ 0 h 3296340"/>
                  <a:gd name="connsiteX20" fmla="*/ 109261 w 1879986"/>
                  <a:gd name="connsiteY20" fmla="*/ 858457 h 3296340"/>
                  <a:gd name="connsiteX21" fmla="*/ 94804 w 1879986"/>
                  <a:gd name="connsiteY21" fmla="*/ 1146972 h 3296340"/>
                  <a:gd name="connsiteX22" fmla="*/ 9907 w 1879986"/>
                  <a:gd name="connsiteY22" fmla="*/ 1521969 h 3296340"/>
                  <a:gd name="connsiteX23" fmla="*/ 0 w 1879986"/>
                  <a:gd name="connsiteY23" fmla="*/ 2778708 h 3296340"/>
                  <a:gd name="connsiteX24" fmla="*/ 129649 w 1879986"/>
                  <a:gd name="connsiteY24" fmla="*/ 2937112 h 3296340"/>
                  <a:gd name="connsiteX25" fmla="*/ 118764 w 1879986"/>
                  <a:gd name="connsiteY25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319367 w 1879986"/>
                  <a:gd name="connsiteY2" fmla="*/ 3160841 h 3296340"/>
                  <a:gd name="connsiteX3" fmla="*/ 323124 w 1879986"/>
                  <a:gd name="connsiteY3" fmla="*/ 3071321 h 3296340"/>
                  <a:gd name="connsiteX4" fmla="*/ 511661 w 1879986"/>
                  <a:gd name="connsiteY4" fmla="*/ 2854845 h 3296340"/>
                  <a:gd name="connsiteX5" fmla="*/ 555371 w 1879986"/>
                  <a:gd name="connsiteY5" fmla="*/ 2747193 h 3296340"/>
                  <a:gd name="connsiteX6" fmla="*/ 556550 w 1879986"/>
                  <a:gd name="connsiteY6" fmla="*/ 1594571 h 3296340"/>
                  <a:gd name="connsiteX7" fmla="*/ 542073 w 1879986"/>
                  <a:gd name="connsiteY7" fmla="*/ 1512297 h 3296340"/>
                  <a:gd name="connsiteX8" fmla="*/ 368764 w 1879986"/>
                  <a:gd name="connsiteY8" fmla="*/ 1302973 h 3296340"/>
                  <a:gd name="connsiteX9" fmla="*/ 329287 w 1879986"/>
                  <a:gd name="connsiteY9" fmla="*/ 1302809 h 3296340"/>
                  <a:gd name="connsiteX10" fmla="*/ 328934 w 1879986"/>
                  <a:gd name="connsiteY10" fmla="*/ 1269031 h 3296340"/>
                  <a:gd name="connsiteX11" fmla="*/ 356286 w 1879986"/>
                  <a:gd name="connsiteY11" fmla="*/ 1268519 h 3296340"/>
                  <a:gd name="connsiteX12" fmla="*/ 353118 w 1879986"/>
                  <a:gd name="connsiteY12" fmla="*/ 1138495 h 3296340"/>
                  <a:gd name="connsiteX13" fmla="*/ 234935 w 1879986"/>
                  <a:gd name="connsiteY13" fmla="*/ 1138830 h 3296340"/>
                  <a:gd name="connsiteX14" fmla="*/ 235339 w 1879986"/>
                  <a:gd name="connsiteY14" fmla="*/ 923254 h 3296340"/>
                  <a:gd name="connsiteX15" fmla="*/ 603374 w 1879986"/>
                  <a:gd name="connsiteY15" fmla="*/ 237848 h 3296340"/>
                  <a:gd name="connsiteX16" fmla="*/ 1680415 w 1879986"/>
                  <a:gd name="connsiteY16" fmla="*/ 1068728 h 3296340"/>
                  <a:gd name="connsiteX17" fmla="*/ 1879986 w 1879986"/>
                  <a:gd name="connsiteY17" fmla="*/ 1081411 h 3296340"/>
                  <a:gd name="connsiteX18" fmla="*/ 1816630 w 1879986"/>
                  <a:gd name="connsiteY18" fmla="*/ 913332 h 3296340"/>
                  <a:gd name="connsiteX19" fmla="*/ 958163 w 1879986"/>
                  <a:gd name="connsiteY19" fmla="*/ 0 h 3296340"/>
                  <a:gd name="connsiteX20" fmla="*/ 109261 w 1879986"/>
                  <a:gd name="connsiteY20" fmla="*/ 858457 h 3296340"/>
                  <a:gd name="connsiteX21" fmla="*/ 94804 w 1879986"/>
                  <a:gd name="connsiteY21" fmla="*/ 1146972 h 3296340"/>
                  <a:gd name="connsiteX22" fmla="*/ 9907 w 1879986"/>
                  <a:gd name="connsiteY22" fmla="*/ 1521969 h 3296340"/>
                  <a:gd name="connsiteX23" fmla="*/ 0 w 1879986"/>
                  <a:gd name="connsiteY23" fmla="*/ 2778708 h 3296340"/>
                  <a:gd name="connsiteX24" fmla="*/ 129649 w 1879986"/>
                  <a:gd name="connsiteY24" fmla="*/ 2937112 h 3296340"/>
                  <a:gd name="connsiteX25" fmla="*/ 118764 w 1879986"/>
                  <a:gd name="connsiteY25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81901 w 1879986"/>
                  <a:gd name="connsiteY2" fmla="*/ 3247122 h 3296340"/>
                  <a:gd name="connsiteX3" fmla="*/ 319367 w 1879986"/>
                  <a:gd name="connsiteY3" fmla="*/ 3160841 h 3296340"/>
                  <a:gd name="connsiteX4" fmla="*/ 323124 w 1879986"/>
                  <a:gd name="connsiteY4" fmla="*/ 3071321 h 3296340"/>
                  <a:gd name="connsiteX5" fmla="*/ 511661 w 1879986"/>
                  <a:gd name="connsiteY5" fmla="*/ 2854845 h 3296340"/>
                  <a:gd name="connsiteX6" fmla="*/ 555371 w 1879986"/>
                  <a:gd name="connsiteY6" fmla="*/ 2747193 h 3296340"/>
                  <a:gd name="connsiteX7" fmla="*/ 556550 w 1879986"/>
                  <a:gd name="connsiteY7" fmla="*/ 1594571 h 3296340"/>
                  <a:gd name="connsiteX8" fmla="*/ 542073 w 1879986"/>
                  <a:gd name="connsiteY8" fmla="*/ 1512297 h 3296340"/>
                  <a:gd name="connsiteX9" fmla="*/ 368764 w 1879986"/>
                  <a:gd name="connsiteY9" fmla="*/ 1302973 h 3296340"/>
                  <a:gd name="connsiteX10" fmla="*/ 329287 w 1879986"/>
                  <a:gd name="connsiteY10" fmla="*/ 1302809 h 3296340"/>
                  <a:gd name="connsiteX11" fmla="*/ 328934 w 1879986"/>
                  <a:gd name="connsiteY11" fmla="*/ 1269031 h 3296340"/>
                  <a:gd name="connsiteX12" fmla="*/ 356286 w 1879986"/>
                  <a:gd name="connsiteY12" fmla="*/ 1268519 h 3296340"/>
                  <a:gd name="connsiteX13" fmla="*/ 353118 w 1879986"/>
                  <a:gd name="connsiteY13" fmla="*/ 1138495 h 3296340"/>
                  <a:gd name="connsiteX14" fmla="*/ 234935 w 1879986"/>
                  <a:gd name="connsiteY14" fmla="*/ 1138830 h 3296340"/>
                  <a:gd name="connsiteX15" fmla="*/ 235339 w 1879986"/>
                  <a:gd name="connsiteY15" fmla="*/ 923254 h 3296340"/>
                  <a:gd name="connsiteX16" fmla="*/ 603374 w 1879986"/>
                  <a:gd name="connsiteY16" fmla="*/ 237848 h 3296340"/>
                  <a:gd name="connsiteX17" fmla="*/ 1680415 w 1879986"/>
                  <a:gd name="connsiteY17" fmla="*/ 1068728 h 3296340"/>
                  <a:gd name="connsiteX18" fmla="*/ 1879986 w 1879986"/>
                  <a:gd name="connsiteY18" fmla="*/ 1081411 h 3296340"/>
                  <a:gd name="connsiteX19" fmla="*/ 1816630 w 1879986"/>
                  <a:gd name="connsiteY19" fmla="*/ 913332 h 3296340"/>
                  <a:gd name="connsiteX20" fmla="*/ 958163 w 1879986"/>
                  <a:gd name="connsiteY20" fmla="*/ 0 h 3296340"/>
                  <a:gd name="connsiteX21" fmla="*/ 109261 w 1879986"/>
                  <a:gd name="connsiteY21" fmla="*/ 858457 h 3296340"/>
                  <a:gd name="connsiteX22" fmla="*/ 94804 w 1879986"/>
                  <a:gd name="connsiteY22" fmla="*/ 1146972 h 3296340"/>
                  <a:gd name="connsiteX23" fmla="*/ 9907 w 1879986"/>
                  <a:gd name="connsiteY23" fmla="*/ 1521969 h 3296340"/>
                  <a:gd name="connsiteX24" fmla="*/ 0 w 1879986"/>
                  <a:gd name="connsiteY24" fmla="*/ 2778708 h 3296340"/>
                  <a:gd name="connsiteX25" fmla="*/ 129649 w 1879986"/>
                  <a:gd name="connsiteY25" fmla="*/ 2937112 h 3296340"/>
                  <a:gd name="connsiteX26" fmla="*/ 118764 w 1879986"/>
                  <a:gd name="connsiteY26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31230 w 1879986"/>
                  <a:gd name="connsiteY2" fmla="*/ 3169743 h 3296340"/>
                  <a:gd name="connsiteX3" fmla="*/ 319367 w 1879986"/>
                  <a:gd name="connsiteY3" fmla="*/ 3160841 h 3296340"/>
                  <a:gd name="connsiteX4" fmla="*/ 323124 w 1879986"/>
                  <a:gd name="connsiteY4" fmla="*/ 3071321 h 3296340"/>
                  <a:gd name="connsiteX5" fmla="*/ 511661 w 1879986"/>
                  <a:gd name="connsiteY5" fmla="*/ 2854845 h 3296340"/>
                  <a:gd name="connsiteX6" fmla="*/ 555371 w 1879986"/>
                  <a:gd name="connsiteY6" fmla="*/ 2747193 h 3296340"/>
                  <a:gd name="connsiteX7" fmla="*/ 556550 w 1879986"/>
                  <a:gd name="connsiteY7" fmla="*/ 1594571 h 3296340"/>
                  <a:gd name="connsiteX8" fmla="*/ 542073 w 1879986"/>
                  <a:gd name="connsiteY8" fmla="*/ 1512297 h 3296340"/>
                  <a:gd name="connsiteX9" fmla="*/ 368764 w 1879986"/>
                  <a:gd name="connsiteY9" fmla="*/ 1302973 h 3296340"/>
                  <a:gd name="connsiteX10" fmla="*/ 329287 w 1879986"/>
                  <a:gd name="connsiteY10" fmla="*/ 1302809 h 3296340"/>
                  <a:gd name="connsiteX11" fmla="*/ 328934 w 1879986"/>
                  <a:gd name="connsiteY11" fmla="*/ 1269031 h 3296340"/>
                  <a:gd name="connsiteX12" fmla="*/ 356286 w 1879986"/>
                  <a:gd name="connsiteY12" fmla="*/ 1268519 h 3296340"/>
                  <a:gd name="connsiteX13" fmla="*/ 353118 w 1879986"/>
                  <a:gd name="connsiteY13" fmla="*/ 1138495 h 3296340"/>
                  <a:gd name="connsiteX14" fmla="*/ 234935 w 1879986"/>
                  <a:gd name="connsiteY14" fmla="*/ 1138830 h 3296340"/>
                  <a:gd name="connsiteX15" fmla="*/ 235339 w 1879986"/>
                  <a:gd name="connsiteY15" fmla="*/ 923254 h 3296340"/>
                  <a:gd name="connsiteX16" fmla="*/ 603374 w 1879986"/>
                  <a:gd name="connsiteY16" fmla="*/ 237848 h 3296340"/>
                  <a:gd name="connsiteX17" fmla="*/ 1680415 w 1879986"/>
                  <a:gd name="connsiteY17" fmla="*/ 1068728 h 3296340"/>
                  <a:gd name="connsiteX18" fmla="*/ 1879986 w 1879986"/>
                  <a:gd name="connsiteY18" fmla="*/ 1081411 h 3296340"/>
                  <a:gd name="connsiteX19" fmla="*/ 1816630 w 1879986"/>
                  <a:gd name="connsiteY19" fmla="*/ 913332 h 3296340"/>
                  <a:gd name="connsiteX20" fmla="*/ 958163 w 1879986"/>
                  <a:gd name="connsiteY20" fmla="*/ 0 h 3296340"/>
                  <a:gd name="connsiteX21" fmla="*/ 109261 w 1879986"/>
                  <a:gd name="connsiteY21" fmla="*/ 858457 h 3296340"/>
                  <a:gd name="connsiteX22" fmla="*/ 94804 w 1879986"/>
                  <a:gd name="connsiteY22" fmla="*/ 1146972 h 3296340"/>
                  <a:gd name="connsiteX23" fmla="*/ 9907 w 1879986"/>
                  <a:gd name="connsiteY23" fmla="*/ 1521969 h 3296340"/>
                  <a:gd name="connsiteX24" fmla="*/ 0 w 1879986"/>
                  <a:gd name="connsiteY24" fmla="*/ 2778708 h 3296340"/>
                  <a:gd name="connsiteX25" fmla="*/ 129649 w 1879986"/>
                  <a:gd name="connsiteY25" fmla="*/ 2937112 h 3296340"/>
                  <a:gd name="connsiteX26" fmla="*/ 118764 w 1879986"/>
                  <a:gd name="connsiteY26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31230 w 1879986"/>
                  <a:gd name="connsiteY2" fmla="*/ 3169743 h 3296340"/>
                  <a:gd name="connsiteX3" fmla="*/ 319367 w 1879986"/>
                  <a:gd name="connsiteY3" fmla="*/ 3160841 h 3296340"/>
                  <a:gd name="connsiteX4" fmla="*/ 323124 w 1879986"/>
                  <a:gd name="connsiteY4" fmla="*/ 3071321 h 3296340"/>
                  <a:gd name="connsiteX5" fmla="*/ 511661 w 1879986"/>
                  <a:gd name="connsiteY5" fmla="*/ 2854845 h 3296340"/>
                  <a:gd name="connsiteX6" fmla="*/ 555371 w 1879986"/>
                  <a:gd name="connsiteY6" fmla="*/ 2747193 h 3296340"/>
                  <a:gd name="connsiteX7" fmla="*/ 556550 w 1879986"/>
                  <a:gd name="connsiteY7" fmla="*/ 1594571 h 3296340"/>
                  <a:gd name="connsiteX8" fmla="*/ 542073 w 1879986"/>
                  <a:gd name="connsiteY8" fmla="*/ 1512297 h 3296340"/>
                  <a:gd name="connsiteX9" fmla="*/ 368764 w 1879986"/>
                  <a:gd name="connsiteY9" fmla="*/ 1302973 h 3296340"/>
                  <a:gd name="connsiteX10" fmla="*/ 329287 w 1879986"/>
                  <a:gd name="connsiteY10" fmla="*/ 1302809 h 3296340"/>
                  <a:gd name="connsiteX11" fmla="*/ 328934 w 1879986"/>
                  <a:gd name="connsiteY11" fmla="*/ 1269031 h 3296340"/>
                  <a:gd name="connsiteX12" fmla="*/ 356286 w 1879986"/>
                  <a:gd name="connsiteY12" fmla="*/ 1268519 h 3296340"/>
                  <a:gd name="connsiteX13" fmla="*/ 353118 w 1879986"/>
                  <a:gd name="connsiteY13" fmla="*/ 1138495 h 3296340"/>
                  <a:gd name="connsiteX14" fmla="*/ 234935 w 1879986"/>
                  <a:gd name="connsiteY14" fmla="*/ 1138830 h 3296340"/>
                  <a:gd name="connsiteX15" fmla="*/ 235339 w 1879986"/>
                  <a:gd name="connsiteY15" fmla="*/ 923254 h 3296340"/>
                  <a:gd name="connsiteX16" fmla="*/ 603374 w 1879986"/>
                  <a:gd name="connsiteY16" fmla="*/ 237848 h 3296340"/>
                  <a:gd name="connsiteX17" fmla="*/ 1680415 w 1879986"/>
                  <a:gd name="connsiteY17" fmla="*/ 1068728 h 3296340"/>
                  <a:gd name="connsiteX18" fmla="*/ 1879986 w 1879986"/>
                  <a:gd name="connsiteY18" fmla="*/ 1081411 h 3296340"/>
                  <a:gd name="connsiteX19" fmla="*/ 1816630 w 1879986"/>
                  <a:gd name="connsiteY19" fmla="*/ 913332 h 3296340"/>
                  <a:gd name="connsiteX20" fmla="*/ 958163 w 1879986"/>
                  <a:gd name="connsiteY20" fmla="*/ 0 h 3296340"/>
                  <a:gd name="connsiteX21" fmla="*/ 109261 w 1879986"/>
                  <a:gd name="connsiteY21" fmla="*/ 858457 h 3296340"/>
                  <a:gd name="connsiteX22" fmla="*/ 94804 w 1879986"/>
                  <a:gd name="connsiteY22" fmla="*/ 1146972 h 3296340"/>
                  <a:gd name="connsiteX23" fmla="*/ 9907 w 1879986"/>
                  <a:gd name="connsiteY23" fmla="*/ 1521969 h 3296340"/>
                  <a:gd name="connsiteX24" fmla="*/ 0 w 1879986"/>
                  <a:gd name="connsiteY24" fmla="*/ 2778708 h 3296340"/>
                  <a:gd name="connsiteX25" fmla="*/ 95870 w 1879986"/>
                  <a:gd name="connsiteY25" fmla="*/ 3178922 h 3296340"/>
                  <a:gd name="connsiteX26" fmla="*/ 118764 w 1879986"/>
                  <a:gd name="connsiteY26" fmla="*/ 3296340 h 3296340"/>
                  <a:gd name="connsiteX0" fmla="*/ 118764 w 1879986"/>
                  <a:gd name="connsiteY0" fmla="*/ 3296340 h 4072550"/>
                  <a:gd name="connsiteX1" fmla="*/ 573952 w 1879986"/>
                  <a:gd name="connsiteY1" fmla="*/ 4072550 h 4072550"/>
                  <a:gd name="connsiteX2" fmla="*/ 231230 w 1879986"/>
                  <a:gd name="connsiteY2" fmla="*/ 3169743 h 4072550"/>
                  <a:gd name="connsiteX3" fmla="*/ 319367 w 1879986"/>
                  <a:gd name="connsiteY3" fmla="*/ 3160841 h 4072550"/>
                  <a:gd name="connsiteX4" fmla="*/ 323124 w 1879986"/>
                  <a:gd name="connsiteY4" fmla="*/ 3071321 h 4072550"/>
                  <a:gd name="connsiteX5" fmla="*/ 511661 w 1879986"/>
                  <a:gd name="connsiteY5" fmla="*/ 2854845 h 4072550"/>
                  <a:gd name="connsiteX6" fmla="*/ 555371 w 1879986"/>
                  <a:gd name="connsiteY6" fmla="*/ 2747193 h 4072550"/>
                  <a:gd name="connsiteX7" fmla="*/ 556550 w 1879986"/>
                  <a:gd name="connsiteY7" fmla="*/ 1594571 h 4072550"/>
                  <a:gd name="connsiteX8" fmla="*/ 542073 w 1879986"/>
                  <a:gd name="connsiteY8" fmla="*/ 1512297 h 4072550"/>
                  <a:gd name="connsiteX9" fmla="*/ 368764 w 1879986"/>
                  <a:gd name="connsiteY9" fmla="*/ 1302973 h 4072550"/>
                  <a:gd name="connsiteX10" fmla="*/ 329287 w 1879986"/>
                  <a:gd name="connsiteY10" fmla="*/ 1302809 h 4072550"/>
                  <a:gd name="connsiteX11" fmla="*/ 328934 w 1879986"/>
                  <a:gd name="connsiteY11" fmla="*/ 1269031 h 4072550"/>
                  <a:gd name="connsiteX12" fmla="*/ 356286 w 1879986"/>
                  <a:gd name="connsiteY12" fmla="*/ 1268519 h 4072550"/>
                  <a:gd name="connsiteX13" fmla="*/ 353118 w 1879986"/>
                  <a:gd name="connsiteY13" fmla="*/ 1138495 h 4072550"/>
                  <a:gd name="connsiteX14" fmla="*/ 234935 w 1879986"/>
                  <a:gd name="connsiteY14" fmla="*/ 1138830 h 4072550"/>
                  <a:gd name="connsiteX15" fmla="*/ 235339 w 1879986"/>
                  <a:gd name="connsiteY15" fmla="*/ 923254 h 4072550"/>
                  <a:gd name="connsiteX16" fmla="*/ 603374 w 1879986"/>
                  <a:gd name="connsiteY16" fmla="*/ 237848 h 4072550"/>
                  <a:gd name="connsiteX17" fmla="*/ 1680415 w 1879986"/>
                  <a:gd name="connsiteY17" fmla="*/ 1068728 h 4072550"/>
                  <a:gd name="connsiteX18" fmla="*/ 1879986 w 1879986"/>
                  <a:gd name="connsiteY18" fmla="*/ 1081411 h 4072550"/>
                  <a:gd name="connsiteX19" fmla="*/ 1816630 w 1879986"/>
                  <a:gd name="connsiteY19" fmla="*/ 913332 h 4072550"/>
                  <a:gd name="connsiteX20" fmla="*/ 958163 w 1879986"/>
                  <a:gd name="connsiteY20" fmla="*/ 0 h 4072550"/>
                  <a:gd name="connsiteX21" fmla="*/ 109261 w 1879986"/>
                  <a:gd name="connsiteY21" fmla="*/ 858457 h 4072550"/>
                  <a:gd name="connsiteX22" fmla="*/ 94804 w 1879986"/>
                  <a:gd name="connsiteY22" fmla="*/ 1146972 h 4072550"/>
                  <a:gd name="connsiteX23" fmla="*/ 9907 w 1879986"/>
                  <a:gd name="connsiteY23" fmla="*/ 1521969 h 4072550"/>
                  <a:gd name="connsiteX24" fmla="*/ 0 w 1879986"/>
                  <a:gd name="connsiteY24" fmla="*/ 2778708 h 4072550"/>
                  <a:gd name="connsiteX25" fmla="*/ 95870 w 1879986"/>
                  <a:gd name="connsiteY25" fmla="*/ 3178922 h 4072550"/>
                  <a:gd name="connsiteX26" fmla="*/ 118764 w 1879986"/>
                  <a:gd name="connsiteY26" fmla="*/ 3296340 h 4072550"/>
                  <a:gd name="connsiteX0" fmla="*/ 94635 w 1879986"/>
                  <a:gd name="connsiteY0" fmla="*/ 3523641 h 4072550"/>
                  <a:gd name="connsiteX1" fmla="*/ 573952 w 1879986"/>
                  <a:gd name="connsiteY1" fmla="*/ 4072550 h 4072550"/>
                  <a:gd name="connsiteX2" fmla="*/ 231230 w 1879986"/>
                  <a:gd name="connsiteY2" fmla="*/ 3169743 h 4072550"/>
                  <a:gd name="connsiteX3" fmla="*/ 319367 w 1879986"/>
                  <a:gd name="connsiteY3" fmla="*/ 3160841 h 4072550"/>
                  <a:gd name="connsiteX4" fmla="*/ 323124 w 1879986"/>
                  <a:gd name="connsiteY4" fmla="*/ 3071321 h 4072550"/>
                  <a:gd name="connsiteX5" fmla="*/ 511661 w 1879986"/>
                  <a:gd name="connsiteY5" fmla="*/ 2854845 h 4072550"/>
                  <a:gd name="connsiteX6" fmla="*/ 555371 w 1879986"/>
                  <a:gd name="connsiteY6" fmla="*/ 2747193 h 4072550"/>
                  <a:gd name="connsiteX7" fmla="*/ 556550 w 1879986"/>
                  <a:gd name="connsiteY7" fmla="*/ 1594571 h 4072550"/>
                  <a:gd name="connsiteX8" fmla="*/ 542073 w 1879986"/>
                  <a:gd name="connsiteY8" fmla="*/ 1512297 h 4072550"/>
                  <a:gd name="connsiteX9" fmla="*/ 368764 w 1879986"/>
                  <a:gd name="connsiteY9" fmla="*/ 1302973 h 4072550"/>
                  <a:gd name="connsiteX10" fmla="*/ 329287 w 1879986"/>
                  <a:gd name="connsiteY10" fmla="*/ 1302809 h 4072550"/>
                  <a:gd name="connsiteX11" fmla="*/ 328934 w 1879986"/>
                  <a:gd name="connsiteY11" fmla="*/ 1269031 h 4072550"/>
                  <a:gd name="connsiteX12" fmla="*/ 356286 w 1879986"/>
                  <a:gd name="connsiteY12" fmla="*/ 1268519 h 4072550"/>
                  <a:gd name="connsiteX13" fmla="*/ 353118 w 1879986"/>
                  <a:gd name="connsiteY13" fmla="*/ 1138495 h 4072550"/>
                  <a:gd name="connsiteX14" fmla="*/ 234935 w 1879986"/>
                  <a:gd name="connsiteY14" fmla="*/ 1138830 h 4072550"/>
                  <a:gd name="connsiteX15" fmla="*/ 235339 w 1879986"/>
                  <a:gd name="connsiteY15" fmla="*/ 923254 h 4072550"/>
                  <a:gd name="connsiteX16" fmla="*/ 603374 w 1879986"/>
                  <a:gd name="connsiteY16" fmla="*/ 237848 h 4072550"/>
                  <a:gd name="connsiteX17" fmla="*/ 1680415 w 1879986"/>
                  <a:gd name="connsiteY17" fmla="*/ 1068728 h 4072550"/>
                  <a:gd name="connsiteX18" fmla="*/ 1879986 w 1879986"/>
                  <a:gd name="connsiteY18" fmla="*/ 1081411 h 4072550"/>
                  <a:gd name="connsiteX19" fmla="*/ 1816630 w 1879986"/>
                  <a:gd name="connsiteY19" fmla="*/ 913332 h 4072550"/>
                  <a:gd name="connsiteX20" fmla="*/ 958163 w 1879986"/>
                  <a:gd name="connsiteY20" fmla="*/ 0 h 4072550"/>
                  <a:gd name="connsiteX21" fmla="*/ 109261 w 1879986"/>
                  <a:gd name="connsiteY21" fmla="*/ 858457 h 4072550"/>
                  <a:gd name="connsiteX22" fmla="*/ 94804 w 1879986"/>
                  <a:gd name="connsiteY22" fmla="*/ 1146972 h 4072550"/>
                  <a:gd name="connsiteX23" fmla="*/ 9907 w 1879986"/>
                  <a:gd name="connsiteY23" fmla="*/ 1521969 h 4072550"/>
                  <a:gd name="connsiteX24" fmla="*/ 0 w 1879986"/>
                  <a:gd name="connsiteY24" fmla="*/ 2778708 h 4072550"/>
                  <a:gd name="connsiteX25" fmla="*/ 95870 w 1879986"/>
                  <a:gd name="connsiteY25" fmla="*/ 3178922 h 4072550"/>
                  <a:gd name="connsiteX26" fmla="*/ 94635 w 1879986"/>
                  <a:gd name="connsiteY26" fmla="*/ 3523641 h 4072550"/>
                  <a:gd name="connsiteX0" fmla="*/ 94635 w 1879986"/>
                  <a:gd name="connsiteY0" fmla="*/ 3523641 h 4072550"/>
                  <a:gd name="connsiteX1" fmla="*/ 351874 w 1879986"/>
                  <a:gd name="connsiteY1" fmla="*/ 3820211 h 4072550"/>
                  <a:gd name="connsiteX2" fmla="*/ 573952 w 1879986"/>
                  <a:gd name="connsiteY2" fmla="*/ 4072550 h 4072550"/>
                  <a:gd name="connsiteX3" fmla="*/ 231230 w 1879986"/>
                  <a:gd name="connsiteY3" fmla="*/ 3169743 h 4072550"/>
                  <a:gd name="connsiteX4" fmla="*/ 319367 w 1879986"/>
                  <a:gd name="connsiteY4" fmla="*/ 3160841 h 4072550"/>
                  <a:gd name="connsiteX5" fmla="*/ 323124 w 1879986"/>
                  <a:gd name="connsiteY5" fmla="*/ 3071321 h 4072550"/>
                  <a:gd name="connsiteX6" fmla="*/ 511661 w 1879986"/>
                  <a:gd name="connsiteY6" fmla="*/ 2854845 h 4072550"/>
                  <a:gd name="connsiteX7" fmla="*/ 555371 w 1879986"/>
                  <a:gd name="connsiteY7" fmla="*/ 2747193 h 4072550"/>
                  <a:gd name="connsiteX8" fmla="*/ 556550 w 1879986"/>
                  <a:gd name="connsiteY8" fmla="*/ 1594571 h 4072550"/>
                  <a:gd name="connsiteX9" fmla="*/ 542073 w 1879986"/>
                  <a:gd name="connsiteY9" fmla="*/ 1512297 h 4072550"/>
                  <a:gd name="connsiteX10" fmla="*/ 368764 w 1879986"/>
                  <a:gd name="connsiteY10" fmla="*/ 1302973 h 4072550"/>
                  <a:gd name="connsiteX11" fmla="*/ 329287 w 1879986"/>
                  <a:gd name="connsiteY11" fmla="*/ 1302809 h 4072550"/>
                  <a:gd name="connsiteX12" fmla="*/ 328934 w 1879986"/>
                  <a:gd name="connsiteY12" fmla="*/ 1269031 h 4072550"/>
                  <a:gd name="connsiteX13" fmla="*/ 356286 w 1879986"/>
                  <a:gd name="connsiteY13" fmla="*/ 1268519 h 4072550"/>
                  <a:gd name="connsiteX14" fmla="*/ 353118 w 1879986"/>
                  <a:gd name="connsiteY14" fmla="*/ 1138495 h 4072550"/>
                  <a:gd name="connsiteX15" fmla="*/ 234935 w 1879986"/>
                  <a:gd name="connsiteY15" fmla="*/ 1138830 h 4072550"/>
                  <a:gd name="connsiteX16" fmla="*/ 235339 w 1879986"/>
                  <a:gd name="connsiteY16" fmla="*/ 923254 h 4072550"/>
                  <a:gd name="connsiteX17" fmla="*/ 603374 w 1879986"/>
                  <a:gd name="connsiteY17" fmla="*/ 237848 h 4072550"/>
                  <a:gd name="connsiteX18" fmla="*/ 1680415 w 1879986"/>
                  <a:gd name="connsiteY18" fmla="*/ 1068728 h 4072550"/>
                  <a:gd name="connsiteX19" fmla="*/ 1879986 w 1879986"/>
                  <a:gd name="connsiteY19" fmla="*/ 1081411 h 4072550"/>
                  <a:gd name="connsiteX20" fmla="*/ 1816630 w 1879986"/>
                  <a:gd name="connsiteY20" fmla="*/ 913332 h 4072550"/>
                  <a:gd name="connsiteX21" fmla="*/ 958163 w 1879986"/>
                  <a:gd name="connsiteY21" fmla="*/ 0 h 4072550"/>
                  <a:gd name="connsiteX22" fmla="*/ 109261 w 1879986"/>
                  <a:gd name="connsiteY22" fmla="*/ 858457 h 4072550"/>
                  <a:gd name="connsiteX23" fmla="*/ 94804 w 1879986"/>
                  <a:gd name="connsiteY23" fmla="*/ 1146972 h 4072550"/>
                  <a:gd name="connsiteX24" fmla="*/ 9907 w 1879986"/>
                  <a:gd name="connsiteY24" fmla="*/ 1521969 h 4072550"/>
                  <a:gd name="connsiteX25" fmla="*/ 0 w 1879986"/>
                  <a:gd name="connsiteY25" fmla="*/ 2778708 h 4072550"/>
                  <a:gd name="connsiteX26" fmla="*/ 95870 w 1879986"/>
                  <a:gd name="connsiteY26" fmla="*/ 3178922 h 4072550"/>
                  <a:gd name="connsiteX27" fmla="*/ 94635 w 1879986"/>
                  <a:gd name="connsiteY27" fmla="*/ 3523641 h 4072550"/>
                  <a:gd name="connsiteX0" fmla="*/ 94635 w 1879986"/>
                  <a:gd name="connsiteY0" fmla="*/ 3523641 h 4136982"/>
                  <a:gd name="connsiteX1" fmla="*/ 359113 w 1879986"/>
                  <a:gd name="connsiteY1" fmla="*/ 4136982 h 4136982"/>
                  <a:gd name="connsiteX2" fmla="*/ 573952 w 1879986"/>
                  <a:gd name="connsiteY2" fmla="*/ 4072550 h 4136982"/>
                  <a:gd name="connsiteX3" fmla="*/ 231230 w 1879986"/>
                  <a:gd name="connsiteY3" fmla="*/ 3169743 h 4136982"/>
                  <a:gd name="connsiteX4" fmla="*/ 319367 w 1879986"/>
                  <a:gd name="connsiteY4" fmla="*/ 3160841 h 4136982"/>
                  <a:gd name="connsiteX5" fmla="*/ 323124 w 1879986"/>
                  <a:gd name="connsiteY5" fmla="*/ 3071321 h 4136982"/>
                  <a:gd name="connsiteX6" fmla="*/ 511661 w 1879986"/>
                  <a:gd name="connsiteY6" fmla="*/ 2854845 h 4136982"/>
                  <a:gd name="connsiteX7" fmla="*/ 555371 w 1879986"/>
                  <a:gd name="connsiteY7" fmla="*/ 2747193 h 4136982"/>
                  <a:gd name="connsiteX8" fmla="*/ 556550 w 1879986"/>
                  <a:gd name="connsiteY8" fmla="*/ 1594571 h 4136982"/>
                  <a:gd name="connsiteX9" fmla="*/ 542073 w 1879986"/>
                  <a:gd name="connsiteY9" fmla="*/ 1512297 h 4136982"/>
                  <a:gd name="connsiteX10" fmla="*/ 368764 w 1879986"/>
                  <a:gd name="connsiteY10" fmla="*/ 1302973 h 4136982"/>
                  <a:gd name="connsiteX11" fmla="*/ 329287 w 1879986"/>
                  <a:gd name="connsiteY11" fmla="*/ 1302809 h 4136982"/>
                  <a:gd name="connsiteX12" fmla="*/ 328934 w 1879986"/>
                  <a:gd name="connsiteY12" fmla="*/ 1269031 h 4136982"/>
                  <a:gd name="connsiteX13" fmla="*/ 356286 w 1879986"/>
                  <a:gd name="connsiteY13" fmla="*/ 1268519 h 4136982"/>
                  <a:gd name="connsiteX14" fmla="*/ 353118 w 1879986"/>
                  <a:gd name="connsiteY14" fmla="*/ 1138495 h 4136982"/>
                  <a:gd name="connsiteX15" fmla="*/ 234935 w 1879986"/>
                  <a:gd name="connsiteY15" fmla="*/ 1138830 h 4136982"/>
                  <a:gd name="connsiteX16" fmla="*/ 235339 w 1879986"/>
                  <a:gd name="connsiteY16" fmla="*/ 923254 h 4136982"/>
                  <a:gd name="connsiteX17" fmla="*/ 603374 w 1879986"/>
                  <a:gd name="connsiteY17" fmla="*/ 237848 h 4136982"/>
                  <a:gd name="connsiteX18" fmla="*/ 1680415 w 1879986"/>
                  <a:gd name="connsiteY18" fmla="*/ 1068728 h 4136982"/>
                  <a:gd name="connsiteX19" fmla="*/ 1879986 w 1879986"/>
                  <a:gd name="connsiteY19" fmla="*/ 1081411 h 4136982"/>
                  <a:gd name="connsiteX20" fmla="*/ 1816630 w 1879986"/>
                  <a:gd name="connsiteY20" fmla="*/ 913332 h 4136982"/>
                  <a:gd name="connsiteX21" fmla="*/ 958163 w 1879986"/>
                  <a:gd name="connsiteY21" fmla="*/ 0 h 4136982"/>
                  <a:gd name="connsiteX22" fmla="*/ 109261 w 1879986"/>
                  <a:gd name="connsiteY22" fmla="*/ 858457 h 4136982"/>
                  <a:gd name="connsiteX23" fmla="*/ 94804 w 1879986"/>
                  <a:gd name="connsiteY23" fmla="*/ 1146972 h 4136982"/>
                  <a:gd name="connsiteX24" fmla="*/ 9907 w 1879986"/>
                  <a:gd name="connsiteY24" fmla="*/ 1521969 h 4136982"/>
                  <a:gd name="connsiteX25" fmla="*/ 0 w 1879986"/>
                  <a:gd name="connsiteY25" fmla="*/ 2778708 h 4136982"/>
                  <a:gd name="connsiteX26" fmla="*/ 95870 w 1879986"/>
                  <a:gd name="connsiteY26" fmla="*/ 3178922 h 4136982"/>
                  <a:gd name="connsiteX27" fmla="*/ 94635 w 1879986"/>
                  <a:gd name="connsiteY27" fmla="*/ 3523641 h 4136982"/>
                  <a:gd name="connsiteX0" fmla="*/ 94635 w 1879986"/>
                  <a:gd name="connsiteY0" fmla="*/ 3523641 h 4136982"/>
                  <a:gd name="connsiteX1" fmla="*/ 359113 w 1879986"/>
                  <a:gd name="connsiteY1" fmla="*/ 4136982 h 4136982"/>
                  <a:gd name="connsiteX2" fmla="*/ 573952 w 1879986"/>
                  <a:gd name="connsiteY2" fmla="*/ 4072550 h 4136982"/>
                  <a:gd name="connsiteX3" fmla="*/ 436325 w 1879986"/>
                  <a:gd name="connsiteY3" fmla="*/ 3723487 h 4136982"/>
                  <a:gd name="connsiteX4" fmla="*/ 231230 w 1879986"/>
                  <a:gd name="connsiteY4" fmla="*/ 3169743 h 4136982"/>
                  <a:gd name="connsiteX5" fmla="*/ 319367 w 1879986"/>
                  <a:gd name="connsiteY5" fmla="*/ 3160841 h 4136982"/>
                  <a:gd name="connsiteX6" fmla="*/ 323124 w 1879986"/>
                  <a:gd name="connsiteY6" fmla="*/ 3071321 h 4136982"/>
                  <a:gd name="connsiteX7" fmla="*/ 511661 w 1879986"/>
                  <a:gd name="connsiteY7" fmla="*/ 2854845 h 4136982"/>
                  <a:gd name="connsiteX8" fmla="*/ 555371 w 1879986"/>
                  <a:gd name="connsiteY8" fmla="*/ 2747193 h 4136982"/>
                  <a:gd name="connsiteX9" fmla="*/ 556550 w 1879986"/>
                  <a:gd name="connsiteY9" fmla="*/ 1594571 h 4136982"/>
                  <a:gd name="connsiteX10" fmla="*/ 542073 w 1879986"/>
                  <a:gd name="connsiteY10" fmla="*/ 1512297 h 4136982"/>
                  <a:gd name="connsiteX11" fmla="*/ 368764 w 1879986"/>
                  <a:gd name="connsiteY11" fmla="*/ 1302973 h 4136982"/>
                  <a:gd name="connsiteX12" fmla="*/ 329287 w 1879986"/>
                  <a:gd name="connsiteY12" fmla="*/ 1302809 h 4136982"/>
                  <a:gd name="connsiteX13" fmla="*/ 328934 w 1879986"/>
                  <a:gd name="connsiteY13" fmla="*/ 1269031 h 4136982"/>
                  <a:gd name="connsiteX14" fmla="*/ 356286 w 1879986"/>
                  <a:gd name="connsiteY14" fmla="*/ 1268519 h 4136982"/>
                  <a:gd name="connsiteX15" fmla="*/ 353118 w 1879986"/>
                  <a:gd name="connsiteY15" fmla="*/ 1138495 h 4136982"/>
                  <a:gd name="connsiteX16" fmla="*/ 234935 w 1879986"/>
                  <a:gd name="connsiteY16" fmla="*/ 1138830 h 4136982"/>
                  <a:gd name="connsiteX17" fmla="*/ 235339 w 1879986"/>
                  <a:gd name="connsiteY17" fmla="*/ 923254 h 4136982"/>
                  <a:gd name="connsiteX18" fmla="*/ 603374 w 1879986"/>
                  <a:gd name="connsiteY18" fmla="*/ 237848 h 4136982"/>
                  <a:gd name="connsiteX19" fmla="*/ 1680415 w 1879986"/>
                  <a:gd name="connsiteY19" fmla="*/ 1068728 h 4136982"/>
                  <a:gd name="connsiteX20" fmla="*/ 1879986 w 1879986"/>
                  <a:gd name="connsiteY20" fmla="*/ 1081411 h 4136982"/>
                  <a:gd name="connsiteX21" fmla="*/ 1816630 w 1879986"/>
                  <a:gd name="connsiteY21" fmla="*/ 913332 h 4136982"/>
                  <a:gd name="connsiteX22" fmla="*/ 958163 w 1879986"/>
                  <a:gd name="connsiteY22" fmla="*/ 0 h 4136982"/>
                  <a:gd name="connsiteX23" fmla="*/ 109261 w 1879986"/>
                  <a:gd name="connsiteY23" fmla="*/ 858457 h 4136982"/>
                  <a:gd name="connsiteX24" fmla="*/ 94804 w 1879986"/>
                  <a:gd name="connsiteY24" fmla="*/ 1146972 h 4136982"/>
                  <a:gd name="connsiteX25" fmla="*/ 9907 w 1879986"/>
                  <a:gd name="connsiteY25" fmla="*/ 1521969 h 4136982"/>
                  <a:gd name="connsiteX26" fmla="*/ 0 w 1879986"/>
                  <a:gd name="connsiteY26" fmla="*/ 2778708 h 4136982"/>
                  <a:gd name="connsiteX27" fmla="*/ 95870 w 1879986"/>
                  <a:gd name="connsiteY27" fmla="*/ 3178922 h 4136982"/>
                  <a:gd name="connsiteX28" fmla="*/ 94635 w 1879986"/>
                  <a:gd name="connsiteY28" fmla="*/ 3523641 h 4136982"/>
                  <a:gd name="connsiteX0" fmla="*/ 94635 w 1879986"/>
                  <a:gd name="connsiteY0" fmla="*/ 3523641 h 4136982"/>
                  <a:gd name="connsiteX1" fmla="*/ 359113 w 1879986"/>
                  <a:gd name="connsiteY1" fmla="*/ 4136982 h 4136982"/>
                  <a:gd name="connsiteX2" fmla="*/ 573952 w 1879986"/>
                  <a:gd name="connsiteY2" fmla="*/ 4072550 h 4136982"/>
                  <a:gd name="connsiteX3" fmla="*/ 1478686 w 1879986"/>
                  <a:gd name="connsiteY3" fmla="*/ 3384953 h 4136982"/>
                  <a:gd name="connsiteX4" fmla="*/ 231230 w 1879986"/>
                  <a:gd name="connsiteY4" fmla="*/ 3169743 h 4136982"/>
                  <a:gd name="connsiteX5" fmla="*/ 319367 w 1879986"/>
                  <a:gd name="connsiteY5" fmla="*/ 3160841 h 4136982"/>
                  <a:gd name="connsiteX6" fmla="*/ 323124 w 1879986"/>
                  <a:gd name="connsiteY6" fmla="*/ 3071321 h 4136982"/>
                  <a:gd name="connsiteX7" fmla="*/ 511661 w 1879986"/>
                  <a:gd name="connsiteY7" fmla="*/ 2854845 h 4136982"/>
                  <a:gd name="connsiteX8" fmla="*/ 555371 w 1879986"/>
                  <a:gd name="connsiteY8" fmla="*/ 2747193 h 4136982"/>
                  <a:gd name="connsiteX9" fmla="*/ 556550 w 1879986"/>
                  <a:gd name="connsiteY9" fmla="*/ 1594571 h 4136982"/>
                  <a:gd name="connsiteX10" fmla="*/ 542073 w 1879986"/>
                  <a:gd name="connsiteY10" fmla="*/ 1512297 h 4136982"/>
                  <a:gd name="connsiteX11" fmla="*/ 368764 w 1879986"/>
                  <a:gd name="connsiteY11" fmla="*/ 1302973 h 4136982"/>
                  <a:gd name="connsiteX12" fmla="*/ 329287 w 1879986"/>
                  <a:gd name="connsiteY12" fmla="*/ 1302809 h 4136982"/>
                  <a:gd name="connsiteX13" fmla="*/ 328934 w 1879986"/>
                  <a:gd name="connsiteY13" fmla="*/ 1269031 h 4136982"/>
                  <a:gd name="connsiteX14" fmla="*/ 356286 w 1879986"/>
                  <a:gd name="connsiteY14" fmla="*/ 1268519 h 4136982"/>
                  <a:gd name="connsiteX15" fmla="*/ 353118 w 1879986"/>
                  <a:gd name="connsiteY15" fmla="*/ 1138495 h 4136982"/>
                  <a:gd name="connsiteX16" fmla="*/ 234935 w 1879986"/>
                  <a:gd name="connsiteY16" fmla="*/ 1138830 h 4136982"/>
                  <a:gd name="connsiteX17" fmla="*/ 235339 w 1879986"/>
                  <a:gd name="connsiteY17" fmla="*/ 923254 h 4136982"/>
                  <a:gd name="connsiteX18" fmla="*/ 603374 w 1879986"/>
                  <a:gd name="connsiteY18" fmla="*/ 237848 h 4136982"/>
                  <a:gd name="connsiteX19" fmla="*/ 1680415 w 1879986"/>
                  <a:gd name="connsiteY19" fmla="*/ 1068728 h 4136982"/>
                  <a:gd name="connsiteX20" fmla="*/ 1879986 w 1879986"/>
                  <a:gd name="connsiteY20" fmla="*/ 1081411 h 4136982"/>
                  <a:gd name="connsiteX21" fmla="*/ 1816630 w 1879986"/>
                  <a:gd name="connsiteY21" fmla="*/ 913332 h 4136982"/>
                  <a:gd name="connsiteX22" fmla="*/ 958163 w 1879986"/>
                  <a:gd name="connsiteY22" fmla="*/ 0 h 4136982"/>
                  <a:gd name="connsiteX23" fmla="*/ 109261 w 1879986"/>
                  <a:gd name="connsiteY23" fmla="*/ 858457 h 4136982"/>
                  <a:gd name="connsiteX24" fmla="*/ 94804 w 1879986"/>
                  <a:gd name="connsiteY24" fmla="*/ 1146972 h 4136982"/>
                  <a:gd name="connsiteX25" fmla="*/ 9907 w 1879986"/>
                  <a:gd name="connsiteY25" fmla="*/ 1521969 h 4136982"/>
                  <a:gd name="connsiteX26" fmla="*/ 0 w 1879986"/>
                  <a:gd name="connsiteY26" fmla="*/ 2778708 h 4136982"/>
                  <a:gd name="connsiteX27" fmla="*/ 95870 w 1879986"/>
                  <a:gd name="connsiteY27" fmla="*/ 3178922 h 4136982"/>
                  <a:gd name="connsiteX28" fmla="*/ 94635 w 1879986"/>
                  <a:gd name="connsiteY28" fmla="*/ 3523641 h 4136982"/>
                  <a:gd name="connsiteX0" fmla="*/ 94635 w 1879986"/>
                  <a:gd name="connsiteY0" fmla="*/ 3523641 h 4136982"/>
                  <a:gd name="connsiteX1" fmla="*/ 359113 w 1879986"/>
                  <a:gd name="connsiteY1" fmla="*/ 4136982 h 4136982"/>
                  <a:gd name="connsiteX2" fmla="*/ 573952 w 1879986"/>
                  <a:gd name="connsiteY2" fmla="*/ 4072550 h 4136982"/>
                  <a:gd name="connsiteX3" fmla="*/ 477343 w 1879986"/>
                  <a:gd name="connsiteY3" fmla="*/ 3863736 h 4136982"/>
                  <a:gd name="connsiteX4" fmla="*/ 231230 w 1879986"/>
                  <a:gd name="connsiteY4" fmla="*/ 3169743 h 4136982"/>
                  <a:gd name="connsiteX5" fmla="*/ 319367 w 1879986"/>
                  <a:gd name="connsiteY5" fmla="*/ 3160841 h 4136982"/>
                  <a:gd name="connsiteX6" fmla="*/ 323124 w 1879986"/>
                  <a:gd name="connsiteY6" fmla="*/ 3071321 h 4136982"/>
                  <a:gd name="connsiteX7" fmla="*/ 511661 w 1879986"/>
                  <a:gd name="connsiteY7" fmla="*/ 2854845 h 4136982"/>
                  <a:gd name="connsiteX8" fmla="*/ 555371 w 1879986"/>
                  <a:gd name="connsiteY8" fmla="*/ 2747193 h 4136982"/>
                  <a:gd name="connsiteX9" fmla="*/ 556550 w 1879986"/>
                  <a:gd name="connsiteY9" fmla="*/ 1594571 h 4136982"/>
                  <a:gd name="connsiteX10" fmla="*/ 542073 w 1879986"/>
                  <a:gd name="connsiteY10" fmla="*/ 1512297 h 4136982"/>
                  <a:gd name="connsiteX11" fmla="*/ 368764 w 1879986"/>
                  <a:gd name="connsiteY11" fmla="*/ 1302973 h 4136982"/>
                  <a:gd name="connsiteX12" fmla="*/ 329287 w 1879986"/>
                  <a:gd name="connsiteY12" fmla="*/ 1302809 h 4136982"/>
                  <a:gd name="connsiteX13" fmla="*/ 328934 w 1879986"/>
                  <a:gd name="connsiteY13" fmla="*/ 1269031 h 4136982"/>
                  <a:gd name="connsiteX14" fmla="*/ 356286 w 1879986"/>
                  <a:gd name="connsiteY14" fmla="*/ 1268519 h 4136982"/>
                  <a:gd name="connsiteX15" fmla="*/ 353118 w 1879986"/>
                  <a:gd name="connsiteY15" fmla="*/ 1138495 h 4136982"/>
                  <a:gd name="connsiteX16" fmla="*/ 234935 w 1879986"/>
                  <a:gd name="connsiteY16" fmla="*/ 1138830 h 4136982"/>
                  <a:gd name="connsiteX17" fmla="*/ 235339 w 1879986"/>
                  <a:gd name="connsiteY17" fmla="*/ 923254 h 4136982"/>
                  <a:gd name="connsiteX18" fmla="*/ 603374 w 1879986"/>
                  <a:gd name="connsiteY18" fmla="*/ 237848 h 4136982"/>
                  <a:gd name="connsiteX19" fmla="*/ 1680415 w 1879986"/>
                  <a:gd name="connsiteY19" fmla="*/ 1068728 h 4136982"/>
                  <a:gd name="connsiteX20" fmla="*/ 1879986 w 1879986"/>
                  <a:gd name="connsiteY20" fmla="*/ 1081411 h 4136982"/>
                  <a:gd name="connsiteX21" fmla="*/ 1816630 w 1879986"/>
                  <a:gd name="connsiteY21" fmla="*/ 913332 h 4136982"/>
                  <a:gd name="connsiteX22" fmla="*/ 958163 w 1879986"/>
                  <a:gd name="connsiteY22" fmla="*/ 0 h 4136982"/>
                  <a:gd name="connsiteX23" fmla="*/ 109261 w 1879986"/>
                  <a:gd name="connsiteY23" fmla="*/ 858457 h 4136982"/>
                  <a:gd name="connsiteX24" fmla="*/ 94804 w 1879986"/>
                  <a:gd name="connsiteY24" fmla="*/ 1146972 h 4136982"/>
                  <a:gd name="connsiteX25" fmla="*/ 9907 w 1879986"/>
                  <a:gd name="connsiteY25" fmla="*/ 1521969 h 4136982"/>
                  <a:gd name="connsiteX26" fmla="*/ 0 w 1879986"/>
                  <a:gd name="connsiteY26" fmla="*/ 2778708 h 4136982"/>
                  <a:gd name="connsiteX27" fmla="*/ 95870 w 1879986"/>
                  <a:gd name="connsiteY27" fmla="*/ 3178922 h 4136982"/>
                  <a:gd name="connsiteX28" fmla="*/ 94635 w 1879986"/>
                  <a:gd name="connsiteY28" fmla="*/ 3523641 h 4136982"/>
                  <a:gd name="connsiteX0" fmla="*/ 94635 w 1879986"/>
                  <a:gd name="connsiteY0" fmla="*/ 3523641 h 4136982"/>
                  <a:gd name="connsiteX1" fmla="*/ 359113 w 1879986"/>
                  <a:gd name="connsiteY1" fmla="*/ 4136982 h 4136982"/>
                  <a:gd name="connsiteX2" fmla="*/ 1674223 w 1879986"/>
                  <a:gd name="connsiteY2" fmla="*/ 3231052 h 4136982"/>
                  <a:gd name="connsiteX3" fmla="*/ 477343 w 1879986"/>
                  <a:gd name="connsiteY3" fmla="*/ 3863736 h 4136982"/>
                  <a:gd name="connsiteX4" fmla="*/ 231230 w 1879986"/>
                  <a:gd name="connsiteY4" fmla="*/ 3169743 h 4136982"/>
                  <a:gd name="connsiteX5" fmla="*/ 319367 w 1879986"/>
                  <a:gd name="connsiteY5" fmla="*/ 3160841 h 4136982"/>
                  <a:gd name="connsiteX6" fmla="*/ 323124 w 1879986"/>
                  <a:gd name="connsiteY6" fmla="*/ 3071321 h 4136982"/>
                  <a:gd name="connsiteX7" fmla="*/ 511661 w 1879986"/>
                  <a:gd name="connsiteY7" fmla="*/ 2854845 h 4136982"/>
                  <a:gd name="connsiteX8" fmla="*/ 555371 w 1879986"/>
                  <a:gd name="connsiteY8" fmla="*/ 2747193 h 4136982"/>
                  <a:gd name="connsiteX9" fmla="*/ 556550 w 1879986"/>
                  <a:gd name="connsiteY9" fmla="*/ 1594571 h 4136982"/>
                  <a:gd name="connsiteX10" fmla="*/ 542073 w 1879986"/>
                  <a:gd name="connsiteY10" fmla="*/ 1512297 h 4136982"/>
                  <a:gd name="connsiteX11" fmla="*/ 368764 w 1879986"/>
                  <a:gd name="connsiteY11" fmla="*/ 1302973 h 4136982"/>
                  <a:gd name="connsiteX12" fmla="*/ 329287 w 1879986"/>
                  <a:gd name="connsiteY12" fmla="*/ 1302809 h 4136982"/>
                  <a:gd name="connsiteX13" fmla="*/ 328934 w 1879986"/>
                  <a:gd name="connsiteY13" fmla="*/ 1269031 h 4136982"/>
                  <a:gd name="connsiteX14" fmla="*/ 356286 w 1879986"/>
                  <a:gd name="connsiteY14" fmla="*/ 1268519 h 4136982"/>
                  <a:gd name="connsiteX15" fmla="*/ 353118 w 1879986"/>
                  <a:gd name="connsiteY15" fmla="*/ 1138495 h 4136982"/>
                  <a:gd name="connsiteX16" fmla="*/ 234935 w 1879986"/>
                  <a:gd name="connsiteY16" fmla="*/ 1138830 h 4136982"/>
                  <a:gd name="connsiteX17" fmla="*/ 235339 w 1879986"/>
                  <a:gd name="connsiteY17" fmla="*/ 923254 h 4136982"/>
                  <a:gd name="connsiteX18" fmla="*/ 603374 w 1879986"/>
                  <a:gd name="connsiteY18" fmla="*/ 237848 h 4136982"/>
                  <a:gd name="connsiteX19" fmla="*/ 1680415 w 1879986"/>
                  <a:gd name="connsiteY19" fmla="*/ 1068728 h 4136982"/>
                  <a:gd name="connsiteX20" fmla="*/ 1879986 w 1879986"/>
                  <a:gd name="connsiteY20" fmla="*/ 1081411 h 4136982"/>
                  <a:gd name="connsiteX21" fmla="*/ 1816630 w 1879986"/>
                  <a:gd name="connsiteY21" fmla="*/ 913332 h 4136982"/>
                  <a:gd name="connsiteX22" fmla="*/ 958163 w 1879986"/>
                  <a:gd name="connsiteY22" fmla="*/ 0 h 4136982"/>
                  <a:gd name="connsiteX23" fmla="*/ 109261 w 1879986"/>
                  <a:gd name="connsiteY23" fmla="*/ 858457 h 4136982"/>
                  <a:gd name="connsiteX24" fmla="*/ 94804 w 1879986"/>
                  <a:gd name="connsiteY24" fmla="*/ 1146972 h 4136982"/>
                  <a:gd name="connsiteX25" fmla="*/ 9907 w 1879986"/>
                  <a:gd name="connsiteY25" fmla="*/ 1521969 h 4136982"/>
                  <a:gd name="connsiteX26" fmla="*/ 0 w 1879986"/>
                  <a:gd name="connsiteY26" fmla="*/ 2778708 h 4136982"/>
                  <a:gd name="connsiteX27" fmla="*/ 95870 w 1879986"/>
                  <a:gd name="connsiteY27" fmla="*/ 3178922 h 4136982"/>
                  <a:gd name="connsiteX28" fmla="*/ 94635 w 1879986"/>
                  <a:gd name="connsiteY28" fmla="*/ 3523641 h 4136982"/>
                  <a:gd name="connsiteX0" fmla="*/ 94635 w 1879986"/>
                  <a:gd name="connsiteY0" fmla="*/ 3523641 h 4136982"/>
                  <a:gd name="connsiteX1" fmla="*/ 359113 w 1879986"/>
                  <a:gd name="connsiteY1" fmla="*/ 4136982 h 4136982"/>
                  <a:gd name="connsiteX2" fmla="*/ 1674223 w 1879986"/>
                  <a:gd name="connsiteY2" fmla="*/ 3231052 h 4136982"/>
                  <a:gd name="connsiteX3" fmla="*/ 581097 w 1879986"/>
                  <a:gd name="connsiteY3" fmla="*/ 4076529 h 4136982"/>
                  <a:gd name="connsiteX4" fmla="*/ 231230 w 1879986"/>
                  <a:gd name="connsiteY4" fmla="*/ 3169743 h 4136982"/>
                  <a:gd name="connsiteX5" fmla="*/ 319367 w 1879986"/>
                  <a:gd name="connsiteY5" fmla="*/ 3160841 h 4136982"/>
                  <a:gd name="connsiteX6" fmla="*/ 323124 w 1879986"/>
                  <a:gd name="connsiteY6" fmla="*/ 3071321 h 4136982"/>
                  <a:gd name="connsiteX7" fmla="*/ 511661 w 1879986"/>
                  <a:gd name="connsiteY7" fmla="*/ 2854845 h 4136982"/>
                  <a:gd name="connsiteX8" fmla="*/ 555371 w 1879986"/>
                  <a:gd name="connsiteY8" fmla="*/ 2747193 h 4136982"/>
                  <a:gd name="connsiteX9" fmla="*/ 556550 w 1879986"/>
                  <a:gd name="connsiteY9" fmla="*/ 1594571 h 4136982"/>
                  <a:gd name="connsiteX10" fmla="*/ 542073 w 1879986"/>
                  <a:gd name="connsiteY10" fmla="*/ 1512297 h 4136982"/>
                  <a:gd name="connsiteX11" fmla="*/ 368764 w 1879986"/>
                  <a:gd name="connsiteY11" fmla="*/ 1302973 h 4136982"/>
                  <a:gd name="connsiteX12" fmla="*/ 329287 w 1879986"/>
                  <a:gd name="connsiteY12" fmla="*/ 1302809 h 4136982"/>
                  <a:gd name="connsiteX13" fmla="*/ 328934 w 1879986"/>
                  <a:gd name="connsiteY13" fmla="*/ 1269031 h 4136982"/>
                  <a:gd name="connsiteX14" fmla="*/ 356286 w 1879986"/>
                  <a:gd name="connsiteY14" fmla="*/ 1268519 h 4136982"/>
                  <a:gd name="connsiteX15" fmla="*/ 353118 w 1879986"/>
                  <a:gd name="connsiteY15" fmla="*/ 1138495 h 4136982"/>
                  <a:gd name="connsiteX16" fmla="*/ 234935 w 1879986"/>
                  <a:gd name="connsiteY16" fmla="*/ 1138830 h 4136982"/>
                  <a:gd name="connsiteX17" fmla="*/ 235339 w 1879986"/>
                  <a:gd name="connsiteY17" fmla="*/ 923254 h 4136982"/>
                  <a:gd name="connsiteX18" fmla="*/ 603374 w 1879986"/>
                  <a:gd name="connsiteY18" fmla="*/ 237848 h 4136982"/>
                  <a:gd name="connsiteX19" fmla="*/ 1680415 w 1879986"/>
                  <a:gd name="connsiteY19" fmla="*/ 1068728 h 4136982"/>
                  <a:gd name="connsiteX20" fmla="*/ 1879986 w 1879986"/>
                  <a:gd name="connsiteY20" fmla="*/ 1081411 h 4136982"/>
                  <a:gd name="connsiteX21" fmla="*/ 1816630 w 1879986"/>
                  <a:gd name="connsiteY21" fmla="*/ 913332 h 4136982"/>
                  <a:gd name="connsiteX22" fmla="*/ 958163 w 1879986"/>
                  <a:gd name="connsiteY22" fmla="*/ 0 h 4136982"/>
                  <a:gd name="connsiteX23" fmla="*/ 109261 w 1879986"/>
                  <a:gd name="connsiteY23" fmla="*/ 858457 h 4136982"/>
                  <a:gd name="connsiteX24" fmla="*/ 94804 w 1879986"/>
                  <a:gd name="connsiteY24" fmla="*/ 1146972 h 4136982"/>
                  <a:gd name="connsiteX25" fmla="*/ 9907 w 1879986"/>
                  <a:gd name="connsiteY25" fmla="*/ 1521969 h 4136982"/>
                  <a:gd name="connsiteX26" fmla="*/ 0 w 1879986"/>
                  <a:gd name="connsiteY26" fmla="*/ 2778708 h 4136982"/>
                  <a:gd name="connsiteX27" fmla="*/ 95870 w 1879986"/>
                  <a:gd name="connsiteY27" fmla="*/ 3178922 h 4136982"/>
                  <a:gd name="connsiteX28" fmla="*/ 94635 w 1879986"/>
                  <a:gd name="connsiteY28" fmla="*/ 3523641 h 4136982"/>
                  <a:gd name="connsiteX0" fmla="*/ 94635 w 1879986"/>
                  <a:gd name="connsiteY0" fmla="*/ 3523641 h 4076529"/>
                  <a:gd name="connsiteX1" fmla="*/ 1818901 w 1879986"/>
                  <a:gd name="connsiteY1" fmla="*/ 3237450 h 4076529"/>
                  <a:gd name="connsiteX2" fmla="*/ 1674223 w 1879986"/>
                  <a:gd name="connsiteY2" fmla="*/ 3231052 h 4076529"/>
                  <a:gd name="connsiteX3" fmla="*/ 581097 w 1879986"/>
                  <a:gd name="connsiteY3" fmla="*/ 4076529 h 4076529"/>
                  <a:gd name="connsiteX4" fmla="*/ 231230 w 1879986"/>
                  <a:gd name="connsiteY4" fmla="*/ 3169743 h 4076529"/>
                  <a:gd name="connsiteX5" fmla="*/ 319367 w 1879986"/>
                  <a:gd name="connsiteY5" fmla="*/ 3160841 h 4076529"/>
                  <a:gd name="connsiteX6" fmla="*/ 323124 w 1879986"/>
                  <a:gd name="connsiteY6" fmla="*/ 3071321 h 4076529"/>
                  <a:gd name="connsiteX7" fmla="*/ 511661 w 1879986"/>
                  <a:gd name="connsiteY7" fmla="*/ 2854845 h 4076529"/>
                  <a:gd name="connsiteX8" fmla="*/ 555371 w 1879986"/>
                  <a:gd name="connsiteY8" fmla="*/ 2747193 h 4076529"/>
                  <a:gd name="connsiteX9" fmla="*/ 556550 w 1879986"/>
                  <a:gd name="connsiteY9" fmla="*/ 1594571 h 4076529"/>
                  <a:gd name="connsiteX10" fmla="*/ 542073 w 1879986"/>
                  <a:gd name="connsiteY10" fmla="*/ 1512297 h 4076529"/>
                  <a:gd name="connsiteX11" fmla="*/ 368764 w 1879986"/>
                  <a:gd name="connsiteY11" fmla="*/ 1302973 h 4076529"/>
                  <a:gd name="connsiteX12" fmla="*/ 329287 w 1879986"/>
                  <a:gd name="connsiteY12" fmla="*/ 1302809 h 4076529"/>
                  <a:gd name="connsiteX13" fmla="*/ 328934 w 1879986"/>
                  <a:gd name="connsiteY13" fmla="*/ 1269031 h 4076529"/>
                  <a:gd name="connsiteX14" fmla="*/ 356286 w 1879986"/>
                  <a:gd name="connsiteY14" fmla="*/ 1268519 h 4076529"/>
                  <a:gd name="connsiteX15" fmla="*/ 353118 w 1879986"/>
                  <a:gd name="connsiteY15" fmla="*/ 1138495 h 4076529"/>
                  <a:gd name="connsiteX16" fmla="*/ 234935 w 1879986"/>
                  <a:gd name="connsiteY16" fmla="*/ 1138830 h 4076529"/>
                  <a:gd name="connsiteX17" fmla="*/ 235339 w 1879986"/>
                  <a:gd name="connsiteY17" fmla="*/ 923254 h 4076529"/>
                  <a:gd name="connsiteX18" fmla="*/ 603374 w 1879986"/>
                  <a:gd name="connsiteY18" fmla="*/ 237848 h 4076529"/>
                  <a:gd name="connsiteX19" fmla="*/ 1680415 w 1879986"/>
                  <a:gd name="connsiteY19" fmla="*/ 1068728 h 4076529"/>
                  <a:gd name="connsiteX20" fmla="*/ 1879986 w 1879986"/>
                  <a:gd name="connsiteY20" fmla="*/ 1081411 h 4076529"/>
                  <a:gd name="connsiteX21" fmla="*/ 1816630 w 1879986"/>
                  <a:gd name="connsiteY21" fmla="*/ 913332 h 4076529"/>
                  <a:gd name="connsiteX22" fmla="*/ 958163 w 1879986"/>
                  <a:gd name="connsiteY22" fmla="*/ 0 h 4076529"/>
                  <a:gd name="connsiteX23" fmla="*/ 109261 w 1879986"/>
                  <a:gd name="connsiteY23" fmla="*/ 858457 h 4076529"/>
                  <a:gd name="connsiteX24" fmla="*/ 94804 w 1879986"/>
                  <a:gd name="connsiteY24" fmla="*/ 1146972 h 4076529"/>
                  <a:gd name="connsiteX25" fmla="*/ 9907 w 1879986"/>
                  <a:gd name="connsiteY25" fmla="*/ 1521969 h 4076529"/>
                  <a:gd name="connsiteX26" fmla="*/ 0 w 1879986"/>
                  <a:gd name="connsiteY26" fmla="*/ 2778708 h 4076529"/>
                  <a:gd name="connsiteX27" fmla="*/ 95870 w 1879986"/>
                  <a:gd name="connsiteY27" fmla="*/ 3178922 h 4076529"/>
                  <a:gd name="connsiteX28" fmla="*/ 94635 w 1879986"/>
                  <a:gd name="connsiteY28" fmla="*/ 3523641 h 4076529"/>
                  <a:gd name="connsiteX0" fmla="*/ 94635 w 1879986"/>
                  <a:gd name="connsiteY0" fmla="*/ 3523641 h 4076529"/>
                  <a:gd name="connsiteX1" fmla="*/ 1003350 w 1879986"/>
                  <a:gd name="connsiteY1" fmla="*/ 3372863 h 4076529"/>
                  <a:gd name="connsiteX2" fmla="*/ 1818901 w 1879986"/>
                  <a:gd name="connsiteY2" fmla="*/ 3237450 h 4076529"/>
                  <a:gd name="connsiteX3" fmla="*/ 1674223 w 1879986"/>
                  <a:gd name="connsiteY3" fmla="*/ 3231052 h 4076529"/>
                  <a:gd name="connsiteX4" fmla="*/ 581097 w 1879986"/>
                  <a:gd name="connsiteY4" fmla="*/ 4076529 h 4076529"/>
                  <a:gd name="connsiteX5" fmla="*/ 231230 w 1879986"/>
                  <a:gd name="connsiteY5" fmla="*/ 3169743 h 4076529"/>
                  <a:gd name="connsiteX6" fmla="*/ 319367 w 1879986"/>
                  <a:gd name="connsiteY6" fmla="*/ 3160841 h 4076529"/>
                  <a:gd name="connsiteX7" fmla="*/ 323124 w 1879986"/>
                  <a:gd name="connsiteY7" fmla="*/ 3071321 h 4076529"/>
                  <a:gd name="connsiteX8" fmla="*/ 511661 w 1879986"/>
                  <a:gd name="connsiteY8" fmla="*/ 2854845 h 4076529"/>
                  <a:gd name="connsiteX9" fmla="*/ 555371 w 1879986"/>
                  <a:gd name="connsiteY9" fmla="*/ 2747193 h 4076529"/>
                  <a:gd name="connsiteX10" fmla="*/ 556550 w 1879986"/>
                  <a:gd name="connsiteY10" fmla="*/ 1594571 h 4076529"/>
                  <a:gd name="connsiteX11" fmla="*/ 542073 w 1879986"/>
                  <a:gd name="connsiteY11" fmla="*/ 1512297 h 4076529"/>
                  <a:gd name="connsiteX12" fmla="*/ 368764 w 1879986"/>
                  <a:gd name="connsiteY12" fmla="*/ 1302973 h 4076529"/>
                  <a:gd name="connsiteX13" fmla="*/ 329287 w 1879986"/>
                  <a:gd name="connsiteY13" fmla="*/ 1302809 h 4076529"/>
                  <a:gd name="connsiteX14" fmla="*/ 328934 w 1879986"/>
                  <a:gd name="connsiteY14" fmla="*/ 1269031 h 4076529"/>
                  <a:gd name="connsiteX15" fmla="*/ 356286 w 1879986"/>
                  <a:gd name="connsiteY15" fmla="*/ 1268519 h 4076529"/>
                  <a:gd name="connsiteX16" fmla="*/ 353118 w 1879986"/>
                  <a:gd name="connsiteY16" fmla="*/ 1138495 h 4076529"/>
                  <a:gd name="connsiteX17" fmla="*/ 234935 w 1879986"/>
                  <a:gd name="connsiteY17" fmla="*/ 1138830 h 4076529"/>
                  <a:gd name="connsiteX18" fmla="*/ 235339 w 1879986"/>
                  <a:gd name="connsiteY18" fmla="*/ 923254 h 4076529"/>
                  <a:gd name="connsiteX19" fmla="*/ 603374 w 1879986"/>
                  <a:gd name="connsiteY19" fmla="*/ 237848 h 4076529"/>
                  <a:gd name="connsiteX20" fmla="*/ 1680415 w 1879986"/>
                  <a:gd name="connsiteY20" fmla="*/ 1068728 h 4076529"/>
                  <a:gd name="connsiteX21" fmla="*/ 1879986 w 1879986"/>
                  <a:gd name="connsiteY21" fmla="*/ 1081411 h 4076529"/>
                  <a:gd name="connsiteX22" fmla="*/ 1816630 w 1879986"/>
                  <a:gd name="connsiteY22" fmla="*/ 913332 h 4076529"/>
                  <a:gd name="connsiteX23" fmla="*/ 958163 w 1879986"/>
                  <a:gd name="connsiteY23" fmla="*/ 0 h 4076529"/>
                  <a:gd name="connsiteX24" fmla="*/ 109261 w 1879986"/>
                  <a:gd name="connsiteY24" fmla="*/ 858457 h 4076529"/>
                  <a:gd name="connsiteX25" fmla="*/ 94804 w 1879986"/>
                  <a:gd name="connsiteY25" fmla="*/ 1146972 h 4076529"/>
                  <a:gd name="connsiteX26" fmla="*/ 9907 w 1879986"/>
                  <a:gd name="connsiteY26" fmla="*/ 1521969 h 4076529"/>
                  <a:gd name="connsiteX27" fmla="*/ 0 w 1879986"/>
                  <a:gd name="connsiteY27" fmla="*/ 2778708 h 4076529"/>
                  <a:gd name="connsiteX28" fmla="*/ 95870 w 1879986"/>
                  <a:gd name="connsiteY28" fmla="*/ 3178922 h 4076529"/>
                  <a:gd name="connsiteX29" fmla="*/ 94635 w 1879986"/>
                  <a:gd name="connsiteY29" fmla="*/ 3523641 h 4076529"/>
                  <a:gd name="connsiteX0" fmla="*/ 94635 w 1879986"/>
                  <a:gd name="connsiteY0" fmla="*/ 3523641 h 4330430"/>
                  <a:gd name="connsiteX1" fmla="*/ 938203 w 1879986"/>
                  <a:gd name="connsiteY1" fmla="*/ 4330430 h 4330430"/>
                  <a:gd name="connsiteX2" fmla="*/ 1818901 w 1879986"/>
                  <a:gd name="connsiteY2" fmla="*/ 3237450 h 4330430"/>
                  <a:gd name="connsiteX3" fmla="*/ 1674223 w 1879986"/>
                  <a:gd name="connsiteY3" fmla="*/ 3231052 h 4330430"/>
                  <a:gd name="connsiteX4" fmla="*/ 581097 w 1879986"/>
                  <a:gd name="connsiteY4" fmla="*/ 4076529 h 4330430"/>
                  <a:gd name="connsiteX5" fmla="*/ 231230 w 1879986"/>
                  <a:gd name="connsiteY5" fmla="*/ 3169743 h 4330430"/>
                  <a:gd name="connsiteX6" fmla="*/ 319367 w 1879986"/>
                  <a:gd name="connsiteY6" fmla="*/ 3160841 h 4330430"/>
                  <a:gd name="connsiteX7" fmla="*/ 323124 w 1879986"/>
                  <a:gd name="connsiteY7" fmla="*/ 3071321 h 4330430"/>
                  <a:gd name="connsiteX8" fmla="*/ 511661 w 1879986"/>
                  <a:gd name="connsiteY8" fmla="*/ 2854845 h 4330430"/>
                  <a:gd name="connsiteX9" fmla="*/ 555371 w 1879986"/>
                  <a:gd name="connsiteY9" fmla="*/ 2747193 h 4330430"/>
                  <a:gd name="connsiteX10" fmla="*/ 556550 w 1879986"/>
                  <a:gd name="connsiteY10" fmla="*/ 1594571 h 4330430"/>
                  <a:gd name="connsiteX11" fmla="*/ 542073 w 1879986"/>
                  <a:gd name="connsiteY11" fmla="*/ 1512297 h 4330430"/>
                  <a:gd name="connsiteX12" fmla="*/ 368764 w 1879986"/>
                  <a:gd name="connsiteY12" fmla="*/ 1302973 h 4330430"/>
                  <a:gd name="connsiteX13" fmla="*/ 329287 w 1879986"/>
                  <a:gd name="connsiteY13" fmla="*/ 1302809 h 4330430"/>
                  <a:gd name="connsiteX14" fmla="*/ 328934 w 1879986"/>
                  <a:gd name="connsiteY14" fmla="*/ 1269031 h 4330430"/>
                  <a:gd name="connsiteX15" fmla="*/ 356286 w 1879986"/>
                  <a:gd name="connsiteY15" fmla="*/ 1268519 h 4330430"/>
                  <a:gd name="connsiteX16" fmla="*/ 353118 w 1879986"/>
                  <a:gd name="connsiteY16" fmla="*/ 1138495 h 4330430"/>
                  <a:gd name="connsiteX17" fmla="*/ 234935 w 1879986"/>
                  <a:gd name="connsiteY17" fmla="*/ 1138830 h 4330430"/>
                  <a:gd name="connsiteX18" fmla="*/ 235339 w 1879986"/>
                  <a:gd name="connsiteY18" fmla="*/ 923254 h 4330430"/>
                  <a:gd name="connsiteX19" fmla="*/ 603374 w 1879986"/>
                  <a:gd name="connsiteY19" fmla="*/ 237848 h 4330430"/>
                  <a:gd name="connsiteX20" fmla="*/ 1680415 w 1879986"/>
                  <a:gd name="connsiteY20" fmla="*/ 1068728 h 4330430"/>
                  <a:gd name="connsiteX21" fmla="*/ 1879986 w 1879986"/>
                  <a:gd name="connsiteY21" fmla="*/ 1081411 h 4330430"/>
                  <a:gd name="connsiteX22" fmla="*/ 1816630 w 1879986"/>
                  <a:gd name="connsiteY22" fmla="*/ 913332 h 4330430"/>
                  <a:gd name="connsiteX23" fmla="*/ 958163 w 1879986"/>
                  <a:gd name="connsiteY23" fmla="*/ 0 h 4330430"/>
                  <a:gd name="connsiteX24" fmla="*/ 109261 w 1879986"/>
                  <a:gd name="connsiteY24" fmla="*/ 858457 h 4330430"/>
                  <a:gd name="connsiteX25" fmla="*/ 94804 w 1879986"/>
                  <a:gd name="connsiteY25" fmla="*/ 1146972 h 4330430"/>
                  <a:gd name="connsiteX26" fmla="*/ 9907 w 1879986"/>
                  <a:gd name="connsiteY26" fmla="*/ 1521969 h 4330430"/>
                  <a:gd name="connsiteX27" fmla="*/ 0 w 1879986"/>
                  <a:gd name="connsiteY27" fmla="*/ 2778708 h 4330430"/>
                  <a:gd name="connsiteX28" fmla="*/ 95870 w 1879986"/>
                  <a:gd name="connsiteY28" fmla="*/ 3178922 h 4330430"/>
                  <a:gd name="connsiteX29" fmla="*/ 94635 w 1879986"/>
                  <a:gd name="connsiteY29" fmla="*/ 3523641 h 4330430"/>
                  <a:gd name="connsiteX0" fmla="*/ 94635 w 1879986"/>
                  <a:gd name="connsiteY0" fmla="*/ 3523641 h 4330430"/>
                  <a:gd name="connsiteX1" fmla="*/ 938203 w 1879986"/>
                  <a:gd name="connsiteY1" fmla="*/ 4330430 h 4330430"/>
                  <a:gd name="connsiteX2" fmla="*/ 1818901 w 1879986"/>
                  <a:gd name="connsiteY2" fmla="*/ 3237450 h 4330430"/>
                  <a:gd name="connsiteX3" fmla="*/ 1674223 w 1879986"/>
                  <a:gd name="connsiteY3" fmla="*/ 3231052 h 4330430"/>
                  <a:gd name="connsiteX4" fmla="*/ 581097 w 1879986"/>
                  <a:gd name="connsiteY4" fmla="*/ 4076529 h 4330430"/>
                  <a:gd name="connsiteX5" fmla="*/ 231230 w 1879986"/>
                  <a:gd name="connsiteY5" fmla="*/ 3169743 h 4330430"/>
                  <a:gd name="connsiteX6" fmla="*/ 319367 w 1879986"/>
                  <a:gd name="connsiteY6" fmla="*/ 3160841 h 4330430"/>
                  <a:gd name="connsiteX7" fmla="*/ 323124 w 1879986"/>
                  <a:gd name="connsiteY7" fmla="*/ 3071321 h 4330430"/>
                  <a:gd name="connsiteX8" fmla="*/ 511661 w 1879986"/>
                  <a:gd name="connsiteY8" fmla="*/ 2854845 h 4330430"/>
                  <a:gd name="connsiteX9" fmla="*/ 555371 w 1879986"/>
                  <a:gd name="connsiteY9" fmla="*/ 2747193 h 4330430"/>
                  <a:gd name="connsiteX10" fmla="*/ 556550 w 1879986"/>
                  <a:gd name="connsiteY10" fmla="*/ 1594571 h 4330430"/>
                  <a:gd name="connsiteX11" fmla="*/ 542073 w 1879986"/>
                  <a:gd name="connsiteY11" fmla="*/ 1512297 h 4330430"/>
                  <a:gd name="connsiteX12" fmla="*/ 368764 w 1879986"/>
                  <a:gd name="connsiteY12" fmla="*/ 1302973 h 4330430"/>
                  <a:gd name="connsiteX13" fmla="*/ 329287 w 1879986"/>
                  <a:gd name="connsiteY13" fmla="*/ 1302809 h 4330430"/>
                  <a:gd name="connsiteX14" fmla="*/ 328934 w 1879986"/>
                  <a:gd name="connsiteY14" fmla="*/ 1269031 h 4330430"/>
                  <a:gd name="connsiteX15" fmla="*/ 356286 w 1879986"/>
                  <a:gd name="connsiteY15" fmla="*/ 1268519 h 4330430"/>
                  <a:gd name="connsiteX16" fmla="*/ 353118 w 1879986"/>
                  <a:gd name="connsiteY16" fmla="*/ 1138495 h 4330430"/>
                  <a:gd name="connsiteX17" fmla="*/ 234935 w 1879986"/>
                  <a:gd name="connsiteY17" fmla="*/ 1138830 h 4330430"/>
                  <a:gd name="connsiteX18" fmla="*/ 235339 w 1879986"/>
                  <a:gd name="connsiteY18" fmla="*/ 923254 h 4330430"/>
                  <a:gd name="connsiteX19" fmla="*/ 603374 w 1879986"/>
                  <a:gd name="connsiteY19" fmla="*/ 237848 h 4330430"/>
                  <a:gd name="connsiteX20" fmla="*/ 1680415 w 1879986"/>
                  <a:gd name="connsiteY20" fmla="*/ 1068728 h 4330430"/>
                  <a:gd name="connsiteX21" fmla="*/ 1879986 w 1879986"/>
                  <a:gd name="connsiteY21" fmla="*/ 1081411 h 4330430"/>
                  <a:gd name="connsiteX22" fmla="*/ 1816630 w 1879986"/>
                  <a:gd name="connsiteY22" fmla="*/ 913332 h 4330430"/>
                  <a:gd name="connsiteX23" fmla="*/ 958163 w 1879986"/>
                  <a:gd name="connsiteY23" fmla="*/ 0 h 4330430"/>
                  <a:gd name="connsiteX24" fmla="*/ 109261 w 1879986"/>
                  <a:gd name="connsiteY24" fmla="*/ 858457 h 4330430"/>
                  <a:gd name="connsiteX25" fmla="*/ 94804 w 1879986"/>
                  <a:gd name="connsiteY25" fmla="*/ 1146972 h 4330430"/>
                  <a:gd name="connsiteX26" fmla="*/ 9907 w 1879986"/>
                  <a:gd name="connsiteY26" fmla="*/ 1521969 h 4330430"/>
                  <a:gd name="connsiteX27" fmla="*/ 0 w 1879986"/>
                  <a:gd name="connsiteY27" fmla="*/ 2778708 h 4330430"/>
                  <a:gd name="connsiteX28" fmla="*/ 95870 w 1879986"/>
                  <a:gd name="connsiteY28" fmla="*/ 3178922 h 4330430"/>
                  <a:gd name="connsiteX29" fmla="*/ 94635 w 1879986"/>
                  <a:gd name="connsiteY29" fmla="*/ 3523641 h 4330430"/>
                  <a:gd name="connsiteX0" fmla="*/ 94635 w 1879986"/>
                  <a:gd name="connsiteY0" fmla="*/ 3523641 h 4330430"/>
                  <a:gd name="connsiteX1" fmla="*/ 938203 w 1879986"/>
                  <a:gd name="connsiteY1" fmla="*/ 4330430 h 4330430"/>
                  <a:gd name="connsiteX2" fmla="*/ 1802011 w 1879986"/>
                  <a:gd name="connsiteY2" fmla="*/ 3474424 h 4330430"/>
                  <a:gd name="connsiteX3" fmla="*/ 1674223 w 1879986"/>
                  <a:gd name="connsiteY3" fmla="*/ 3231052 h 4330430"/>
                  <a:gd name="connsiteX4" fmla="*/ 581097 w 1879986"/>
                  <a:gd name="connsiteY4" fmla="*/ 4076529 h 4330430"/>
                  <a:gd name="connsiteX5" fmla="*/ 231230 w 1879986"/>
                  <a:gd name="connsiteY5" fmla="*/ 3169743 h 4330430"/>
                  <a:gd name="connsiteX6" fmla="*/ 319367 w 1879986"/>
                  <a:gd name="connsiteY6" fmla="*/ 3160841 h 4330430"/>
                  <a:gd name="connsiteX7" fmla="*/ 323124 w 1879986"/>
                  <a:gd name="connsiteY7" fmla="*/ 3071321 h 4330430"/>
                  <a:gd name="connsiteX8" fmla="*/ 511661 w 1879986"/>
                  <a:gd name="connsiteY8" fmla="*/ 2854845 h 4330430"/>
                  <a:gd name="connsiteX9" fmla="*/ 555371 w 1879986"/>
                  <a:gd name="connsiteY9" fmla="*/ 2747193 h 4330430"/>
                  <a:gd name="connsiteX10" fmla="*/ 556550 w 1879986"/>
                  <a:gd name="connsiteY10" fmla="*/ 1594571 h 4330430"/>
                  <a:gd name="connsiteX11" fmla="*/ 542073 w 1879986"/>
                  <a:gd name="connsiteY11" fmla="*/ 1512297 h 4330430"/>
                  <a:gd name="connsiteX12" fmla="*/ 368764 w 1879986"/>
                  <a:gd name="connsiteY12" fmla="*/ 1302973 h 4330430"/>
                  <a:gd name="connsiteX13" fmla="*/ 329287 w 1879986"/>
                  <a:gd name="connsiteY13" fmla="*/ 1302809 h 4330430"/>
                  <a:gd name="connsiteX14" fmla="*/ 328934 w 1879986"/>
                  <a:gd name="connsiteY14" fmla="*/ 1269031 h 4330430"/>
                  <a:gd name="connsiteX15" fmla="*/ 356286 w 1879986"/>
                  <a:gd name="connsiteY15" fmla="*/ 1268519 h 4330430"/>
                  <a:gd name="connsiteX16" fmla="*/ 353118 w 1879986"/>
                  <a:gd name="connsiteY16" fmla="*/ 1138495 h 4330430"/>
                  <a:gd name="connsiteX17" fmla="*/ 234935 w 1879986"/>
                  <a:gd name="connsiteY17" fmla="*/ 1138830 h 4330430"/>
                  <a:gd name="connsiteX18" fmla="*/ 235339 w 1879986"/>
                  <a:gd name="connsiteY18" fmla="*/ 923254 h 4330430"/>
                  <a:gd name="connsiteX19" fmla="*/ 603374 w 1879986"/>
                  <a:gd name="connsiteY19" fmla="*/ 237848 h 4330430"/>
                  <a:gd name="connsiteX20" fmla="*/ 1680415 w 1879986"/>
                  <a:gd name="connsiteY20" fmla="*/ 1068728 h 4330430"/>
                  <a:gd name="connsiteX21" fmla="*/ 1879986 w 1879986"/>
                  <a:gd name="connsiteY21" fmla="*/ 1081411 h 4330430"/>
                  <a:gd name="connsiteX22" fmla="*/ 1816630 w 1879986"/>
                  <a:gd name="connsiteY22" fmla="*/ 913332 h 4330430"/>
                  <a:gd name="connsiteX23" fmla="*/ 958163 w 1879986"/>
                  <a:gd name="connsiteY23" fmla="*/ 0 h 4330430"/>
                  <a:gd name="connsiteX24" fmla="*/ 109261 w 1879986"/>
                  <a:gd name="connsiteY24" fmla="*/ 858457 h 4330430"/>
                  <a:gd name="connsiteX25" fmla="*/ 94804 w 1879986"/>
                  <a:gd name="connsiteY25" fmla="*/ 1146972 h 4330430"/>
                  <a:gd name="connsiteX26" fmla="*/ 9907 w 1879986"/>
                  <a:gd name="connsiteY26" fmla="*/ 1521969 h 4330430"/>
                  <a:gd name="connsiteX27" fmla="*/ 0 w 1879986"/>
                  <a:gd name="connsiteY27" fmla="*/ 2778708 h 4330430"/>
                  <a:gd name="connsiteX28" fmla="*/ 95870 w 1879986"/>
                  <a:gd name="connsiteY28" fmla="*/ 3178922 h 4330430"/>
                  <a:gd name="connsiteX29" fmla="*/ 94635 w 1879986"/>
                  <a:gd name="connsiteY29" fmla="*/ 3523641 h 4330430"/>
                  <a:gd name="connsiteX0" fmla="*/ 94635 w 1879986"/>
                  <a:gd name="connsiteY0" fmla="*/ 3523641 h 4330430"/>
                  <a:gd name="connsiteX1" fmla="*/ 938203 w 1879986"/>
                  <a:gd name="connsiteY1" fmla="*/ 4330430 h 4330430"/>
                  <a:gd name="connsiteX2" fmla="*/ 1802011 w 1879986"/>
                  <a:gd name="connsiteY2" fmla="*/ 3474424 h 4330430"/>
                  <a:gd name="connsiteX3" fmla="*/ 1674223 w 1879986"/>
                  <a:gd name="connsiteY3" fmla="*/ 3231052 h 4330430"/>
                  <a:gd name="connsiteX4" fmla="*/ 581097 w 1879986"/>
                  <a:gd name="connsiteY4" fmla="*/ 4076529 h 4330430"/>
                  <a:gd name="connsiteX5" fmla="*/ 231230 w 1879986"/>
                  <a:gd name="connsiteY5" fmla="*/ 3169743 h 4330430"/>
                  <a:gd name="connsiteX6" fmla="*/ 319367 w 1879986"/>
                  <a:gd name="connsiteY6" fmla="*/ 3160841 h 4330430"/>
                  <a:gd name="connsiteX7" fmla="*/ 323124 w 1879986"/>
                  <a:gd name="connsiteY7" fmla="*/ 3071321 h 4330430"/>
                  <a:gd name="connsiteX8" fmla="*/ 511661 w 1879986"/>
                  <a:gd name="connsiteY8" fmla="*/ 2854845 h 4330430"/>
                  <a:gd name="connsiteX9" fmla="*/ 555371 w 1879986"/>
                  <a:gd name="connsiteY9" fmla="*/ 2747193 h 4330430"/>
                  <a:gd name="connsiteX10" fmla="*/ 556550 w 1879986"/>
                  <a:gd name="connsiteY10" fmla="*/ 1594571 h 4330430"/>
                  <a:gd name="connsiteX11" fmla="*/ 542073 w 1879986"/>
                  <a:gd name="connsiteY11" fmla="*/ 1512297 h 4330430"/>
                  <a:gd name="connsiteX12" fmla="*/ 368764 w 1879986"/>
                  <a:gd name="connsiteY12" fmla="*/ 1302973 h 4330430"/>
                  <a:gd name="connsiteX13" fmla="*/ 329287 w 1879986"/>
                  <a:gd name="connsiteY13" fmla="*/ 1302809 h 4330430"/>
                  <a:gd name="connsiteX14" fmla="*/ 328934 w 1879986"/>
                  <a:gd name="connsiteY14" fmla="*/ 1269031 h 4330430"/>
                  <a:gd name="connsiteX15" fmla="*/ 356286 w 1879986"/>
                  <a:gd name="connsiteY15" fmla="*/ 1268519 h 4330430"/>
                  <a:gd name="connsiteX16" fmla="*/ 353118 w 1879986"/>
                  <a:gd name="connsiteY16" fmla="*/ 1138495 h 4330430"/>
                  <a:gd name="connsiteX17" fmla="*/ 234935 w 1879986"/>
                  <a:gd name="connsiteY17" fmla="*/ 1138830 h 4330430"/>
                  <a:gd name="connsiteX18" fmla="*/ 235339 w 1879986"/>
                  <a:gd name="connsiteY18" fmla="*/ 923254 h 4330430"/>
                  <a:gd name="connsiteX19" fmla="*/ 603374 w 1879986"/>
                  <a:gd name="connsiteY19" fmla="*/ 237848 h 4330430"/>
                  <a:gd name="connsiteX20" fmla="*/ 1680415 w 1879986"/>
                  <a:gd name="connsiteY20" fmla="*/ 1068728 h 4330430"/>
                  <a:gd name="connsiteX21" fmla="*/ 1879986 w 1879986"/>
                  <a:gd name="connsiteY21" fmla="*/ 1081411 h 4330430"/>
                  <a:gd name="connsiteX22" fmla="*/ 1816630 w 1879986"/>
                  <a:gd name="connsiteY22" fmla="*/ 913332 h 4330430"/>
                  <a:gd name="connsiteX23" fmla="*/ 958163 w 1879986"/>
                  <a:gd name="connsiteY23" fmla="*/ 0 h 4330430"/>
                  <a:gd name="connsiteX24" fmla="*/ 109261 w 1879986"/>
                  <a:gd name="connsiteY24" fmla="*/ 858457 h 4330430"/>
                  <a:gd name="connsiteX25" fmla="*/ 94804 w 1879986"/>
                  <a:gd name="connsiteY25" fmla="*/ 1146972 h 4330430"/>
                  <a:gd name="connsiteX26" fmla="*/ 9907 w 1879986"/>
                  <a:gd name="connsiteY26" fmla="*/ 1521969 h 4330430"/>
                  <a:gd name="connsiteX27" fmla="*/ 0 w 1879986"/>
                  <a:gd name="connsiteY27" fmla="*/ 2778708 h 4330430"/>
                  <a:gd name="connsiteX28" fmla="*/ 95870 w 1879986"/>
                  <a:gd name="connsiteY28" fmla="*/ 3178922 h 4330430"/>
                  <a:gd name="connsiteX29" fmla="*/ 94635 w 1879986"/>
                  <a:gd name="connsiteY29" fmla="*/ 3523641 h 4330430"/>
                  <a:gd name="connsiteX0" fmla="*/ 94635 w 1879986"/>
                  <a:gd name="connsiteY0" fmla="*/ 3523641 h 4330577"/>
                  <a:gd name="connsiteX1" fmla="*/ 938203 w 1879986"/>
                  <a:gd name="connsiteY1" fmla="*/ 4330430 h 4330577"/>
                  <a:gd name="connsiteX2" fmla="*/ 1802011 w 1879986"/>
                  <a:gd name="connsiteY2" fmla="*/ 3474424 h 4330577"/>
                  <a:gd name="connsiteX3" fmla="*/ 1674223 w 1879986"/>
                  <a:gd name="connsiteY3" fmla="*/ 3231052 h 4330577"/>
                  <a:gd name="connsiteX4" fmla="*/ 581097 w 1879986"/>
                  <a:gd name="connsiteY4" fmla="*/ 4076529 h 4330577"/>
                  <a:gd name="connsiteX5" fmla="*/ 231230 w 1879986"/>
                  <a:gd name="connsiteY5" fmla="*/ 3169743 h 4330577"/>
                  <a:gd name="connsiteX6" fmla="*/ 319367 w 1879986"/>
                  <a:gd name="connsiteY6" fmla="*/ 3160841 h 4330577"/>
                  <a:gd name="connsiteX7" fmla="*/ 323124 w 1879986"/>
                  <a:gd name="connsiteY7" fmla="*/ 3071321 h 4330577"/>
                  <a:gd name="connsiteX8" fmla="*/ 511661 w 1879986"/>
                  <a:gd name="connsiteY8" fmla="*/ 2854845 h 4330577"/>
                  <a:gd name="connsiteX9" fmla="*/ 555371 w 1879986"/>
                  <a:gd name="connsiteY9" fmla="*/ 2747193 h 4330577"/>
                  <a:gd name="connsiteX10" fmla="*/ 556550 w 1879986"/>
                  <a:gd name="connsiteY10" fmla="*/ 1594571 h 4330577"/>
                  <a:gd name="connsiteX11" fmla="*/ 542073 w 1879986"/>
                  <a:gd name="connsiteY11" fmla="*/ 1512297 h 4330577"/>
                  <a:gd name="connsiteX12" fmla="*/ 368764 w 1879986"/>
                  <a:gd name="connsiteY12" fmla="*/ 1302973 h 4330577"/>
                  <a:gd name="connsiteX13" fmla="*/ 329287 w 1879986"/>
                  <a:gd name="connsiteY13" fmla="*/ 1302809 h 4330577"/>
                  <a:gd name="connsiteX14" fmla="*/ 328934 w 1879986"/>
                  <a:gd name="connsiteY14" fmla="*/ 1269031 h 4330577"/>
                  <a:gd name="connsiteX15" fmla="*/ 356286 w 1879986"/>
                  <a:gd name="connsiteY15" fmla="*/ 1268519 h 4330577"/>
                  <a:gd name="connsiteX16" fmla="*/ 353118 w 1879986"/>
                  <a:gd name="connsiteY16" fmla="*/ 1138495 h 4330577"/>
                  <a:gd name="connsiteX17" fmla="*/ 234935 w 1879986"/>
                  <a:gd name="connsiteY17" fmla="*/ 1138830 h 4330577"/>
                  <a:gd name="connsiteX18" fmla="*/ 235339 w 1879986"/>
                  <a:gd name="connsiteY18" fmla="*/ 923254 h 4330577"/>
                  <a:gd name="connsiteX19" fmla="*/ 603374 w 1879986"/>
                  <a:gd name="connsiteY19" fmla="*/ 237848 h 4330577"/>
                  <a:gd name="connsiteX20" fmla="*/ 1680415 w 1879986"/>
                  <a:gd name="connsiteY20" fmla="*/ 1068728 h 4330577"/>
                  <a:gd name="connsiteX21" fmla="*/ 1879986 w 1879986"/>
                  <a:gd name="connsiteY21" fmla="*/ 1081411 h 4330577"/>
                  <a:gd name="connsiteX22" fmla="*/ 1816630 w 1879986"/>
                  <a:gd name="connsiteY22" fmla="*/ 913332 h 4330577"/>
                  <a:gd name="connsiteX23" fmla="*/ 958163 w 1879986"/>
                  <a:gd name="connsiteY23" fmla="*/ 0 h 4330577"/>
                  <a:gd name="connsiteX24" fmla="*/ 109261 w 1879986"/>
                  <a:gd name="connsiteY24" fmla="*/ 858457 h 4330577"/>
                  <a:gd name="connsiteX25" fmla="*/ 94804 w 1879986"/>
                  <a:gd name="connsiteY25" fmla="*/ 1146972 h 4330577"/>
                  <a:gd name="connsiteX26" fmla="*/ 9907 w 1879986"/>
                  <a:gd name="connsiteY26" fmla="*/ 1521969 h 4330577"/>
                  <a:gd name="connsiteX27" fmla="*/ 0 w 1879986"/>
                  <a:gd name="connsiteY27" fmla="*/ 2778708 h 4330577"/>
                  <a:gd name="connsiteX28" fmla="*/ 95870 w 1879986"/>
                  <a:gd name="connsiteY28" fmla="*/ 3178922 h 4330577"/>
                  <a:gd name="connsiteX29" fmla="*/ 94635 w 1879986"/>
                  <a:gd name="connsiteY29" fmla="*/ 3523641 h 4330577"/>
                  <a:gd name="connsiteX0" fmla="*/ 94635 w 1879986"/>
                  <a:gd name="connsiteY0" fmla="*/ 3523641 h 4330577"/>
                  <a:gd name="connsiteX1" fmla="*/ 938203 w 1879986"/>
                  <a:gd name="connsiteY1" fmla="*/ 4330430 h 4330577"/>
                  <a:gd name="connsiteX2" fmla="*/ 1802011 w 1879986"/>
                  <a:gd name="connsiteY2" fmla="*/ 3474424 h 4330577"/>
                  <a:gd name="connsiteX3" fmla="*/ 1674223 w 1879986"/>
                  <a:gd name="connsiteY3" fmla="*/ 3231052 h 4330577"/>
                  <a:gd name="connsiteX4" fmla="*/ 581097 w 1879986"/>
                  <a:gd name="connsiteY4" fmla="*/ 4076529 h 4330577"/>
                  <a:gd name="connsiteX5" fmla="*/ 231230 w 1879986"/>
                  <a:gd name="connsiteY5" fmla="*/ 3169743 h 4330577"/>
                  <a:gd name="connsiteX6" fmla="*/ 319367 w 1879986"/>
                  <a:gd name="connsiteY6" fmla="*/ 3160841 h 4330577"/>
                  <a:gd name="connsiteX7" fmla="*/ 323124 w 1879986"/>
                  <a:gd name="connsiteY7" fmla="*/ 3071321 h 4330577"/>
                  <a:gd name="connsiteX8" fmla="*/ 511661 w 1879986"/>
                  <a:gd name="connsiteY8" fmla="*/ 2854845 h 4330577"/>
                  <a:gd name="connsiteX9" fmla="*/ 555371 w 1879986"/>
                  <a:gd name="connsiteY9" fmla="*/ 2747193 h 4330577"/>
                  <a:gd name="connsiteX10" fmla="*/ 556550 w 1879986"/>
                  <a:gd name="connsiteY10" fmla="*/ 1594571 h 4330577"/>
                  <a:gd name="connsiteX11" fmla="*/ 542073 w 1879986"/>
                  <a:gd name="connsiteY11" fmla="*/ 1512297 h 4330577"/>
                  <a:gd name="connsiteX12" fmla="*/ 368764 w 1879986"/>
                  <a:gd name="connsiteY12" fmla="*/ 1302973 h 4330577"/>
                  <a:gd name="connsiteX13" fmla="*/ 329287 w 1879986"/>
                  <a:gd name="connsiteY13" fmla="*/ 1302809 h 4330577"/>
                  <a:gd name="connsiteX14" fmla="*/ 328934 w 1879986"/>
                  <a:gd name="connsiteY14" fmla="*/ 1269031 h 4330577"/>
                  <a:gd name="connsiteX15" fmla="*/ 356286 w 1879986"/>
                  <a:gd name="connsiteY15" fmla="*/ 1268519 h 4330577"/>
                  <a:gd name="connsiteX16" fmla="*/ 353118 w 1879986"/>
                  <a:gd name="connsiteY16" fmla="*/ 1138495 h 4330577"/>
                  <a:gd name="connsiteX17" fmla="*/ 234935 w 1879986"/>
                  <a:gd name="connsiteY17" fmla="*/ 1138830 h 4330577"/>
                  <a:gd name="connsiteX18" fmla="*/ 235339 w 1879986"/>
                  <a:gd name="connsiteY18" fmla="*/ 923254 h 4330577"/>
                  <a:gd name="connsiteX19" fmla="*/ 603374 w 1879986"/>
                  <a:gd name="connsiteY19" fmla="*/ 237848 h 4330577"/>
                  <a:gd name="connsiteX20" fmla="*/ 1680415 w 1879986"/>
                  <a:gd name="connsiteY20" fmla="*/ 1068728 h 4330577"/>
                  <a:gd name="connsiteX21" fmla="*/ 1879986 w 1879986"/>
                  <a:gd name="connsiteY21" fmla="*/ 1081411 h 4330577"/>
                  <a:gd name="connsiteX22" fmla="*/ 1816630 w 1879986"/>
                  <a:gd name="connsiteY22" fmla="*/ 913332 h 4330577"/>
                  <a:gd name="connsiteX23" fmla="*/ 958163 w 1879986"/>
                  <a:gd name="connsiteY23" fmla="*/ 0 h 4330577"/>
                  <a:gd name="connsiteX24" fmla="*/ 109261 w 1879986"/>
                  <a:gd name="connsiteY24" fmla="*/ 858457 h 4330577"/>
                  <a:gd name="connsiteX25" fmla="*/ 94804 w 1879986"/>
                  <a:gd name="connsiteY25" fmla="*/ 1146972 h 4330577"/>
                  <a:gd name="connsiteX26" fmla="*/ 9907 w 1879986"/>
                  <a:gd name="connsiteY26" fmla="*/ 1521969 h 4330577"/>
                  <a:gd name="connsiteX27" fmla="*/ 0 w 1879986"/>
                  <a:gd name="connsiteY27" fmla="*/ 2778708 h 4330577"/>
                  <a:gd name="connsiteX28" fmla="*/ 95870 w 1879986"/>
                  <a:gd name="connsiteY28" fmla="*/ 3178922 h 4330577"/>
                  <a:gd name="connsiteX29" fmla="*/ 94635 w 1879986"/>
                  <a:gd name="connsiteY29" fmla="*/ 3523641 h 4330577"/>
                  <a:gd name="connsiteX0" fmla="*/ 94635 w 1879986"/>
                  <a:gd name="connsiteY0" fmla="*/ 3523641 h 4330639"/>
                  <a:gd name="connsiteX1" fmla="*/ 938203 w 1879986"/>
                  <a:gd name="connsiteY1" fmla="*/ 4330430 h 4330639"/>
                  <a:gd name="connsiteX2" fmla="*/ 1802011 w 1879986"/>
                  <a:gd name="connsiteY2" fmla="*/ 3474424 h 4330639"/>
                  <a:gd name="connsiteX3" fmla="*/ 1674223 w 1879986"/>
                  <a:gd name="connsiteY3" fmla="*/ 3231052 h 4330639"/>
                  <a:gd name="connsiteX4" fmla="*/ 581097 w 1879986"/>
                  <a:gd name="connsiteY4" fmla="*/ 4076529 h 4330639"/>
                  <a:gd name="connsiteX5" fmla="*/ 231230 w 1879986"/>
                  <a:gd name="connsiteY5" fmla="*/ 3169743 h 4330639"/>
                  <a:gd name="connsiteX6" fmla="*/ 319367 w 1879986"/>
                  <a:gd name="connsiteY6" fmla="*/ 3160841 h 4330639"/>
                  <a:gd name="connsiteX7" fmla="*/ 323124 w 1879986"/>
                  <a:gd name="connsiteY7" fmla="*/ 3071321 h 4330639"/>
                  <a:gd name="connsiteX8" fmla="*/ 511661 w 1879986"/>
                  <a:gd name="connsiteY8" fmla="*/ 2854845 h 4330639"/>
                  <a:gd name="connsiteX9" fmla="*/ 555371 w 1879986"/>
                  <a:gd name="connsiteY9" fmla="*/ 2747193 h 4330639"/>
                  <a:gd name="connsiteX10" fmla="*/ 556550 w 1879986"/>
                  <a:gd name="connsiteY10" fmla="*/ 1594571 h 4330639"/>
                  <a:gd name="connsiteX11" fmla="*/ 542073 w 1879986"/>
                  <a:gd name="connsiteY11" fmla="*/ 1512297 h 4330639"/>
                  <a:gd name="connsiteX12" fmla="*/ 368764 w 1879986"/>
                  <a:gd name="connsiteY12" fmla="*/ 1302973 h 4330639"/>
                  <a:gd name="connsiteX13" fmla="*/ 329287 w 1879986"/>
                  <a:gd name="connsiteY13" fmla="*/ 1302809 h 4330639"/>
                  <a:gd name="connsiteX14" fmla="*/ 328934 w 1879986"/>
                  <a:gd name="connsiteY14" fmla="*/ 1269031 h 4330639"/>
                  <a:gd name="connsiteX15" fmla="*/ 356286 w 1879986"/>
                  <a:gd name="connsiteY15" fmla="*/ 1268519 h 4330639"/>
                  <a:gd name="connsiteX16" fmla="*/ 353118 w 1879986"/>
                  <a:gd name="connsiteY16" fmla="*/ 1138495 h 4330639"/>
                  <a:gd name="connsiteX17" fmla="*/ 234935 w 1879986"/>
                  <a:gd name="connsiteY17" fmla="*/ 1138830 h 4330639"/>
                  <a:gd name="connsiteX18" fmla="*/ 235339 w 1879986"/>
                  <a:gd name="connsiteY18" fmla="*/ 923254 h 4330639"/>
                  <a:gd name="connsiteX19" fmla="*/ 603374 w 1879986"/>
                  <a:gd name="connsiteY19" fmla="*/ 237848 h 4330639"/>
                  <a:gd name="connsiteX20" fmla="*/ 1680415 w 1879986"/>
                  <a:gd name="connsiteY20" fmla="*/ 1068728 h 4330639"/>
                  <a:gd name="connsiteX21" fmla="*/ 1879986 w 1879986"/>
                  <a:gd name="connsiteY21" fmla="*/ 1081411 h 4330639"/>
                  <a:gd name="connsiteX22" fmla="*/ 1816630 w 1879986"/>
                  <a:gd name="connsiteY22" fmla="*/ 913332 h 4330639"/>
                  <a:gd name="connsiteX23" fmla="*/ 958163 w 1879986"/>
                  <a:gd name="connsiteY23" fmla="*/ 0 h 4330639"/>
                  <a:gd name="connsiteX24" fmla="*/ 109261 w 1879986"/>
                  <a:gd name="connsiteY24" fmla="*/ 858457 h 4330639"/>
                  <a:gd name="connsiteX25" fmla="*/ 94804 w 1879986"/>
                  <a:gd name="connsiteY25" fmla="*/ 1146972 h 4330639"/>
                  <a:gd name="connsiteX26" fmla="*/ 9907 w 1879986"/>
                  <a:gd name="connsiteY26" fmla="*/ 1521969 h 4330639"/>
                  <a:gd name="connsiteX27" fmla="*/ 0 w 1879986"/>
                  <a:gd name="connsiteY27" fmla="*/ 2778708 h 4330639"/>
                  <a:gd name="connsiteX28" fmla="*/ 95870 w 1879986"/>
                  <a:gd name="connsiteY28" fmla="*/ 3178922 h 4330639"/>
                  <a:gd name="connsiteX29" fmla="*/ 94635 w 1879986"/>
                  <a:gd name="connsiteY29" fmla="*/ 3523641 h 4330639"/>
                  <a:gd name="connsiteX0" fmla="*/ 94635 w 1879986"/>
                  <a:gd name="connsiteY0" fmla="*/ 3523641 h 4330639"/>
                  <a:gd name="connsiteX1" fmla="*/ 938203 w 1879986"/>
                  <a:gd name="connsiteY1" fmla="*/ 4330430 h 4330639"/>
                  <a:gd name="connsiteX2" fmla="*/ 1802011 w 1879986"/>
                  <a:gd name="connsiteY2" fmla="*/ 3474424 h 4330639"/>
                  <a:gd name="connsiteX3" fmla="*/ 1674223 w 1879986"/>
                  <a:gd name="connsiteY3" fmla="*/ 3231052 h 4330639"/>
                  <a:gd name="connsiteX4" fmla="*/ 581097 w 1879986"/>
                  <a:gd name="connsiteY4" fmla="*/ 4076529 h 4330639"/>
                  <a:gd name="connsiteX5" fmla="*/ 231230 w 1879986"/>
                  <a:gd name="connsiteY5" fmla="*/ 3169743 h 4330639"/>
                  <a:gd name="connsiteX6" fmla="*/ 319367 w 1879986"/>
                  <a:gd name="connsiteY6" fmla="*/ 3160841 h 4330639"/>
                  <a:gd name="connsiteX7" fmla="*/ 323124 w 1879986"/>
                  <a:gd name="connsiteY7" fmla="*/ 3071321 h 4330639"/>
                  <a:gd name="connsiteX8" fmla="*/ 511661 w 1879986"/>
                  <a:gd name="connsiteY8" fmla="*/ 2854845 h 4330639"/>
                  <a:gd name="connsiteX9" fmla="*/ 555371 w 1879986"/>
                  <a:gd name="connsiteY9" fmla="*/ 2747193 h 4330639"/>
                  <a:gd name="connsiteX10" fmla="*/ 556550 w 1879986"/>
                  <a:gd name="connsiteY10" fmla="*/ 1594571 h 4330639"/>
                  <a:gd name="connsiteX11" fmla="*/ 542073 w 1879986"/>
                  <a:gd name="connsiteY11" fmla="*/ 1512297 h 4330639"/>
                  <a:gd name="connsiteX12" fmla="*/ 368764 w 1879986"/>
                  <a:gd name="connsiteY12" fmla="*/ 1302973 h 4330639"/>
                  <a:gd name="connsiteX13" fmla="*/ 329287 w 1879986"/>
                  <a:gd name="connsiteY13" fmla="*/ 1302809 h 4330639"/>
                  <a:gd name="connsiteX14" fmla="*/ 328934 w 1879986"/>
                  <a:gd name="connsiteY14" fmla="*/ 1269031 h 4330639"/>
                  <a:gd name="connsiteX15" fmla="*/ 356286 w 1879986"/>
                  <a:gd name="connsiteY15" fmla="*/ 1268519 h 4330639"/>
                  <a:gd name="connsiteX16" fmla="*/ 353118 w 1879986"/>
                  <a:gd name="connsiteY16" fmla="*/ 1138495 h 4330639"/>
                  <a:gd name="connsiteX17" fmla="*/ 234935 w 1879986"/>
                  <a:gd name="connsiteY17" fmla="*/ 1138830 h 4330639"/>
                  <a:gd name="connsiteX18" fmla="*/ 235339 w 1879986"/>
                  <a:gd name="connsiteY18" fmla="*/ 923254 h 4330639"/>
                  <a:gd name="connsiteX19" fmla="*/ 603374 w 1879986"/>
                  <a:gd name="connsiteY19" fmla="*/ 237848 h 4330639"/>
                  <a:gd name="connsiteX20" fmla="*/ 1680415 w 1879986"/>
                  <a:gd name="connsiteY20" fmla="*/ 1068728 h 4330639"/>
                  <a:gd name="connsiteX21" fmla="*/ 1879986 w 1879986"/>
                  <a:gd name="connsiteY21" fmla="*/ 1081411 h 4330639"/>
                  <a:gd name="connsiteX22" fmla="*/ 1816630 w 1879986"/>
                  <a:gd name="connsiteY22" fmla="*/ 913332 h 4330639"/>
                  <a:gd name="connsiteX23" fmla="*/ 958163 w 1879986"/>
                  <a:gd name="connsiteY23" fmla="*/ 0 h 4330639"/>
                  <a:gd name="connsiteX24" fmla="*/ 109261 w 1879986"/>
                  <a:gd name="connsiteY24" fmla="*/ 858457 h 4330639"/>
                  <a:gd name="connsiteX25" fmla="*/ 94804 w 1879986"/>
                  <a:gd name="connsiteY25" fmla="*/ 1146972 h 4330639"/>
                  <a:gd name="connsiteX26" fmla="*/ 9907 w 1879986"/>
                  <a:gd name="connsiteY26" fmla="*/ 1521969 h 4330639"/>
                  <a:gd name="connsiteX27" fmla="*/ 0 w 1879986"/>
                  <a:gd name="connsiteY27" fmla="*/ 2778708 h 4330639"/>
                  <a:gd name="connsiteX28" fmla="*/ 95870 w 1879986"/>
                  <a:gd name="connsiteY28" fmla="*/ 3178922 h 4330639"/>
                  <a:gd name="connsiteX29" fmla="*/ 94635 w 1879986"/>
                  <a:gd name="connsiteY29" fmla="*/ 3523641 h 4330639"/>
                  <a:gd name="connsiteX0" fmla="*/ 94635 w 1879986"/>
                  <a:gd name="connsiteY0" fmla="*/ 3523641 h 4330639"/>
                  <a:gd name="connsiteX1" fmla="*/ 938203 w 1879986"/>
                  <a:gd name="connsiteY1" fmla="*/ 4330430 h 4330639"/>
                  <a:gd name="connsiteX2" fmla="*/ 1802011 w 1879986"/>
                  <a:gd name="connsiteY2" fmla="*/ 3474424 h 4330639"/>
                  <a:gd name="connsiteX3" fmla="*/ 1674223 w 1879986"/>
                  <a:gd name="connsiteY3" fmla="*/ 3231052 h 4330639"/>
                  <a:gd name="connsiteX4" fmla="*/ 581097 w 1879986"/>
                  <a:gd name="connsiteY4" fmla="*/ 4076529 h 4330639"/>
                  <a:gd name="connsiteX5" fmla="*/ 296378 w 1879986"/>
                  <a:gd name="connsiteY5" fmla="*/ 3409134 h 4330639"/>
                  <a:gd name="connsiteX6" fmla="*/ 231230 w 1879986"/>
                  <a:gd name="connsiteY6" fmla="*/ 3169743 h 4330639"/>
                  <a:gd name="connsiteX7" fmla="*/ 319367 w 1879986"/>
                  <a:gd name="connsiteY7" fmla="*/ 3160841 h 4330639"/>
                  <a:gd name="connsiteX8" fmla="*/ 323124 w 1879986"/>
                  <a:gd name="connsiteY8" fmla="*/ 3071321 h 4330639"/>
                  <a:gd name="connsiteX9" fmla="*/ 511661 w 1879986"/>
                  <a:gd name="connsiteY9" fmla="*/ 2854845 h 4330639"/>
                  <a:gd name="connsiteX10" fmla="*/ 555371 w 1879986"/>
                  <a:gd name="connsiteY10" fmla="*/ 2747193 h 4330639"/>
                  <a:gd name="connsiteX11" fmla="*/ 556550 w 1879986"/>
                  <a:gd name="connsiteY11" fmla="*/ 1594571 h 4330639"/>
                  <a:gd name="connsiteX12" fmla="*/ 542073 w 1879986"/>
                  <a:gd name="connsiteY12" fmla="*/ 1512297 h 4330639"/>
                  <a:gd name="connsiteX13" fmla="*/ 368764 w 1879986"/>
                  <a:gd name="connsiteY13" fmla="*/ 1302973 h 4330639"/>
                  <a:gd name="connsiteX14" fmla="*/ 329287 w 1879986"/>
                  <a:gd name="connsiteY14" fmla="*/ 1302809 h 4330639"/>
                  <a:gd name="connsiteX15" fmla="*/ 328934 w 1879986"/>
                  <a:gd name="connsiteY15" fmla="*/ 1269031 h 4330639"/>
                  <a:gd name="connsiteX16" fmla="*/ 356286 w 1879986"/>
                  <a:gd name="connsiteY16" fmla="*/ 1268519 h 4330639"/>
                  <a:gd name="connsiteX17" fmla="*/ 353118 w 1879986"/>
                  <a:gd name="connsiteY17" fmla="*/ 1138495 h 4330639"/>
                  <a:gd name="connsiteX18" fmla="*/ 234935 w 1879986"/>
                  <a:gd name="connsiteY18" fmla="*/ 1138830 h 4330639"/>
                  <a:gd name="connsiteX19" fmla="*/ 235339 w 1879986"/>
                  <a:gd name="connsiteY19" fmla="*/ 923254 h 4330639"/>
                  <a:gd name="connsiteX20" fmla="*/ 603374 w 1879986"/>
                  <a:gd name="connsiteY20" fmla="*/ 237848 h 4330639"/>
                  <a:gd name="connsiteX21" fmla="*/ 1680415 w 1879986"/>
                  <a:gd name="connsiteY21" fmla="*/ 1068728 h 4330639"/>
                  <a:gd name="connsiteX22" fmla="*/ 1879986 w 1879986"/>
                  <a:gd name="connsiteY22" fmla="*/ 1081411 h 4330639"/>
                  <a:gd name="connsiteX23" fmla="*/ 1816630 w 1879986"/>
                  <a:gd name="connsiteY23" fmla="*/ 913332 h 4330639"/>
                  <a:gd name="connsiteX24" fmla="*/ 958163 w 1879986"/>
                  <a:gd name="connsiteY24" fmla="*/ 0 h 4330639"/>
                  <a:gd name="connsiteX25" fmla="*/ 109261 w 1879986"/>
                  <a:gd name="connsiteY25" fmla="*/ 858457 h 4330639"/>
                  <a:gd name="connsiteX26" fmla="*/ 94804 w 1879986"/>
                  <a:gd name="connsiteY26" fmla="*/ 1146972 h 4330639"/>
                  <a:gd name="connsiteX27" fmla="*/ 9907 w 1879986"/>
                  <a:gd name="connsiteY27" fmla="*/ 1521969 h 4330639"/>
                  <a:gd name="connsiteX28" fmla="*/ 0 w 1879986"/>
                  <a:gd name="connsiteY28" fmla="*/ 2778708 h 4330639"/>
                  <a:gd name="connsiteX29" fmla="*/ 95870 w 1879986"/>
                  <a:gd name="connsiteY29" fmla="*/ 3178922 h 4330639"/>
                  <a:gd name="connsiteX30" fmla="*/ 94635 w 1879986"/>
                  <a:gd name="connsiteY30" fmla="*/ 3523641 h 4330639"/>
                  <a:gd name="connsiteX0" fmla="*/ 94635 w 1879986"/>
                  <a:gd name="connsiteY0" fmla="*/ 3523641 h 4330639"/>
                  <a:gd name="connsiteX1" fmla="*/ 938203 w 1879986"/>
                  <a:gd name="connsiteY1" fmla="*/ 4330430 h 4330639"/>
                  <a:gd name="connsiteX2" fmla="*/ 1802011 w 1879986"/>
                  <a:gd name="connsiteY2" fmla="*/ 3474424 h 4330639"/>
                  <a:gd name="connsiteX3" fmla="*/ 1674223 w 1879986"/>
                  <a:gd name="connsiteY3" fmla="*/ 3231052 h 4330639"/>
                  <a:gd name="connsiteX4" fmla="*/ 581097 w 1879986"/>
                  <a:gd name="connsiteY4" fmla="*/ 4076529 h 4330639"/>
                  <a:gd name="connsiteX5" fmla="*/ 243296 w 1879986"/>
                  <a:gd name="connsiteY5" fmla="*/ 3401879 h 4330639"/>
                  <a:gd name="connsiteX6" fmla="*/ 231230 w 1879986"/>
                  <a:gd name="connsiteY6" fmla="*/ 3169743 h 4330639"/>
                  <a:gd name="connsiteX7" fmla="*/ 319367 w 1879986"/>
                  <a:gd name="connsiteY7" fmla="*/ 3160841 h 4330639"/>
                  <a:gd name="connsiteX8" fmla="*/ 323124 w 1879986"/>
                  <a:gd name="connsiteY8" fmla="*/ 3071321 h 4330639"/>
                  <a:gd name="connsiteX9" fmla="*/ 511661 w 1879986"/>
                  <a:gd name="connsiteY9" fmla="*/ 2854845 h 4330639"/>
                  <a:gd name="connsiteX10" fmla="*/ 555371 w 1879986"/>
                  <a:gd name="connsiteY10" fmla="*/ 2747193 h 4330639"/>
                  <a:gd name="connsiteX11" fmla="*/ 556550 w 1879986"/>
                  <a:gd name="connsiteY11" fmla="*/ 1594571 h 4330639"/>
                  <a:gd name="connsiteX12" fmla="*/ 542073 w 1879986"/>
                  <a:gd name="connsiteY12" fmla="*/ 1512297 h 4330639"/>
                  <a:gd name="connsiteX13" fmla="*/ 368764 w 1879986"/>
                  <a:gd name="connsiteY13" fmla="*/ 1302973 h 4330639"/>
                  <a:gd name="connsiteX14" fmla="*/ 329287 w 1879986"/>
                  <a:gd name="connsiteY14" fmla="*/ 1302809 h 4330639"/>
                  <a:gd name="connsiteX15" fmla="*/ 328934 w 1879986"/>
                  <a:gd name="connsiteY15" fmla="*/ 1269031 h 4330639"/>
                  <a:gd name="connsiteX16" fmla="*/ 356286 w 1879986"/>
                  <a:gd name="connsiteY16" fmla="*/ 1268519 h 4330639"/>
                  <a:gd name="connsiteX17" fmla="*/ 353118 w 1879986"/>
                  <a:gd name="connsiteY17" fmla="*/ 1138495 h 4330639"/>
                  <a:gd name="connsiteX18" fmla="*/ 234935 w 1879986"/>
                  <a:gd name="connsiteY18" fmla="*/ 1138830 h 4330639"/>
                  <a:gd name="connsiteX19" fmla="*/ 235339 w 1879986"/>
                  <a:gd name="connsiteY19" fmla="*/ 923254 h 4330639"/>
                  <a:gd name="connsiteX20" fmla="*/ 603374 w 1879986"/>
                  <a:gd name="connsiteY20" fmla="*/ 237848 h 4330639"/>
                  <a:gd name="connsiteX21" fmla="*/ 1680415 w 1879986"/>
                  <a:gd name="connsiteY21" fmla="*/ 1068728 h 4330639"/>
                  <a:gd name="connsiteX22" fmla="*/ 1879986 w 1879986"/>
                  <a:gd name="connsiteY22" fmla="*/ 1081411 h 4330639"/>
                  <a:gd name="connsiteX23" fmla="*/ 1816630 w 1879986"/>
                  <a:gd name="connsiteY23" fmla="*/ 913332 h 4330639"/>
                  <a:gd name="connsiteX24" fmla="*/ 958163 w 1879986"/>
                  <a:gd name="connsiteY24" fmla="*/ 0 h 4330639"/>
                  <a:gd name="connsiteX25" fmla="*/ 109261 w 1879986"/>
                  <a:gd name="connsiteY25" fmla="*/ 858457 h 4330639"/>
                  <a:gd name="connsiteX26" fmla="*/ 94804 w 1879986"/>
                  <a:gd name="connsiteY26" fmla="*/ 1146972 h 4330639"/>
                  <a:gd name="connsiteX27" fmla="*/ 9907 w 1879986"/>
                  <a:gd name="connsiteY27" fmla="*/ 1521969 h 4330639"/>
                  <a:gd name="connsiteX28" fmla="*/ 0 w 1879986"/>
                  <a:gd name="connsiteY28" fmla="*/ 2778708 h 4330639"/>
                  <a:gd name="connsiteX29" fmla="*/ 95870 w 1879986"/>
                  <a:gd name="connsiteY29" fmla="*/ 3178922 h 4330639"/>
                  <a:gd name="connsiteX30" fmla="*/ 94635 w 1879986"/>
                  <a:gd name="connsiteY30" fmla="*/ 3523641 h 4330639"/>
                  <a:gd name="connsiteX0" fmla="*/ 94635 w 1879986"/>
                  <a:gd name="connsiteY0" fmla="*/ 3523641 h 4330639"/>
                  <a:gd name="connsiteX1" fmla="*/ 938203 w 1879986"/>
                  <a:gd name="connsiteY1" fmla="*/ 4330430 h 4330639"/>
                  <a:gd name="connsiteX2" fmla="*/ 1802011 w 1879986"/>
                  <a:gd name="connsiteY2" fmla="*/ 3474424 h 4330639"/>
                  <a:gd name="connsiteX3" fmla="*/ 1674223 w 1879986"/>
                  <a:gd name="connsiteY3" fmla="*/ 3231052 h 4330639"/>
                  <a:gd name="connsiteX4" fmla="*/ 581097 w 1879986"/>
                  <a:gd name="connsiteY4" fmla="*/ 4076529 h 4330639"/>
                  <a:gd name="connsiteX5" fmla="*/ 243296 w 1879986"/>
                  <a:gd name="connsiteY5" fmla="*/ 3401879 h 4330639"/>
                  <a:gd name="connsiteX6" fmla="*/ 231230 w 1879986"/>
                  <a:gd name="connsiteY6" fmla="*/ 3169743 h 4330639"/>
                  <a:gd name="connsiteX7" fmla="*/ 319367 w 1879986"/>
                  <a:gd name="connsiteY7" fmla="*/ 3160841 h 4330639"/>
                  <a:gd name="connsiteX8" fmla="*/ 323124 w 1879986"/>
                  <a:gd name="connsiteY8" fmla="*/ 3071321 h 4330639"/>
                  <a:gd name="connsiteX9" fmla="*/ 511661 w 1879986"/>
                  <a:gd name="connsiteY9" fmla="*/ 2854845 h 4330639"/>
                  <a:gd name="connsiteX10" fmla="*/ 555371 w 1879986"/>
                  <a:gd name="connsiteY10" fmla="*/ 2747193 h 4330639"/>
                  <a:gd name="connsiteX11" fmla="*/ 556550 w 1879986"/>
                  <a:gd name="connsiteY11" fmla="*/ 1594571 h 4330639"/>
                  <a:gd name="connsiteX12" fmla="*/ 542073 w 1879986"/>
                  <a:gd name="connsiteY12" fmla="*/ 1512297 h 4330639"/>
                  <a:gd name="connsiteX13" fmla="*/ 368764 w 1879986"/>
                  <a:gd name="connsiteY13" fmla="*/ 1302973 h 4330639"/>
                  <a:gd name="connsiteX14" fmla="*/ 329287 w 1879986"/>
                  <a:gd name="connsiteY14" fmla="*/ 1302809 h 4330639"/>
                  <a:gd name="connsiteX15" fmla="*/ 328934 w 1879986"/>
                  <a:gd name="connsiteY15" fmla="*/ 1269031 h 4330639"/>
                  <a:gd name="connsiteX16" fmla="*/ 356286 w 1879986"/>
                  <a:gd name="connsiteY16" fmla="*/ 1268519 h 4330639"/>
                  <a:gd name="connsiteX17" fmla="*/ 353118 w 1879986"/>
                  <a:gd name="connsiteY17" fmla="*/ 1138495 h 4330639"/>
                  <a:gd name="connsiteX18" fmla="*/ 234935 w 1879986"/>
                  <a:gd name="connsiteY18" fmla="*/ 1138830 h 4330639"/>
                  <a:gd name="connsiteX19" fmla="*/ 235339 w 1879986"/>
                  <a:gd name="connsiteY19" fmla="*/ 923254 h 4330639"/>
                  <a:gd name="connsiteX20" fmla="*/ 603374 w 1879986"/>
                  <a:gd name="connsiteY20" fmla="*/ 237848 h 4330639"/>
                  <a:gd name="connsiteX21" fmla="*/ 1680415 w 1879986"/>
                  <a:gd name="connsiteY21" fmla="*/ 1068728 h 4330639"/>
                  <a:gd name="connsiteX22" fmla="*/ 1879986 w 1879986"/>
                  <a:gd name="connsiteY22" fmla="*/ 1081411 h 4330639"/>
                  <a:gd name="connsiteX23" fmla="*/ 1816630 w 1879986"/>
                  <a:gd name="connsiteY23" fmla="*/ 913332 h 4330639"/>
                  <a:gd name="connsiteX24" fmla="*/ 958163 w 1879986"/>
                  <a:gd name="connsiteY24" fmla="*/ 0 h 4330639"/>
                  <a:gd name="connsiteX25" fmla="*/ 109261 w 1879986"/>
                  <a:gd name="connsiteY25" fmla="*/ 858457 h 4330639"/>
                  <a:gd name="connsiteX26" fmla="*/ 94804 w 1879986"/>
                  <a:gd name="connsiteY26" fmla="*/ 1146972 h 4330639"/>
                  <a:gd name="connsiteX27" fmla="*/ 9907 w 1879986"/>
                  <a:gd name="connsiteY27" fmla="*/ 1521969 h 4330639"/>
                  <a:gd name="connsiteX28" fmla="*/ 0 w 1879986"/>
                  <a:gd name="connsiteY28" fmla="*/ 2778708 h 4330639"/>
                  <a:gd name="connsiteX29" fmla="*/ 95870 w 1879986"/>
                  <a:gd name="connsiteY29" fmla="*/ 3178922 h 4330639"/>
                  <a:gd name="connsiteX30" fmla="*/ 94635 w 1879986"/>
                  <a:gd name="connsiteY30" fmla="*/ 3523641 h 4330639"/>
                  <a:gd name="connsiteX0" fmla="*/ 94635 w 1879986"/>
                  <a:gd name="connsiteY0" fmla="*/ 3523641 h 4330639"/>
                  <a:gd name="connsiteX1" fmla="*/ 938203 w 1879986"/>
                  <a:gd name="connsiteY1" fmla="*/ 4330430 h 4330639"/>
                  <a:gd name="connsiteX2" fmla="*/ 1802011 w 1879986"/>
                  <a:gd name="connsiteY2" fmla="*/ 3474424 h 4330639"/>
                  <a:gd name="connsiteX3" fmla="*/ 1674223 w 1879986"/>
                  <a:gd name="connsiteY3" fmla="*/ 3231052 h 4330639"/>
                  <a:gd name="connsiteX4" fmla="*/ 581097 w 1879986"/>
                  <a:gd name="connsiteY4" fmla="*/ 4076529 h 4330639"/>
                  <a:gd name="connsiteX5" fmla="*/ 243296 w 1879986"/>
                  <a:gd name="connsiteY5" fmla="*/ 3401879 h 4330639"/>
                  <a:gd name="connsiteX6" fmla="*/ 231230 w 1879986"/>
                  <a:gd name="connsiteY6" fmla="*/ 3169743 h 4330639"/>
                  <a:gd name="connsiteX7" fmla="*/ 319367 w 1879986"/>
                  <a:gd name="connsiteY7" fmla="*/ 3160841 h 4330639"/>
                  <a:gd name="connsiteX8" fmla="*/ 323124 w 1879986"/>
                  <a:gd name="connsiteY8" fmla="*/ 3071321 h 4330639"/>
                  <a:gd name="connsiteX9" fmla="*/ 511661 w 1879986"/>
                  <a:gd name="connsiteY9" fmla="*/ 2854845 h 4330639"/>
                  <a:gd name="connsiteX10" fmla="*/ 555371 w 1879986"/>
                  <a:gd name="connsiteY10" fmla="*/ 2747193 h 4330639"/>
                  <a:gd name="connsiteX11" fmla="*/ 556550 w 1879986"/>
                  <a:gd name="connsiteY11" fmla="*/ 1594571 h 4330639"/>
                  <a:gd name="connsiteX12" fmla="*/ 542073 w 1879986"/>
                  <a:gd name="connsiteY12" fmla="*/ 1512297 h 4330639"/>
                  <a:gd name="connsiteX13" fmla="*/ 368764 w 1879986"/>
                  <a:gd name="connsiteY13" fmla="*/ 1302973 h 4330639"/>
                  <a:gd name="connsiteX14" fmla="*/ 329287 w 1879986"/>
                  <a:gd name="connsiteY14" fmla="*/ 1302809 h 4330639"/>
                  <a:gd name="connsiteX15" fmla="*/ 328934 w 1879986"/>
                  <a:gd name="connsiteY15" fmla="*/ 1269031 h 4330639"/>
                  <a:gd name="connsiteX16" fmla="*/ 356286 w 1879986"/>
                  <a:gd name="connsiteY16" fmla="*/ 1268519 h 4330639"/>
                  <a:gd name="connsiteX17" fmla="*/ 353118 w 1879986"/>
                  <a:gd name="connsiteY17" fmla="*/ 1138495 h 4330639"/>
                  <a:gd name="connsiteX18" fmla="*/ 234935 w 1879986"/>
                  <a:gd name="connsiteY18" fmla="*/ 1138830 h 4330639"/>
                  <a:gd name="connsiteX19" fmla="*/ 235339 w 1879986"/>
                  <a:gd name="connsiteY19" fmla="*/ 923254 h 4330639"/>
                  <a:gd name="connsiteX20" fmla="*/ 603374 w 1879986"/>
                  <a:gd name="connsiteY20" fmla="*/ 237848 h 4330639"/>
                  <a:gd name="connsiteX21" fmla="*/ 1680415 w 1879986"/>
                  <a:gd name="connsiteY21" fmla="*/ 1068728 h 4330639"/>
                  <a:gd name="connsiteX22" fmla="*/ 1879986 w 1879986"/>
                  <a:gd name="connsiteY22" fmla="*/ 1081411 h 4330639"/>
                  <a:gd name="connsiteX23" fmla="*/ 1816630 w 1879986"/>
                  <a:gd name="connsiteY23" fmla="*/ 913332 h 4330639"/>
                  <a:gd name="connsiteX24" fmla="*/ 958163 w 1879986"/>
                  <a:gd name="connsiteY24" fmla="*/ 0 h 4330639"/>
                  <a:gd name="connsiteX25" fmla="*/ 109261 w 1879986"/>
                  <a:gd name="connsiteY25" fmla="*/ 858457 h 4330639"/>
                  <a:gd name="connsiteX26" fmla="*/ 94804 w 1879986"/>
                  <a:gd name="connsiteY26" fmla="*/ 1146972 h 4330639"/>
                  <a:gd name="connsiteX27" fmla="*/ 9907 w 1879986"/>
                  <a:gd name="connsiteY27" fmla="*/ 1521969 h 4330639"/>
                  <a:gd name="connsiteX28" fmla="*/ 0 w 1879986"/>
                  <a:gd name="connsiteY28" fmla="*/ 2778708 h 4330639"/>
                  <a:gd name="connsiteX29" fmla="*/ 95870 w 1879986"/>
                  <a:gd name="connsiteY29" fmla="*/ 3178922 h 4330639"/>
                  <a:gd name="connsiteX30" fmla="*/ 94635 w 1879986"/>
                  <a:gd name="connsiteY30" fmla="*/ 3523641 h 4330639"/>
                  <a:gd name="connsiteX0" fmla="*/ 94635 w 1879986"/>
                  <a:gd name="connsiteY0" fmla="*/ 3523641 h 4330639"/>
                  <a:gd name="connsiteX1" fmla="*/ 938203 w 1879986"/>
                  <a:gd name="connsiteY1" fmla="*/ 4330430 h 4330639"/>
                  <a:gd name="connsiteX2" fmla="*/ 1802011 w 1879986"/>
                  <a:gd name="connsiteY2" fmla="*/ 3474424 h 4330639"/>
                  <a:gd name="connsiteX3" fmla="*/ 1674223 w 1879986"/>
                  <a:gd name="connsiteY3" fmla="*/ 3231052 h 4330639"/>
                  <a:gd name="connsiteX4" fmla="*/ 581097 w 1879986"/>
                  <a:gd name="connsiteY4" fmla="*/ 4076529 h 4330639"/>
                  <a:gd name="connsiteX5" fmla="*/ 243296 w 1879986"/>
                  <a:gd name="connsiteY5" fmla="*/ 3401879 h 4330639"/>
                  <a:gd name="connsiteX6" fmla="*/ 231230 w 1879986"/>
                  <a:gd name="connsiteY6" fmla="*/ 3169743 h 4330639"/>
                  <a:gd name="connsiteX7" fmla="*/ 319367 w 1879986"/>
                  <a:gd name="connsiteY7" fmla="*/ 3160841 h 4330639"/>
                  <a:gd name="connsiteX8" fmla="*/ 323124 w 1879986"/>
                  <a:gd name="connsiteY8" fmla="*/ 3071321 h 4330639"/>
                  <a:gd name="connsiteX9" fmla="*/ 511661 w 1879986"/>
                  <a:gd name="connsiteY9" fmla="*/ 2854845 h 4330639"/>
                  <a:gd name="connsiteX10" fmla="*/ 555371 w 1879986"/>
                  <a:gd name="connsiteY10" fmla="*/ 2747193 h 4330639"/>
                  <a:gd name="connsiteX11" fmla="*/ 556550 w 1879986"/>
                  <a:gd name="connsiteY11" fmla="*/ 1594571 h 4330639"/>
                  <a:gd name="connsiteX12" fmla="*/ 542073 w 1879986"/>
                  <a:gd name="connsiteY12" fmla="*/ 1512297 h 4330639"/>
                  <a:gd name="connsiteX13" fmla="*/ 368764 w 1879986"/>
                  <a:gd name="connsiteY13" fmla="*/ 1302973 h 4330639"/>
                  <a:gd name="connsiteX14" fmla="*/ 329287 w 1879986"/>
                  <a:gd name="connsiteY14" fmla="*/ 1302809 h 4330639"/>
                  <a:gd name="connsiteX15" fmla="*/ 328934 w 1879986"/>
                  <a:gd name="connsiteY15" fmla="*/ 1269031 h 4330639"/>
                  <a:gd name="connsiteX16" fmla="*/ 356286 w 1879986"/>
                  <a:gd name="connsiteY16" fmla="*/ 1268519 h 4330639"/>
                  <a:gd name="connsiteX17" fmla="*/ 353118 w 1879986"/>
                  <a:gd name="connsiteY17" fmla="*/ 1138495 h 4330639"/>
                  <a:gd name="connsiteX18" fmla="*/ 234935 w 1879986"/>
                  <a:gd name="connsiteY18" fmla="*/ 1138830 h 4330639"/>
                  <a:gd name="connsiteX19" fmla="*/ 235339 w 1879986"/>
                  <a:gd name="connsiteY19" fmla="*/ 923254 h 4330639"/>
                  <a:gd name="connsiteX20" fmla="*/ 603374 w 1879986"/>
                  <a:gd name="connsiteY20" fmla="*/ 237848 h 4330639"/>
                  <a:gd name="connsiteX21" fmla="*/ 1680415 w 1879986"/>
                  <a:gd name="connsiteY21" fmla="*/ 1068728 h 4330639"/>
                  <a:gd name="connsiteX22" fmla="*/ 1879986 w 1879986"/>
                  <a:gd name="connsiteY22" fmla="*/ 1081411 h 4330639"/>
                  <a:gd name="connsiteX23" fmla="*/ 1816630 w 1879986"/>
                  <a:gd name="connsiteY23" fmla="*/ 913332 h 4330639"/>
                  <a:gd name="connsiteX24" fmla="*/ 958163 w 1879986"/>
                  <a:gd name="connsiteY24" fmla="*/ 0 h 4330639"/>
                  <a:gd name="connsiteX25" fmla="*/ 109261 w 1879986"/>
                  <a:gd name="connsiteY25" fmla="*/ 858457 h 4330639"/>
                  <a:gd name="connsiteX26" fmla="*/ 94804 w 1879986"/>
                  <a:gd name="connsiteY26" fmla="*/ 1146972 h 4330639"/>
                  <a:gd name="connsiteX27" fmla="*/ 9907 w 1879986"/>
                  <a:gd name="connsiteY27" fmla="*/ 1521969 h 4330639"/>
                  <a:gd name="connsiteX28" fmla="*/ 0 w 1879986"/>
                  <a:gd name="connsiteY28" fmla="*/ 2778708 h 4330639"/>
                  <a:gd name="connsiteX29" fmla="*/ 95870 w 1879986"/>
                  <a:gd name="connsiteY29" fmla="*/ 3178922 h 4330639"/>
                  <a:gd name="connsiteX30" fmla="*/ 94635 w 1879986"/>
                  <a:gd name="connsiteY30" fmla="*/ 3523641 h 4330639"/>
                  <a:gd name="connsiteX0" fmla="*/ 94635 w 1879986"/>
                  <a:gd name="connsiteY0" fmla="*/ 3523641 h 4330639"/>
                  <a:gd name="connsiteX1" fmla="*/ 938203 w 1879986"/>
                  <a:gd name="connsiteY1" fmla="*/ 4330430 h 4330639"/>
                  <a:gd name="connsiteX2" fmla="*/ 1802011 w 1879986"/>
                  <a:gd name="connsiteY2" fmla="*/ 3474424 h 4330639"/>
                  <a:gd name="connsiteX3" fmla="*/ 1674223 w 1879986"/>
                  <a:gd name="connsiteY3" fmla="*/ 3231052 h 4330639"/>
                  <a:gd name="connsiteX4" fmla="*/ 581097 w 1879986"/>
                  <a:gd name="connsiteY4" fmla="*/ 4076529 h 4330639"/>
                  <a:gd name="connsiteX5" fmla="*/ 243296 w 1879986"/>
                  <a:gd name="connsiteY5" fmla="*/ 3401879 h 4330639"/>
                  <a:gd name="connsiteX6" fmla="*/ 231230 w 1879986"/>
                  <a:gd name="connsiteY6" fmla="*/ 3169743 h 4330639"/>
                  <a:gd name="connsiteX7" fmla="*/ 319367 w 1879986"/>
                  <a:gd name="connsiteY7" fmla="*/ 3160841 h 4330639"/>
                  <a:gd name="connsiteX8" fmla="*/ 323124 w 1879986"/>
                  <a:gd name="connsiteY8" fmla="*/ 3071321 h 4330639"/>
                  <a:gd name="connsiteX9" fmla="*/ 511661 w 1879986"/>
                  <a:gd name="connsiteY9" fmla="*/ 2854845 h 4330639"/>
                  <a:gd name="connsiteX10" fmla="*/ 555371 w 1879986"/>
                  <a:gd name="connsiteY10" fmla="*/ 2747193 h 4330639"/>
                  <a:gd name="connsiteX11" fmla="*/ 556550 w 1879986"/>
                  <a:gd name="connsiteY11" fmla="*/ 1594571 h 4330639"/>
                  <a:gd name="connsiteX12" fmla="*/ 542073 w 1879986"/>
                  <a:gd name="connsiteY12" fmla="*/ 1512297 h 4330639"/>
                  <a:gd name="connsiteX13" fmla="*/ 368764 w 1879986"/>
                  <a:gd name="connsiteY13" fmla="*/ 1302973 h 4330639"/>
                  <a:gd name="connsiteX14" fmla="*/ 329287 w 1879986"/>
                  <a:gd name="connsiteY14" fmla="*/ 1302809 h 4330639"/>
                  <a:gd name="connsiteX15" fmla="*/ 328934 w 1879986"/>
                  <a:gd name="connsiteY15" fmla="*/ 1269031 h 4330639"/>
                  <a:gd name="connsiteX16" fmla="*/ 356286 w 1879986"/>
                  <a:gd name="connsiteY16" fmla="*/ 1268519 h 4330639"/>
                  <a:gd name="connsiteX17" fmla="*/ 353118 w 1879986"/>
                  <a:gd name="connsiteY17" fmla="*/ 1138495 h 4330639"/>
                  <a:gd name="connsiteX18" fmla="*/ 234935 w 1879986"/>
                  <a:gd name="connsiteY18" fmla="*/ 1138830 h 4330639"/>
                  <a:gd name="connsiteX19" fmla="*/ 235339 w 1879986"/>
                  <a:gd name="connsiteY19" fmla="*/ 923254 h 4330639"/>
                  <a:gd name="connsiteX20" fmla="*/ 603374 w 1879986"/>
                  <a:gd name="connsiteY20" fmla="*/ 237848 h 4330639"/>
                  <a:gd name="connsiteX21" fmla="*/ 1680415 w 1879986"/>
                  <a:gd name="connsiteY21" fmla="*/ 1068728 h 4330639"/>
                  <a:gd name="connsiteX22" fmla="*/ 1777883 w 1879986"/>
                  <a:gd name="connsiteY22" fmla="*/ 1078088 h 4330639"/>
                  <a:gd name="connsiteX23" fmla="*/ 1879986 w 1879986"/>
                  <a:gd name="connsiteY23" fmla="*/ 1081411 h 4330639"/>
                  <a:gd name="connsiteX24" fmla="*/ 1816630 w 1879986"/>
                  <a:gd name="connsiteY24" fmla="*/ 913332 h 4330639"/>
                  <a:gd name="connsiteX25" fmla="*/ 958163 w 1879986"/>
                  <a:gd name="connsiteY25" fmla="*/ 0 h 4330639"/>
                  <a:gd name="connsiteX26" fmla="*/ 109261 w 1879986"/>
                  <a:gd name="connsiteY26" fmla="*/ 858457 h 4330639"/>
                  <a:gd name="connsiteX27" fmla="*/ 94804 w 1879986"/>
                  <a:gd name="connsiteY27" fmla="*/ 1146972 h 4330639"/>
                  <a:gd name="connsiteX28" fmla="*/ 9907 w 1879986"/>
                  <a:gd name="connsiteY28" fmla="*/ 1521969 h 4330639"/>
                  <a:gd name="connsiteX29" fmla="*/ 0 w 1879986"/>
                  <a:gd name="connsiteY29" fmla="*/ 2778708 h 4330639"/>
                  <a:gd name="connsiteX30" fmla="*/ 95870 w 1879986"/>
                  <a:gd name="connsiteY30" fmla="*/ 3178922 h 4330639"/>
                  <a:gd name="connsiteX31" fmla="*/ 94635 w 1879986"/>
                  <a:gd name="connsiteY31" fmla="*/ 3523641 h 4330639"/>
                  <a:gd name="connsiteX0" fmla="*/ 94635 w 1879986"/>
                  <a:gd name="connsiteY0" fmla="*/ 3523641 h 4330639"/>
                  <a:gd name="connsiteX1" fmla="*/ 938203 w 1879986"/>
                  <a:gd name="connsiteY1" fmla="*/ 4330430 h 4330639"/>
                  <a:gd name="connsiteX2" fmla="*/ 1802011 w 1879986"/>
                  <a:gd name="connsiteY2" fmla="*/ 3474424 h 4330639"/>
                  <a:gd name="connsiteX3" fmla="*/ 1674223 w 1879986"/>
                  <a:gd name="connsiteY3" fmla="*/ 3231052 h 4330639"/>
                  <a:gd name="connsiteX4" fmla="*/ 581097 w 1879986"/>
                  <a:gd name="connsiteY4" fmla="*/ 4076529 h 4330639"/>
                  <a:gd name="connsiteX5" fmla="*/ 243296 w 1879986"/>
                  <a:gd name="connsiteY5" fmla="*/ 3401879 h 4330639"/>
                  <a:gd name="connsiteX6" fmla="*/ 231230 w 1879986"/>
                  <a:gd name="connsiteY6" fmla="*/ 3169743 h 4330639"/>
                  <a:gd name="connsiteX7" fmla="*/ 319367 w 1879986"/>
                  <a:gd name="connsiteY7" fmla="*/ 3160841 h 4330639"/>
                  <a:gd name="connsiteX8" fmla="*/ 323124 w 1879986"/>
                  <a:gd name="connsiteY8" fmla="*/ 3071321 h 4330639"/>
                  <a:gd name="connsiteX9" fmla="*/ 511661 w 1879986"/>
                  <a:gd name="connsiteY9" fmla="*/ 2854845 h 4330639"/>
                  <a:gd name="connsiteX10" fmla="*/ 555371 w 1879986"/>
                  <a:gd name="connsiteY10" fmla="*/ 2747193 h 4330639"/>
                  <a:gd name="connsiteX11" fmla="*/ 556550 w 1879986"/>
                  <a:gd name="connsiteY11" fmla="*/ 1594571 h 4330639"/>
                  <a:gd name="connsiteX12" fmla="*/ 542073 w 1879986"/>
                  <a:gd name="connsiteY12" fmla="*/ 1512297 h 4330639"/>
                  <a:gd name="connsiteX13" fmla="*/ 368764 w 1879986"/>
                  <a:gd name="connsiteY13" fmla="*/ 1302973 h 4330639"/>
                  <a:gd name="connsiteX14" fmla="*/ 329287 w 1879986"/>
                  <a:gd name="connsiteY14" fmla="*/ 1302809 h 4330639"/>
                  <a:gd name="connsiteX15" fmla="*/ 328934 w 1879986"/>
                  <a:gd name="connsiteY15" fmla="*/ 1269031 h 4330639"/>
                  <a:gd name="connsiteX16" fmla="*/ 356286 w 1879986"/>
                  <a:gd name="connsiteY16" fmla="*/ 1268519 h 4330639"/>
                  <a:gd name="connsiteX17" fmla="*/ 353118 w 1879986"/>
                  <a:gd name="connsiteY17" fmla="*/ 1138495 h 4330639"/>
                  <a:gd name="connsiteX18" fmla="*/ 234935 w 1879986"/>
                  <a:gd name="connsiteY18" fmla="*/ 1138830 h 4330639"/>
                  <a:gd name="connsiteX19" fmla="*/ 235339 w 1879986"/>
                  <a:gd name="connsiteY19" fmla="*/ 923254 h 4330639"/>
                  <a:gd name="connsiteX20" fmla="*/ 603374 w 1879986"/>
                  <a:gd name="connsiteY20" fmla="*/ 237848 h 4330639"/>
                  <a:gd name="connsiteX21" fmla="*/ 1680415 w 1879986"/>
                  <a:gd name="connsiteY21" fmla="*/ 1068728 h 4330639"/>
                  <a:gd name="connsiteX22" fmla="*/ 1826140 w 1879986"/>
                  <a:gd name="connsiteY22" fmla="*/ 1385187 h 4330639"/>
                  <a:gd name="connsiteX23" fmla="*/ 1879986 w 1879986"/>
                  <a:gd name="connsiteY23" fmla="*/ 1081411 h 4330639"/>
                  <a:gd name="connsiteX24" fmla="*/ 1816630 w 1879986"/>
                  <a:gd name="connsiteY24" fmla="*/ 913332 h 4330639"/>
                  <a:gd name="connsiteX25" fmla="*/ 958163 w 1879986"/>
                  <a:gd name="connsiteY25" fmla="*/ 0 h 4330639"/>
                  <a:gd name="connsiteX26" fmla="*/ 109261 w 1879986"/>
                  <a:gd name="connsiteY26" fmla="*/ 858457 h 4330639"/>
                  <a:gd name="connsiteX27" fmla="*/ 94804 w 1879986"/>
                  <a:gd name="connsiteY27" fmla="*/ 1146972 h 4330639"/>
                  <a:gd name="connsiteX28" fmla="*/ 9907 w 1879986"/>
                  <a:gd name="connsiteY28" fmla="*/ 1521969 h 4330639"/>
                  <a:gd name="connsiteX29" fmla="*/ 0 w 1879986"/>
                  <a:gd name="connsiteY29" fmla="*/ 2778708 h 4330639"/>
                  <a:gd name="connsiteX30" fmla="*/ 95870 w 1879986"/>
                  <a:gd name="connsiteY30" fmla="*/ 3178922 h 4330639"/>
                  <a:gd name="connsiteX31" fmla="*/ 94635 w 1879986"/>
                  <a:gd name="connsiteY31" fmla="*/ 3523641 h 4330639"/>
                  <a:gd name="connsiteX0" fmla="*/ 94635 w 1879986"/>
                  <a:gd name="connsiteY0" fmla="*/ 3523641 h 4330639"/>
                  <a:gd name="connsiteX1" fmla="*/ 938203 w 1879986"/>
                  <a:gd name="connsiteY1" fmla="*/ 4330430 h 4330639"/>
                  <a:gd name="connsiteX2" fmla="*/ 1802011 w 1879986"/>
                  <a:gd name="connsiteY2" fmla="*/ 3474424 h 4330639"/>
                  <a:gd name="connsiteX3" fmla="*/ 1674223 w 1879986"/>
                  <a:gd name="connsiteY3" fmla="*/ 3231052 h 4330639"/>
                  <a:gd name="connsiteX4" fmla="*/ 581097 w 1879986"/>
                  <a:gd name="connsiteY4" fmla="*/ 4076529 h 4330639"/>
                  <a:gd name="connsiteX5" fmla="*/ 243296 w 1879986"/>
                  <a:gd name="connsiteY5" fmla="*/ 3401879 h 4330639"/>
                  <a:gd name="connsiteX6" fmla="*/ 231230 w 1879986"/>
                  <a:gd name="connsiteY6" fmla="*/ 3169743 h 4330639"/>
                  <a:gd name="connsiteX7" fmla="*/ 319367 w 1879986"/>
                  <a:gd name="connsiteY7" fmla="*/ 3160841 h 4330639"/>
                  <a:gd name="connsiteX8" fmla="*/ 323124 w 1879986"/>
                  <a:gd name="connsiteY8" fmla="*/ 3071321 h 4330639"/>
                  <a:gd name="connsiteX9" fmla="*/ 511661 w 1879986"/>
                  <a:gd name="connsiteY9" fmla="*/ 2854845 h 4330639"/>
                  <a:gd name="connsiteX10" fmla="*/ 555371 w 1879986"/>
                  <a:gd name="connsiteY10" fmla="*/ 2747193 h 4330639"/>
                  <a:gd name="connsiteX11" fmla="*/ 556550 w 1879986"/>
                  <a:gd name="connsiteY11" fmla="*/ 1594571 h 4330639"/>
                  <a:gd name="connsiteX12" fmla="*/ 542073 w 1879986"/>
                  <a:gd name="connsiteY12" fmla="*/ 1512297 h 4330639"/>
                  <a:gd name="connsiteX13" fmla="*/ 368764 w 1879986"/>
                  <a:gd name="connsiteY13" fmla="*/ 1302973 h 4330639"/>
                  <a:gd name="connsiteX14" fmla="*/ 329287 w 1879986"/>
                  <a:gd name="connsiteY14" fmla="*/ 1302809 h 4330639"/>
                  <a:gd name="connsiteX15" fmla="*/ 328934 w 1879986"/>
                  <a:gd name="connsiteY15" fmla="*/ 1269031 h 4330639"/>
                  <a:gd name="connsiteX16" fmla="*/ 356286 w 1879986"/>
                  <a:gd name="connsiteY16" fmla="*/ 1268519 h 4330639"/>
                  <a:gd name="connsiteX17" fmla="*/ 353118 w 1879986"/>
                  <a:gd name="connsiteY17" fmla="*/ 1138495 h 4330639"/>
                  <a:gd name="connsiteX18" fmla="*/ 234935 w 1879986"/>
                  <a:gd name="connsiteY18" fmla="*/ 1138830 h 4330639"/>
                  <a:gd name="connsiteX19" fmla="*/ 235339 w 1879986"/>
                  <a:gd name="connsiteY19" fmla="*/ 923254 h 4330639"/>
                  <a:gd name="connsiteX20" fmla="*/ 603374 w 1879986"/>
                  <a:gd name="connsiteY20" fmla="*/ 237848 h 4330639"/>
                  <a:gd name="connsiteX21" fmla="*/ 1680415 w 1879986"/>
                  <a:gd name="connsiteY21" fmla="*/ 1068728 h 4330639"/>
                  <a:gd name="connsiteX22" fmla="*/ 1741689 w 1879986"/>
                  <a:gd name="connsiteY22" fmla="*/ 1203829 h 4330639"/>
                  <a:gd name="connsiteX23" fmla="*/ 1826140 w 1879986"/>
                  <a:gd name="connsiteY23" fmla="*/ 1385187 h 4330639"/>
                  <a:gd name="connsiteX24" fmla="*/ 1879986 w 1879986"/>
                  <a:gd name="connsiteY24" fmla="*/ 1081411 h 4330639"/>
                  <a:gd name="connsiteX25" fmla="*/ 1816630 w 1879986"/>
                  <a:gd name="connsiteY25" fmla="*/ 913332 h 4330639"/>
                  <a:gd name="connsiteX26" fmla="*/ 958163 w 1879986"/>
                  <a:gd name="connsiteY26" fmla="*/ 0 h 4330639"/>
                  <a:gd name="connsiteX27" fmla="*/ 109261 w 1879986"/>
                  <a:gd name="connsiteY27" fmla="*/ 858457 h 4330639"/>
                  <a:gd name="connsiteX28" fmla="*/ 94804 w 1879986"/>
                  <a:gd name="connsiteY28" fmla="*/ 1146972 h 4330639"/>
                  <a:gd name="connsiteX29" fmla="*/ 9907 w 1879986"/>
                  <a:gd name="connsiteY29" fmla="*/ 1521969 h 4330639"/>
                  <a:gd name="connsiteX30" fmla="*/ 0 w 1879986"/>
                  <a:gd name="connsiteY30" fmla="*/ 2778708 h 4330639"/>
                  <a:gd name="connsiteX31" fmla="*/ 95870 w 1879986"/>
                  <a:gd name="connsiteY31" fmla="*/ 3178922 h 4330639"/>
                  <a:gd name="connsiteX32" fmla="*/ 94635 w 1879986"/>
                  <a:gd name="connsiteY32" fmla="*/ 3523641 h 4330639"/>
                  <a:gd name="connsiteX0" fmla="*/ 94635 w 1879986"/>
                  <a:gd name="connsiteY0" fmla="*/ 3523641 h 4330639"/>
                  <a:gd name="connsiteX1" fmla="*/ 938203 w 1879986"/>
                  <a:gd name="connsiteY1" fmla="*/ 4330430 h 4330639"/>
                  <a:gd name="connsiteX2" fmla="*/ 1802011 w 1879986"/>
                  <a:gd name="connsiteY2" fmla="*/ 3474424 h 4330639"/>
                  <a:gd name="connsiteX3" fmla="*/ 1674223 w 1879986"/>
                  <a:gd name="connsiteY3" fmla="*/ 3231052 h 4330639"/>
                  <a:gd name="connsiteX4" fmla="*/ 581097 w 1879986"/>
                  <a:gd name="connsiteY4" fmla="*/ 4076529 h 4330639"/>
                  <a:gd name="connsiteX5" fmla="*/ 243296 w 1879986"/>
                  <a:gd name="connsiteY5" fmla="*/ 3401879 h 4330639"/>
                  <a:gd name="connsiteX6" fmla="*/ 231230 w 1879986"/>
                  <a:gd name="connsiteY6" fmla="*/ 3169743 h 4330639"/>
                  <a:gd name="connsiteX7" fmla="*/ 319367 w 1879986"/>
                  <a:gd name="connsiteY7" fmla="*/ 3160841 h 4330639"/>
                  <a:gd name="connsiteX8" fmla="*/ 323124 w 1879986"/>
                  <a:gd name="connsiteY8" fmla="*/ 3071321 h 4330639"/>
                  <a:gd name="connsiteX9" fmla="*/ 511661 w 1879986"/>
                  <a:gd name="connsiteY9" fmla="*/ 2854845 h 4330639"/>
                  <a:gd name="connsiteX10" fmla="*/ 555371 w 1879986"/>
                  <a:gd name="connsiteY10" fmla="*/ 2747193 h 4330639"/>
                  <a:gd name="connsiteX11" fmla="*/ 556550 w 1879986"/>
                  <a:gd name="connsiteY11" fmla="*/ 1594571 h 4330639"/>
                  <a:gd name="connsiteX12" fmla="*/ 542073 w 1879986"/>
                  <a:gd name="connsiteY12" fmla="*/ 1512297 h 4330639"/>
                  <a:gd name="connsiteX13" fmla="*/ 368764 w 1879986"/>
                  <a:gd name="connsiteY13" fmla="*/ 1302973 h 4330639"/>
                  <a:gd name="connsiteX14" fmla="*/ 329287 w 1879986"/>
                  <a:gd name="connsiteY14" fmla="*/ 1302809 h 4330639"/>
                  <a:gd name="connsiteX15" fmla="*/ 328934 w 1879986"/>
                  <a:gd name="connsiteY15" fmla="*/ 1269031 h 4330639"/>
                  <a:gd name="connsiteX16" fmla="*/ 356286 w 1879986"/>
                  <a:gd name="connsiteY16" fmla="*/ 1268519 h 4330639"/>
                  <a:gd name="connsiteX17" fmla="*/ 353118 w 1879986"/>
                  <a:gd name="connsiteY17" fmla="*/ 1138495 h 4330639"/>
                  <a:gd name="connsiteX18" fmla="*/ 234935 w 1879986"/>
                  <a:gd name="connsiteY18" fmla="*/ 1138830 h 4330639"/>
                  <a:gd name="connsiteX19" fmla="*/ 235339 w 1879986"/>
                  <a:gd name="connsiteY19" fmla="*/ 923254 h 4330639"/>
                  <a:gd name="connsiteX20" fmla="*/ 603374 w 1879986"/>
                  <a:gd name="connsiteY20" fmla="*/ 237848 h 4330639"/>
                  <a:gd name="connsiteX21" fmla="*/ 1680415 w 1879986"/>
                  <a:gd name="connsiteY21" fmla="*/ 1068728 h 4330639"/>
                  <a:gd name="connsiteX22" fmla="*/ 1676542 w 1879986"/>
                  <a:gd name="connsiteY22" fmla="*/ 1356169 h 4330639"/>
                  <a:gd name="connsiteX23" fmla="*/ 1826140 w 1879986"/>
                  <a:gd name="connsiteY23" fmla="*/ 1385187 h 4330639"/>
                  <a:gd name="connsiteX24" fmla="*/ 1879986 w 1879986"/>
                  <a:gd name="connsiteY24" fmla="*/ 1081411 h 4330639"/>
                  <a:gd name="connsiteX25" fmla="*/ 1816630 w 1879986"/>
                  <a:gd name="connsiteY25" fmla="*/ 913332 h 4330639"/>
                  <a:gd name="connsiteX26" fmla="*/ 958163 w 1879986"/>
                  <a:gd name="connsiteY26" fmla="*/ 0 h 4330639"/>
                  <a:gd name="connsiteX27" fmla="*/ 109261 w 1879986"/>
                  <a:gd name="connsiteY27" fmla="*/ 858457 h 4330639"/>
                  <a:gd name="connsiteX28" fmla="*/ 94804 w 1879986"/>
                  <a:gd name="connsiteY28" fmla="*/ 1146972 h 4330639"/>
                  <a:gd name="connsiteX29" fmla="*/ 9907 w 1879986"/>
                  <a:gd name="connsiteY29" fmla="*/ 1521969 h 4330639"/>
                  <a:gd name="connsiteX30" fmla="*/ 0 w 1879986"/>
                  <a:gd name="connsiteY30" fmla="*/ 2778708 h 4330639"/>
                  <a:gd name="connsiteX31" fmla="*/ 95870 w 1879986"/>
                  <a:gd name="connsiteY31" fmla="*/ 3178922 h 4330639"/>
                  <a:gd name="connsiteX32" fmla="*/ 94635 w 1879986"/>
                  <a:gd name="connsiteY32" fmla="*/ 3523641 h 4330639"/>
                  <a:gd name="connsiteX0" fmla="*/ 94635 w 1879986"/>
                  <a:gd name="connsiteY0" fmla="*/ 3523641 h 4330639"/>
                  <a:gd name="connsiteX1" fmla="*/ 938203 w 1879986"/>
                  <a:gd name="connsiteY1" fmla="*/ 4330430 h 4330639"/>
                  <a:gd name="connsiteX2" fmla="*/ 1802011 w 1879986"/>
                  <a:gd name="connsiteY2" fmla="*/ 3474424 h 4330639"/>
                  <a:gd name="connsiteX3" fmla="*/ 1674223 w 1879986"/>
                  <a:gd name="connsiteY3" fmla="*/ 3231052 h 4330639"/>
                  <a:gd name="connsiteX4" fmla="*/ 581097 w 1879986"/>
                  <a:gd name="connsiteY4" fmla="*/ 4076529 h 4330639"/>
                  <a:gd name="connsiteX5" fmla="*/ 243296 w 1879986"/>
                  <a:gd name="connsiteY5" fmla="*/ 3401879 h 4330639"/>
                  <a:gd name="connsiteX6" fmla="*/ 231230 w 1879986"/>
                  <a:gd name="connsiteY6" fmla="*/ 3169743 h 4330639"/>
                  <a:gd name="connsiteX7" fmla="*/ 319367 w 1879986"/>
                  <a:gd name="connsiteY7" fmla="*/ 3160841 h 4330639"/>
                  <a:gd name="connsiteX8" fmla="*/ 323124 w 1879986"/>
                  <a:gd name="connsiteY8" fmla="*/ 3071321 h 4330639"/>
                  <a:gd name="connsiteX9" fmla="*/ 511661 w 1879986"/>
                  <a:gd name="connsiteY9" fmla="*/ 2854845 h 4330639"/>
                  <a:gd name="connsiteX10" fmla="*/ 555371 w 1879986"/>
                  <a:gd name="connsiteY10" fmla="*/ 2747193 h 4330639"/>
                  <a:gd name="connsiteX11" fmla="*/ 556550 w 1879986"/>
                  <a:gd name="connsiteY11" fmla="*/ 1594571 h 4330639"/>
                  <a:gd name="connsiteX12" fmla="*/ 542073 w 1879986"/>
                  <a:gd name="connsiteY12" fmla="*/ 1512297 h 4330639"/>
                  <a:gd name="connsiteX13" fmla="*/ 368764 w 1879986"/>
                  <a:gd name="connsiteY13" fmla="*/ 1302973 h 4330639"/>
                  <a:gd name="connsiteX14" fmla="*/ 329287 w 1879986"/>
                  <a:gd name="connsiteY14" fmla="*/ 1302809 h 4330639"/>
                  <a:gd name="connsiteX15" fmla="*/ 328934 w 1879986"/>
                  <a:gd name="connsiteY15" fmla="*/ 1269031 h 4330639"/>
                  <a:gd name="connsiteX16" fmla="*/ 356286 w 1879986"/>
                  <a:gd name="connsiteY16" fmla="*/ 1268519 h 4330639"/>
                  <a:gd name="connsiteX17" fmla="*/ 353118 w 1879986"/>
                  <a:gd name="connsiteY17" fmla="*/ 1138495 h 4330639"/>
                  <a:gd name="connsiteX18" fmla="*/ 234935 w 1879986"/>
                  <a:gd name="connsiteY18" fmla="*/ 1138830 h 4330639"/>
                  <a:gd name="connsiteX19" fmla="*/ 235339 w 1879986"/>
                  <a:gd name="connsiteY19" fmla="*/ 923254 h 4330639"/>
                  <a:gd name="connsiteX20" fmla="*/ 603374 w 1879986"/>
                  <a:gd name="connsiteY20" fmla="*/ 237848 h 4330639"/>
                  <a:gd name="connsiteX21" fmla="*/ 1680415 w 1879986"/>
                  <a:gd name="connsiteY21" fmla="*/ 1068728 h 4330639"/>
                  <a:gd name="connsiteX22" fmla="*/ 1676542 w 1879986"/>
                  <a:gd name="connsiteY22" fmla="*/ 1356169 h 4330639"/>
                  <a:gd name="connsiteX23" fmla="*/ 1744103 w 1879986"/>
                  <a:gd name="connsiteY23" fmla="*/ 1370678 h 4330639"/>
                  <a:gd name="connsiteX24" fmla="*/ 1826140 w 1879986"/>
                  <a:gd name="connsiteY24" fmla="*/ 1385187 h 4330639"/>
                  <a:gd name="connsiteX25" fmla="*/ 1879986 w 1879986"/>
                  <a:gd name="connsiteY25" fmla="*/ 1081411 h 4330639"/>
                  <a:gd name="connsiteX26" fmla="*/ 1816630 w 1879986"/>
                  <a:gd name="connsiteY26" fmla="*/ 913332 h 4330639"/>
                  <a:gd name="connsiteX27" fmla="*/ 958163 w 1879986"/>
                  <a:gd name="connsiteY27" fmla="*/ 0 h 4330639"/>
                  <a:gd name="connsiteX28" fmla="*/ 109261 w 1879986"/>
                  <a:gd name="connsiteY28" fmla="*/ 858457 h 4330639"/>
                  <a:gd name="connsiteX29" fmla="*/ 94804 w 1879986"/>
                  <a:gd name="connsiteY29" fmla="*/ 1146972 h 4330639"/>
                  <a:gd name="connsiteX30" fmla="*/ 9907 w 1879986"/>
                  <a:gd name="connsiteY30" fmla="*/ 1521969 h 4330639"/>
                  <a:gd name="connsiteX31" fmla="*/ 0 w 1879986"/>
                  <a:gd name="connsiteY31" fmla="*/ 2778708 h 4330639"/>
                  <a:gd name="connsiteX32" fmla="*/ 95870 w 1879986"/>
                  <a:gd name="connsiteY32" fmla="*/ 3178922 h 4330639"/>
                  <a:gd name="connsiteX33" fmla="*/ 94635 w 1879986"/>
                  <a:gd name="connsiteY33" fmla="*/ 3523641 h 4330639"/>
                  <a:gd name="connsiteX0" fmla="*/ 94635 w 1879986"/>
                  <a:gd name="connsiteY0" fmla="*/ 3523641 h 4330639"/>
                  <a:gd name="connsiteX1" fmla="*/ 938203 w 1879986"/>
                  <a:gd name="connsiteY1" fmla="*/ 4330430 h 4330639"/>
                  <a:gd name="connsiteX2" fmla="*/ 1802011 w 1879986"/>
                  <a:gd name="connsiteY2" fmla="*/ 3474424 h 4330639"/>
                  <a:gd name="connsiteX3" fmla="*/ 1674223 w 1879986"/>
                  <a:gd name="connsiteY3" fmla="*/ 3231052 h 4330639"/>
                  <a:gd name="connsiteX4" fmla="*/ 581097 w 1879986"/>
                  <a:gd name="connsiteY4" fmla="*/ 4076529 h 4330639"/>
                  <a:gd name="connsiteX5" fmla="*/ 243296 w 1879986"/>
                  <a:gd name="connsiteY5" fmla="*/ 3401879 h 4330639"/>
                  <a:gd name="connsiteX6" fmla="*/ 231230 w 1879986"/>
                  <a:gd name="connsiteY6" fmla="*/ 3169743 h 4330639"/>
                  <a:gd name="connsiteX7" fmla="*/ 319367 w 1879986"/>
                  <a:gd name="connsiteY7" fmla="*/ 3160841 h 4330639"/>
                  <a:gd name="connsiteX8" fmla="*/ 323124 w 1879986"/>
                  <a:gd name="connsiteY8" fmla="*/ 3071321 h 4330639"/>
                  <a:gd name="connsiteX9" fmla="*/ 511661 w 1879986"/>
                  <a:gd name="connsiteY9" fmla="*/ 2854845 h 4330639"/>
                  <a:gd name="connsiteX10" fmla="*/ 555371 w 1879986"/>
                  <a:gd name="connsiteY10" fmla="*/ 2747193 h 4330639"/>
                  <a:gd name="connsiteX11" fmla="*/ 556550 w 1879986"/>
                  <a:gd name="connsiteY11" fmla="*/ 1594571 h 4330639"/>
                  <a:gd name="connsiteX12" fmla="*/ 542073 w 1879986"/>
                  <a:gd name="connsiteY12" fmla="*/ 1512297 h 4330639"/>
                  <a:gd name="connsiteX13" fmla="*/ 368764 w 1879986"/>
                  <a:gd name="connsiteY13" fmla="*/ 1302973 h 4330639"/>
                  <a:gd name="connsiteX14" fmla="*/ 329287 w 1879986"/>
                  <a:gd name="connsiteY14" fmla="*/ 1302809 h 4330639"/>
                  <a:gd name="connsiteX15" fmla="*/ 328934 w 1879986"/>
                  <a:gd name="connsiteY15" fmla="*/ 1269031 h 4330639"/>
                  <a:gd name="connsiteX16" fmla="*/ 356286 w 1879986"/>
                  <a:gd name="connsiteY16" fmla="*/ 1268519 h 4330639"/>
                  <a:gd name="connsiteX17" fmla="*/ 353118 w 1879986"/>
                  <a:gd name="connsiteY17" fmla="*/ 1138495 h 4330639"/>
                  <a:gd name="connsiteX18" fmla="*/ 234935 w 1879986"/>
                  <a:gd name="connsiteY18" fmla="*/ 1138830 h 4330639"/>
                  <a:gd name="connsiteX19" fmla="*/ 235339 w 1879986"/>
                  <a:gd name="connsiteY19" fmla="*/ 923254 h 4330639"/>
                  <a:gd name="connsiteX20" fmla="*/ 603374 w 1879986"/>
                  <a:gd name="connsiteY20" fmla="*/ 237848 h 4330639"/>
                  <a:gd name="connsiteX21" fmla="*/ 1680415 w 1879986"/>
                  <a:gd name="connsiteY21" fmla="*/ 1068728 h 4330639"/>
                  <a:gd name="connsiteX22" fmla="*/ 1676542 w 1879986"/>
                  <a:gd name="connsiteY22" fmla="*/ 1356169 h 4330639"/>
                  <a:gd name="connsiteX23" fmla="*/ 1645175 w 1879986"/>
                  <a:gd name="connsiteY23" fmla="*/ 1718884 h 4330639"/>
                  <a:gd name="connsiteX24" fmla="*/ 1826140 w 1879986"/>
                  <a:gd name="connsiteY24" fmla="*/ 1385187 h 4330639"/>
                  <a:gd name="connsiteX25" fmla="*/ 1879986 w 1879986"/>
                  <a:gd name="connsiteY25" fmla="*/ 1081411 h 4330639"/>
                  <a:gd name="connsiteX26" fmla="*/ 1816630 w 1879986"/>
                  <a:gd name="connsiteY26" fmla="*/ 913332 h 4330639"/>
                  <a:gd name="connsiteX27" fmla="*/ 958163 w 1879986"/>
                  <a:gd name="connsiteY27" fmla="*/ 0 h 4330639"/>
                  <a:gd name="connsiteX28" fmla="*/ 109261 w 1879986"/>
                  <a:gd name="connsiteY28" fmla="*/ 858457 h 4330639"/>
                  <a:gd name="connsiteX29" fmla="*/ 94804 w 1879986"/>
                  <a:gd name="connsiteY29" fmla="*/ 1146972 h 4330639"/>
                  <a:gd name="connsiteX30" fmla="*/ 9907 w 1879986"/>
                  <a:gd name="connsiteY30" fmla="*/ 1521969 h 4330639"/>
                  <a:gd name="connsiteX31" fmla="*/ 0 w 1879986"/>
                  <a:gd name="connsiteY31" fmla="*/ 2778708 h 4330639"/>
                  <a:gd name="connsiteX32" fmla="*/ 95870 w 1879986"/>
                  <a:gd name="connsiteY32" fmla="*/ 3178922 h 4330639"/>
                  <a:gd name="connsiteX33" fmla="*/ 94635 w 1879986"/>
                  <a:gd name="connsiteY33" fmla="*/ 3523641 h 4330639"/>
                  <a:gd name="connsiteX0" fmla="*/ 94635 w 1879986"/>
                  <a:gd name="connsiteY0" fmla="*/ 3523641 h 4330639"/>
                  <a:gd name="connsiteX1" fmla="*/ 938203 w 1879986"/>
                  <a:gd name="connsiteY1" fmla="*/ 4330430 h 4330639"/>
                  <a:gd name="connsiteX2" fmla="*/ 1802011 w 1879986"/>
                  <a:gd name="connsiteY2" fmla="*/ 3474424 h 4330639"/>
                  <a:gd name="connsiteX3" fmla="*/ 1674223 w 1879986"/>
                  <a:gd name="connsiteY3" fmla="*/ 3231052 h 4330639"/>
                  <a:gd name="connsiteX4" fmla="*/ 581097 w 1879986"/>
                  <a:gd name="connsiteY4" fmla="*/ 4076529 h 4330639"/>
                  <a:gd name="connsiteX5" fmla="*/ 243296 w 1879986"/>
                  <a:gd name="connsiteY5" fmla="*/ 3401879 h 4330639"/>
                  <a:gd name="connsiteX6" fmla="*/ 231230 w 1879986"/>
                  <a:gd name="connsiteY6" fmla="*/ 3169743 h 4330639"/>
                  <a:gd name="connsiteX7" fmla="*/ 319367 w 1879986"/>
                  <a:gd name="connsiteY7" fmla="*/ 3160841 h 4330639"/>
                  <a:gd name="connsiteX8" fmla="*/ 323124 w 1879986"/>
                  <a:gd name="connsiteY8" fmla="*/ 3071321 h 4330639"/>
                  <a:gd name="connsiteX9" fmla="*/ 511661 w 1879986"/>
                  <a:gd name="connsiteY9" fmla="*/ 2854845 h 4330639"/>
                  <a:gd name="connsiteX10" fmla="*/ 555371 w 1879986"/>
                  <a:gd name="connsiteY10" fmla="*/ 2747193 h 4330639"/>
                  <a:gd name="connsiteX11" fmla="*/ 556550 w 1879986"/>
                  <a:gd name="connsiteY11" fmla="*/ 1594571 h 4330639"/>
                  <a:gd name="connsiteX12" fmla="*/ 542073 w 1879986"/>
                  <a:gd name="connsiteY12" fmla="*/ 1512297 h 4330639"/>
                  <a:gd name="connsiteX13" fmla="*/ 368764 w 1879986"/>
                  <a:gd name="connsiteY13" fmla="*/ 1302973 h 4330639"/>
                  <a:gd name="connsiteX14" fmla="*/ 329287 w 1879986"/>
                  <a:gd name="connsiteY14" fmla="*/ 1302809 h 4330639"/>
                  <a:gd name="connsiteX15" fmla="*/ 328934 w 1879986"/>
                  <a:gd name="connsiteY15" fmla="*/ 1269031 h 4330639"/>
                  <a:gd name="connsiteX16" fmla="*/ 356286 w 1879986"/>
                  <a:gd name="connsiteY16" fmla="*/ 1268519 h 4330639"/>
                  <a:gd name="connsiteX17" fmla="*/ 353118 w 1879986"/>
                  <a:gd name="connsiteY17" fmla="*/ 1138495 h 4330639"/>
                  <a:gd name="connsiteX18" fmla="*/ 234935 w 1879986"/>
                  <a:gd name="connsiteY18" fmla="*/ 1138830 h 4330639"/>
                  <a:gd name="connsiteX19" fmla="*/ 235339 w 1879986"/>
                  <a:gd name="connsiteY19" fmla="*/ 923254 h 4330639"/>
                  <a:gd name="connsiteX20" fmla="*/ 603374 w 1879986"/>
                  <a:gd name="connsiteY20" fmla="*/ 237848 h 4330639"/>
                  <a:gd name="connsiteX21" fmla="*/ 1680415 w 1879986"/>
                  <a:gd name="connsiteY21" fmla="*/ 1068728 h 4330639"/>
                  <a:gd name="connsiteX22" fmla="*/ 1676542 w 1879986"/>
                  <a:gd name="connsiteY22" fmla="*/ 1356169 h 4330639"/>
                  <a:gd name="connsiteX23" fmla="*/ 1645175 w 1879986"/>
                  <a:gd name="connsiteY23" fmla="*/ 1718884 h 4330639"/>
                  <a:gd name="connsiteX24" fmla="*/ 1734452 w 1879986"/>
                  <a:gd name="connsiteY24" fmla="*/ 1547198 h 4330639"/>
                  <a:gd name="connsiteX25" fmla="*/ 1826140 w 1879986"/>
                  <a:gd name="connsiteY25" fmla="*/ 1385187 h 4330639"/>
                  <a:gd name="connsiteX26" fmla="*/ 1879986 w 1879986"/>
                  <a:gd name="connsiteY26" fmla="*/ 1081411 h 4330639"/>
                  <a:gd name="connsiteX27" fmla="*/ 1816630 w 1879986"/>
                  <a:gd name="connsiteY27" fmla="*/ 913332 h 4330639"/>
                  <a:gd name="connsiteX28" fmla="*/ 958163 w 1879986"/>
                  <a:gd name="connsiteY28" fmla="*/ 0 h 4330639"/>
                  <a:gd name="connsiteX29" fmla="*/ 109261 w 1879986"/>
                  <a:gd name="connsiteY29" fmla="*/ 858457 h 4330639"/>
                  <a:gd name="connsiteX30" fmla="*/ 94804 w 1879986"/>
                  <a:gd name="connsiteY30" fmla="*/ 1146972 h 4330639"/>
                  <a:gd name="connsiteX31" fmla="*/ 9907 w 1879986"/>
                  <a:gd name="connsiteY31" fmla="*/ 1521969 h 4330639"/>
                  <a:gd name="connsiteX32" fmla="*/ 0 w 1879986"/>
                  <a:gd name="connsiteY32" fmla="*/ 2778708 h 4330639"/>
                  <a:gd name="connsiteX33" fmla="*/ 95870 w 1879986"/>
                  <a:gd name="connsiteY33" fmla="*/ 3178922 h 4330639"/>
                  <a:gd name="connsiteX34" fmla="*/ 94635 w 1879986"/>
                  <a:gd name="connsiteY34" fmla="*/ 3523641 h 4330639"/>
                  <a:gd name="connsiteX0" fmla="*/ 94635 w 2106035"/>
                  <a:gd name="connsiteY0" fmla="*/ 3523641 h 4330639"/>
                  <a:gd name="connsiteX1" fmla="*/ 938203 w 2106035"/>
                  <a:gd name="connsiteY1" fmla="*/ 4330430 h 4330639"/>
                  <a:gd name="connsiteX2" fmla="*/ 1802011 w 2106035"/>
                  <a:gd name="connsiteY2" fmla="*/ 3474424 h 4330639"/>
                  <a:gd name="connsiteX3" fmla="*/ 1674223 w 2106035"/>
                  <a:gd name="connsiteY3" fmla="*/ 3231052 h 4330639"/>
                  <a:gd name="connsiteX4" fmla="*/ 581097 w 2106035"/>
                  <a:gd name="connsiteY4" fmla="*/ 4076529 h 4330639"/>
                  <a:gd name="connsiteX5" fmla="*/ 243296 w 2106035"/>
                  <a:gd name="connsiteY5" fmla="*/ 3401879 h 4330639"/>
                  <a:gd name="connsiteX6" fmla="*/ 231230 w 2106035"/>
                  <a:gd name="connsiteY6" fmla="*/ 3169743 h 4330639"/>
                  <a:gd name="connsiteX7" fmla="*/ 319367 w 2106035"/>
                  <a:gd name="connsiteY7" fmla="*/ 3160841 h 4330639"/>
                  <a:gd name="connsiteX8" fmla="*/ 323124 w 2106035"/>
                  <a:gd name="connsiteY8" fmla="*/ 3071321 h 4330639"/>
                  <a:gd name="connsiteX9" fmla="*/ 511661 w 2106035"/>
                  <a:gd name="connsiteY9" fmla="*/ 2854845 h 4330639"/>
                  <a:gd name="connsiteX10" fmla="*/ 555371 w 2106035"/>
                  <a:gd name="connsiteY10" fmla="*/ 2747193 h 4330639"/>
                  <a:gd name="connsiteX11" fmla="*/ 556550 w 2106035"/>
                  <a:gd name="connsiteY11" fmla="*/ 1594571 h 4330639"/>
                  <a:gd name="connsiteX12" fmla="*/ 542073 w 2106035"/>
                  <a:gd name="connsiteY12" fmla="*/ 1512297 h 4330639"/>
                  <a:gd name="connsiteX13" fmla="*/ 368764 w 2106035"/>
                  <a:gd name="connsiteY13" fmla="*/ 1302973 h 4330639"/>
                  <a:gd name="connsiteX14" fmla="*/ 329287 w 2106035"/>
                  <a:gd name="connsiteY14" fmla="*/ 1302809 h 4330639"/>
                  <a:gd name="connsiteX15" fmla="*/ 328934 w 2106035"/>
                  <a:gd name="connsiteY15" fmla="*/ 1269031 h 4330639"/>
                  <a:gd name="connsiteX16" fmla="*/ 356286 w 2106035"/>
                  <a:gd name="connsiteY16" fmla="*/ 1268519 h 4330639"/>
                  <a:gd name="connsiteX17" fmla="*/ 353118 w 2106035"/>
                  <a:gd name="connsiteY17" fmla="*/ 1138495 h 4330639"/>
                  <a:gd name="connsiteX18" fmla="*/ 234935 w 2106035"/>
                  <a:gd name="connsiteY18" fmla="*/ 1138830 h 4330639"/>
                  <a:gd name="connsiteX19" fmla="*/ 235339 w 2106035"/>
                  <a:gd name="connsiteY19" fmla="*/ 923254 h 4330639"/>
                  <a:gd name="connsiteX20" fmla="*/ 603374 w 2106035"/>
                  <a:gd name="connsiteY20" fmla="*/ 237848 h 4330639"/>
                  <a:gd name="connsiteX21" fmla="*/ 1680415 w 2106035"/>
                  <a:gd name="connsiteY21" fmla="*/ 1068728 h 4330639"/>
                  <a:gd name="connsiteX22" fmla="*/ 1676542 w 2106035"/>
                  <a:gd name="connsiteY22" fmla="*/ 1356169 h 4330639"/>
                  <a:gd name="connsiteX23" fmla="*/ 1645175 w 2106035"/>
                  <a:gd name="connsiteY23" fmla="*/ 1718884 h 4330639"/>
                  <a:gd name="connsiteX24" fmla="*/ 2106035 w 2106035"/>
                  <a:gd name="connsiteY24" fmla="*/ 1663267 h 4330639"/>
                  <a:gd name="connsiteX25" fmla="*/ 1826140 w 2106035"/>
                  <a:gd name="connsiteY25" fmla="*/ 1385187 h 4330639"/>
                  <a:gd name="connsiteX26" fmla="*/ 1879986 w 2106035"/>
                  <a:gd name="connsiteY26" fmla="*/ 1081411 h 4330639"/>
                  <a:gd name="connsiteX27" fmla="*/ 1816630 w 2106035"/>
                  <a:gd name="connsiteY27" fmla="*/ 913332 h 4330639"/>
                  <a:gd name="connsiteX28" fmla="*/ 958163 w 2106035"/>
                  <a:gd name="connsiteY28" fmla="*/ 0 h 4330639"/>
                  <a:gd name="connsiteX29" fmla="*/ 109261 w 2106035"/>
                  <a:gd name="connsiteY29" fmla="*/ 858457 h 4330639"/>
                  <a:gd name="connsiteX30" fmla="*/ 94804 w 2106035"/>
                  <a:gd name="connsiteY30" fmla="*/ 1146972 h 4330639"/>
                  <a:gd name="connsiteX31" fmla="*/ 9907 w 2106035"/>
                  <a:gd name="connsiteY31" fmla="*/ 1521969 h 4330639"/>
                  <a:gd name="connsiteX32" fmla="*/ 0 w 2106035"/>
                  <a:gd name="connsiteY32" fmla="*/ 2778708 h 4330639"/>
                  <a:gd name="connsiteX33" fmla="*/ 95870 w 2106035"/>
                  <a:gd name="connsiteY33" fmla="*/ 3178922 h 4330639"/>
                  <a:gd name="connsiteX34" fmla="*/ 94635 w 2106035"/>
                  <a:gd name="connsiteY34" fmla="*/ 3523641 h 4330639"/>
                  <a:gd name="connsiteX0" fmla="*/ 94635 w 2106035"/>
                  <a:gd name="connsiteY0" fmla="*/ 3523641 h 4330639"/>
                  <a:gd name="connsiteX1" fmla="*/ 938203 w 2106035"/>
                  <a:gd name="connsiteY1" fmla="*/ 4330430 h 4330639"/>
                  <a:gd name="connsiteX2" fmla="*/ 1802011 w 2106035"/>
                  <a:gd name="connsiteY2" fmla="*/ 3474424 h 4330639"/>
                  <a:gd name="connsiteX3" fmla="*/ 1674223 w 2106035"/>
                  <a:gd name="connsiteY3" fmla="*/ 3231052 h 4330639"/>
                  <a:gd name="connsiteX4" fmla="*/ 581097 w 2106035"/>
                  <a:gd name="connsiteY4" fmla="*/ 4076529 h 4330639"/>
                  <a:gd name="connsiteX5" fmla="*/ 243296 w 2106035"/>
                  <a:gd name="connsiteY5" fmla="*/ 3401879 h 4330639"/>
                  <a:gd name="connsiteX6" fmla="*/ 231230 w 2106035"/>
                  <a:gd name="connsiteY6" fmla="*/ 3169743 h 4330639"/>
                  <a:gd name="connsiteX7" fmla="*/ 319367 w 2106035"/>
                  <a:gd name="connsiteY7" fmla="*/ 3160841 h 4330639"/>
                  <a:gd name="connsiteX8" fmla="*/ 323124 w 2106035"/>
                  <a:gd name="connsiteY8" fmla="*/ 3071321 h 4330639"/>
                  <a:gd name="connsiteX9" fmla="*/ 511661 w 2106035"/>
                  <a:gd name="connsiteY9" fmla="*/ 2854845 h 4330639"/>
                  <a:gd name="connsiteX10" fmla="*/ 555371 w 2106035"/>
                  <a:gd name="connsiteY10" fmla="*/ 2747193 h 4330639"/>
                  <a:gd name="connsiteX11" fmla="*/ 556550 w 2106035"/>
                  <a:gd name="connsiteY11" fmla="*/ 1594571 h 4330639"/>
                  <a:gd name="connsiteX12" fmla="*/ 542073 w 2106035"/>
                  <a:gd name="connsiteY12" fmla="*/ 1512297 h 4330639"/>
                  <a:gd name="connsiteX13" fmla="*/ 368764 w 2106035"/>
                  <a:gd name="connsiteY13" fmla="*/ 1302973 h 4330639"/>
                  <a:gd name="connsiteX14" fmla="*/ 329287 w 2106035"/>
                  <a:gd name="connsiteY14" fmla="*/ 1302809 h 4330639"/>
                  <a:gd name="connsiteX15" fmla="*/ 328934 w 2106035"/>
                  <a:gd name="connsiteY15" fmla="*/ 1269031 h 4330639"/>
                  <a:gd name="connsiteX16" fmla="*/ 356286 w 2106035"/>
                  <a:gd name="connsiteY16" fmla="*/ 1268519 h 4330639"/>
                  <a:gd name="connsiteX17" fmla="*/ 353118 w 2106035"/>
                  <a:gd name="connsiteY17" fmla="*/ 1138495 h 4330639"/>
                  <a:gd name="connsiteX18" fmla="*/ 234935 w 2106035"/>
                  <a:gd name="connsiteY18" fmla="*/ 1138830 h 4330639"/>
                  <a:gd name="connsiteX19" fmla="*/ 235339 w 2106035"/>
                  <a:gd name="connsiteY19" fmla="*/ 923254 h 4330639"/>
                  <a:gd name="connsiteX20" fmla="*/ 603374 w 2106035"/>
                  <a:gd name="connsiteY20" fmla="*/ 237848 h 4330639"/>
                  <a:gd name="connsiteX21" fmla="*/ 1680415 w 2106035"/>
                  <a:gd name="connsiteY21" fmla="*/ 1068728 h 4330639"/>
                  <a:gd name="connsiteX22" fmla="*/ 1676542 w 2106035"/>
                  <a:gd name="connsiteY22" fmla="*/ 1356169 h 4330639"/>
                  <a:gd name="connsiteX23" fmla="*/ 1645175 w 2106035"/>
                  <a:gd name="connsiteY23" fmla="*/ 1718884 h 4330639"/>
                  <a:gd name="connsiteX24" fmla="*/ 1797186 w 2106035"/>
                  <a:gd name="connsiteY24" fmla="*/ 1704376 h 4330639"/>
                  <a:gd name="connsiteX25" fmla="*/ 2106035 w 2106035"/>
                  <a:gd name="connsiteY25" fmla="*/ 1663267 h 4330639"/>
                  <a:gd name="connsiteX26" fmla="*/ 1826140 w 2106035"/>
                  <a:gd name="connsiteY26" fmla="*/ 1385187 h 4330639"/>
                  <a:gd name="connsiteX27" fmla="*/ 1879986 w 2106035"/>
                  <a:gd name="connsiteY27" fmla="*/ 1081411 h 4330639"/>
                  <a:gd name="connsiteX28" fmla="*/ 1816630 w 2106035"/>
                  <a:gd name="connsiteY28" fmla="*/ 913332 h 4330639"/>
                  <a:gd name="connsiteX29" fmla="*/ 958163 w 2106035"/>
                  <a:gd name="connsiteY29" fmla="*/ 0 h 4330639"/>
                  <a:gd name="connsiteX30" fmla="*/ 109261 w 2106035"/>
                  <a:gd name="connsiteY30" fmla="*/ 858457 h 4330639"/>
                  <a:gd name="connsiteX31" fmla="*/ 94804 w 2106035"/>
                  <a:gd name="connsiteY31" fmla="*/ 1146972 h 4330639"/>
                  <a:gd name="connsiteX32" fmla="*/ 9907 w 2106035"/>
                  <a:gd name="connsiteY32" fmla="*/ 1521969 h 4330639"/>
                  <a:gd name="connsiteX33" fmla="*/ 0 w 2106035"/>
                  <a:gd name="connsiteY33" fmla="*/ 2778708 h 4330639"/>
                  <a:gd name="connsiteX34" fmla="*/ 95870 w 2106035"/>
                  <a:gd name="connsiteY34" fmla="*/ 3178922 h 4330639"/>
                  <a:gd name="connsiteX35" fmla="*/ 94635 w 2106035"/>
                  <a:gd name="connsiteY35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2147054 w 2147054"/>
                  <a:gd name="connsiteY24" fmla="*/ 1759991 h 4330639"/>
                  <a:gd name="connsiteX25" fmla="*/ 2106035 w 2147054"/>
                  <a:gd name="connsiteY25" fmla="*/ 1663267 h 4330639"/>
                  <a:gd name="connsiteX26" fmla="*/ 1826140 w 2147054"/>
                  <a:gd name="connsiteY26" fmla="*/ 1385187 h 4330639"/>
                  <a:gd name="connsiteX27" fmla="*/ 1879986 w 2147054"/>
                  <a:gd name="connsiteY27" fmla="*/ 1081411 h 4330639"/>
                  <a:gd name="connsiteX28" fmla="*/ 1816630 w 2147054"/>
                  <a:gd name="connsiteY28" fmla="*/ 913332 h 4330639"/>
                  <a:gd name="connsiteX29" fmla="*/ 958163 w 2147054"/>
                  <a:gd name="connsiteY29" fmla="*/ 0 h 4330639"/>
                  <a:gd name="connsiteX30" fmla="*/ 109261 w 2147054"/>
                  <a:gd name="connsiteY30" fmla="*/ 858457 h 4330639"/>
                  <a:gd name="connsiteX31" fmla="*/ 94804 w 2147054"/>
                  <a:gd name="connsiteY31" fmla="*/ 1146972 h 4330639"/>
                  <a:gd name="connsiteX32" fmla="*/ 9907 w 2147054"/>
                  <a:gd name="connsiteY32" fmla="*/ 1521969 h 4330639"/>
                  <a:gd name="connsiteX33" fmla="*/ 0 w 2147054"/>
                  <a:gd name="connsiteY33" fmla="*/ 2778708 h 4330639"/>
                  <a:gd name="connsiteX34" fmla="*/ 95870 w 2147054"/>
                  <a:gd name="connsiteY34" fmla="*/ 3178922 h 4330639"/>
                  <a:gd name="connsiteX35" fmla="*/ 94635 w 2147054"/>
                  <a:gd name="connsiteY35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917831 w 2147054"/>
                  <a:gd name="connsiteY24" fmla="*/ 1740646 h 4330639"/>
                  <a:gd name="connsiteX25" fmla="*/ 2147054 w 2147054"/>
                  <a:gd name="connsiteY25" fmla="*/ 1759991 h 4330639"/>
                  <a:gd name="connsiteX26" fmla="*/ 2106035 w 2147054"/>
                  <a:gd name="connsiteY26" fmla="*/ 1663267 h 4330639"/>
                  <a:gd name="connsiteX27" fmla="*/ 1826140 w 2147054"/>
                  <a:gd name="connsiteY27" fmla="*/ 1385187 h 4330639"/>
                  <a:gd name="connsiteX28" fmla="*/ 1879986 w 2147054"/>
                  <a:gd name="connsiteY28" fmla="*/ 1081411 h 4330639"/>
                  <a:gd name="connsiteX29" fmla="*/ 1816630 w 2147054"/>
                  <a:gd name="connsiteY29" fmla="*/ 913332 h 4330639"/>
                  <a:gd name="connsiteX30" fmla="*/ 958163 w 2147054"/>
                  <a:gd name="connsiteY30" fmla="*/ 0 h 4330639"/>
                  <a:gd name="connsiteX31" fmla="*/ 109261 w 2147054"/>
                  <a:gd name="connsiteY31" fmla="*/ 858457 h 4330639"/>
                  <a:gd name="connsiteX32" fmla="*/ 94804 w 2147054"/>
                  <a:gd name="connsiteY32" fmla="*/ 1146972 h 4330639"/>
                  <a:gd name="connsiteX33" fmla="*/ 9907 w 2147054"/>
                  <a:gd name="connsiteY33" fmla="*/ 1521969 h 4330639"/>
                  <a:gd name="connsiteX34" fmla="*/ 0 w 2147054"/>
                  <a:gd name="connsiteY34" fmla="*/ 2778708 h 4330639"/>
                  <a:gd name="connsiteX35" fmla="*/ 95870 w 2147054"/>
                  <a:gd name="connsiteY35" fmla="*/ 3178922 h 4330639"/>
                  <a:gd name="connsiteX36" fmla="*/ 94635 w 2147054"/>
                  <a:gd name="connsiteY36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2144641 w 2147054"/>
                  <a:gd name="connsiteY24" fmla="*/ 2550708 h 4330639"/>
                  <a:gd name="connsiteX25" fmla="*/ 2147054 w 2147054"/>
                  <a:gd name="connsiteY25" fmla="*/ 1759991 h 4330639"/>
                  <a:gd name="connsiteX26" fmla="*/ 2106035 w 2147054"/>
                  <a:gd name="connsiteY26" fmla="*/ 1663267 h 4330639"/>
                  <a:gd name="connsiteX27" fmla="*/ 1826140 w 2147054"/>
                  <a:gd name="connsiteY27" fmla="*/ 1385187 h 4330639"/>
                  <a:gd name="connsiteX28" fmla="*/ 1879986 w 2147054"/>
                  <a:gd name="connsiteY28" fmla="*/ 1081411 h 4330639"/>
                  <a:gd name="connsiteX29" fmla="*/ 1816630 w 2147054"/>
                  <a:gd name="connsiteY29" fmla="*/ 913332 h 4330639"/>
                  <a:gd name="connsiteX30" fmla="*/ 958163 w 2147054"/>
                  <a:gd name="connsiteY30" fmla="*/ 0 h 4330639"/>
                  <a:gd name="connsiteX31" fmla="*/ 109261 w 2147054"/>
                  <a:gd name="connsiteY31" fmla="*/ 858457 h 4330639"/>
                  <a:gd name="connsiteX32" fmla="*/ 94804 w 2147054"/>
                  <a:gd name="connsiteY32" fmla="*/ 1146972 h 4330639"/>
                  <a:gd name="connsiteX33" fmla="*/ 9907 w 2147054"/>
                  <a:gd name="connsiteY33" fmla="*/ 1521969 h 4330639"/>
                  <a:gd name="connsiteX34" fmla="*/ 0 w 2147054"/>
                  <a:gd name="connsiteY34" fmla="*/ 2778708 h 4330639"/>
                  <a:gd name="connsiteX35" fmla="*/ 95870 w 2147054"/>
                  <a:gd name="connsiteY35" fmla="*/ 3178922 h 4330639"/>
                  <a:gd name="connsiteX36" fmla="*/ 94635 w 2147054"/>
                  <a:gd name="connsiteY36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937134 w 2147054"/>
                  <a:gd name="connsiteY24" fmla="*/ 2212175 h 4330639"/>
                  <a:gd name="connsiteX25" fmla="*/ 2144641 w 2147054"/>
                  <a:gd name="connsiteY25" fmla="*/ 2550708 h 4330639"/>
                  <a:gd name="connsiteX26" fmla="*/ 2147054 w 2147054"/>
                  <a:gd name="connsiteY26" fmla="*/ 1759991 h 4330639"/>
                  <a:gd name="connsiteX27" fmla="*/ 2106035 w 2147054"/>
                  <a:gd name="connsiteY27" fmla="*/ 1663267 h 4330639"/>
                  <a:gd name="connsiteX28" fmla="*/ 1826140 w 2147054"/>
                  <a:gd name="connsiteY28" fmla="*/ 1385187 h 4330639"/>
                  <a:gd name="connsiteX29" fmla="*/ 1879986 w 2147054"/>
                  <a:gd name="connsiteY29" fmla="*/ 1081411 h 4330639"/>
                  <a:gd name="connsiteX30" fmla="*/ 1816630 w 2147054"/>
                  <a:gd name="connsiteY30" fmla="*/ 913332 h 4330639"/>
                  <a:gd name="connsiteX31" fmla="*/ 958163 w 2147054"/>
                  <a:gd name="connsiteY31" fmla="*/ 0 h 4330639"/>
                  <a:gd name="connsiteX32" fmla="*/ 109261 w 2147054"/>
                  <a:gd name="connsiteY32" fmla="*/ 858457 h 4330639"/>
                  <a:gd name="connsiteX33" fmla="*/ 94804 w 2147054"/>
                  <a:gd name="connsiteY33" fmla="*/ 1146972 h 4330639"/>
                  <a:gd name="connsiteX34" fmla="*/ 9907 w 2147054"/>
                  <a:gd name="connsiteY34" fmla="*/ 1521969 h 4330639"/>
                  <a:gd name="connsiteX35" fmla="*/ 0 w 2147054"/>
                  <a:gd name="connsiteY35" fmla="*/ 2778708 h 4330639"/>
                  <a:gd name="connsiteX36" fmla="*/ 95870 w 2147054"/>
                  <a:gd name="connsiteY36" fmla="*/ 3178922 h 4330639"/>
                  <a:gd name="connsiteX37" fmla="*/ 94635 w 2147054"/>
                  <a:gd name="connsiteY37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2115686 w 2147054"/>
                  <a:gd name="connsiteY24" fmla="*/ 2642597 h 4330639"/>
                  <a:gd name="connsiteX25" fmla="*/ 2144641 w 2147054"/>
                  <a:gd name="connsiteY25" fmla="*/ 2550708 h 4330639"/>
                  <a:gd name="connsiteX26" fmla="*/ 2147054 w 2147054"/>
                  <a:gd name="connsiteY26" fmla="*/ 1759991 h 4330639"/>
                  <a:gd name="connsiteX27" fmla="*/ 2106035 w 2147054"/>
                  <a:gd name="connsiteY27" fmla="*/ 1663267 h 4330639"/>
                  <a:gd name="connsiteX28" fmla="*/ 1826140 w 2147054"/>
                  <a:gd name="connsiteY28" fmla="*/ 1385187 h 4330639"/>
                  <a:gd name="connsiteX29" fmla="*/ 1879986 w 2147054"/>
                  <a:gd name="connsiteY29" fmla="*/ 1081411 h 4330639"/>
                  <a:gd name="connsiteX30" fmla="*/ 1816630 w 2147054"/>
                  <a:gd name="connsiteY30" fmla="*/ 913332 h 4330639"/>
                  <a:gd name="connsiteX31" fmla="*/ 958163 w 2147054"/>
                  <a:gd name="connsiteY31" fmla="*/ 0 h 4330639"/>
                  <a:gd name="connsiteX32" fmla="*/ 109261 w 2147054"/>
                  <a:gd name="connsiteY32" fmla="*/ 858457 h 4330639"/>
                  <a:gd name="connsiteX33" fmla="*/ 94804 w 2147054"/>
                  <a:gd name="connsiteY33" fmla="*/ 1146972 h 4330639"/>
                  <a:gd name="connsiteX34" fmla="*/ 9907 w 2147054"/>
                  <a:gd name="connsiteY34" fmla="*/ 1521969 h 4330639"/>
                  <a:gd name="connsiteX35" fmla="*/ 0 w 2147054"/>
                  <a:gd name="connsiteY35" fmla="*/ 2778708 h 4330639"/>
                  <a:gd name="connsiteX36" fmla="*/ 95870 w 2147054"/>
                  <a:gd name="connsiteY36" fmla="*/ 3178922 h 4330639"/>
                  <a:gd name="connsiteX37" fmla="*/ 94635 w 2147054"/>
                  <a:gd name="connsiteY37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896114 w 2147054"/>
                  <a:gd name="connsiteY24" fmla="*/ 2200085 h 4330639"/>
                  <a:gd name="connsiteX25" fmla="*/ 2115686 w 2147054"/>
                  <a:gd name="connsiteY25" fmla="*/ 2642597 h 4330639"/>
                  <a:gd name="connsiteX26" fmla="*/ 2144641 w 2147054"/>
                  <a:gd name="connsiteY26" fmla="*/ 2550708 h 4330639"/>
                  <a:gd name="connsiteX27" fmla="*/ 2147054 w 2147054"/>
                  <a:gd name="connsiteY27" fmla="*/ 1759991 h 4330639"/>
                  <a:gd name="connsiteX28" fmla="*/ 2106035 w 2147054"/>
                  <a:gd name="connsiteY28" fmla="*/ 1663267 h 4330639"/>
                  <a:gd name="connsiteX29" fmla="*/ 1826140 w 2147054"/>
                  <a:gd name="connsiteY29" fmla="*/ 1385187 h 4330639"/>
                  <a:gd name="connsiteX30" fmla="*/ 1879986 w 2147054"/>
                  <a:gd name="connsiteY30" fmla="*/ 1081411 h 4330639"/>
                  <a:gd name="connsiteX31" fmla="*/ 1816630 w 2147054"/>
                  <a:gd name="connsiteY31" fmla="*/ 913332 h 4330639"/>
                  <a:gd name="connsiteX32" fmla="*/ 958163 w 2147054"/>
                  <a:gd name="connsiteY32" fmla="*/ 0 h 4330639"/>
                  <a:gd name="connsiteX33" fmla="*/ 109261 w 2147054"/>
                  <a:gd name="connsiteY33" fmla="*/ 858457 h 4330639"/>
                  <a:gd name="connsiteX34" fmla="*/ 94804 w 2147054"/>
                  <a:gd name="connsiteY34" fmla="*/ 1146972 h 4330639"/>
                  <a:gd name="connsiteX35" fmla="*/ 9907 w 2147054"/>
                  <a:gd name="connsiteY35" fmla="*/ 1521969 h 4330639"/>
                  <a:gd name="connsiteX36" fmla="*/ 0 w 2147054"/>
                  <a:gd name="connsiteY36" fmla="*/ 2778708 h 4330639"/>
                  <a:gd name="connsiteX37" fmla="*/ 95870 w 2147054"/>
                  <a:gd name="connsiteY37" fmla="*/ 3178922 h 4330639"/>
                  <a:gd name="connsiteX38" fmla="*/ 94635 w 2147054"/>
                  <a:gd name="connsiteY38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871986 w 2147054"/>
                  <a:gd name="connsiteY24" fmla="*/ 2862643 h 4330639"/>
                  <a:gd name="connsiteX25" fmla="*/ 2115686 w 2147054"/>
                  <a:gd name="connsiteY25" fmla="*/ 2642597 h 4330639"/>
                  <a:gd name="connsiteX26" fmla="*/ 2144641 w 2147054"/>
                  <a:gd name="connsiteY26" fmla="*/ 2550708 h 4330639"/>
                  <a:gd name="connsiteX27" fmla="*/ 2147054 w 2147054"/>
                  <a:gd name="connsiteY27" fmla="*/ 1759991 h 4330639"/>
                  <a:gd name="connsiteX28" fmla="*/ 2106035 w 2147054"/>
                  <a:gd name="connsiteY28" fmla="*/ 1663267 h 4330639"/>
                  <a:gd name="connsiteX29" fmla="*/ 1826140 w 2147054"/>
                  <a:gd name="connsiteY29" fmla="*/ 1385187 h 4330639"/>
                  <a:gd name="connsiteX30" fmla="*/ 1879986 w 2147054"/>
                  <a:gd name="connsiteY30" fmla="*/ 1081411 h 4330639"/>
                  <a:gd name="connsiteX31" fmla="*/ 1816630 w 2147054"/>
                  <a:gd name="connsiteY31" fmla="*/ 913332 h 4330639"/>
                  <a:gd name="connsiteX32" fmla="*/ 958163 w 2147054"/>
                  <a:gd name="connsiteY32" fmla="*/ 0 h 4330639"/>
                  <a:gd name="connsiteX33" fmla="*/ 109261 w 2147054"/>
                  <a:gd name="connsiteY33" fmla="*/ 858457 h 4330639"/>
                  <a:gd name="connsiteX34" fmla="*/ 94804 w 2147054"/>
                  <a:gd name="connsiteY34" fmla="*/ 1146972 h 4330639"/>
                  <a:gd name="connsiteX35" fmla="*/ 9907 w 2147054"/>
                  <a:gd name="connsiteY35" fmla="*/ 1521969 h 4330639"/>
                  <a:gd name="connsiteX36" fmla="*/ 0 w 2147054"/>
                  <a:gd name="connsiteY36" fmla="*/ 2778708 h 4330639"/>
                  <a:gd name="connsiteX37" fmla="*/ 95870 w 2147054"/>
                  <a:gd name="connsiteY37" fmla="*/ 3178922 h 4330639"/>
                  <a:gd name="connsiteX38" fmla="*/ 94635 w 2147054"/>
                  <a:gd name="connsiteY38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760993 w 2147054"/>
                  <a:gd name="connsiteY24" fmla="*/ 2294391 h 4330639"/>
                  <a:gd name="connsiteX25" fmla="*/ 1871986 w 2147054"/>
                  <a:gd name="connsiteY25" fmla="*/ 2862643 h 4330639"/>
                  <a:gd name="connsiteX26" fmla="*/ 2115686 w 2147054"/>
                  <a:gd name="connsiteY26" fmla="*/ 2642597 h 4330639"/>
                  <a:gd name="connsiteX27" fmla="*/ 2144641 w 2147054"/>
                  <a:gd name="connsiteY27" fmla="*/ 2550708 h 4330639"/>
                  <a:gd name="connsiteX28" fmla="*/ 2147054 w 2147054"/>
                  <a:gd name="connsiteY28" fmla="*/ 1759991 h 4330639"/>
                  <a:gd name="connsiteX29" fmla="*/ 2106035 w 2147054"/>
                  <a:gd name="connsiteY29" fmla="*/ 1663267 h 4330639"/>
                  <a:gd name="connsiteX30" fmla="*/ 1826140 w 2147054"/>
                  <a:gd name="connsiteY30" fmla="*/ 1385187 h 4330639"/>
                  <a:gd name="connsiteX31" fmla="*/ 1879986 w 2147054"/>
                  <a:gd name="connsiteY31" fmla="*/ 1081411 h 4330639"/>
                  <a:gd name="connsiteX32" fmla="*/ 1816630 w 2147054"/>
                  <a:gd name="connsiteY32" fmla="*/ 913332 h 4330639"/>
                  <a:gd name="connsiteX33" fmla="*/ 958163 w 2147054"/>
                  <a:gd name="connsiteY33" fmla="*/ 0 h 4330639"/>
                  <a:gd name="connsiteX34" fmla="*/ 109261 w 2147054"/>
                  <a:gd name="connsiteY34" fmla="*/ 858457 h 4330639"/>
                  <a:gd name="connsiteX35" fmla="*/ 94804 w 2147054"/>
                  <a:gd name="connsiteY35" fmla="*/ 1146972 h 4330639"/>
                  <a:gd name="connsiteX36" fmla="*/ 9907 w 2147054"/>
                  <a:gd name="connsiteY36" fmla="*/ 1521969 h 4330639"/>
                  <a:gd name="connsiteX37" fmla="*/ 0 w 2147054"/>
                  <a:gd name="connsiteY37" fmla="*/ 2778708 h 4330639"/>
                  <a:gd name="connsiteX38" fmla="*/ 95870 w 2147054"/>
                  <a:gd name="connsiteY38" fmla="*/ 3178922 h 4330639"/>
                  <a:gd name="connsiteX39" fmla="*/ 94635 w 2147054"/>
                  <a:gd name="connsiteY39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833380 w 2147054"/>
                  <a:gd name="connsiteY24" fmla="*/ 2983549 h 4330639"/>
                  <a:gd name="connsiteX25" fmla="*/ 1871986 w 2147054"/>
                  <a:gd name="connsiteY25" fmla="*/ 2862643 h 4330639"/>
                  <a:gd name="connsiteX26" fmla="*/ 2115686 w 2147054"/>
                  <a:gd name="connsiteY26" fmla="*/ 2642597 h 4330639"/>
                  <a:gd name="connsiteX27" fmla="*/ 2144641 w 2147054"/>
                  <a:gd name="connsiteY27" fmla="*/ 2550708 h 4330639"/>
                  <a:gd name="connsiteX28" fmla="*/ 2147054 w 2147054"/>
                  <a:gd name="connsiteY28" fmla="*/ 1759991 h 4330639"/>
                  <a:gd name="connsiteX29" fmla="*/ 2106035 w 2147054"/>
                  <a:gd name="connsiteY29" fmla="*/ 1663267 h 4330639"/>
                  <a:gd name="connsiteX30" fmla="*/ 1826140 w 2147054"/>
                  <a:gd name="connsiteY30" fmla="*/ 1385187 h 4330639"/>
                  <a:gd name="connsiteX31" fmla="*/ 1879986 w 2147054"/>
                  <a:gd name="connsiteY31" fmla="*/ 1081411 h 4330639"/>
                  <a:gd name="connsiteX32" fmla="*/ 1816630 w 2147054"/>
                  <a:gd name="connsiteY32" fmla="*/ 913332 h 4330639"/>
                  <a:gd name="connsiteX33" fmla="*/ 958163 w 2147054"/>
                  <a:gd name="connsiteY33" fmla="*/ 0 h 4330639"/>
                  <a:gd name="connsiteX34" fmla="*/ 109261 w 2147054"/>
                  <a:gd name="connsiteY34" fmla="*/ 858457 h 4330639"/>
                  <a:gd name="connsiteX35" fmla="*/ 94804 w 2147054"/>
                  <a:gd name="connsiteY35" fmla="*/ 1146972 h 4330639"/>
                  <a:gd name="connsiteX36" fmla="*/ 9907 w 2147054"/>
                  <a:gd name="connsiteY36" fmla="*/ 1521969 h 4330639"/>
                  <a:gd name="connsiteX37" fmla="*/ 0 w 2147054"/>
                  <a:gd name="connsiteY37" fmla="*/ 2778708 h 4330639"/>
                  <a:gd name="connsiteX38" fmla="*/ 95870 w 2147054"/>
                  <a:gd name="connsiteY38" fmla="*/ 3178922 h 4330639"/>
                  <a:gd name="connsiteX39" fmla="*/ 94635 w 2147054"/>
                  <a:gd name="connsiteY39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833380 w 2147054"/>
                  <a:gd name="connsiteY24" fmla="*/ 2983549 h 4330639"/>
                  <a:gd name="connsiteX25" fmla="*/ 1850270 w 2147054"/>
                  <a:gd name="connsiteY25" fmla="*/ 2884406 h 4330639"/>
                  <a:gd name="connsiteX26" fmla="*/ 2115686 w 2147054"/>
                  <a:gd name="connsiteY26" fmla="*/ 2642597 h 4330639"/>
                  <a:gd name="connsiteX27" fmla="*/ 2144641 w 2147054"/>
                  <a:gd name="connsiteY27" fmla="*/ 2550708 h 4330639"/>
                  <a:gd name="connsiteX28" fmla="*/ 2147054 w 2147054"/>
                  <a:gd name="connsiteY28" fmla="*/ 1759991 h 4330639"/>
                  <a:gd name="connsiteX29" fmla="*/ 2106035 w 2147054"/>
                  <a:gd name="connsiteY29" fmla="*/ 1663267 h 4330639"/>
                  <a:gd name="connsiteX30" fmla="*/ 1826140 w 2147054"/>
                  <a:gd name="connsiteY30" fmla="*/ 1385187 h 4330639"/>
                  <a:gd name="connsiteX31" fmla="*/ 1879986 w 2147054"/>
                  <a:gd name="connsiteY31" fmla="*/ 1081411 h 4330639"/>
                  <a:gd name="connsiteX32" fmla="*/ 1816630 w 2147054"/>
                  <a:gd name="connsiteY32" fmla="*/ 913332 h 4330639"/>
                  <a:gd name="connsiteX33" fmla="*/ 958163 w 2147054"/>
                  <a:gd name="connsiteY33" fmla="*/ 0 h 4330639"/>
                  <a:gd name="connsiteX34" fmla="*/ 109261 w 2147054"/>
                  <a:gd name="connsiteY34" fmla="*/ 858457 h 4330639"/>
                  <a:gd name="connsiteX35" fmla="*/ 94804 w 2147054"/>
                  <a:gd name="connsiteY35" fmla="*/ 1146972 h 4330639"/>
                  <a:gd name="connsiteX36" fmla="*/ 9907 w 2147054"/>
                  <a:gd name="connsiteY36" fmla="*/ 1521969 h 4330639"/>
                  <a:gd name="connsiteX37" fmla="*/ 0 w 2147054"/>
                  <a:gd name="connsiteY37" fmla="*/ 2778708 h 4330639"/>
                  <a:gd name="connsiteX38" fmla="*/ 95870 w 2147054"/>
                  <a:gd name="connsiteY38" fmla="*/ 3178922 h 4330639"/>
                  <a:gd name="connsiteX39" fmla="*/ 94635 w 2147054"/>
                  <a:gd name="connsiteY39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746516 w 2147054"/>
                  <a:gd name="connsiteY24" fmla="*/ 2386279 h 4330639"/>
                  <a:gd name="connsiteX25" fmla="*/ 1833380 w 2147054"/>
                  <a:gd name="connsiteY25" fmla="*/ 2983549 h 4330639"/>
                  <a:gd name="connsiteX26" fmla="*/ 1850270 w 2147054"/>
                  <a:gd name="connsiteY26" fmla="*/ 2884406 h 4330639"/>
                  <a:gd name="connsiteX27" fmla="*/ 2115686 w 2147054"/>
                  <a:gd name="connsiteY27" fmla="*/ 2642597 h 4330639"/>
                  <a:gd name="connsiteX28" fmla="*/ 2144641 w 2147054"/>
                  <a:gd name="connsiteY28" fmla="*/ 2550708 h 4330639"/>
                  <a:gd name="connsiteX29" fmla="*/ 2147054 w 2147054"/>
                  <a:gd name="connsiteY29" fmla="*/ 1759991 h 4330639"/>
                  <a:gd name="connsiteX30" fmla="*/ 2106035 w 2147054"/>
                  <a:gd name="connsiteY30" fmla="*/ 1663267 h 4330639"/>
                  <a:gd name="connsiteX31" fmla="*/ 1826140 w 2147054"/>
                  <a:gd name="connsiteY31" fmla="*/ 1385187 h 4330639"/>
                  <a:gd name="connsiteX32" fmla="*/ 1879986 w 2147054"/>
                  <a:gd name="connsiteY32" fmla="*/ 1081411 h 4330639"/>
                  <a:gd name="connsiteX33" fmla="*/ 1816630 w 2147054"/>
                  <a:gd name="connsiteY33" fmla="*/ 913332 h 4330639"/>
                  <a:gd name="connsiteX34" fmla="*/ 958163 w 2147054"/>
                  <a:gd name="connsiteY34" fmla="*/ 0 h 4330639"/>
                  <a:gd name="connsiteX35" fmla="*/ 109261 w 2147054"/>
                  <a:gd name="connsiteY35" fmla="*/ 858457 h 4330639"/>
                  <a:gd name="connsiteX36" fmla="*/ 94804 w 2147054"/>
                  <a:gd name="connsiteY36" fmla="*/ 1146972 h 4330639"/>
                  <a:gd name="connsiteX37" fmla="*/ 9907 w 2147054"/>
                  <a:gd name="connsiteY37" fmla="*/ 1521969 h 4330639"/>
                  <a:gd name="connsiteX38" fmla="*/ 0 w 2147054"/>
                  <a:gd name="connsiteY38" fmla="*/ 2778708 h 4330639"/>
                  <a:gd name="connsiteX39" fmla="*/ 95870 w 2147054"/>
                  <a:gd name="connsiteY39" fmla="*/ 3178922 h 4330639"/>
                  <a:gd name="connsiteX40" fmla="*/ 94635 w 2147054"/>
                  <a:gd name="connsiteY40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833380 w 2147054"/>
                  <a:gd name="connsiteY25" fmla="*/ 2983549 h 4330639"/>
                  <a:gd name="connsiteX26" fmla="*/ 1850270 w 2147054"/>
                  <a:gd name="connsiteY26" fmla="*/ 2884406 h 4330639"/>
                  <a:gd name="connsiteX27" fmla="*/ 2115686 w 2147054"/>
                  <a:gd name="connsiteY27" fmla="*/ 2642597 h 4330639"/>
                  <a:gd name="connsiteX28" fmla="*/ 2144641 w 2147054"/>
                  <a:gd name="connsiteY28" fmla="*/ 2550708 h 4330639"/>
                  <a:gd name="connsiteX29" fmla="*/ 2147054 w 2147054"/>
                  <a:gd name="connsiteY29" fmla="*/ 1759991 h 4330639"/>
                  <a:gd name="connsiteX30" fmla="*/ 2106035 w 2147054"/>
                  <a:gd name="connsiteY30" fmla="*/ 1663267 h 4330639"/>
                  <a:gd name="connsiteX31" fmla="*/ 1826140 w 2147054"/>
                  <a:gd name="connsiteY31" fmla="*/ 1385187 h 4330639"/>
                  <a:gd name="connsiteX32" fmla="*/ 1879986 w 2147054"/>
                  <a:gd name="connsiteY32" fmla="*/ 1081411 h 4330639"/>
                  <a:gd name="connsiteX33" fmla="*/ 1816630 w 2147054"/>
                  <a:gd name="connsiteY33" fmla="*/ 913332 h 4330639"/>
                  <a:gd name="connsiteX34" fmla="*/ 958163 w 2147054"/>
                  <a:gd name="connsiteY34" fmla="*/ 0 h 4330639"/>
                  <a:gd name="connsiteX35" fmla="*/ 109261 w 2147054"/>
                  <a:gd name="connsiteY35" fmla="*/ 858457 h 4330639"/>
                  <a:gd name="connsiteX36" fmla="*/ 94804 w 2147054"/>
                  <a:gd name="connsiteY36" fmla="*/ 1146972 h 4330639"/>
                  <a:gd name="connsiteX37" fmla="*/ 9907 w 2147054"/>
                  <a:gd name="connsiteY37" fmla="*/ 1521969 h 4330639"/>
                  <a:gd name="connsiteX38" fmla="*/ 0 w 2147054"/>
                  <a:gd name="connsiteY38" fmla="*/ 2778708 h 4330639"/>
                  <a:gd name="connsiteX39" fmla="*/ 95870 w 2147054"/>
                  <a:gd name="connsiteY39" fmla="*/ 3178922 h 4330639"/>
                  <a:gd name="connsiteX40" fmla="*/ 94635 w 2147054"/>
                  <a:gd name="connsiteY40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732038 w 2147054"/>
                  <a:gd name="connsiteY25" fmla="*/ 2780429 h 4330639"/>
                  <a:gd name="connsiteX26" fmla="*/ 1833380 w 2147054"/>
                  <a:gd name="connsiteY26" fmla="*/ 2983549 h 4330639"/>
                  <a:gd name="connsiteX27" fmla="*/ 1850270 w 2147054"/>
                  <a:gd name="connsiteY27" fmla="*/ 2884406 h 4330639"/>
                  <a:gd name="connsiteX28" fmla="*/ 2115686 w 2147054"/>
                  <a:gd name="connsiteY28" fmla="*/ 2642597 h 4330639"/>
                  <a:gd name="connsiteX29" fmla="*/ 2144641 w 2147054"/>
                  <a:gd name="connsiteY29" fmla="*/ 2550708 h 4330639"/>
                  <a:gd name="connsiteX30" fmla="*/ 2147054 w 2147054"/>
                  <a:gd name="connsiteY30" fmla="*/ 1759991 h 4330639"/>
                  <a:gd name="connsiteX31" fmla="*/ 2106035 w 2147054"/>
                  <a:gd name="connsiteY31" fmla="*/ 1663267 h 4330639"/>
                  <a:gd name="connsiteX32" fmla="*/ 1826140 w 2147054"/>
                  <a:gd name="connsiteY32" fmla="*/ 1385187 h 4330639"/>
                  <a:gd name="connsiteX33" fmla="*/ 1879986 w 2147054"/>
                  <a:gd name="connsiteY33" fmla="*/ 1081411 h 4330639"/>
                  <a:gd name="connsiteX34" fmla="*/ 1816630 w 2147054"/>
                  <a:gd name="connsiteY34" fmla="*/ 913332 h 4330639"/>
                  <a:gd name="connsiteX35" fmla="*/ 958163 w 2147054"/>
                  <a:gd name="connsiteY35" fmla="*/ 0 h 4330639"/>
                  <a:gd name="connsiteX36" fmla="*/ 109261 w 2147054"/>
                  <a:gd name="connsiteY36" fmla="*/ 858457 h 4330639"/>
                  <a:gd name="connsiteX37" fmla="*/ 94804 w 2147054"/>
                  <a:gd name="connsiteY37" fmla="*/ 1146972 h 4330639"/>
                  <a:gd name="connsiteX38" fmla="*/ 9907 w 2147054"/>
                  <a:gd name="connsiteY38" fmla="*/ 1521969 h 4330639"/>
                  <a:gd name="connsiteX39" fmla="*/ 0 w 2147054"/>
                  <a:gd name="connsiteY39" fmla="*/ 2778708 h 4330639"/>
                  <a:gd name="connsiteX40" fmla="*/ 95870 w 2147054"/>
                  <a:gd name="connsiteY40" fmla="*/ 3178922 h 4330639"/>
                  <a:gd name="connsiteX41" fmla="*/ 94635 w 2147054"/>
                  <a:gd name="connsiteY41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833380 w 2147054"/>
                  <a:gd name="connsiteY26" fmla="*/ 2983549 h 4330639"/>
                  <a:gd name="connsiteX27" fmla="*/ 1850270 w 2147054"/>
                  <a:gd name="connsiteY27" fmla="*/ 2884406 h 4330639"/>
                  <a:gd name="connsiteX28" fmla="*/ 2115686 w 2147054"/>
                  <a:gd name="connsiteY28" fmla="*/ 2642597 h 4330639"/>
                  <a:gd name="connsiteX29" fmla="*/ 2144641 w 2147054"/>
                  <a:gd name="connsiteY29" fmla="*/ 2550708 h 4330639"/>
                  <a:gd name="connsiteX30" fmla="*/ 2147054 w 2147054"/>
                  <a:gd name="connsiteY30" fmla="*/ 1759991 h 4330639"/>
                  <a:gd name="connsiteX31" fmla="*/ 2106035 w 2147054"/>
                  <a:gd name="connsiteY31" fmla="*/ 1663267 h 4330639"/>
                  <a:gd name="connsiteX32" fmla="*/ 1826140 w 2147054"/>
                  <a:gd name="connsiteY32" fmla="*/ 1385187 h 4330639"/>
                  <a:gd name="connsiteX33" fmla="*/ 1879986 w 2147054"/>
                  <a:gd name="connsiteY33" fmla="*/ 1081411 h 4330639"/>
                  <a:gd name="connsiteX34" fmla="*/ 1816630 w 2147054"/>
                  <a:gd name="connsiteY34" fmla="*/ 913332 h 4330639"/>
                  <a:gd name="connsiteX35" fmla="*/ 958163 w 2147054"/>
                  <a:gd name="connsiteY35" fmla="*/ 0 h 4330639"/>
                  <a:gd name="connsiteX36" fmla="*/ 109261 w 2147054"/>
                  <a:gd name="connsiteY36" fmla="*/ 858457 h 4330639"/>
                  <a:gd name="connsiteX37" fmla="*/ 94804 w 2147054"/>
                  <a:gd name="connsiteY37" fmla="*/ 1146972 h 4330639"/>
                  <a:gd name="connsiteX38" fmla="*/ 9907 w 2147054"/>
                  <a:gd name="connsiteY38" fmla="*/ 1521969 h 4330639"/>
                  <a:gd name="connsiteX39" fmla="*/ 0 w 2147054"/>
                  <a:gd name="connsiteY39" fmla="*/ 2778708 h 4330639"/>
                  <a:gd name="connsiteX40" fmla="*/ 95870 w 2147054"/>
                  <a:gd name="connsiteY40" fmla="*/ 3178922 h 4330639"/>
                  <a:gd name="connsiteX41" fmla="*/ 94635 w 2147054"/>
                  <a:gd name="connsiteY41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758580 w 2147054"/>
                  <a:gd name="connsiteY26" fmla="*/ 2925514 h 4330639"/>
                  <a:gd name="connsiteX27" fmla="*/ 1833380 w 2147054"/>
                  <a:gd name="connsiteY27" fmla="*/ 2983549 h 4330639"/>
                  <a:gd name="connsiteX28" fmla="*/ 1850270 w 2147054"/>
                  <a:gd name="connsiteY28" fmla="*/ 2884406 h 4330639"/>
                  <a:gd name="connsiteX29" fmla="*/ 2115686 w 2147054"/>
                  <a:gd name="connsiteY29" fmla="*/ 2642597 h 4330639"/>
                  <a:gd name="connsiteX30" fmla="*/ 2144641 w 2147054"/>
                  <a:gd name="connsiteY30" fmla="*/ 2550708 h 4330639"/>
                  <a:gd name="connsiteX31" fmla="*/ 2147054 w 2147054"/>
                  <a:gd name="connsiteY31" fmla="*/ 1759991 h 4330639"/>
                  <a:gd name="connsiteX32" fmla="*/ 2106035 w 2147054"/>
                  <a:gd name="connsiteY32" fmla="*/ 1663267 h 4330639"/>
                  <a:gd name="connsiteX33" fmla="*/ 1826140 w 2147054"/>
                  <a:gd name="connsiteY33" fmla="*/ 1385187 h 4330639"/>
                  <a:gd name="connsiteX34" fmla="*/ 1879986 w 2147054"/>
                  <a:gd name="connsiteY34" fmla="*/ 1081411 h 4330639"/>
                  <a:gd name="connsiteX35" fmla="*/ 1816630 w 2147054"/>
                  <a:gd name="connsiteY35" fmla="*/ 913332 h 4330639"/>
                  <a:gd name="connsiteX36" fmla="*/ 958163 w 2147054"/>
                  <a:gd name="connsiteY36" fmla="*/ 0 h 4330639"/>
                  <a:gd name="connsiteX37" fmla="*/ 109261 w 2147054"/>
                  <a:gd name="connsiteY37" fmla="*/ 858457 h 4330639"/>
                  <a:gd name="connsiteX38" fmla="*/ 94804 w 2147054"/>
                  <a:gd name="connsiteY38" fmla="*/ 1146972 h 4330639"/>
                  <a:gd name="connsiteX39" fmla="*/ 9907 w 2147054"/>
                  <a:gd name="connsiteY39" fmla="*/ 1521969 h 4330639"/>
                  <a:gd name="connsiteX40" fmla="*/ 0 w 2147054"/>
                  <a:gd name="connsiteY40" fmla="*/ 2778708 h 4330639"/>
                  <a:gd name="connsiteX41" fmla="*/ 95870 w 2147054"/>
                  <a:gd name="connsiteY41" fmla="*/ 3178922 h 4330639"/>
                  <a:gd name="connsiteX42" fmla="*/ 94635 w 2147054"/>
                  <a:gd name="connsiteY42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33380 w 2147054"/>
                  <a:gd name="connsiteY27" fmla="*/ 2983549 h 4330639"/>
                  <a:gd name="connsiteX28" fmla="*/ 1850270 w 2147054"/>
                  <a:gd name="connsiteY28" fmla="*/ 2884406 h 4330639"/>
                  <a:gd name="connsiteX29" fmla="*/ 2115686 w 2147054"/>
                  <a:gd name="connsiteY29" fmla="*/ 2642597 h 4330639"/>
                  <a:gd name="connsiteX30" fmla="*/ 2144641 w 2147054"/>
                  <a:gd name="connsiteY30" fmla="*/ 2550708 h 4330639"/>
                  <a:gd name="connsiteX31" fmla="*/ 2147054 w 2147054"/>
                  <a:gd name="connsiteY31" fmla="*/ 1759991 h 4330639"/>
                  <a:gd name="connsiteX32" fmla="*/ 2106035 w 2147054"/>
                  <a:gd name="connsiteY32" fmla="*/ 1663267 h 4330639"/>
                  <a:gd name="connsiteX33" fmla="*/ 1826140 w 2147054"/>
                  <a:gd name="connsiteY33" fmla="*/ 1385187 h 4330639"/>
                  <a:gd name="connsiteX34" fmla="*/ 1879986 w 2147054"/>
                  <a:gd name="connsiteY34" fmla="*/ 1081411 h 4330639"/>
                  <a:gd name="connsiteX35" fmla="*/ 1816630 w 2147054"/>
                  <a:gd name="connsiteY35" fmla="*/ 913332 h 4330639"/>
                  <a:gd name="connsiteX36" fmla="*/ 958163 w 2147054"/>
                  <a:gd name="connsiteY36" fmla="*/ 0 h 4330639"/>
                  <a:gd name="connsiteX37" fmla="*/ 109261 w 2147054"/>
                  <a:gd name="connsiteY37" fmla="*/ 858457 h 4330639"/>
                  <a:gd name="connsiteX38" fmla="*/ 94804 w 2147054"/>
                  <a:gd name="connsiteY38" fmla="*/ 1146972 h 4330639"/>
                  <a:gd name="connsiteX39" fmla="*/ 9907 w 2147054"/>
                  <a:gd name="connsiteY39" fmla="*/ 1521969 h 4330639"/>
                  <a:gd name="connsiteX40" fmla="*/ 0 w 2147054"/>
                  <a:gd name="connsiteY40" fmla="*/ 2778708 h 4330639"/>
                  <a:gd name="connsiteX41" fmla="*/ 95870 w 2147054"/>
                  <a:gd name="connsiteY41" fmla="*/ 3178922 h 4330639"/>
                  <a:gd name="connsiteX42" fmla="*/ 94635 w 2147054"/>
                  <a:gd name="connsiteY42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748929 w 2147054"/>
                  <a:gd name="connsiteY27" fmla="*/ 3106872 h 4330639"/>
                  <a:gd name="connsiteX28" fmla="*/ 1833380 w 2147054"/>
                  <a:gd name="connsiteY28" fmla="*/ 2983549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9991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9986 w 2147054"/>
                  <a:gd name="connsiteY35" fmla="*/ 1081411 h 4330639"/>
                  <a:gd name="connsiteX36" fmla="*/ 1816630 w 2147054"/>
                  <a:gd name="connsiteY36" fmla="*/ 913332 h 4330639"/>
                  <a:gd name="connsiteX37" fmla="*/ 958163 w 2147054"/>
                  <a:gd name="connsiteY37" fmla="*/ 0 h 4330639"/>
                  <a:gd name="connsiteX38" fmla="*/ 109261 w 2147054"/>
                  <a:gd name="connsiteY38" fmla="*/ 858457 h 4330639"/>
                  <a:gd name="connsiteX39" fmla="*/ 94804 w 2147054"/>
                  <a:gd name="connsiteY39" fmla="*/ 1146972 h 4330639"/>
                  <a:gd name="connsiteX40" fmla="*/ 9907 w 2147054"/>
                  <a:gd name="connsiteY40" fmla="*/ 1521969 h 4330639"/>
                  <a:gd name="connsiteX41" fmla="*/ 0 w 2147054"/>
                  <a:gd name="connsiteY41" fmla="*/ 2778708 h 4330639"/>
                  <a:gd name="connsiteX42" fmla="*/ 95870 w 2147054"/>
                  <a:gd name="connsiteY42" fmla="*/ 3178922 h 4330639"/>
                  <a:gd name="connsiteX43" fmla="*/ 94635 w 2147054"/>
                  <a:gd name="connsiteY43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33380 w 2147054"/>
                  <a:gd name="connsiteY28" fmla="*/ 2983549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9991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9986 w 2147054"/>
                  <a:gd name="connsiteY35" fmla="*/ 1081411 h 4330639"/>
                  <a:gd name="connsiteX36" fmla="*/ 1816630 w 2147054"/>
                  <a:gd name="connsiteY36" fmla="*/ 913332 h 4330639"/>
                  <a:gd name="connsiteX37" fmla="*/ 958163 w 2147054"/>
                  <a:gd name="connsiteY37" fmla="*/ 0 h 4330639"/>
                  <a:gd name="connsiteX38" fmla="*/ 109261 w 2147054"/>
                  <a:gd name="connsiteY38" fmla="*/ 858457 h 4330639"/>
                  <a:gd name="connsiteX39" fmla="*/ 94804 w 2147054"/>
                  <a:gd name="connsiteY39" fmla="*/ 1146972 h 4330639"/>
                  <a:gd name="connsiteX40" fmla="*/ 9907 w 2147054"/>
                  <a:gd name="connsiteY40" fmla="*/ 1521969 h 4330639"/>
                  <a:gd name="connsiteX41" fmla="*/ 0 w 2147054"/>
                  <a:gd name="connsiteY41" fmla="*/ 2778708 h 4330639"/>
                  <a:gd name="connsiteX42" fmla="*/ 95870 w 2147054"/>
                  <a:gd name="connsiteY42" fmla="*/ 3178922 h 4330639"/>
                  <a:gd name="connsiteX43" fmla="*/ 94635 w 2147054"/>
                  <a:gd name="connsiteY43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23728 w 2147054"/>
                  <a:gd name="connsiteY28" fmla="*/ 3102035 h 4330639"/>
                  <a:gd name="connsiteX29" fmla="*/ 1833380 w 2147054"/>
                  <a:gd name="connsiteY29" fmla="*/ 2983549 h 4330639"/>
                  <a:gd name="connsiteX30" fmla="*/ 1850270 w 2147054"/>
                  <a:gd name="connsiteY30" fmla="*/ 2884406 h 4330639"/>
                  <a:gd name="connsiteX31" fmla="*/ 2115686 w 2147054"/>
                  <a:gd name="connsiteY31" fmla="*/ 2642597 h 4330639"/>
                  <a:gd name="connsiteX32" fmla="*/ 2144641 w 2147054"/>
                  <a:gd name="connsiteY32" fmla="*/ 2550708 h 4330639"/>
                  <a:gd name="connsiteX33" fmla="*/ 2147054 w 2147054"/>
                  <a:gd name="connsiteY33" fmla="*/ 1759991 h 4330639"/>
                  <a:gd name="connsiteX34" fmla="*/ 2106035 w 2147054"/>
                  <a:gd name="connsiteY34" fmla="*/ 1663267 h 4330639"/>
                  <a:gd name="connsiteX35" fmla="*/ 1826140 w 2147054"/>
                  <a:gd name="connsiteY35" fmla="*/ 1385187 h 4330639"/>
                  <a:gd name="connsiteX36" fmla="*/ 1879986 w 2147054"/>
                  <a:gd name="connsiteY36" fmla="*/ 1081411 h 4330639"/>
                  <a:gd name="connsiteX37" fmla="*/ 1816630 w 2147054"/>
                  <a:gd name="connsiteY37" fmla="*/ 913332 h 4330639"/>
                  <a:gd name="connsiteX38" fmla="*/ 958163 w 2147054"/>
                  <a:gd name="connsiteY38" fmla="*/ 0 h 4330639"/>
                  <a:gd name="connsiteX39" fmla="*/ 109261 w 2147054"/>
                  <a:gd name="connsiteY39" fmla="*/ 858457 h 4330639"/>
                  <a:gd name="connsiteX40" fmla="*/ 94804 w 2147054"/>
                  <a:gd name="connsiteY40" fmla="*/ 1146972 h 4330639"/>
                  <a:gd name="connsiteX41" fmla="*/ 9907 w 2147054"/>
                  <a:gd name="connsiteY41" fmla="*/ 1521969 h 4330639"/>
                  <a:gd name="connsiteX42" fmla="*/ 0 w 2147054"/>
                  <a:gd name="connsiteY42" fmla="*/ 2778708 h 4330639"/>
                  <a:gd name="connsiteX43" fmla="*/ 95870 w 2147054"/>
                  <a:gd name="connsiteY43" fmla="*/ 3178922 h 4330639"/>
                  <a:gd name="connsiteX44" fmla="*/ 94635 w 2147054"/>
                  <a:gd name="connsiteY44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11663 w 2147054"/>
                  <a:gd name="connsiteY28" fmla="*/ 3058510 h 4330639"/>
                  <a:gd name="connsiteX29" fmla="*/ 1833380 w 2147054"/>
                  <a:gd name="connsiteY29" fmla="*/ 2983549 h 4330639"/>
                  <a:gd name="connsiteX30" fmla="*/ 1850270 w 2147054"/>
                  <a:gd name="connsiteY30" fmla="*/ 2884406 h 4330639"/>
                  <a:gd name="connsiteX31" fmla="*/ 2115686 w 2147054"/>
                  <a:gd name="connsiteY31" fmla="*/ 2642597 h 4330639"/>
                  <a:gd name="connsiteX32" fmla="*/ 2144641 w 2147054"/>
                  <a:gd name="connsiteY32" fmla="*/ 2550708 h 4330639"/>
                  <a:gd name="connsiteX33" fmla="*/ 2147054 w 2147054"/>
                  <a:gd name="connsiteY33" fmla="*/ 1759991 h 4330639"/>
                  <a:gd name="connsiteX34" fmla="*/ 2106035 w 2147054"/>
                  <a:gd name="connsiteY34" fmla="*/ 1663267 h 4330639"/>
                  <a:gd name="connsiteX35" fmla="*/ 1826140 w 2147054"/>
                  <a:gd name="connsiteY35" fmla="*/ 1385187 h 4330639"/>
                  <a:gd name="connsiteX36" fmla="*/ 1879986 w 2147054"/>
                  <a:gd name="connsiteY36" fmla="*/ 1081411 h 4330639"/>
                  <a:gd name="connsiteX37" fmla="*/ 1816630 w 2147054"/>
                  <a:gd name="connsiteY37" fmla="*/ 913332 h 4330639"/>
                  <a:gd name="connsiteX38" fmla="*/ 958163 w 2147054"/>
                  <a:gd name="connsiteY38" fmla="*/ 0 h 4330639"/>
                  <a:gd name="connsiteX39" fmla="*/ 109261 w 2147054"/>
                  <a:gd name="connsiteY39" fmla="*/ 858457 h 4330639"/>
                  <a:gd name="connsiteX40" fmla="*/ 94804 w 2147054"/>
                  <a:gd name="connsiteY40" fmla="*/ 1146972 h 4330639"/>
                  <a:gd name="connsiteX41" fmla="*/ 9907 w 2147054"/>
                  <a:gd name="connsiteY41" fmla="*/ 1521969 h 4330639"/>
                  <a:gd name="connsiteX42" fmla="*/ 0 w 2147054"/>
                  <a:gd name="connsiteY42" fmla="*/ 2778708 h 4330639"/>
                  <a:gd name="connsiteX43" fmla="*/ 95870 w 2147054"/>
                  <a:gd name="connsiteY43" fmla="*/ 3178922 h 4330639"/>
                  <a:gd name="connsiteX44" fmla="*/ 94635 w 2147054"/>
                  <a:gd name="connsiteY44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11663 w 2147054"/>
                  <a:gd name="connsiteY28" fmla="*/ 3058510 h 4330639"/>
                  <a:gd name="connsiteX29" fmla="*/ 1809251 w 2147054"/>
                  <a:gd name="connsiteY29" fmla="*/ 2942441 h 4330639"/>
                  <a:gd name="connsiteX30" fmla="*/ 1850270 w 2147054"/>
                  <a:gd name="connsiteY30" fmla="*/ 2884406 h 4330639"/>
                  <a:gd name="connsiteX31" fmla="*/ 2115686 w 2147054"/>
                  <a:gd name="connsiteY31" fmla="*/ 2642597 h 4330639"/>
                  <a:gd name="connsiteX32" fmla="*/ 2144641 w 2147054"/>
                  <a:gd name="connsiteY32" fmla="*/ 2550708 h 4330639"/>
                  <a:gd name="connsiteX33" fmla="*/ 2147054 w 2147054"/>
                  <a:gd name="connsiteY33" fmla="*/ 1759991 h 4330639"/>
                  <a:gd name="connsiteX34" fmla="*/ 2106035 w 2147054"/>
                  <a:gd name="connsiteY34" fmla="*/ 1663267 h 4330639"/>
                  <a:gd name="connsiteX35" fmla="*/ 1826140 w 2147054"/>
                  <a:gd name="connsiteY35" fmla="*/ 1385187 h 4330639"/>
                  <a:gd name="connsiteX36" fmla="*/ 1879986 w 2147054"/>
                  <a:gd name="connsiteY36" fmla="*/ 1081411 h 4330639"/>
                  <a:gd name="connsiteX37" fmla="*/ 1816630 w 2147054"/>
                  <a:gd name="connsiteY37" fmla="*/ 913332 h 4330639"/>
                  <a:gd name="connsiteX38" fmla="*/ 958163 w 2147054"/>
                  <a:gd name="connsiteY38" fmla="*/ 0 h 4330639"/>
                  <a:gd name="connsiteX39" fmla="*/ 109261 w 2147054"/>
                  <a:gd name="connsiteY39" fmla="*/ 858457 h 4330639"/>
                  <a:gd name="connsiteX40" fmla="*/ 94804 w 2147054"/>
                  <a:gd name="connsiteY40" fmla="*/ 1146972 h 4330639"/>
                  <a:gd name="connsiteX41" fmla="*/ 9907 w 2147054"/>
                  <a:gd name="connsiteY41" fmla="*/ 1521969 h 4330639"/>
                  <a:gd name="connsiteX42" fmla="*/ 0 w 2147054"/>
                  <a:gd name="connsiteY42" fmla="*/ 2778708 h 4330639"/>
                  <a:gd name="connsiteX43" fmla="*/ 95870 w 2147054"/>
                  <a:gd name="connsiteY43" fmla="*/ 3178922 h 4330639"/>
                  <a:gd name="connsiteX44" fmla="*/ 94635 w 2147054"/>
                  <a:gd name="connsiteY44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11663 w 2147054"/>
                  <a:gd name="connsiteY28" fmla="*/ 305851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9991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9986 w 2147054"/>
                  <a:gd name="connsiteY35" fmla="*/ 1081411 h 4330639"/>
                  <a:gd name="connsiteX36" fmla="*/ 1816630 w 2147054"/>
                  <a:gd name="connsiteY36" fmla="*/ 913332 h 4330639"/>
                  <a:gd name="connsiteX37" fmla="*/ 958163 w 2147054"/>
                  <a:gd name="connsiteY37" fmla="*/ 0 h 4330639"/>
                  <a:gd name="connsiteX38" fmla="*/ 109261 w 2147054"/>
                  <a:gd name="connsiteY38" fmla="*/ 858457 h 4330639"/>
                  <a:gd name="connsiteX39" fmla="*/ 94804 w 2147054"/>
                  <a:gd name="connsiteY39" fmla="*/ 1146972 h 4330639"/>
                  <a:gd name="connsiteX40" fmla="*/ 9907 w 2147054"/>
                  <a:gd name="connsiteY40" fmla="*/ 1521969 h 4330639"/>
                  <a:gd name="connsiteX41" fmla="*/ 0 w 2147054"/>
                  <a:gd name="connsiteY41" fmla="*/ 2778708 h 4330639"/>
                  <a:gd name="connsiteX42" fmla="*/ 95870 w 2147054"/>
                  <a:gd name="connsiteY42" fmla="*/ 3178922 h 4330639"/>
                  <a:gd name="connsiteX43" fmla="*/ 94635 w 2147054"/>
                  <a:gd name="connsiteY43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9991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9986 w 2147054"/>
                  <a:gd name="connsiteY35" fmla="*/ 1081411 h 4330639"/>
                  <a:gd name="connsiteX36" fmla="*/ 1816630 w 2147054"/>
                  <a:gd name="connsiteY36" fmla="*/ 913332 h 4330639"/>
                  <a:gd name="connsiteX37" fmla="*/ 958163 w 2147054"/>
                  <a:gd name="connsiteY37" fmla="*/ 0 h 4330639"/>
                  <a:gd name="connsiteX38" fmla="*/ 109261 w 2147054"/>
                  <a:gd name="connsiteY38" fmla="*/ 858457 h 4330639"/>
                  <a:gd name="connsiteX39" fmla="*/ 94804 w 2147054"/>
                  <a:gd name="connsiteY39" fmla="*/ 1146972 h 4330639"/>
                  <a:gd name="connsiteX40" fmla="*/ 9907 w 2147054"/>
                  <a:gd name="connsiteY40" fmla="*/ 1521969 h 4330639"/>
                  <a:gd name="connsiteX41" fmla="*/ 0 w 2147054"/>
                  <a:gd name="connsiteY41" fmla="*/ 2778708 h 4330639"/>
                  <a:gd name="connsiteX42" fmla="*/ 95870 w 2147054"/>
                  <a:gd name="connsiteY42" fmla="*/ 3178922 h 4330639"/>
                  <a:gd name="connsiteX43" fmla="*/ 94635 w 2147054"/>
                  <a:gd name="connsiteY43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9991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9986 w 2147054"/>
                  <a:gd name="connsiteY35" fmla="*/ 1081411 h 4330639"/>
                  <a:gd name="connsiteX36" fmla="*/ 1816630 w 2147054"/>
                  <a:gd name="connsiteY36" fmla="*/ 913332 h 4330639"/>
                  <a:gd name="connsiteX37" fmla="*/ 958163 w 2147054"/>
                  <a:gd name="connsiteY37" fmla="*/ 0 h 4330639"/>
                  <a:gd name="connsiteX38" fmla="*/ 109261 w 2147054"/>
                  <a:gd name="connsiteY38" fmla="*/ 858457 h 4330639"/>
                  <a:gd name="connsiteX39" fmla="*/ 94804 w 2147054"/>
                  <a:gd name="connsiteY39" fmla="*/ 1146972 h 4330639"/>
                  <a:gd name="connsiteX40" fmla="*/ 9907 w 2147054"/>
                  <a:gd name="connsiteY40" fmla="*/ 1521969 h 4330639"/>
                  <a:gd name="connsiteX41" fmla="*/ 0 w 2147054"/>
                  <a:gd name="connsiteY41" fmla="*/ 2778708 h 4330639"/>
                  <a:gd name="connsiteX42" fmla="*/ 95870 w 2147054"/>
                  <a:gd name="connsiteY42" fmla="*/ 3178922 h 4330639"/>
                  <a:gd name="connsiteX43" fmla="*/ 94635 w 2147054"/>
                  <a:gd name="connsiteY43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9991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9986 w 2147054"/>
                  <a:gd name="connsiteY35" fmla="*/ 1081411 h 4330639"/>
                  <a:gd name="connsiteX36" fmla="*/ 1816630 w 2147054"/>
                  <a:gd name="connsiteY36" fmla="*/ 913332 h 4330639"/>
                  <a:gd name="connsiteX37" fmla="*/ 958163 w 2147054"/>
                  <a:gd name="connsiteY37" fmla="*/ 0 h 4330639"/>
                  <a:gd name="connsiteX38" fmla="*/ 109261 w 2147054"/>
                  <a:gd name="connsiteY38" fmla="*/ 858457 h 4330639"/>
                  <a:gd name="connsiteX39" fmla="*/ 94804 w 2147054"/>
                  <a:gd name="connsiteY39" fmla="*/ 1146972 h 4330639"/>
                  <a:gd name="connsiteX40" fmla="*/ 9907 w 2147054"/>
                  <a:gd name="connsiteY40" fmla="*/ 1521969 h 4330639"/>
                  <a:gd name="connsiteX41" fmla="*/ 0 w 2147054"/>
                  <a:gd name="connsiteY41" fmla="*/ 2778708 h 4330639"/>
                  <a:gd name="connsiteX42" fmla="*/ 95870 w 2147054"/>
                  <a:gd name="connsiteY42" fmla="*/ 3178922 h 4330639"/>
                  <a:gd name="connsiteX43" fmla="*/ 94635 w 2147054"/>
                  <a:gd name="connsiteY43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9991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9986 w 2147054"/>
                  <a:gd name="connsiteY35" fmla="*/ 1081411 h 4330639"/>
                  <a:gd name="connsiteX36" fmla="*/ 1816630 w 2147054"/>
                  <a:gd name="connsiteY36" fmla="*/ 913332 h 4330639"/>
                  <a:gd name="connsiteX37" fmla="*/ 958163 w 2147054"/>
                  <a:gd name="connsiteY37" fmla="*/ 0 h 4330639"/>
                  <a:gd name="connsiteX38" fmla="*/ 109261 w 2147054"/>
                  <a:gd name="connsiteY38" fmla="*/ 858457 h 4330639"/>
                  <a:gd name="connsiteX39" fmla="*/ 94804 w 2147054"/>
                  <a:gd name="connsiteY39" fmla="*/ 1146972 h 4330639"/>
                  <a:gd name="connsiteX40" fmla="*/ 9907 w 2147054"/>
                  <a:gd name="connsiteY40" fmla="*/ 1521969 h 4330639"/>
                  <a:gd name="connsiteX41" fmla="*/ 0 w 2147054"/>
                  <a:gd name="connsiteY41" fmla="*/ 2778708 h 4330639"/>
                  <a:gd name="connsiteX42" fmla="*/ 95870 w 2147054"/>
                  <a:gd name="connsiteY42" fmla="*/ 3178922 h 4330639"/>
                  <a:gd name="connsiteX43" fmla="*/ 94635 w 2147054"/>
                  <a:gd name="connsiteY43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0319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9986 w 2147054"/>
                  <a:gd name="connsiteY35" fmla="*/ 1081411 h 4330639"/>
                  <a:gd name="connsiteX36" fmla="*/ 1816630 w 2147054"/>
                  <a:gd name="connsiteY36" fmla="*/ 913332 h 4330639"/>
                  <a:gd name="connsiteX37" fmla="*/ 958163 w 2147054"/>
                  <a:gd name="connsiteY37" fmla="*/ 0 h 4330639"/>
                  <a:gd name="connsiteX38" fmla="*/ 109261 w 2147054"/>
                  <a:gd name="connsiteY38" fmla="*/ 858457 h 4330639"/>
                  <a:gd name="connsiteX39" fmla="*/ 94804 w 2147054"/>
                  <a:gd name="connsiteY39" fmla="*/ 1146972 h 4330639"/>
                  <a:gd name="connsiteX40" fmla="*/ 9907 w 2147054"/>
                  <a:gd name="connsiteY40" fmla="*/ 1521969 h 4330639"/>
                  <a:gd name="connsiteX41" fmla="*/ 0 w 2147054"/>
                  <a:gd name="connsiteY41" fmla="*/ 2778708 h 4330639"/>
                  <a:gd name="connsiteX42" fmla="*/ 95870 w 2147054"/>
                  <a:gd name="connsiteY42" fmla="*/ 3178922 h 4330639"/>
                  <a:gd name="connsiteX43" fmla="*/ 94635 w 2147054"/>
                  <a:gd name="connsiteY43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0319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9986 w 2147054"/>
                  <a:gd name="connsiteY35" fmla="*/ 1081411 h 4330639"/>
                  <a:gd name="connsiteX36" fmla="*/ 1816630 w 2147054"/>
                  <a:gd name="connsiteY36" fmla="*/ 913332 h 4330639"/>
                  <a:gd name="connsiteX37" fmla="*/ 958163 w 2147054"/>
                  <a:gd name="connsiteY37" fmla="*/ 0 h 4330639"/>
                  <a:gd name="connsiteX38" fmla="*/ 109261 w 2147054"/>
                  <a:gd name="connsiteY38" fmla="*/ 858457 h 4330639"/>
                  <a:gd name="connsiteX39" fmla="*/ 94804 w 2147054"/>
                  <a:gd name="connsiteY39" fmla="*/ 1146972 h 4330639"/>
                  <a:gd name="connsiteX40" fmla="*/ 9907 w 2147054"/>
                  <a:gd name="connsiteY40" fmla="*/ 1521969 h 4330639"/>
                  <a:gd name="connsiteX41" fmla="*/ 0 w 2147054"/>
                  <a:gd name="connsiteY41" fmla="*/ 2778708 h 4330639"/>
                  <a:gd name="connsiteX42" fmla="*/ 95870 w 2147054"/>
                  <a:gd name="connsiteY42" fmla="*/ 3178922 h 4330639"/>
                  <a:gd name="connsiteX43" fmla="*/ 94635 w 2147054"/>
                  <a:gd name="connsiteY43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0319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9986 w 2147054"/>
                  <a:gd name="connsiteY35" fmla="*/ 1081411 h 4330639"/>
                  <a:gd name="connsiteX36" fmla="*/ 1816630 w 2147054"/>
                  <a:gd name="connsiteY36" fmla="*/ 913332 h 4330639"/>
                  <a:gd name="connsiteX37" fmla="*/ 958163 w 2147054"/>
                  <a:gd name="connsiteY37" fmla="*/ 0 h 4330639"/>
                  <a:gd name="connsiteX38" fmla="*/ 109261 w 2147054"/>
                  <a:gd name="connsiteY38" fmla="*/ 858457 h 4330639"/>
                  <a:gd name="connsiteX39" fmla="*/ 94804 w 2147054"/>
                  <a:gd name="connsiteY39" fmla="*/ 1146972 h 4330639"/>
                  <a:gd name="connsiteX40" fmla="*/ 9907 w 2147054"/>
                  <a:gd name="connsiteY40" fmla="*/ 1521969 h 4330639"/>
                  <a:gd name="connsiteX41" fmla="*/ 0 w 2147054"/>
                  <a:gd name="connsiteY41" fmla="*/ 2778708 h 4330639"/>
                  <a:gd name="connsiteX42" fmla="*/ 95870 w 2147054"/>
                  <a:gd name="connsiteY42" fmla="*/ 3178922 h 4330639"/>
                  <a:gd name="connsiteX43" fmla="*/ 94635 w 2147054"/>
                  <a:gd name="connsiteY43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0319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62334 w 2147054"/>
                  <a:gd name="connsiteY35" fmla="*/ 1155467 h 4330639"/>
                  <a:gd name="connsiteX36" fmla="*/ 1879986 w 2147054"/>
                  <a:gd name="connsiteY36" fmla="*/ 1081411 h 4330639"/>
                  <a:gd name="connsiteX37" fmla="*/ 1816630 w 2147054"/>
                  <a:gd name="connsiteY37" fmla="*/ 913332 h 4330639"/>
                  <a:gd name="connsiteX38" fmla="*/ 958163 w 2147054"/>
                  <a:gd name="connsiteY38" fmla="*/ 0 h 4330639"/>
                  <a:gd name="connsiteX39" fmla="*/ 109261 w 2147054"/>
                  <a:gd name="connsiteY39" fmla="*/ 858457 h 4330639"/>
                  <a:gd name="connsiteX40" fmla="*/ 94804 w 2147054"/>
                  <a:gd name="connsiteY40" fmla="*/ 1146972 h 4330639"/>
                  <a:gd name="connsiteX41" fmla="*/ 9907 w 2147054"/>
                  <a:gd name="connsiteY41" fmla="*/ 1521969 h 4330639"/>
                  <a:gd name="connsiteX42" fmla="*/ 0 w 2147054"/>
                  <a:gd name="connsiteY42" fmla="*/ 2778708 h 4330639"/>
                  <a:gd name="connsiteX43" fmla="*/ 95870 w 2147054"/>
                  <a:gd name="connsiteY43" fmla="*/ 3178922 h 4330639"/>
                  <a:gd name="connsiteX44" fmla="*/ 94635 w 2147054"/>
                  <a:gd name="connsiteY44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0319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4398 w 2147054"/>
                  <a:gd name="connsiteY35" fmla="*/ 1165140 h 4330639"/>
                  <a:gd name="connsiteX36" fmla="*/ 1879986 w 2147054"/>
                  <a:gd name="connsiteY36" fmla="*/ 1081411 h 4330639"/>
                  <a:gd name="connsiteX37" fmla="*/ 1816630 w 2147054"/>
                  <a:gd name="connsiteY37" fmla="*/ 913332 h 4330639"/>
                  <a:gd name="connsiteX38" fmla="*/ 958163 w 2147054"/>
                  <a:gd name="connsiteY38" fmla="*/ 0 h 4330639"/>
                  <a:gd name="connsiteX39" fmla="*/ 109261 w 2147054"/>
                  <a:gd name="connsiteY39" fmla="*/ 858457 h 4330639"/>
                  <a:gd name="connsiteX40" fmla="*/ 94804 w 2147054"/>
                  <a:gd name="connsiteY40" fmla="*/ 1146972 h 4330639"/>
                  <a:gd name="connsiteX41" fmla="*/ 9907 w 2147054"/>
                  <a:gd name="connsiteY41" fmla="*/ 1521969 h 4330639"/>
                  <a:gd name="connsiteX42" fmla="*/ 0 w 2147054"/>
                  <a:gd name="connsiteY42" fmla="*/ 2778708 h 4330639"/>
                  <a:gd name="connsiteX43" fmla="*/ 95870 w 2147054"/>
                  <a:gd name="connsiteY43" fmla="*/ 3178922 h 4330639"/>
                  <a:gd name="connsiteX44" fmla="*/ 94635 w 2147054"/>
                  <a:gd name="connsiteY44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0319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4398 w 2147054"/>
                  <a:gd name="connsiteY35" fmla="*/ 1165140 h 4330639"/>
                  <a:gd name="connsiteX36" fmla="*/ 1879986 w 2147054"/>
                  <a:gd name="connsiteY36" fmla="*/ 1081411 h 4330639"/>
                  <a:gd name="connsiteX37" fmla="*/ 1816630 w 2147054"/>
                  <a:gd name="connsiteY37" fmla="*/ 913332 h 4330639"/>
                  <a:gd name="connsiteX38" fmla="*/ 958163 w 2147054"/>
                  <a:gd name="connsiteY38" fmla="*/ 0 h 4330639"/>
                  <a:gd name="connsiteX39" fmla="*/ 109261 w 2147054"/>
                  <a:gd name="connsiteY39" fmla="*/ 858457 h 4330639"/>
                  <a:gd name="connsiteX40" fmla="*/ 94804 w 2147054"/>
                  <a:gd name="connsiteY40" fmla="*/ 1146972 h 4330639"/>
                  <a:gd name="connsiteX41" fmla="*/ 9907 w 2147054"/>
                  <a:gd name="connsiteY41" fmla="*/ 1521969 h 4330639"/>
                  <a:gd name="connsiteX42" fmla="*/ 0 w 2147054"/>
                  <a:gd name="connsiteY42" fmla="*/ 2778708 h 4330639"/>
                  <a:gd name="connsiteX43" fmla="*/ 95870 w 2147054"/>
                  <a:gd name="connsiteY43" fmla="*/ 3178922 h 4330639"/>
                  <a:gd name="connsiteX44" fmla="*/ 94635 w 2147054"/>
                  <a:gd name="connsiteY44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33111 w 2147054"/>
                  <a:gd name="connsiteY23" fmla="*/ 1704376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0319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4398 w 2147054"/>
                  <a:gd name="connsiteY35" fmla="*/ 1165140 h 4330639"/>
                  <a:gd name="connsiteX36" fmla="*/ 1879986 w 2147054"/>
                  <a:gd name="connsiteY36" fmla="*/ 1081411 h 4330639"/>
                  <a:gd name="connsiteX37" fmla="*/ 1816630 w 2147054"/>
                  <a:gd name="connsiteY37" fmla="*/ 913332 h 4330639"/>
                  <a:gd name="connsiteX38" fmla="*/ 958163 w 2147054"/>
                  <a:gd name="connsiteY38" fmla="*/ 0 h 4330639"/>
                  <a:gd name="connsiteX39" fmla="*/ 109261 w 2147054"/>
                  <a:gd name="connsiteY39" fmla="*/ 858457 h 4330639"/>
                  <a:gd name="connsiteX40" fmla="*/ 94804 w 2147054"/>
                  <a:gd name="connsiteY40" fmla="*/ 1146972 h 4330639"/>
                  <a:gd name="connsiteX41" fmla="*/ 9907 w 2147054"/>
                  <a:gd name="connsiteY41" fmla="*/ 1521969 h 4330639"/>
                  <a:gd name="connsiteX42" fmla="*/ 0 w 2147054"/>
                  <a:gd name="connsiteY42" fmla="*/ 2778708 h 4330639"/>
                  <a:gd name="connsiteX43" fmla="*/ 95870 w 2147054"/>
                  <a:gd name="connsiteY43" fmla="*/ 3178922 h 4330639"/>
                  <a:gd name="connsiteX44" fmla="*/ 94635 w 2147054"/>
                  <a:gd name="connsiteY44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33111 w 2147054"/>
                  <a:gd name="connsiteY23" fmla="*/ 1704376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4424 w 2147054"/>
                  <a:gd name="connsiteY27" fmla="*/ 3462334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0319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4398 w 2147054"/>
                  <a:gd name="connsiteY35" fmla="*/ 1165140 h 4330639"/>
                  <a:gd name="connsiteX36" fmla="*/ 1879986 w 2147054"/>
                  <a:gd name="connsiteY36" fmla="*/ 1081411 h 4330639"/>
                  <a:gd name="connsiteX37" fmla="*/ 1816630 w 2147054"/>
                  <a:gd name="connsiteY37" fmla="*/ 913332 h 4330639"/>
                  <a:gd name="connsiteX38" fmla="*/ 958163 w 2147054"/>
                  <a:gd name="connsiteY38" fmla="*/ 0 h 4330639"/>
                  <a:gd name="connsiteX39" fmla="*/ 109261 w 2147054"/>
                  <a:gd name="connsiteY39" fmla="*/ 858457 h 4330639"/>
                  <a:gd name="connsiteX40" fmla="*/ 94804 w 2147054"/>
                  <a:gd name="connsiteY40" fmla="*/ 1146972 h 4330639"/>
                  <a:gd name="connsiteX41" fmla="*/ 9907 w 2147054"/>
                  <a:gd name="connsiteY41" fmla="*/ 1521969 h 4330639"/>
                  <a:gd name="connsiteX42" fmla="*/ 0 w 2147054"/>
                  <a:gd name="connsiteY42" fmla="*/ 2778708 h 4330639"/>
                  <a:gd name="connsiteX43" fmla="*/ 95870 w 2147054"/>
                  <a:gd name="connsiteY43" fmla="*/ 3178922 h 4330639"/>
                  <a:gd name="connsiteX44" fmla="*/ 94635 w 2147054"/>
                  <a:gd name="connsiteY44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33111 w 2147054"/>
                  <a:gd name="connsiteY23" fmla="*/ 1704376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22940 h 4330639"/>
                  <a:gd name="connsiteX27" fmla="*/ 1804424 w 2147054"/>
                  <a:gd name="connsiteY27" fmla="*/ 3462334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0319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4398 w 2147054"/>
                  <a:gd name="connsiteY35" fmla="*/ 1165140 h 4330639"/>
                  <a:gd name="connsiteX36" fmla="*/ 1879986 w 2147054"/>
                  <a:gd name="connsiteY36" fmla="*/ 1081411 h 4330639"/>
                  <a:gd name="connsiteX37" fmla="*/ 1816630 w 2147054"/>
                  <a:gd name="connsiteY37" fmla="*/ 913332 h 4330639"/>
                  <a:gd name="connsiteX38" fmla="*/ 958163 w 2147054"/>
                  <a:gd name="connsiteY38" fmla="*/ 0 h 4330639"/>
                  <a:gd name="connsiteX39" fmla="*/ 109261 w 2147054"/>
                  <a:gd name="connsiteY39" fmla="*/ 858457 h 4330639"/>
                  <a:gd name="connsiteX40" fmla="*/ 94804 w 2147054"/>
                  <a:gd name="connsiteY40" fmla="*/ 1146972 h 4330639"/>
                  <a:gd name="connsiteX41" fmla="*/ 9907 w 2147054"/>
                  <a:gd name="connsiteY41" fmla="*/ 1521969 h 4330639"/>
                  <a:gd name="connsiteX42" fmla="*/ 0 w 2147054"/>
                  <a:gd name="connsiteY42" fmla="*/ 2778708 h 4330639"/>
                  <a:gd name="connsiteX43" fmla="*/ 95870 w 2147054"/>
                  <a:gd name="connsiteY43" fmla="*/ 3178922 h 4330639"/>
                  <a:gd name="connsiteX44" fmla="*/ 94635 w 2147054"/>
                  <a:gd name="connsiteY44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33111 w 2147054"/>
                  <a:gd name="connsiteY23" fmla="*/ 1704376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4130 w 2147054"/>
                  <a:gd name="connsiteY26" fmla="*/ 3213267 h 4330639"/>
                  <a:gd name="connsiteX27" fmla="*/ 1804424 w 2147054"/>
                  <a:gd name="connsiteY27" fmla="*/ 3462334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0319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4398 w 2147054"/>
                  <a:gd name="connsiteY35" fmla="*/ 1165140 h 4330639"/>
                  <a:gd name="connsiteX36" fmla="*/ 1879986 w 2147054"/>
                  <a:gd name="connsiteY36" fmla="*/ 1081411 h 4330639"/>
                  <a:gd name="connsiteX37" fmla="*/ 1816630 w 2147054"/>
                  <a:gd name="connsiteY37" fmla="*/ 913332 h 4330639"/>
                  <a:gd name="connsiteX38" fmla="*/ 958163 w 2147054"/>
                  <a:gd name="connsiteY38" fmla="*/ 0 h 4330639"/>
                  <a:gd name="connsiteX39" fmla="*/ 109261 w 2147054"/>
                  <a:gd name="connsiteY39" fmla="*/ 858457 h 4330639"/>
                  <a:gd name="connsiteX40" fmla="*/ 94804 w 2147054"/>
                  <a:gd name="connsiteY40" fmla="*/ 1146972 h 4330639"/>
                  <a:gd name="connsiteX41" fmla="*/ 9907 w 2147054"/>
                  <a:gd name="connsiteY41" fmla="*/ 1521969 h 4330639"/>
                  <a:gd name="connsiteX42" fmla="*/ 0 w 2147054"/>
                  <a:gd name="connsiteY42" fmla="*/ 2778708 h 4330639"/>
                  <a:gd name="connsiteX43" fmla="*/ 95870 w 2147054"/>
                  <a:gd name="connsiteY43" fmla="*/ 3178922 h 4330639"/>
                  <a:gd name="connsiteX44" fmla="*/ 94635 w 2147054"/>
                  <a:gd name="connsiteY44" fmla="*/ 3523641 h 43306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2147054" h="4330639">
                    <a:moveTo>
                      <a:pt x="94635" y="3523641"/>
                    </a:moveTo>
                    <a:cubicBezTo>
                      <a:pt x="202097" y="4048889"/>
                      <a:pt x="572564" y="4339581"/>
                      <a:pt x="938203" y="4330430"/>
                    </a:cubicBezTo>
                    <a:cubicBezTo>
                      <a:pt x="1592896" y="4303831"/>
                      <a:pt x="1796382" y="3767014"/>
                      <a:pt x="1802011" y="3474424"/>
                    </a:cubicBezTo>
                    <a:lnTo>
                      <a:pt x="1674223" y="3231052"/>
                    </a:lnTo>
                    <a:lnTo>
                      <a:pt x="581097" y="4076529"/>
                    </a:lnTo>
                    <a:cubicBezTo>
                      <a:pt x="324914" y="3876490"/>
                      <a:pt x="238873" y="3594118"/>
                      <a:pt x="243296" y="3401879"/>
                    </a:cubicBezTo>
                    <a:cubicBezTo>
                      <a:pt x="233243" y="3250748"/>
                      <a:pt x="227399" y="3211125"/>
                      <a:pt x="231230" y="3169743"/>
                    </a:cubicBezTo>
                    <a:lnTo>
                      <a:pt x="319367" y="3160841"/>
                    </a:lnTo>
                    <a:lnTo>
                      <a:pt x="323124" y="3071321"/>
                    </a:lnTo>
                    <a:lnTo>
                      <a:pt x="511661" y="2854845"/>
                    </a:lnTo>
                    <a:cubicBezTo>
                      <a:pt x="545534" y="2818961"/>
                      <a:pt x="555278" y="2800003"/>
                      <a:pt x="555371" y="2747193"/>
                    </a:cubicBezTo>
                    <a:lnTo>
                      <a:pt x="556550" y="1594571"/>
                    </a:lnTo>
                    <a:lnTo>
                      <a:pt x="542073" y="1512297"/>
                    </a:lnTo>
                    <a:lnTo>
                      <a:pt x="368764" y="1302973"/>
                    </a:lnTo>
                    <a:lnTo>
                      <a:pt x="329287" y="1302809"/>
                    </a:lnTo>
                    <a:cubicBezTo>
                      <a:pt x="329169" y="1291550"/>
                      <a:pt x="329052" y="1280290"/>
                      <a:pt x="328934" y="1269031"/>
                    </a:cubicBezTo>
                    <a:lnTo>
                      <a:pt x="356286" y="1268519"/>
                    </a:lnTo>
                    <a:lnTo>
                      <a:pt x="353118" y="1138495"/>
                    </a:lnTo>
                    <a:lnTo>
                      <a:pt x="234935" y="1138830"/>
                    </a:lnTo>
                    <a:cubicBezTo>
                      <a:pt x="235070" y="1066971"/>
                      <a:pt x="235204" y="995113"/>
                      <a:pt x="235339" y="923254"/>
                    </a:cubicBezTo>
                    <a:cubicBezTo>
                      <a:pt x="259816" y="529878"/>
                      <a:pt x="401502" y="393377"/>
                      <a:pt x="603374" y="237848"/>
                    </a:cubicBezTo>
                    <a:lnTo>
                      <a:pt x="1680415" y="1068728"/>
                    </a:lnTo>
                    <a:lnTo>
                      <a:pt x="1676542" y="1356169"/>
                    </a:lnTo>
                    <a:lnTo>
                      <a:pt x="1633111" y="1704376"/>
                    </a:lnTo>
                    <a:cubicBezTo>
                      <a:pt x="1633915" y="2000190"/>
                      <a:pt x="1634720" y="2296004"/>
                      <a:pt x="1635524" y="2591818"/>
                    </a:cubicBezTo>
                    <a:lnTo>
                      <a:pt x="1671717" y="2867480"/>
                    </a:lnTo>
                    <a:cubicBezTo>
                      <a:pt x="1672521" y="2982742"/>
                      <a:pt x="1673326" y="3098005"/>
                      <a:pt x="1674130" y="3213267"/>
                    </a:cubicBezTo>
                    <a:lnTo>
                      <a:pt x="1804424" y="3462334"/>
                    </a:lnTo>
                    <a:cubicBezTo>
                      <a:pt x="1805228" y="3332562"/>
                      <a:pt x="1813273" y="3098812"/>
                      <a:pt x="1814077" y="2969040"/>
                    </a:cubicBezTo>
                    <a:cubicBezTo>
                      <a:pt x="1826141" y="2911812"/>
                      <a:pt x="1838206" y="2912617"/>
                      <a:pt x="1850270" y="2884406"/>
                    </a:cubicBezTo>
                    <a:lnTo>
                      <a:pt x="2115686" y="2642597"/>
                    </a:lnTo>
                    <a:cubicBezTo>
                      <a:pt x="2147055" y="2597459"/>
                      <a:pt x="2144640" y="2591010"/>
                      <a:pt x="2144641" y="2550708"/>
                    </a:cubicBezTo>
                    <a:cubicBezTo>
                      <a:pt x="2145445" y="2287136"/>
                      <a:pt x="2146250" y="2013891"/>
                      <a:pt x="2147054" y="1750319"/>
                    </a:cubicBezTo>
                    <a:cubicBezTo>
                      <a:pt x="2140620" y="1687450"/>
                      <a:pt x="2139011" y="1689866"/>
                      <a:pt x="2106035" y="1663267"/>
                    </a:cubicBezTo>
                    <a:lnTo>
                      <a:pt x="1826140" y="1385187"/>
                    </a:lnTo>
                    <a:lnTo>
                      <a:pt x="1874398" y="1165140"/>
                    </a:lnTo>
                    <a:cubicBezTo>
                      <a:pt x="1890738" y="1129976"/>
                      <a:pt x="1878123" y="1109321"/>
                      <a:pt x="1879986" y="1081411"/>
                    </a:cubicBezTo>
                    <a:lnTo>
                      <a:pt x="1816630" y="913332"/>
                    </a:lnTo>
                    <a:cubicBezTo>
                      <a:pt x="1768056" y="326644"/>
                      <a:pt x="1396372" y="6342"/>
                      <a:pt x="958163" y="0"/>
                    </a:cubicBezTo>
                    <a:cubicBezTo>
                      <a:pt x="453452" y="10248"/>
                      <a:pt x="141974" y="375685"/>
                      <a:pt x="109261" y="858457"/>
                    </a:cubicBezTo>
                    <a:lnTo>
                      <a:pt x="94804" y="1146972"/>
                    </a:lnTo>
                    <a:lnTo>
                      <a:pt x="9907" y="1521969"/>
                    </a:lnTo>
                    <a:cubicBezTo>
                      <a:pt x="6605" y="1940882"/>
                      <a:pt x="3302" y="2359795"/>
                      <a:pt x="0" y="2778708"/>
                    </a:cubicBezTo>
                    <a:lnTo>
                      <a:pt x="95870" y="3178922"/>
                    </a:lnTo>
                    <a:cubicBezTo>
                      <a:pt x="95458" y="3293828"/>
                      <a:pt x="95047" y="3408735"/>
                      <a:pt x="94635" y="3523641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de-DE" sz="60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07" name="G009">
                <a:extLst>
                  <a:ext uri="{FF2B5EF4-FFF2-40B4-BE49-F238E27FC236}">
                    <a16:creationId xmlns:a16="http://schemas.microsoft.com/office/drawing/2014/main" id="{103EEF1B-87F9-44ED-ADA4-02FEA6F3682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726920" y="1160627"/>
                <a:ext cx="183283" cy="616199"/>
              </a:xfrm>
              <a:custGeom>
                <a:avLst/>
                <a:gdLst>
                  <a:gd name="connsiteX0" fmla="*/ 108857 w 533400"/>
                  <a:gd name="connsiteY0" fmla="*/ 2383971 h 2394857"/>
                  <a:gd name="connsiteX1" fmla="*/ 217714 w 533400"/>
                  <a:gd name="connsiteY1" fmla="*/ 2394857 h 2394857"/>
                  <a:gd name="connsiteX2" fmla="*/ 239485 w 533400"/>
                  <a:gd name="connsiteY2" fmla="*/ 2057400 h 2394857"/>
                  <a:gd name="connsiteX3" fmla="*/ 533400 w 533400"/>
                  <a:gd name="connsiteY3" fmla="*/ 1774371 h 2394857"/>
                  <a:gd name="connsiteX4" fmla="*/ 522514 w 533400"/>
                  <a:gd name="connsiteY4" fmla="*/ 631371 h 2394857"/>
                  <a:gd name="connsiteX5" fmla="*/ 250371 w 533400"/>
                  <a:gd name="connsiteY5" fmla="*/ 391885 h 2394857"/>
                  <a:gd name="connsiteX6" fmla="*/ 228600 w 533400"/>
                  <a:gd name="connsiteY6" fmla="*/ 10885 h 2394857"/>
                  <a:gd name="connsiteX7" fmla="*/ 108857 w 533400"/>
                  <a:gd name="connsiteY7" fmla="*/ 0 h 2394857"/>
                  <a:gd name="connsiteX8" fmla="*/ 119742 w 533400"/>
                  <a:gd name="connsiteY8" fmla="*/ 326571 h 2394857"/>
                  <a:gd name="connsiteX9" fmla="*/ 0 w 533400"/>
                  <a:gd name="connsiteY9" fmla="*/ 609600 h 2394857"/>
                  <a:gd name="connsiteX10" fmla="*/ 21771 w 533400"/>
                  <a:gd name="connsiteY10" fmla="*/ 1774371 h 2394857"/>
                  <a:gd name="connsiteX11" fmla="*/ 119742 w 533400"/>
                  <a:gd name="connsiteY11" fmla="*/ 2024743 h 2394857"/>
                  <a:gd name="connsiteX12" fmla="*/ 108857 w 533400"/>
                  <a:gd name="connsiteY12" fmla="*/ 2383971 h 2394857"/>
                  <a:gd name="connsiteX0" fmla="*/ 108857 w 533400"/>
                  <a:gd name="connsiteY0" fmla="*/ 2383971 h 2394857"/>
                  <a:gd name="connsiteX1" fmla="*/ 217714 w 533400"/>
                  <a:gd name="connsiteY1" fmla="*/ 2394857 h 2394857"/>
                  <a:gd name="connsiteX2" fmla="*/ 239485 w 533400"/>
                  <a:gd name="connsiteY2" fmla="*/ 2057400 h 2394857"/>
                  <a:gd name="connsiteX3" fmla="*/ 533400 w 533400"/>
                  <a:gd name="connsiteY3" fmla="*/ 1774371 h 2394857"/>
                  <a:gd name="connsiteX4" fmla="*/ 522514 w 533400"/>
                  <a:gd name="connsiteY4" fmla="*/ 762000 h 2394857"/>
                  <a:gd name="connsiteX5" fmla="*/ 522514 w 533400"/>
                  <a:gd name="connsiteY5" fmla="*/ 631371 h 2394857"/>
                  <a:gd name="connsiteX6" fmla="*/ 250371 w 533400"/>
                  <a:gd name="connsiteY6" fmla="*/ 391885 h 2394857"/>
                  <a:gd name="connsiteX7" fmla="*/ 228600 w 533400"/>
                  <a:gd name="connsiteY7" fmla="*/ 10885 h 2394857"/>
                  <a:gd name="connsiteX8" fmla="*/ 108857 w 533400"/>
                  <a:gd name="connsiteY8" fmla="*/ 0 h 2394857"/>
                  <a:gd name="connsiteX9" fmla="*/ 119742 w 533400"/>
                  <a:gd name="connsiteY9" fmla="*/ 326571 h 2394857"/>
                  <a:gd name="connsiteX10" fmla="*/ 0 w 533400"/>
                  <a:gd name="connsiteY10" fmla="*/ 609600 h 2394857"/>
                  <a:gd name="connsiteX11" fmla="*/ 21771 w 533400"/>
                  <a:gd name="connsiteY11" fmla="*/ 1774371 h 2394857"/>
                  <a:gd name="connsiteX12" fmla="*/ 119742 w 533400"/>
                  <a:gd name="connsiteY12" fmla="*/ 2024743 h 2394857"/>
                  <a:gd name="connsiteX13" fmla="*/ 108857 w 533400"/>
                  <a:gd name="connsiteY13" fmla="*/ 2383971 h 2394857"/>
                  <a:gd name="connsiteX0" fmla="*/ 108857 w 533400"/>
                  <a:gd name="connsiteY0" fmla="*/ 2383971 h 2394857"/>
                  <a:gd name="connsiteX1" fmla="*/ 217714 w 533400"/>
                  <a:gd name="connsiteY1" fmla="*/ 2394857 h 2394857"/>
                  <a:gd name="connsiteX2" fmla="*/ 239485 w 533400"/>
                  <a:gd name="connsiteY2" fmla="*/ 2057400 h 2394857"/>
                  <a:gd name="connsiteX3" fmla="*/ 533400 w 533400"/>
                  <a:gd name="connsiteY3" fmla="*/ 1774371 h 2394857"/>
                  <a:gd name="connsiteX4" fmla="*/ 522514 w 533400"/>
                  <a:gd name="connsiteY4" fmla="*/ 762000 h 2394857"/>
                  <a:gd name="connsiteX5" fmla="*/ 522514 w 533400"/>
                  <a:gd name="connsiteY5" fmla="*/ 631371 h 2394857"/>
                  <a:gd name="connsiteX6" fmla="*/ 402771 w 533400"/>
                  <a:gd name="connsiteY6" fmla="*/ 533400 h 2394857"/>
                  <a:gd name="connsiteX7" fmla="*/ 250371 w 533400"/>
                  <a:gd name="connsiteY7" fmla="*/ 391885 h 2394857"/>
                  <a:gd name="connsiteX8" fmla="*/ 228600 w 533400"/>
                  <a:gd name="connsiteY8" fmla="*/ 10885 h 2394857"/>
                  <a:gd name="connsiteX9" fmla="*/ 108857 w 533400"/>
                  <a:gd name="connsiteY9" fmla="*/ 0 h 2394857"/>
                  <a:gd name="connsiteX10" fmla="*/ 119742 w 533400"/>
                  <a:gd name="connsiteY10" fmla="*/ 326571 h 2394857"/>
                  <a:gd name="connsiteX11" fmla="*/ 0 w 533400"/>
                  <a:gd name="connsiteY11" fmla="*/ 609600 h 2394857"/>
                  <a:gd name="connsiteX12" fmla="*/ 21771 w 533400"/>
                  <a:gd name="connsiteY12" fmla="*/ 1774371 h 2394857"/>
                  <a:gd name="connsiteX13" fmla="*/ 119742 w 533400"/>
                  <a:gd name="connsiteY13" fmla="*/ 2024743 h 2394857"/>
                  <a:gd name="connsiteX14" fmla="*/ 108857 w 533400"/>
                  <a:gd name="connsiteY14" fmla="*/ 2383971 h 2394857"/>
                  <a:gd name="connsiteX0" fmla="*/ 108857 w 533400"/>
                  <a:gd name="connsiteY0" fmla="*/ 2383971 h 2394857"/>
                  <a:gd name="connsiteX1" fmla="*/ 217714 w 533400"/>
                  <a:gd name="connsiteY1" fmla="*/ 2394857 h 2394857"/>
                  <a:gd name="connsiteX2" fmla="*/ 239485 w 533400"/>
                  <a:gd name="connsiteY2" fmla="*/ 2057400 h 2394857"/>
                  <a:gd name="connsiteX3" fmla="*/ 533400 w 533400"/>
                  <a:gd name="connsiteY3" fmla="*/ 1774371 h 2394857"/>
                  <a:gd name="connsiteX4" fmla="*/ 522514 w 533400"/>
                  <a:gd name="connsiteY4" fmla="*/ 762000 h 2394857"/>
                  <a:gd name="connsiteX5" fmla="*/ 478971 w 533400"/>
                  <a:gd name="connsiteY5" fmla="*/ 598714 h 2394857"/>
                  <a:gd name="connsiteX6" fmla="*/ 402771 w 533400"/>
                  <a:gd name="connsiteY6" fmla="*/ 533400 h 2394857"/>
                  <a:gd name="connsiteX7" fmla="*/ 250371 w 533400"/>
                  <a:gd name="connsiteY7" fmla="*/ 391885 h 2394857"/>
                  <a:gd name="connsiteX8" fmla="*/ 228600 w 533400"/>
                  <a:gd name="connsiteY8" fmla="*/ 10885 h 2394857"/>
                  <a:gd name="connsiteX9" fmla="*/ 108857 w 533400"/>
                  <a:gd name="connsiteY9" fmla="*/ 0 h 2394857"/>
                  <a:gd name="connsiteX10" fmla="*/ 119742 w 533400"/>
                  <a:gd name="connsiteY10" fmla="*/ 326571 h 2394857"/>
                  <a:gd name="connsiteX11" fmla="*/ 0 w 533400"/>
                  <a:gd name="connsiteY11" fmla="*/ 609600 h 2394857"/>
                  <a:gd name="connsiteX12" fmla="*/ 21771 w 533400"/>
                  <a:gd name="connsiteY12" fmla="*/ 1774371 h 2394857"/>
                  <a:gd name="connsiteX13" fmla="*/ 119742 w 533400"/>
                  <a:gd name="connsiteY13" fmla="*/ 2024743 h 2394857"/>
                  <a:gd name="connsiteX14" fmla="*/ 108857 w 533400"/>
                  <a:gd name="connsiteY14" fmla="*/ 2383971 h 2394857"/>
                  <a:gd name="connsiteX0" fmla="*/ 108857 w 533400"/>
                  <a:gd name="connsiteY0" fmla="*/ 2383971 h 2394857"/>
                  <a:gd name="connsiteX1" fmla="*/ 217714 w 533400"/>
                  <a:gd name="connsiteY1" fmla="*/ 2394857 h 2394857"/>
                  <a:gd name="connsiteX2" fmla="*/ 239485 w 533400"/>
                  <a:gd name="connsiteY2" fmla="*/ 2057400 h 2394857"/>
                  <a:gd name="connsiteX3" fmla="*/ 533400 w 533400"/>
                  <a:gd name="connsiteY3" fmla="*/ 1774371 h 2394857"/>
                  <a:gd name="connsiteX4" fmla="*/ 522514 w 533400"/>
                  <a:gd name="connsiteY4" fmla="*/ 762000 h 2394857"/>
                  <a:gd name="connsiteX5" fmla="*/ 478971 w 533400"/>
                  <a:gd name="connsiteY5" fmla="*/ 598714 h 2394857"/>
                  <a:gd name="connsiteX6" fmla="*/ 370114 w 533400"/>
                  <a:gd name="connsiteY6" fmla="*/ 500743 h 2394857"/>
                  <a:gd name="connsiteX7" fmla="*/ 250371 w 533400"/>
                  <a:gd name="connsiteY7" fmla="*/ 391885 h 2394857"/>
                  <a:gd name="connsiteX8" fmla="*/ 228600 w 533400"/>
                  <a:gd name="connsiteY8" fmla="*/ 10885 h 2394857"/>
                  <a:gd name="connsiteX9" fmla="*/ 108857 w 533400"/>
                  <a:gd name="connsiteY9" fmla="*/ 0 h 2394857"/>
                  <a:gd name="connsiteX10" fmla="*/ 119742 w 533400"/>
                  <a:gd name="connsiteY10" fmla="*/ 326571 h 2394857"/>
                  <a:gd name="connsiteX11" fmla="*/ 0 w 533400"/>
                  <a:gd name="connsiteY11" fmla="*/ 609600 h 2394857"/>
                  <a:gd name="connsiteX12" fmla="*/ 21771 w 533400"/>
                  <a:gd name="connsiteY12" fmla="*/ 1774371 h 2394857"/>
                  <a:gd name="connsiteX13" fmla="*/ 119742 w 533400"/>
                  <a:gd name="connsiteY13" fmla="*/ 2024743 h 2394857"/>
                  <a:gd name="connsiteX14" fmla="*/ 108857 w 533400"/>
                  <a:gd name="connsiteY14" fmla="*/ 2383971 h 2394857"/>
                  <a:gd name="connsiteX0" fmla="*/ 108857 w 533400"/>
                  <a:gd name="connsiteY0" fmla="*/ 2383971 h 2394857"/>
                  <a:gd name="connsiteX1" fmla="*/ 217714 w 533400"/>
                  <a:gd name="connsiteY1" fmla="*/ 2394857 h 2394857"/>
                  <a:gd name="connsiteX2" fmla="*/ 239485 w 533400"/>
                  <a:gd name="connsiteY2" fmla="*/ 2057400 h 2394857"/>
                  <a:gd name="connsiteX3" fmla="*/ 533400 w 533400"/>
                  <a:gd name="connsiteY3" fmla="*/ 1774371 h 2394857"/>
                  <a:gd name="connsiteX4" fmla="*/ 522514 w 533400"/>
                  <a:gd name="connsiteY4" fmla="*/ 762000 h 2394857"/>
                  <a:gd name="connsiteX5" fmla="*/ 478971 w 533400"/>
                  <a:gd name="connsiteY5" fmla="*/ 598714 h 2394857"/>
                  <a:gd name="connsiteX6" fmla="*/ 370114 w 533400"/>
                  <a:gd name="connsiteY6" fmla="*/ 500743 h 2394857"/>
                  <a:gd name="connsiteX7" fmla="*/ 239485 w 533400"/>
                  <a:gd name="connsiteY7" fmla="*/ 348342 h 2394857"/>
                  <a:gd name="connsiteX8" fmla="*/ 228600 w 533400"/>
                  <a:gd name="connsiteY8" fmla="*/ 10885 h 2394857"/>
                  <a:gd name="connsiteX9" fmla="*/ 108857 w 533400"/>
                  <a:gd name="connsiteY9" fmla="*/ 0 h 2394857"/>
                  <a:gd name="connsiteX10" fmla="*/ 119742 w 533400"/>
                  <a:gd name="connsiteY10" fmla="*/ 326571 h 2394857"/>
                  <a:gd name="connsiteX11" fmla="*/ 0 w 533400"/>
                  <a:gd name="connsiteY11" fmla="*/ 609600 h 2394857"/>
                  <a:gd name="connsiteX12" fmla="*/ 21771 w 533400"/>
                  <a:gd name="connsiteY12" fmla="*/ 1774371 h 2394857"/>
                  <a:gd name="connsiteX13" fmla="*/ 119742 w 533400"/>
                  <a:gd name="connsiteY13" fmla="*/ 2024743 h 2394857"/>
                  <a:gd name="connsiteX14" fmla="*/ 108857 w 533400"/>
                  <a:gd name="connsiteY14" fmla="*/ 2383971 h 2394857"/>
                  <a:gd name="connsiteX0" fmla="*/ 108857 w 533400"/>
                  <a:gd name="connsiteY0" fmla="*/ 2383971 h 2394857"/>
                  <a:gd name="connsiteX1" fmla="*/ 217714 w 533400"/>
                  <a:gd name="connsiteY1" fmla="*/ 2394857 h 2394857"/>
                  <a:gd name="connsiteX2" fmla="*/ 239485 w 533400"/>
                  <a:gd name="connsiteY2" fmla="*/ 2057400 h 2394857"/>
                  <a:gd name="connsiteX3" fmla="*/ 533400 w 533400"/>
                  <a:gd name="connsiteY3" fmla="*/ 1774371 h 2394857"/>
                  <a:gd name="connsiteX4" fmla="*/ 522514 w 533400"/>
                  <a:gd name="connsiteY4" fmla="*/ 762000 h 2394857"/>
                  <a:gd name="connsiteX5" fmla="*/ 522514 w 533400"/>
                  <a:gd name="connsiteY5" fmla="*/ 609600 h 2394857"/>
                  <a:gd name="connsiteX6" fmla="*/ 370114 w 533400"/>
                  <a:gd name="connsiteY6" fmla="*/ 500743 h 2394857"/>
                  <a:gd name="connsiteX7" fmla="*/ 239485 w 533400"/>
                  <a:gd name="connsiteY7" fmla="*/ 348342 h 2394857"/>
                  <a:gd name="connsiteX8" fmla="*/ 228600 w 533400"/>
                  <a:gd name="connsiteY8" fmla="*/ 10885 h 2394857"/>
                  <a:gd name="connsiteX9" fmla="*/ 108857 w 533400"/>
                  <a:gd name="connsiteY9" fmla="*/ 0 h 2394857"/>
                  <a:gd name="connsiteX10" fmla="*/ 119742 w 533400"/>
                  <a:gd name="connsiteY10" fmla="*/ 326571 h 2394857"/>
                  <a:gd name="connsiteX11" fmla="*/ 0 w 533400"/>
                  <a:gd name="connsiteY11" fmla="*/ 609600 h 2394857"/>
                  <a:gd name="connsiteX12" fmla="*/ 21771 w 533400"/>
                  <a:gd name="connsiteY12" fmla="*/ 1774371 h 2394857"/>
                  <a:gd name="connsiteX13" fmla="*/ 119742 w 533400"/>
                  <a:gd name="connsiteY13" fmla="*/ 2024743 h 2394857"/>
                  <a:gd name="connsiteX14" fmla="*/ 108857 w 533400"/>
                  <a:gd name="connsiteY14" fmla="*/ 2383971 h 2394857"/>
                  <a:gd name="connsiteX0" fmla="*/ 108857 w 533400"/>
                  <a:gd name="connsiteY0" fmla="*/ 2383971 h 2394857"/>
                  <a:gd name="connsiteX1" fmla="*/ 217714 w 533400"/>
                  <a:gd name="connsiteY1" fmla="*/ 2394857 h 2394857"/>
                  <a:gd name="connsiteX2" fmla="*/ 239485 w 533400"/>
                  <a:gd name="connsiteY2" fmla="*/ 2057400 h 2394857"/>
                  <a:gd name="connsiteX3" fmla="*/ 533400 w 533400"/>
                  <a:gd name="connsiteY3" fmla="*/ 1774371 h 2394857"/>
                  <a:gd name="connsiteX4" fmla="*/ 522514 w 533400"/>
                  <a:gd name="connsiteY4" fmla="*/ 762000 h 2394857"/>
                  <a:gd name="connsiteX5" fmla="*/ 522514 w 533400"/>
                  <a:gd name="connsiteY5" fmla="*/ 609600 h 2394857"/>
                  <a:gd name="connsiteX6" fmla="*/ 370114 w 533400"/>
                  <a:gd name="connsiteY6" fmla="*/ 500743 h 2394857"/>
                  <a:gd name="connsiteX7" fmla="*/ 250371 w 533400"/>
                  <a:gd name="connsiteY7" fmla="*/ 293914 h 2394857"/>
                  <a:gd name="connsiteX8" fmla="*/ 228600 w 533400"/>
                  <a:gd name="connsiteY8" fmla="*/ 10885 h 2394857"/>
                  <a:gd name="connsiteX9" fmla="*/ 108857 w 533400"/>
                  <a:gd name="connsiteY9" fmla="*/ 0 h 2394857"/>
                  <a:gd name="connsiteX10" fmla="*/ 119742 w 533400"/>
                  <a:gd name="connsiteY10" fmla="*/ 326571 h 2394857"/>
                  <a:gd name="connsiteX11" fmla="*/ 0 w 533400"/>
                  <a:gd name="connsiteY11" fmla="*/ 609600 h 2394857"/>
                  <a:gd name="connsiteX12" fmla="*/ 21771 w 533400"/>
                  <a:gd name="connsiteY12" fmla="*/ 1774371 h 2394857"/>
                  <a:gd name="connsiteX13" fmla="*/ 119742 w 533400"/>
                  <a:gd name="connsiteY13" fmla="*/ 2024743 h 2394857"/>
                  <a:gd name="connsiteX14" fmla="*/ 108857 w 533400"/>
                  <a:gd name="connsiteY14" fmla="*/ 2383971 h 2394857"/>
                  <a:gd name="connsiteX0" fmla="*/ 108857 w 533400"/>
                  <a:gd name="connsiteY0" fmla="*/ 2383971 h 2394857"/>
                  <a:gd name="connsiteX1" fmla="*/ 217714 w 533400"/>
                  <a:gd name="connsiteY1" fmla="*/ 2394857 h 2394857"/>
                  <a:gd name="connsiteX2" fmla="*/ 239485 w 533400"/>
                  <a:gd name="connsiteY2" fmla="*/ 2057400 h 2394857"/>
                  <a:gd name="connsiteX3" fmla="*/ 533400 w 533400"/>
                  <a:gd name="connsiteY3" fmla="*/ 1774371 h 2394857"/>
                  <a:gd name="connsiteX4" fmla="*/ 522514 w 533400"/>
                  <a:gd name="connsiteY4" fmla="*/ 762000 h 2394857"/>
                  <a:gd name="connsiteX5" fmla="*/ 522514 w 533400"/>
                  <a:gd name="connsiteY5" fmla="*/ 609600 h 2394857"/>
                  <a:gd name="connsiteX6" fmla="*/ 370114 w 533400"/>
                  <a:gd name="connsiteY6" fmla="*/ 500743 h 2394857"/>
                  <a:gd name="connsiteX7" fmla="*/ 250371 w 533400"/>
                  <a:gd name="connsiteY7" fmla="*/ 337457 h 2394857"/>
                  <a:gd name="connsiteX8" fmla="*/ 228600 w 533400"/>
                  <a:gd name="connsiteY8" fmla="*/ 10885 h 2394857"/>
                  <a:gd name="connsiteX9" fmla="*/ 108857 w 533400"/>
                  <a:gd name="connsiteY9" fmla="*/ 0 h 2394857"/>
                  <a:gd name="connsiteX10" fmla="*/ 119742 w 533400"/>
                  <a:gd name="connsiteY10" fmla="*/ 326571 h 2394857"/>
                  <a:gd name="connsiteX11" fmla="*/ 0 w 533400"/>
                  <a:gd name="connsiteY11" fmla="*/ 609600 h 2394857"/>
                  <a:gd name="connsiteX12" fmla="*/ 21771 w 533400"/>
                  <a:gd name="connsiteY12" fmla="*/ 1774371 h 2394857"/>
                  <a:gd name="connsiteX13" fmla="*/ 119742 w 533400"/>
                  <a:gd name="connsiteY13" fmla="*/ 2024743 h 2394857"/>
                  <a:gd name="connsiteX14" fmla="*/ 108857 w 533400"/>
                  <a:gd name="connsiteY14" fmla="*/ 2383971 h 2394857"/>
                  <a:gd name="connsiteX0" fmla="*/ 108857 w 533400"/>
                  <a:gd name="connsiteY0" fmla="*/ 2383971 h 2394857"/>
                  <a:gd name="connsiteX1" fmla="*/ 217714 w 533400"/>
                  <a:gd name="connsiteY1" fmla="*/ 2394857 h 2394857"/>
                  <a:gd name="connsiteX2" fmla="*/ 239485 w 533400"/>
                  <a:gd name="connsiteY2" fmla="*/ 2057400 h 2394857"/>
                  <a:gd name="connsiteX3" fmla="*/ 533400 w 533400"/>
                  <a:gd name="connsiteY3" fmla="*/ 1774371 h 2394857"/>
                  <a:gd name="connsiteX4" fmla="*/ 522514 w 533400"/>
                  <a:gd name="connsiteY4" fmla="*/ 762000 h 2394857"/>
                  <a:gd name="connsiteX5" fmla="*/ 522514 w 533400"/>
                  <a:gd name="connsiteY5" fmla="*/ 609600 h 2394857"/>
                  <a:gd name="connsiteX6" fmla="*/ 424543 w 533400"/>
                  <a:gd name="connsiteY6" fmla="*/ 457200 h 2394857"/>
                  <a:gd name="connsiteX7" fmla="*/ 250371 w 533400"/>
                  <a:gd name="connsiteY7" fmla="*/ 337457 h 2394857"/>
                  <a:gd name="connsiteX8" fmla="*/ 228600 w 533400"/>
                  <a:gd name="connsiteY8" fmla="*/ 10885 h 2394857"/>
                  <a:gd name="connsiteX9" fmla="*/ 108857 w 533400"/>
                  <a:gd name="connsiteY9" fmla="*/ 0 h 2394857"/>
                  <a:gd name="connsiteX10" fmla="*/ 119742 w 533400"/>
                  <a:gd name="connsiteY10" fmla="*/ 326571 h 2394857"/>
                  <a:gd name="connsiteX11" fmla="*/ 0 w 533400"/>
                  <a:gd name="connsiteY11" fmla="*/ 609600 h 2394857"/>
                  <a:gd name="connsiteX12" fmla="*/ 21771 w 533400"/>
                  <a:gd name="connsiteY12" fmla="*/ 1774371 h 2394857"/>
                  <a:gd name="connsiteX13" fmla="*/ 119742 w 533400"/>
                  <a:gd name="connsiteY13" fmla="*/ 2024743 h 2394857"/>
                  <a:gd name="connsiteX14" fmla="*/ 108857 w 533400"/>
                  <a:gd name="connsiteY14" fmla="*/ 2383971 h 2394857"/>
                  <a:gd name="connsiteX0" fmla="*/ 108857 w 533400"/>
                  <a:gd name="connsiteY0" fmla="*/ 2383971 h 2394857"/>
                  <a:gd name="connsiteX1" fmla="*/ 217714 w 533400"/>
                  <a:gd name="connsiteY1" fmla="*/ 2394857 h 2394857"/>
                  <a:gd name="connsiteX2" fmla="*/ 239485 w 533400"/>
                  <a:gd name="connsiteY2" fmla="*/ 2057400 h 2394857"/>
                  <a:gd name="connsiteX3" fmla="*/ 533400 w 533400"/>
                  <a:gd name="connsiteY3" fmla="*/ 1774371 h 2394857"/>
                  <a:gd name="connsiteX4" fmla="*/ 522514 w 533400"/>
                  <a:gd name="connsiteY4" fmla="*/ 762000 h 2394857"/>
                  <a:gd name="connsiteX5" fmla="*/ 522514 w 533400"/>
                  <a:gd name="connsiteY5" fmla="*/ 609600 h 2394857"/>
                  <a:gd name="connsiteX6" fmla="*/ 391886 w 533400"/>
                  <a:gd name="connsiteY6" fmla="*/ 489857 h 2394857"/>
                  <a:gd name="connsiteX7" fmla="*/ 250371 w 533400"/>
                  <a:gd name="connsiteY7" fmla="*/ 337457 h 2394857"/>
                  <a:gd name="connsiteX8" fmla="*/ 228600 w 533400"/>
                  <a:gd name="connsiteY8" fmla="*/ 10885 h 2394857"/>
                  <a:gd name="connsiteX9" fmla="*/ 108857 w 533400"/>
                  <a:gd name="connsiteY9" fmla="*/ 0 h 2394857"/>
                  <a:gd name="connsiteX10" fmla="*/ 119742 w 533400"/>
                  <a:gd name="connsiteY10" fmla="*/ 326571 h 2394857"/>
                  <a:gd name="connsiteX11" fmla="*/ 0 w 533400"/>
                  <a:gd name="connsiteY11" fmla="*/ 609600 h 2394857"/>
                  <a:gd name="connsiteX12" fmla="*/ 21771 w 533400"/>
                  <a:gd name="connsiteY12" fmla="*/ 1774371 h 2394857"/>
                  <a:gd name="connsiteX13" fmla="*/ 119742 w 533400"/>
                  <a:gd name="connsiteY13" fmla="*/ 2024743 h 2394857"/>
                  <a:gd name="connsiteX14" fmla="*/ 108857 w 533400"/>
                  <a:gd name="connsiteY14" fmla="*/ 2383971 h 2394857"/>
                  <a:gd name="connsiteX0" fmla="*/ 108857 w 533400"/>
                  <a:gd name="connsiteY0" fmla="*/ 2383971 h 2394857"/>
                  <a:gd name="connsiteX1" fmla="*/ 217714 w 533400"/>
                  <a:gd name="connsiteY1" fmla="*/ 2394857 h 2394857"/>
                  <a:gd name="connsiteX2" fmla="*/ 239485 w 533400"/>
                  <a:gd name="connsiteY2" fmla="*/ 2057400 h 2394857"/>
                  <a:gd name="connsiteX3" fmla="*/ 391885 w 533400"/>
                  <a:gd name="connsiteY3" fmla="*/ 1926771 h 2394857"/>
                  <a:gd name="connsiteX4" fmla="*/ 533400 w 533400"/>
                  <a:gd name="connsiteY4" fmla="*/ 1774371 h 2394857"/>
                  <a:gd name="connsiteX5" fmla="*/ 522514 w 533400"/>
                  <a:gd name="connsiteY5" fmla="*/ 762000 h 2394857"/>
                  <a:gd name="connsiteX6" fmla="*/ 522514 w 533400"/>
                  <a:gd name="connsiteY6" fmla="*/ 609600 h 2394857"/>
                  <a:gd name="connsiteX7" fmla="*/ 391886 w 533400"/>
                  <a:gd name="connsiteY7" fmla="*/ 489857 h 2394857"/>
                  <a:gd name="connsiteX8" fmla="*/ 250371 w 533400"/>
                  <a:gd name="connsiteY8" fmla="*/ 337457 h 2394857"/>
                  <a:gd name="connsiteX9" fmla="*/ 228600 w 533400"/>
                  <a:gd name="connsiteY9" fmla="*/ 10885 h 2394857"/>
                  <a:gd name="connsiteX10" fmla="*/ 108857 w 533400"/>
                  <a:gd name="connsiteY10" fmla="*/ 0 h 2394857"/>
                  <a:gd name="connsiteX11" fmla="*/ 119742 w 533400"/>
                  <a:gd name="connsiteY11" fmla="*/ 326571 h 2394857"/>
                  <a:gd name="connsiteX12" fmla="*/ 0 w 533400"/>
                  <a:gd name="connsiteY12" fmla="*/ 609600 h 2394857"/>
                  <a:gd name="connsiteX13" fmla="*/ 21771 w 533400"/>
                  <a:gd name="connsiteY13" fmla="*/ 1774371 h 2394857"/>
                  <a:gd name="connsiteX14" fmla="*/ 119742 w 533400"/>
                  <a:gd name="connsiteY14" fmla="*/ 2024743 h 2394857"/>
                  <a:gd name="connsiteX15" fmla="*/ 108857 w 533400"/>
                  <a:gd name="connsiteY15" fmla="*/ 2383971 h 2394857"/>
                  <a:gd name="connsiteX0" fmla="*/ 108857 w 533400"/>
                  <a:gd name="connsiteY0" fmla="*/ 2383971 h 2394857"/>
                  <a:gd name="connsiteX1" fmla="*/ 217714 w 533400"/>
                  <a:gd name="connsiteY1" fmla="*/ 2394857 h 2394857"/>
                  <a:gd name="connsiteX2" fmla="*/ 228600 w 533400"/>
                  <a:gd name="connsiteY2" fmla="*/ 2188028 h 2394857"/>
                  <a:gd name="connsiteX3" fmla="*/ 239485 w 533400"/>
                  <a:gd name="connsiteY3" fmla="*/ 2057400 h 2394857"/>
                  <a:gd name="connsiteX4" fmla="*/ 391885 w 533400"/>
                  <a:gd name="connsiteY4" fmla="*/ 1926771 h 2394857"/>
                  <a:gd name="connsiteX5" fmla="*/ 533400 w 533400"/>
                  <a:gd name="connsiteY5" fmla="*/ 1774371 h 2394857"/>
                  <a:gd name="connsiteX6" fmla="*/ 522514 w 533400"/>
                  <a:gd name="connsiteY6" fmla="*/ 762000 h 2394857"/>
                  <a:gd name="connsiteX7" fmla="*/ 522514 w 533400"/>
                  <a:gd name="connsiteY7" fmla="*/ 609600 h 2394857"/>
                  <a:gd name="connsiteX8" fmla="*/ 391886 w 533400"/>
                  <a:gd name="connsiteY8" fmla="*/ 489857 h 2394857"/>
                  <a:gd name="connsiteX9" fmla="*/ 250371 w 533400"/>
                  <a:gd name="connsiteY9" fmla="*/ 337457 h 2394857"/>
                  <a:gd name="connsiteX10" fmla="*/ 228600 w 533400"/>
                  <a:gd name="connsiteY10" fmla="*/ 10885 h 2394857"/>
                  <a:gd name="connsiteX11" fmla="*/ 108857 w 533400"/>
                  <a:gd name="connsiteY11" fmla="*/ 0 h 2394857"/>
                  <a:gd name="connsiteX12" fmla="*/ 119742 w 533400"/>
                  <a:gd name="connsiteY12" fmla="*/ 326571 h 2394857"/>
                  <a:gd name="connsiteX13" fmla="*/ 0 w 533400"/>
                  <a:gd name="connsiteY13" fmla="*/ 609600 h 2394857"/>
                  <a:gd name="connsiteX14" fmla="*/ 21771 w 533400"/>
                  <a:gd name="connsiteY14" fmla="*/ 1774371 h 2394857"/>
                  <a:gd name="connsiteX15" fmla="*/ 119742 w 533400"/>
                  <a:gd name="connsiteY15" fmla="*/ 2024743 h 2394857"/>
                  <a:gd name="connsiteX16" fmla="*/ 108857 w 533400"/>
                  <a:gd name="connsiteY16" fmla="*/ 2383971 h 2394857"/>
                  <a:gd name="connsiteX0" fmla="*/ 108857 w 533400"/>
                  <a:gd name="connsiteY0" fmla="*/ 2383971 h 2394857"/>
                  <a:gd name="connsiteX1" fmla="*/ 217714 w 533400"/>
                  <a:gd name="connsiteY1" fmla="*/ 2394857 h 2394857"/>
                  <a:gd name="connsiteX2" fmla="*/ 228600 w 533400"/>
                  <a:gd name="connsiteY2" fmla="*/ 2188028 h 2394857"/>
                  <a:gd name="connsiteX3" fmla="*/ 239485 w 533400"/>
                  <a:gd name="connsiteY3" fmla="*/ 2057400 h 2394857"/>
                  <a:gd name="connsiteX4" fmla="*/ 424542 w 533400"/>
                  <a:gd name="connsiteY4" fmla="*/ 1894114 h 2394857"/>
                  <a:gd name="connsiteX5" fmla="*/ 533400 w 533400"/>
                  <a:gd name="connsiteY5" fmla="*/ 1774371 h 2394857"/>
                  <a:gd name="connsiteX6" fmla="*/ 522514 w 533400"/>
                  <a:gd name="connsiteY6" fmla="*/ 762000 h 2394857"/>
                  <a:gd name="connsiteX7" fmla="*/ 522514 w 533400"/>
                  <a:gd name="connsiteY7" fmla="*/ 609600 h 2394857"/>
                  <a:gd name="connsiteX8" fmla="*/ 391886 w 533400"/>
                  <a:gd name="connsiteY8" fmla="*/ 489857 h 2394857"/>
                  <a:gd name="connsiteX9" fmla="*/ 250371 w 533400"/>
                  <a:gd name="connsiteY9" fmla="*/ 337457 h 2394857"/>
                  <a:gd name="connsiteX10" fmla="*/ 228600 w 533400"/>
                  <a:gd name="connsiteY10" fmla="*/ 10885 h 2394857"/>
                  <a:gd name="connsiteX11" fmla="*/ 108857 w 533400"/>
                  <a:gd name="connsiteY11" fmla="*/ 0 h 2394857"/>
                  <a:gd name="connsiteX12" fmla="*/ 119742 w 533400"/>
                  <a:gd name="connsiteY12" fmla="*/ 326571 h 2394857"/>
                  <a:gd name="connsiteX13" fmla="*/ 0 w 533400"/>
                  <a:gd name="connsiteY13" fmla="*/ 609600 h 2394857"/>
                  <a:gd name="connsiteX14" fmla="*/ 21771 w 533400"/>
                  <a:gd name="connsiteY14" fmla="*/ 1774371 h 2394857"/>
                  <a:gd name="connsiteX15" fmla="*/ 119742 w 533400"/>
                  <a:gd name="connsiteY15" fmla="*/ 2024743 h 2394857"/>
                  <a:gd name="connsiteX16" fmla="*/ 108857 w 533400"/>
                  <a:gd name="connsiteY16" fmla="*/ 2383971 h 2394857"/>
                  <a:gd name="connsiteX0" fmla="*/ 108857 w 533400"/>
                  <a:gd name="connsiteY0" fmla="*/ 2383971 h 2383971"/>
                  <a:gd name="connsiteX1" fmla="*/ 250371 w 533400"/>
                  <a:gd name="connsiteY1" fmla="*/ 2383971 h 2383971"/>
                  <a:gd name="connsiteX2" fmla="*/ 228600 w 533400"/>
                  <a:gd name="connsiteY2" fmla="*/ 2188028 h 2383971"/>
                  <a:gd name="connsiteX3" fmla="*/ 239485 w 533400"/>
                  <a:gd name="connsiteY3" fmla="*/ 2057400 h 2383971"/>
                  <a:gd name="connsiteX4" fmla="*/ 424542 w 533400"/>
                  <a:gd name="connsiteY4" fmla="*/ 1894114 h 2383971"/>
                  <a:gd name="connsiteX5" fmla="*/ 533400 w 533400"/>
                  <a:gd name="connsiteY5" fmla="*/ 1774371 h 2383971"/>
                  <a:gd name="connsiteX6" fmla="*/ 522514 w 533400"/>
                  <a:gd name="connsiteY6" fmla="*/ 762000 h 2383971"/>
                  <a:gd name="connsiteX7" fmla="*/ 522514 w 533400"/>
                  <a:gd name="connsiteY7" fmla="*/ 609600 h 2383971"/>
                  <a:gd name="connsiteX8" fmla="*/ 391886 w 533400"/>
                  <a:gd name="connsiteY8" fmla="*/ 489857 h 2383971"/>
                  <a:gd name="connsiteX9" fmla="*/ 250371 w 533400"/>
                  <a:gd name="connsiteY9" fmla="*/ 337457 h 2383971"/>
                  <a:gd name="connsiteX10" fmla="*/ 228600 w 533400"/>
                  <a:gd name="connsiteY10" fmla="*/ 10885 h 2383971"/>
                  <a:gd name="connsiteX11" fmla="*/ 108857 w 533400"/>
                  <a:gd name="connsiteY11" fmla="*/ 0 h 2383971"/>
                  <a:gd name="connsiteX12" fmla="*/ 119742 w 533400"/>
                  <a:gd name="connsiteY12" fmla="*/ 326571 h 2383971"/>
                  <a:gd name="connsiteX13" fmla="*/ 0 w 533400"/>
                  <a:gd name="connsiteY13" fmla="*/ 609600 h 2383971"/>
                  <a:gd name="connsiteX14" fmla="*/ 21771 w 533400"/>
                  <a:gd name="connsiteY14" fmla="*/ 1774371 h 2383971"/>
                  <a:gd name="connsiteX15" fmla="*/ 119742 w 533400"/>
                  <a:gd name="connsiteY15" fmla="*/ 2024743 h 2383971"/>
                  <a:gd name="connsiteX16" fmla="*/ 108857 w 533400"/>
                  <a:gd name="connsiteY16" fmla="*/ 2383971 h 2383971"/>
                  <a:gd name="connsiteX0" fmla="*/ 108857 w 533400"/>
                  <a:gd name="connsiteY0" fmla="*/ 2383971 h 2383971"/>
                  <a:gd name="connsiteX1" fmla="*/ 250371 w 533400"/>
                  <a:gd name="connsiteY1" fmla="*/ 2383971 h 2383971"/>
                  <a:gd name="connsiteX2" fmla="*/ 228600 w 533400"/>
                  <a:gd name="connsiteY2" fmla="*/ 2188028 h 2383971"/>
                  <a:gd name="connsiteX3" fmla="*/ 293914 w 533400"/>
                  <a:gd name="connsiteY3" fmla="*/ 2035629 h 2383971"/>
                  <a:gd name="connsiteX4" fmla="*/ 424542 w 533400"/>
                  <a:gd name="connsiteY4" fmla="*/ 1894114 h 2383971"/>
                  <a:gd name="connsiteX5" fmla="*/ 533400 w 533400"/>
                  <a:gd name="connsiteY5" fmla="*/ 1774371 h 2383971"/>
                  <a:gd name="connsiteX6" fmla="*/ 522514 w 533400"/>
                  <a:gd name="connsiteY6" fmla="*/ 762000 h 2383971"/>
                  <a:gd name="connsiteX7" fmla="*/ 522514 w 533400"/>
                  <a:gd name="connsiteY7" fmla="*/ 609600 h 2383971"/>
                  <a:gd name="connsiteX8" fmla="*/ 391886 w 533400"/>
                  <a:gd name="connsiteY8" fmla="*/ 489857 h 2383971"/>
                  <a:gd name="connsiteX9" fmla="*/ 250371 w 533400"/>
                  <a:gd name="connsiteY9" fmla="*/ 337457 h 2383971"/>
                  <a:gd name="connsiteX10" fmla="*/ 228600 w 533400"/>
                  <a:gd name="connsiteY10" fmla="*/ 10885 h 2383971"/>
                  <a:gd name="connsiteX11" fmla="*/ 108857 w 533400"/>
                  <a:gd name="connsiteY11" fmla="*/ 0 h 2383971"/>
                  <a:gd name="connsiteX12" fmla="*/ 119742 w 533400"/>
                  <a:gd name="connsiteY12" fmla="*/ 326571 h 2383971"/>
                  <a:gd name="connsiteX13" fmla="*/ 0 w 533400"/>
                  <a:gd name="connsiteY13" fmla="*/ 609600 h 2383971"/>
                  <a:gd name="connsiteX14" fmla="*/ 21771 w 533400"/>
                  <a:gd name="connsiteY14" fmla="*/ 1774371 h 2383971"/>
                  <a:gd name="connsiteX15" fmla="*/ 119742 w 533400"/>
                  <a:gd name="connsiteY15" fmla="*/ 2024743 h 2383971"/>
                  <a:gd name="connsiteX16" fmla="*/ 108857 w 533400"/>
                  <a:gd name="connsiteY16" fmla="*/ 2383971 h 2383971"/>
                  <a:gd name="connsiteX0" fmla="*/ 108857 w 533400"/>
                  <a:gd name="connsiteY0" fmla="*/ 2383971 h 2383971"/>
                  <a:gd name="connsiteX1" fmla="*/ 250371 w 533400"/>
                  <a:gd name="connsiteY1" fmla="*/ 2383971 h 2383971"/>
                  <a:gd name="connsiteX2" fmla="*/ 272143 w 533400"/>
                  <a:gd name="connsiteY2" fmla="*/ 2166257 h 2383971"/>
                  <a:gd name="connsiteX3" fmla="*/ 293914 w 533400"/>
                  <a:gd name="connsiteY3" fmla="*/ 2035629 h 2383971"/>
                  <a:gd name="connsiteX4" fmla="*/ 424542 w 533400"/>
                  <a:gd name="connsiteY4" fmla="*/ 1894114 h 2383971"/>
                  <a:gd name="connsiteX5" fmla="*/ 533400 w 533400"/>
                  <a:gd name="connsiteY5" fmla="*/ 1774371 h 2383971"/>
                  <a:gd name="connsiteX6" fmla="*/ 522514 w 533400"/>
                  <a:gd name="connsiteY6" fmla="*/ 762000 h 2383971"/>
                  <a:gd name="connsiteX7" fmla="*/ 522514 w 533400"/>
                  <a:gd name="connsiteY7" fmla="*/ 609600 h 2383971"/>
                  <a:gd name="connsiteX8" fmla="*/ 391886 w 533400"/>
                  <a:gd name="connsiteY8" fmla="*/ 489857 h 2383971"/>
                  <a:gd name="connsiteX9" fmla="*/ 250371 w 533400"/>
                  <a:gd name="connsiteY9" fmla="*/ 337457 h 2383971"/>
                  <a:gd name="connsiteX10" fmla="*/ 228600 w 533400"/>
                  <a:gd name="connsiteY10" fmla="*/ 10885 h 2383971"/>
                  <a:gd name="connsiteX11" fmla="*/ 108857 w 533400"/>
                  <a:gd name="connsiteY11" fmla="*/ 0 h 2383971"/>
                  <a:gd name="connsiteX12" fmla="*/ 119742 w 533400"/>
                  <a:gd name="connsiteY12" fmla="*/ 326571 h 2383971"/>
                  <a:gd name="connsiteX13" fmla="*/ 0 w 533400"/>
                  <a:gd name="connsiteY13" fmla="*/ 609600 h 2383971"/>
                  <a:gd name="connsiteX14" fmla="*/ 21771 w 533400"/>
                  <a:gd name="connsiteY14" fmla="*/ 1774371 h 2383971"/>
                  <a:gd name="connsiteX15" fmla="*/ 119742 w 533400"/>
                  <a:gd name="connsiteY15" fmla="*/ 2024743 h 2383971"/>
                  <a:gd name="connsiteX16" fmla="*/ 108857 w 533400"/>
                  <a:gd name="connsiteY16" fmla="*/ 2383971 h 2383971"/>
                  <a:gd name="connsiteX0" fmla="*/ 108857 w 533400"/>
                  <a:gd name="connsiteY0" fmla="*/ 2383971 h 2383971"/>
                  <a:gd name="connsiteX1" fmla="*/ 250371 w 533400"/>
                  <a:gd name="connsiteY1" fmla="*/ 2383971 h 2383971"/>
                  <a:gd name="connsiteX2" fmla="*/ 239486 w 533400"/>
                  <a:gd name="connsiteY2" fmla="*/ 2166257 h 2383971"/>
                  <a:gd name="connsiteX3" fmla="*/ 293914 w 533400"/>
                  <a:gd name="connsiteY3" fmla="*/ 2035629 h 2383971"/>
                  <a:gd name="connsiteX4" fmla="*/ 424542 w 533400"/>
                  <a:gd name="connsiteY4" fmla="*/ 1894114 h 2383971"/>
                  <a:gd name="connsiteX5" fmla="*/ 533400 w 533400"/>
                  <a:gd name="connsiteY5" fmla="*/ 1774371 h 2383971"/>
                  <a:gd name="connsiteX6" fmla="*/ 522514 w 533400"/>
                  <a:gd name="connsiteY6" fmla="*/ 762000 h 2383971"/>
                  <a:gd name="connsiteX7" fmla="*/ 522514 w 533400"/>
                  <a:gd name="connsiteY7" fmla="*/ 609600 h 2383971"/>
                  <a:gd name="connsiteX8" fmla="*/ 391886 w 533400"/>
                  <a:gd name="connsiteY8" fmla="*/ 489857 h 2383971"/>
                  <a:gd name="connsiteX9" fmla="*/ 250371 w 533400"/>
                  <a:gd name="connsiteY9" fmla="*/ 337457 h 2383971"/>
                  <a:gd name="connsiteX10" fmla="*/ 228600 w 533400"/>
                  <a:gd name="connsiteY10" fmla="*/ 10885 h 2383971"/>
                  <a:gd name="connsiteX11" fmla="*/ 108857 w 533400"/>
                  <a:gd name="connsiteY11" fmla="*/ 0 h 2383971"/>
                  <a:gd name="connsiteX12" fmla="*/ 119742 w 533400"/>
                  <a:gd name="connsiteY12" fmla="*/ 326571 h 2383971"/>
                  <a:gd name="connsiteX13" fmla="*/ 0 w 533400"/>
                  <a:gd name="connsiteY13" fmla="*/ 609600 h 2383971"/>
                  <a:gd name="connsiteX14" fmla="*/ 21771 w 533400"/>
                  <a:gd name="connsiteY14" fmla="*/ 1774371 h 2383971"/>
                  <a:gd name="connsiteX15" fmla="*/ 119742 w 533400"/>
                  <a:gd name="connsiteY15" fmla="*/ 2024743 h 2383971"/>
                  <a:gd name="connsiteX16" fmla="*/ 108857 w 533400"/>
                  <a:gd name="connsiteY16" fmla="*/ 2383971 h 2383971"/>
                  <a:gd name="connsiteX0" fmla="*/ 108857 w 533400"/>
                  <a:gd name="connsiteY0" fmla="*/ 2383971 h 2383971"/>
                  <a:gd name="connsiteX1" fmla="*/ 250371 w 533400"/>
                  <a:gd name="connsiteY1" fmla="*/ 2383971 h 2383971"/>
                  <a:gd name="connsiteX2" fmla="*/ 239486 w 533400"/>
                  <a:gd name="connsiteY2" fmla="*/ 2166257 h 2383971"/>
                  <a:gd name="connsiteX3" fmla="*/ 293914 w 533400"/>
                  <a:gd name="connsiteY3" fmla="*/ 2035629 h 2383971"/>
                  <a:gd name="connsiteX4" fmla="*/ 424542 w 533400"/>
                  <a:gd name="connsiteY4" fmla="*/ 1894114 h 2383971"/>
                  <a:gd name="connsiteX5" fmla="*/ 533400 w 533400"/>
                  <a:gd name="connsiteY5" fmla="*/ 1774371 h 2383971"/>
                  <a:gd name="connsiteX6" fmla="*/ 522514 w 533400"/>
                  <a:gd name="connsiteY6" fmla="*/ 762000 h 2383971"/>
                  <a:gd name="connsiteX7" fmla="*/ 522514 w 533400"/>
                  <a:gd name="connsiteY7" fmla="*/ 609600 h 2383971"/>
                  <a:gd name="connsiteX8" fmla="*/ 391886 w 533400"/>
                  <a:gd name="connsiteY8" fmla="*/ 489857 h 2383971"/>
                  <a:gd name="connsiteX9" fmla="*/ 250371 w 533400"/>
                  <a:gd name="connsiteY9" fmla="*/ 337457 h 2383971"/>
                  <a:gd name="connsiteX10" fmla="*/ 228600 w 533400"/>
                  <a:gd name="connsiteY10" fmla="*/ 10885 h 2383971"/>
                  <a:gd name="connsiteX11" fmla="*/ 172151 w 533400"/>
                  <a:gd name="connsiteY11" fmla="*/ 10478 h 2383971"/>
                  <a:gd name="connsiteX12" fmla="*/ 108857 w 533400"/>
                  <a:gd name="connsiteY12" fmla="*/ 0 h 2383971"/>
                  <a:gd name="connsiteX13" fmla="*/ 119742 w 533400"/>
                  <a:gd name="connsiteY13" fmla="*/ 326571 h 2383971"/>
                  <a:gd name="connsiteX14" fmla="*/ 0 w 533400"/>
                  <a:gd name="connsiteY14" fmla="*/ 609600 h 2383971"/>
                  <a:gd name="connsiteX15" fmla="*/ 21771 w 533400"/>
                  <a:gd name="connsiteY15" fmla="*/ 1774371 h 2383971"/>
                  <a:gd name="connsiteX16" fmla="*/ 119742 w 533400"/>
                  <a:gd name="connsiteY16" fmla="*/ 2024743 h 2383971"/>
                  <a:gd name="connsiteX17" fmla="*/ 108857 w 533400"/>
                  <a:gd name="connsiteY17" fmla="*/ 2383971 h 2383971"/>
                  <a:gd name="connsiteX0" fmla="*/ 108857 w 666324"/>
                  <a:gd name="connsiteY0" fmla="*/ 3245600 h 3245600"/>
                  <a:gd name="connsiteX1" fmla="*/ 250371 w 666324"/>
                  <a:gd name="connsiteY1" fmla="*/ 3245600 h 3245600"/>
                  <a:gd name="connsiteX2" fmla="*/ 239486 w 666324"/>
                  <a:gd name="connsiteY2" fmla="*/ 3027886 h 3245600"/>
                  <a:gd name="connsiteX3" fmla="*/ 293914 w 666324"/>
                  <a:gd name="connsiteY3" fmla="*/ 2897258 h 3245600"/>
                  <a:gd name="connsiteX4" fmla="*/ 424542 w 666324"/>
                  <a:gd name="connsiteY4" fmla="*/ 2755743 h 3245600"/>
                  <a:gd name="connsiteX5" fmla="*/ 533400 w 666324"/>
                  <a:gd name="connsiteY5" fmla="*/ 2636000 h 3245600"/>
                  <a:gd name="connsiteX6" fmla="*/ 522514 w 666324"/>
                  <a:gd name="connsiteY6" fmla="*/ 1623629 h 3245600"/>
                  <a:gd name="connsiteX7" fmla="*/ 522514 w 666324"/>
                  <a:gd name="connsiteY7" fmla="*/ 1471229 h 3245600"/>
                  <a:gd name="connsiteX8" fmla="*/ 391886 w 666324"/>
                  <a:gd name="connsiteY8" fmla="*/ 1351486 h 3245600"/>
                  <a:gd name="connsiteX9" fmla="*/ 250371 w 666324"/>
                  <a:gd name="connsiteY9" fmla="*/ 1199086 h 3245600"/>
                  <a:gd name="connsiteX10" fmla="*/ 228600 w 666324"/>
                  <a:gd name="connsiteY10" fmla="*/ 872514 h 3245600"/>
                  <a:gd name="connsiteX11" fmla="*/ 666324 w 666324"/>
                  <a:gd name="connsiteY11" fmla="*/ 0 h 3245600"/>
                  <a:gd name="connsiteX12" fmla="*/ 108857 w 666324"/>
                  <a:gd name="connsiteY12" fmla="*/ 861629 h 3245600"/>
                  <a:gd name="connsiteX13" fmla="*/ 119742 w 666324"/>
                  <a:gd name="connsiteY13" fmla="*/ 1188200 h 3245600"/>
                  <a:gd name="connsiteX14" fmla="*/ 0 w 666324"/>
                  <a:gd name="connsiteY14" fmla="*/ 1471229 h 3245600"/>
                  <a:gd name="connsiteX15" fmla="*/ 21771 w 666324"/>
                  <a:gd name="connsiteY15" fmla="*/ 2636000 h 3245600"/>
                  <a:gd name="connsiteX16" fmla="*/ 119742 w 666324"/>
                  <a:gd name="connsiteY16" fmla="*/ 2886372 h 3245600"/>
                  <a:gd name="connsiteX17" fmla="*/ 108857 w 666324"/>
                  <a:gd name="connsiteY17" fmla="*/ 3245600 h 3245600"/>
                  <a:gd name="connsiteX0" fmla="*/ 108857 w 666324"/>
                  <a:gd name="connsiteY0" fmla="*/ 3245600 h 3245600"/>
                  <a:gd name="connsiteX1" fmla="*/ 250371 w 666324"/>
                  <a:gd name="connsiteY1" fmla="*/ 3245600 h 3245600"/>
                  <a:gd name="connsiteX2" fmla="*/ 239486 w 666324"/>
                  <a:gd name="connsiteY2" fmla="*/ 3027886 h 3245600"/>
                  <a:gd name="connsiteX3" fmla="*/ 293914 w 666324"/>
                  <a:gd name="connsiteY3" fmla="*/ 2897258 h 3245600"/>
                  <a:gd name="connsiteX4" fmla="*/ 424542 w 666324"/>
                  <a:gd name="connsiteY4" fmla="*/ 2755743 h 3245600"/>
                  <a:gd name="connsiteX5" fmla="*/ 533400 w 666324"/>
                  <a:gd name="connsiteY5" fmla="*/ 2636000 h 3245600"/>
                  <a:gd name="connsiteX6" fmla="*/ 522514 w 666324"/>
                  <a:gd name="connsiteY6" fmla="*/ 1623629 h 3245600"/>
                  <a:gd name="connsiteX7" fmla="*/ 522514 w 666324"/>
                  <a:gd name="connsiteY7" fmla="*/ 1471229 h 3245600"/>
                  <a:gd name="connsiteX8" fmla="*/ 391886 w 666324"/>
                  <a:gd name="connsiteY8" fmla="*/ 1351486 h 3245600"/>
                  <a:gd name="connsiteX9" fmla="*/ 250371 w 666324"/>
                  <a:gd name="connsiteY9" fmla="*/ 1199086 h 3245600"/>
                  <a:gd name="connsiteX10" fmla="*/ 228600 w 666324"/>
                  <a:gd name="connsiteY10" fmla="*/ 872514 h 3245600"/>
                  <a:gd name="connsiteX11" fmla="*/ 412902 w 666324"/>
                  <a:gd name="connsiteY11" fmla="*/ 501064 h 3245600"/>
                  <a:gd name="connsiteX12" fmla="*/ 666324 w 666324"/>
                  <a:gd name="connsiteY12" fmla="*/ 0 h 3245600"/>
                  <a:gd name="connsiteX13" fmla="*/ 108857 w 666324"/>
                  <a:gd name="connsiteY13" fmla="*/ 861629 h 3245600"/>
                  <a:gd name="connsiteX14" fmla="*/ 119742 w 666324"/>
                  <a:gd name="connsiteY14" fmla="*/ 1188200 h 3245600"/>
                  <a:gd name="connsiteX15" fmla="*/ 0 w 666324"/>
                  <a:gd name="connsiteY15" fmla="*/ 1471229 h 3245600"/>
                  <a:gd name="connsiteX16" fmla="*/ 21771 w 666324"/>
                  <a:gd name="connsiteY16" fmla="*/ 2636000 h 3245600"/>
                  <a:gd name="connsiteX17" fmla="*/ 119742 w 666324"/>
                  <a:gd name="connsiteY17" fmla="*/ 2886372 h 3245600"/>
                  <a:gd name="connsiteX18" fmla="*/ 108857 w 666324"/>
                  <a:gd name="connsiteY18" fmla="*/ 3245600 h 3245600"/>
                  <a:gd name="connsiteX0" fmla="*/ 108857 w 1705354"/>
                  <a:gd name="connsiteY0" fmla="*/ 3245600 h 3245600"/>
                  <a:gd name="connsiteX1" fmla="*/ 250371 w 1705354"/>
                  <a:gd name="connsiteY1" fmla="*/ 3245600 h 3245600"/>
                  <a:gd name="connsiteX2" fmla="*/ 239486 w 1705354"/>
                  <a:gd name="connsiteY2" fmla="*/ 3027886 h 3245600"/>
                  <a:gd name="connsiteX3" fmla="*/ 293914 w 1705354"/>
                  <a:gd name="connsiteY3" fmla="*/ 2897258 h 3245600"/>
                  <a:gd name="connsiteX4" fmla="*/ 424542 w 1705354"/>
                  <a:gd name="connsiteY4" fmla="*/ 2755743 h 3245600"/>
                  <a:gd name="connsiteX5" fmla="*/ 533400 w 1705354"/>
                  <a:gd name="connsiteY5" fmla="*/ 2636000 h 3245600"/>
                  <a:gd name="connsiteX6" fmla="*/ 522514 w 1705354"/>
                  <a:gd name="connsiteY6" fmla="*/ 1623629 h 3245600"/>
                  <a:gd name="connsiteX7" fmla="*/ 522514 w 1705354"/>
                  <a:gd name="connsiteY7" fmla="*/ 1471229 h 3245600"/>
                  <a:gd name="connsiteX8" fmla="*/ 391886 w 1705354"/>
                  <a:gd name="connsiteY8" fmla="*/ 1351486 h 3245600"/>
                  <a:gd name="connsiteX9" fmla="*/ 250371 w 1705354"/>
                  <a:gd name="connsiteY9" fmla="*/ 1199086 h 3245600"/>
                  <a:gd name="connsiteX10" fmla="*/ 228600 w 1705354"/>
                  <a:gd name="connsiteY10" fmla="*/ 872514 h 3245600"/>
                  <a:gd name="connsiteX11" fmla="*/ 1705354 w 1705354"/>
                  <a:gd name="connsiteY11" fmla="*/ 421781 h 3245600"/>
                  <a:gd name="connsiteX12" fmla="*/ 666324 w 1705354"/>
                  <a:gd name="connsiteY12" fmla="*/ 0 h 3245600"/>
                  <a:gd name="connsiteX13" fmla="*/ 108857 w 1705354"/>
                  <a:gd name="connsiteY13" fmla="*/ 861629 h 3245600"/>
                  <a:gd name="connsiteX14" fmla="*/ 119742 w 1705354"/>
                  <a:gd name="connsiteY14" fmla="*/ 1188200 h 3245600"/>
                  <a:gd name="connsiteX15" fmla="*/ 0 w 1705354"/>
                  <a:gd name="connsiteY15" fmla="*/ 1471229 h 3245600"/>
                  <a:gd name="connsiteX16" fmla="*/ 21771 w 1705354"/>
                  <a:gd name="connsiteY16" fmla="*/ 2636000 h 3245600"/>
                  <a:gd name="connsiteX17" fmla="*/ 119742 w 1705354"/>
                  <a:gd name="connsiteY17" fmla="*/ 2886372 h 3245600"/>
                  <a:gd name="connsiteX18" fmla="*/ 108857 w 1705354"/>
                  <a:gd name="connsiteY18" fmla="*/ 3245600 h 3245600"/>
                  <a:gd name="connsiteX0" fmla="*/ 108857 w 1705354"/>
                  <a:gd name="connsiteY0" fmla="*/ 3245600 h 3245600"/>
                  <a:gd name="connsiteX1" fmla="*/ 250371 w 1705354"/>
                  <a:gd name="connsiteY1" fmla="*/ 3245600 h 3245600"/>
                  <a:gd name="connsiteX2" fmla="*/ 239486 w 1705354"/>
                  <a:gd name="connsiteY2" fmla="*/ 3027886 h 3245600"/>
                  <a:gd name="connsiteX3" fmla="*/ 293914 w 1705354"/>
                  <a:gd name="connsiteY3" fmla="*/ 2897258 h 3245600"/>
                  <a:gd name="connsiteX4" fmla="*/ 424542 w 1705354"/>
                  <a:gd name="connsiteY4" fmla="*/ 2755743 h 3245600"/>
                  <a:gd name="connsiteX5" fmla="*/ 533400 w 1705354"/>
                  <a:gd name="connsiteY5" fmla="*/ 2636000 h 3245600"/>
                  <a:gd name="connsiteX6" fmla="*/ 522514 w 1705354"/>
                  <a:gd name="connsiteY6" fmla="*/ 1623629 h 3245600"/>
                  <a:gd name="connsiteX7" fmla="*/ 522514 w 1705354"/>
                  <a:gd name="connsiteY7" fmla="*/ 1471229 h 3245600"/>
                  <a:gd name="connsiteX8" fmla="*/ 391886 w 1705354"/>
                  <a:gd name="connsiteY8" fmla="*/ 1351486 h 3245600"/>
                  <a:gd name="connsiteX9" fmla="*/ 250371 w 1705354"/>
                  <a:gd name="connsiteY9" fmla="*/ 1199086 h 3245600"/>
                  <a:gd name="connsiteX10" fmla="*/ 228600 w 1705354"/>
                  <a:gd name="connsiteY10" fmla="*/ 872514 h 3245600"/>
                  <a:gd name="connsiteX11" fmla="*/ 1040122 w 1705354"/>
                  <a:gd name="connsiteY11" fmla="*/ 624745 h 3245600"/>
                  <a:gd name="connsiteX12" fmla="*/ 1705354 w 1705354"/>
                  <a:gd name="connsiteY12" fmla="*/ 421781 h 3245600"/>
                  <a:gd name="connsiteX13" fmla="*/ 666324 w 1705354"/>
                  <a:gd name="connsiteY13" fmla="*/ 0 h 3245600"/>
                  <a:gd name="connsiteX14" fmla="*/ 108857 w 1705354"/>
                  <a:gd name="connsiteY14" fmla="*/ 861629 h 3245600"/>
                  <a:gd name="connsiteX15" fmla="*/ 119742 w 1705354"/>
                  <a:gd name="connsiteY15" fmla="*/ 1188200 h 3245600"/>
                  <a:gd name="connsiteX16" fmla="*/ 0 w 1705354"/>
                  <a:gd name="connsiteY16" fmla="*/ 1471229 h 3245600"/>
                  <a:gd name="connsiteX17" fmla="*/ 21771 w 1705354"/>
                  <a:gd name="connsiteY17" fmla="*/ 2636000 h 3245600"/>
                  <a:gd name="connsiteX18" fmla="*/ 119742 w 1705354"/>
                  <a:gd name="connsiteY18" fmla="*/ 2886372 h 3245600"/>
                  <a:gd name="connsiteX19" fmla="*/ 108857 w 1705354"/>
                  <a:gd name="connsiteY19" fmla="*/ 3245600 h 3245600"/>
                  <a:gd name="connsiteX0" fmla="*/ 108857 w 1870079"/>
                  <a:gd name="connsiteY0" fmla="*/ 3245600 h 3245600"/>
                  <a:gd name="connsiteX1" fmla="*/ 250371 w 1870079"/>
                  <a:gd name="connsiteY1" fmla="*/ 3245600 h 3245600"/>
                  <a:gd name="connsiteX2" fmla="*/ 239486 w 1870079"/>
                  <a:gd name="connsiteY2" fmla="*/ 3027886 h 3245600"/>
                  <a:gd name="connsiteX3" fmla="*/ 293914 w 1870079"/>
                  <a:gd name="connsiteY3" fmla="*/ 2897258 h 3245600"/>
                  <a:gd name="connsiteX4" fmla="*/ 424542 w 1870079"/>
                  <a:gd name="connsiteY4" fmla="*/ 2755743 h 3245600"/>
                  <a:gd name="connsiteX5" fmla="*/ 533400 w 1870079"/>
                  <a:gd name="connsiteY5" fmla="*/ 2636000 h 3245600"/>
                  <a:gd name="connsiteX6" fmla="*/ 522514 w 1870079"/>
                  <a:gd name="connsiteY6" fmla="*/ 1623629 h 3245600"/>
                  <a:gd name="connsiteX7" fmla="*/ 522514 w 1870079"/>
                  <a:gd name="connsiteY7" fmla="*/ 1471229 h 3245600"/>
                  <a:gd name="connsiteX8" fmla="*/ 391886 w 1870079"/>
                  <a:gd name="connsiteY8" fmla="*/ 1351486 h 3245600"/>
                  <a:gd name="connsiteX9" fmla="*/ 250371 w 1870079"/>
                  <a:gd name="connsiteY9" fmla="*/ 1199086 h 3245600"/>
                  <a:gd name="connsiteX10" fmla="*/ 228600 w 1870079"/>
                  <a:gd name="connsiteY10" fmla="*/ 872514 h 3245600"/>
                  <a:gd name="connsiteX11" fmla="*/ 1870079 w 1870079"/>
                  <a:gd name="connsiteY11" fmla="*/ 1030671 h 3245600"/>
                  <a:gd name="connsiteX12" fmla="*/ 1705354 w 1870079"/>
                  <a:gd name="connsiteY12" fmla="*/ 421781 h 3245600"/>
                  <a:gd name="connsiteX13" fmla="*/ 666324 w 1870079"/>
                  <a:gd name="connsiteY13" fmla="*/ 0 h 3245600"/>
                  <a:gd name="connsiteX14" fmla="*/ 108857 w 1870079"/>
                  <a:gd name="connsiteY14" fmla="*/ 861629 h 3245600"/>
                  <a:gd name="connsiteX15" fmla="*/ 119742 w 1870079"/>
                  <a:gd name="connsiteY15" fmla="*/ 1188200 h 3245600"/>
                  <a:gd name="connsiteX16" fmla="*/ 0 w 1870079"/>
                  <a:gd name="connsiteY16" fmla="*/ 1471229 h 3245600"/>
                  <a:gd name="connsiteX17" fmla="*/ 21771 w 1870079"/>
                  <a:gd name="connsiteY17" fmla="*/ 2636000 h 3245600"/>
                  <a:gd name="connsiteX18" fmla="*/ 119742 w 1870079"/>
                  <a:gd name="connsiteY18" fmla="*/ 2886372 h 3245600"/>
                  <a:gd name="connsiteX19" fmla="*/ 108857 w 1870079"/>
                  <a:gd name="connsiteY19" fmla="*/ 3245600 h 3245600"/>
                  <a:gd name="connsiteX0" fmla="*/ 108857 w 1870079"/>
                  <a:gd name="connsiteY0" fmla="*/ 3245600 h 3245600"/>
                  <a:gd name="connsiteX1" fmla="*/ 250371 w 1870079"/>
                  <a:gd name="connsiteY1" fmla="*/ 3245600 h 3245600"/>
                  <a:gd name="connsiteX2" fmla="*/ 239486 w 1870079"/>
                  <a:gd name="connsiteY2" fmla="*/ 3027886 h 3245600"/>
                  <a:gd name="connsiteX3" fmla="*/ 293914 w 1870079"/>
                  <a:gd name="connsiteY3" fmla="*/ 2897258 h 3245600"/>
                  <a:gd name="connsiteX4" fmla="*/ 424542 w 1870079"/>
                  <a:gd name="connsiteY4" fmla="*/ 2755743 h 3245600"/>
                  <a:gd name="connsiteX5" fmla="*/ 533400 w 1870079"/>
                  <a:gd name="connsiteY5" fmla="*/ 2636000 h 3245600"/>
                  <a:gd name="connsiteX6" fmla="*/ 522514 w 1870079"/>
                  <a:gd name="connsiteY6" fmla="*/ 1623629 h 3245600"/>
                  <a:gd name="connsiteX7" fmla="*/ 522514 w 1870079"/>
                  <a:gd name="connsiteY7" fmla="*/ 1471229 h 3245600"/>
                  <a:gd name="connsiteX8" fmla="*/ 391886 w 1870079"/>
                  <a:gd name="connsiteY8" fmla="*/ 1351486 h 3245600"/>
                  <a:gd name="connsiteX9" fmla="*/ 250371 w 1870079"/>
                  <a:gd name="connsiteY9" fmla="*/ 1199086 h 3245600"/>
                  <a:gd name="connsiteX10" fmla="*/ 228600 w 1870079"/>
                  <a:gd name="connsiteY10" fmla="*/ 872514 h 3245600"/>
                  <a:gd name="connsiteX11" fmla="*/ 1870079 w 1870079"/>
                  <a:gd name="connsiteY11" fmla="*/ 1030671 h 3245600"/>
                  <a:gd name="connsiteX12" fmla="*/ 1705354 w 1870079"/>
                  <a:gd name="connsiteY12" fmla="*/ 421781 h 3245600"/>
                  <a:gd name="connsiteX13" fmla="*/ 666324 w 1870079"/>
                  <a:gd name="connsiteY13" fmla="*/ 0 h 3245600"/>
                  <a:gd name="connsiteX14" fmla="*/ 99354 w 1870079"/>
                  <a:gd name="connsiteY14" fmla="*/ 807717 h 3245600"/>
                  <a:gd name="connsiteX15" fmla="*/ 119742 w 1870079"/>
                  <a:gd name="connsiteY15" fmla="*/ 1188200 h 3245600"/>
                  <a:gd name="connsiteX16" fmla="*/ 0 w 1870079"/>
                  <a:gd name="connsiteY16" fmla="*/ 1471229 h 3245600"/>
                  <a:gd name="connsiteX17" fmla="*/ 21771 w 1870079"/>
                  <a:gd name="connsiteY17" fmla="*/ 2636000 h 3245600"/>
                  <a:gd name="connsiteX18" fmla="*/ 119742 w 1870079"/>
                  <a:gd name="connsiteY18" fmla="*/ 2886372 h 3245600"/>
                  <a:gd name="connsiteX19" fmla="*/ 108857 w 1870079"/>
                  <a:gd name="connsiteY19" fmla="*/ 3245600 h 324560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8600 w 1870079"/>
                  <a:gd name="connsiteY10" fmla="*/ 923254 h 3296340"/>
                  <a:gd name="connsiteX11" fmla="*/ 1870079 w 1870079"/>
                  <a:gd name="connsiteY11" fmla="*/ 1081411 h 3296340"/>
                  <a:gd name="connsiteX12" fmla="*/ 1705354 w 1870079"/>
                  <a:gd name="connsiteY12" fmla="*/ 472521 h 3296340"/>
                  <a:gd name="connsiteX13" fmla="*/ 948256 w 1870079"/>
                  <a:gd name="connsiteY13" fmla="*/ 0 h 3296340"/>
                  <a:gd name="connsiteX14" fmla="*/ 99354 w 1870079"/>
                  <a:gd name="connsiteY14" fmla="*/ 858457 h 3296340"/>
                  <a:gd name="connsiteX15" fmla="*/ 119742 w 1870079"/>
                  <a:gd name="connsiteY15" fmla="*/ 1238940 h 3296340"/>
                  <a:gd name="connsiteX16" fmla="*/ 0 w 1870079"/>
                  <a:gd name="connsiteY16" fmla="*/ 1521969 h 3296340"/>
                  <a:gd name="connsiteX17" fmla="*/ 21771 w 1870079"/>
                  <a:gd name="connsiteY17" fmla="*/ 2686740 h 3296340"/>
                  <a:gd name="connsiteX18" fmla="*/ 119742 w 1870079"/>
                  <a:gd name="connsiteY18" fmla="*/ 2937112 h 3296340"/>
                  <a:gd name="connsiteX19" fmla="*/ 108857 w 1870079"/>
                  <a:gd name="connsiteY19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8600 w 1870079"/>
                  <a:gd name="connsiteY10" fmla="*/ 923254 h 3296340"/>
                  <a:gd name="connsiteX11" fmla="*/ 1870079 w 1870079"/>
                  <a:gd name="connsiteY11" fmla="*/ 1081411 h 3296340"/>
                  <a:gd name="connsiteX12" fmla="*/ 1806723 w 1870079"/>
                  <a:gd name="connsiteY12" fmla="*/ 913332 h 3296340"/>
                  <a:gd name="connsiteX13" fmla="*/ 948256 w 1870079"/>
                  <a:gd name="connsiteY13" fmla="*/ 0 h 3296340"/>
                  <a:gd name="connsiteX14" fmla="*/ 99354 w 1870079"/>
                  <a:gd name="connsiteY14" fmla="*/ 858457 h 3296340"/>
                  <a:gd name="connsiteX15" fmla="*/ 119742 w 1870079"/>
                  <a:gd name="connsiteY15" fmla="*/ 1238940 h 3296340"/>
                  <a:gd name="connsiteX16" fmla="*/ 0 w 1870079"/>
                  <a:gd name="connsiteY16" fmla="*/ 1521969 h 3296340"/>
                  <a:gd name="connsiteX17" fmla="*/ 21771 w 1870079"/>
                  <a:gd name="connsiteY17" fmla="*/ 2686740 h 3296340"/>
                  <a:gd name="connsiteX18" fmla="*/ 119742 w 1870079"/>
                  <a:gd name="connsiteY18" fmla="*/ 2937112 h 3296340"/>
                  <a:gd name="connsiteX19" fmla="*/ 108857 w 1870079"/>
                  <a:gd name="connsiteY19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8600 w 1870079"/>
                  <a:gd name="connsiteY10" fmla="*/ 923254 h 3296340"/>
                  <a:gd name="connsiteX11" fmla="*/ 1870079 w 1870079"/>
                  <a:gd name="connsiteY11" fmla="*/ 1081411 h 3296340"/>
                  <a:gd name="connsiteX12" fmla="*/ 1806723 w 1870079"/>
                  <a:gd name="connsiteY12" fmla="*/ 913332 h 3296340"/>
                  <a:gd name="connsiteX13" fmla="*/ 948256 w 1870079"/>
                  <a:gd name="connsiteY13" fmla="*/ 0 h 3296340"/>
                  <a:gd name="connsiteX14" fmla="*/ 99354 w 1870079"/>
                  <a:gd name="connsiteY14" fmla="*/ 858457 h 3296340"/>
                  <a:gd name="connsiteX15" fmla="*/ 119742 w 1870079"/>
                  <a:gd name="connsiteY15" fmla="*/ 1238940 h 3296340"/>
                  <a:gd name="connsiteX16" fmla="*/ 0 w 1870079"/>
                  <a:gd name="connsiteY16" fmla="*/ 1521969 h 3296340"/>
                  <a:gd name="connsiteX17" fmla="*/ 21771 w 1870079"/>
                  <a:gd name="connsiteY17" fmla="*/ 2686740 h 3296340"/>
                  <a:gd name="connsiteX18" fmla="*/ 119742 w 1870079"/>
                  <a:gd name="connsiteY18" fmla="*/ 2937112 h 3296340"/>
                  <a:gd name="connsiteX19" fmla="*/ 108857 w 1870079"/>
                  <a:gd name="connsiteY19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8600 w 1870079"/>
                  <a:gd name="connsiteY10" fmla="*/ 923254 h 3296340"/>
                  <a:gd name="connsiteX11" fmla="*/ 1870079 w 1870079"/>
                  <a:gd name="connsiteY11" fmla="*/ 1081411 h 3296340"/>
                  <a:gd name="connsiteX12" fmla="*/ 1806723 w 1870079"/>
                  <a:gd name="connsiteY12" fmla="*/ 913332 h 3296340"/>
                  <a:gd name="connsiteX13" fmla="*/ 948256 w 1870079"/>
                  <a:gd name="connsiteY13" fmla="*/ 0 h 3296340"/>
                  <a:gd name="connsiteX14" fmla="*/ 99354 w 1870079"/>
                  <a:gd name="connsiteY14" fmla="*/ 858457 h 3296340"/>
                  <a:gd name="connsiteX15" fmla="*/ 119742 w 1870079"/>
                  <a:gd name="connsiteY15" fmla="*/ 1238940 h 3296340"/>
                  <a:gd name="connsiteX16" fmla="*/ 0 w 1870079"/>
                  <a:gd name="connsiteY16" fmla="*/ 1521969 h 3296340"/>
                  <a:gd name="connsiteX17" fmla="*/ 21771 w 1870079"/>
                  <a:gd name="connsiteY17" fmla="*/ 2686740 h 3296340"/>
                  <a:gd name="connsiteX18" fmla="*/ 119742 w 1870079"/>
                  <a:gd name="connsiteY18" fmla="*/ 2937112 h 3296340"/>
                  <a:gd name="connsiteX19" fmla="*/ 108857 w 1870079"/>
                  <a:gd name="connsiteY19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8600 w 1870079"/>
                  <a:gd name="connsiteY10" fmla="*/ 923254 h 3296340"/>
                  <a:gd name="connsiteX11" fmla="*/ 1870079 w 1870079"/>
                  <a:gd name="connsiteY11" fmla="*/ 1081411 h 3296340"/>
                  <a:gd name="connsiteX12" fmla="*/ 1806723 w 1870079"/>
                  <a:gd name="connsiteY12" fmla="*/ 913332 h 3296340"/>
                  <a:gd name="connsiteX13" fmla="*/ 948256 w 1870079"/>
                  <a:gd name="connsiteY13" fmla="*/ 0 h 3296340"/>
                  <a:gd name="connsiteX14" fmla="*/ 99354 w 1870079"/>
                  <a:gd name="connsiteY14" fmla="*/ 858457 h 3296340"/>
                  <a:gd name="connsiteX15" fmla="*/ 119742 w 1870079"/>
                  <a:gd name="connsiteY15" fmla="*/ 1238940 h 3296340"/>
                  <a:gd name="connsiteX16" fmla="*/ 0 w 1870079"/>
                  <a:gd name="connsiteY16" fmla="*/ 1521969 h 3296340"/>
                  <a:gd name="connsiteX17" fmla="*/ 21771 w 1870079"/>
                  <a:gd name="connsiteY17" fmla="*/ 2686740 h 3296340"/>
                  <a:gd name="connsiteX18" fmla="*/ 119742 w 1870079"/>
                  <a:gd name="connsiteY18" fmla="*/ 2937112 h 3296340"/>
                  <a:gd name="connsiteX19" fmla="*/ 108857 w 1870079"/>
                  <a:gd name="connsiteY19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8600 w 1870079"/>
                  <a:gd name="connsiteY10" fmla="*/ 923254 h 3296340"/>
                  <a:gd name="connsiteX11" fmla="*/ 1870079 w 1870079"/>
                  <a:gd name="connsiteY11" fmla="*/ 1081411 h 3296340"/>
                  <a:gd name="connsiteX12" fmla="*/ 1806723 w 1870079"/>
                  <a:gd name="connsiteY12" fmla="*/ 913332 h 3296340"/>
                  <a:gd name="connsiteX13" fmla="*/ 948256 w 1870079"/>
                  <a:gd name="connsiteY13" fmla="*/ 0 h 3296340"/>
                  <a:gd name="connsiteX14" fmla="*/ 99354 w 1870079"/>
                  <a:gd name="connsiteY14" fmla="*/ 858457 h 3296340"/>
                  <a:gd name="connsiteX15" fmla="*/ 119742 w 1870079"/>
                  <a:gd name="connsiteY15" fmla="*/ 1238940 h 3296340"/>
                  <a:gd name="connsiteX16" fmla="*/ 0 w 1870079"/>
                  <a:gd name="connsiteY16" fmla="*/ 1521969 h 3296340"/>
                  <a:gd name="connsiteX17" fmla="*/ 21771 w 1870079"/>
                  <a:gd name="connsiteY17" fmla="*/ 2686740 h 3296340"/>
                  <a:gd name="connsiteX18" fmla="*/ 119742 w 1870079"/>
                  <a:gd name="connsiteY18" fmla="*/ 2937112 h 3296340"/>
                  <a:gd name="connsiteX19" fmla="*/ 108857 w 1870079"/>
                  <a:gd name="connsiteY19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8600 w 1870079"/>
                  <a:gd name="connsiteY10" fmla="*/ 923254 h 3296340"/>
                  <a:gd name="connsiteX11" fmla="*/ 1870079 w 1870079"/>
                  <a:gd name="connsiteY11" fmla="*/ 1081411 h 3296340"/>
                  <a:gd name="connsiteX12" fmla="*/ 1806723 w 1870079"/>
                  <a:gd name="connsiteY12" fmla="*/ 913332 h 3296340"/>
                  <a:gd name="connsiteX13" fmla="*/ 948256 w 1870079"/>
                  <a:gd name="connsiteY13" fmla="*/ 0 h 3296340"/>
                  <a:gd name="connsiteX14" fmla="*/ 99354 w 1870079"/>
                  <a:gd name="connsiteY14" fmla="*/ 858457 h 3296340"/>
                  <a:gd name="connsiteX15" fmla="*/ 119742 w 1870079"/>
                  <a:gd name="connsiteY15" fmla="*/ 1238940 h 3296340"/>
                  <a:gd name="connsiteX16" fmla="*/ 0 w 1870079"/>
                  <a:gd name="connsiteY16" fmla="*/ 1521969 h 3296340"/>
                  <a:gd name="connsiteX17" fmla="*/ 21771 w 1870079"/>
                  <a:gd name="connsiteY17" fmla="*/ 2686740 h 3296340"/>
                  <a:gd name="connsiteX18" fmla="*/ 119742 w 1870079"/>
                  <a:gd name="connsiteY18" fmla="*/ 2937112 h 3296340"/>
                  <a:gd name="connsiteX19" fmla="*/ 108857 w 1870079"/>
                  <a:gd name="connsiteY19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8600 w 1870079"/>
                  <a:gd name="connsiteY10" fmla="*/ 923254 h 3296340"/>
                  <a:gd name="connsiteX11" fmla="*/ 1870079 w 1870079"/>
                  <a:gd name="connsiteY11" fmla="*/ 1081411 h 3296340"/>
                  <a:gd name="connsiteX12" fmla="*/ 1806723 w 1870079"/>
                  <a:gd name="connsiteY12" fmla="*/ 913332 h 3296340"/>
                  <a:gd name="connsiteX13" fmla="*/ 948256 w 1870079"/>
                  <a:gd name="connsiteY13" fmla="*/ 0 h 3296340"/>
                  <a:gd name="connsiteX14" fmla="*/ 99354 w 1870079"/>
                  <a:gd name="connsiteY14" fmla="*/ 858457 h 3296340"/>
                  <a:gd name="connsiteX15" fmla="*/ 119742 w 1870079"/>
                  <a:gd name="connsiteY15" fmla="*/ 1238940 h 3296340"/>
                  <a:gd name="connsiteX16" fmla="*/ 0 w 1870079"/>
                  <a:gd name="connsiteY16" fmla="*/ 1521969 h 3296340"/>
                  <a:gd name="connsiteX17" fmla="*/ 21771 w 1870079"/>
                  <a:gd name="connsiteY17" fmla="*/ 2686740 h 3296340"/>
                  <a:gd name="connsiteX18" fmla="*/ 119742 w 1870079"/>
                  <a:gd name="connsiteY18" fmla="*/ 2937112 h 3296340"/>
                  <a:gd name="connsiteX19" fmla="*/ 108857 w 1870079"/>
                  <a:gd name="connsiteY19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8600 w 1870079"/>
                  <a:gd name="connsiteY10" fmla="*/ 923254 h 3296340"/>
                  <a:gd name="connsiteX11" fmla="*/ 672660 w 1870079"/>
                  <a:gd name="connsiteY11" fmla="*/ 970417 h 3296340"/>
                  <a:gd name="connsiteX12" fmla="*/ 1870079 w 1870079"/>
                  <a:gd name="connsiteY12" fmla="*/ 1081411 h 3296340"/>
                  <a:gd name="connsiteX13" fmla="*/ 1806723 w 1870079"/>
                  <a:gd name="connsiteY13" fmla="*/ 913332 h 3296340"/>
                  <a:gd name="connsiteX14" fmla="*/ 948256 w 1870079"/>
                  <a:gd name="connsiteY14" fmla="*/ 0 h 3296340"/>
                  <a:gd name="connsiteX15" fmla="*/ 99354 w 1870079"/>
                  <a:gd name="connsiteY15" fmla="*/ 858457 h 3296340"/>
                  <a:gd name="connsiteX16" fmla="*/ 119742 w 1870079"/>
                  <a:gd name="connsiteY16" fmla="*/ 1238940 h 3296340"/>
                  <a:gd name="connsiteX17" fmla="*/ 0 w 1870079"/>
                  <a:gd name="connsiteY17" fmla="*/ 1521969 h 3296340"/>
                  <a:gd name="connsiteX18" fmla="*/ 21771 w 1870079"/>
                  <a:gd name="connsiteY18" fmla="*/ 2686740 h 3296340"/>
                  <a:gd name="connsiteX19" fmla="*/ 119742 w 1870079"/>
                  <a:gd name="connsiteY19" fmla="*/ 2937112 h 3296340"/>
                  <a:gd name="connsiteX20" fmla="*/ 108857 w 1870079"/>
                  <a:gd name="connsiteY20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8600 w 1870079"/>
                  <a:gd name="connsiteY10" fmla="*/ 923254 h 3296340"/>
                  <a:gd name="connsiteX11" fmla="*/ 593467 w 1870079"/>
                  <a:gd name="connsiteY11" fmla="*/ 237848 h 3296340"/>
                  <a:gd name="connsiteX12" fmla="*/ 1870079 w 1870079"/>
                  <a:gd name="connsiteY12" fmla="*/ 1081411 h 3296340"/>
                  <a:gd name="connsiteX13" fmla="*/ 1806723 w 1870079"/>
                  <a:gd name="connsiteY13" fmla="*/ 913332 h 3296340"/>
                  <a:gd name="connsiteX14" fmla="*/ 948256 w 1870079"/>
                  <a:gd name="connsiteY14" fmla="*/ 0 h 3296340"/>
                  <a:gd name="connsiteX15" fmla="*/ 99354 w 1870079"/>
                  <a:gd name="connsiteY15" fmla="*/ 858457 h 3296340"/>
                  <a:gd name="connsiteX16" fmla="*/ 119742 w 1870079"/>
                  <a:gd name="connsiteY16" fmla="*/ 1238940 h 3296340"/>
                  <a:gd name="connsiteX17" fmla="*/ 0 w 1870079"/>
                  <a:gd name="connsiteY17" fmla="*/ 1521969 h 3296340"/>
                  <a:gd name="connsiteX18" fmla="*/ 21771 w 1870079"/>
                  <a:gd name="connsiteY18" fmla="*/ 2686740 h 3296340"/>
                  <a:gd name="connsiteX19" fmla="*/ 119742 w 1870079"/>
                  <a:gd name="connsiteY19" fmla="*/ 2937112 h 3296340"/>
                  <a:gd name="connsiteX20" fmla="*/ 108857 w 1870079"/>
                  <a:gd name="connsiteY20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8600 w 1870079"/>
                  <a:gd name="connsiteY10" fmla="*/ 923254 h 3296340"/>
                  <a:gd name="connsiteX11" fmla="*/ 593467 w 1870079"/>
                  <a:gd name="connsiteY11" fmla="*/ 237848 h 3296340"/>
                  <a:gd name="connsiteX12" fmla="*/ 1455100 w 1870079"/>
                  <a:gd name="connsiteY12" fmla="*/ 811852 h 3296340"/>
                  <a:gd name="connsiteX13" fmla="*/ 1870079 w 1870079"/>
                  <a:gd name="connsiteY13" fmla="*/ 1081411 h 3296340"/>
                  <a:gd name="connsiteX14" fmla="*/ 1806723 w 1870079"/>
                  <a:gd name="connsiteY14" fmla="*/ 913332 h 3296340"/>
                  <a:gd name="connsiteX15" fmla="*/ 948256 w 1870079"/>
                  <a:gd name="connsiteY15" fmla="*/ 0 h 3296340"/>
                  <a:gd name="connsiteX16" fmla="*/ 99354 w 1870079"/>
                  <a:gd name="connsiteY16" fmla="*/ 858457 h 3296340"/>
                  <a:gd name="connsiteX17" fmla="*/ 119742 w 1870079"/>
                  <a:gd name="connsiteY17" fmla="*/ 1238940 h 3296340"/>
                  <a:gd name="connsiteX18" fmla="*/ 0 w 1870079"/>
                  <a:gd name="connsiteY18" fmla="*/ 1521969 h 3296340"/>
                  <a:gd name="connsiteX19" fmla="*/ 21771 w 1870079"/>
                  <a:gd name="connsiteY19" fmla="*/ 2686740 h 3296340"/>
                  <a:gd name="connsiteX20" fmla="*/ 119742 w 1870079"/>
                  <a:gd name="connsiteY20" fmla="*/ 2937112 h 3296340"/>
                  <a:gd name="connsiteX21" fmla="*/ 108857 w 1870079"/>
                  <a:gd name="connsiteY21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8600 w 1870079"/>
                  <a:gd name="connsiteY10" fmla="*/ 923254 h 3296340"/>
                  <a:gd name="connsiteX11" fmla="*/ 593467 w 1870079"/>
                  <a:gd name="connsiteY11" fmla="*/ 237848 h 3296340"/>
                  <a:gd name="connsiteX12" fmla="*/ 1670508 w 1870079"/>
                  <a:gd name="connsiteY12" fmla="*/ 1068728 h 3296340"/>
                  <a:gd name="connsiteX13" fmla="*/ 1870079 w 1870079"/>
                  <a:gd name="connsiteY13" fmla="*/ 1081411 h 3296340"/>
                  <a:gd name="connsiteX14" fmla="*/ 1806723 w 1870079"/>
                  <a:gd name="connsiteY14" fmla="*/ 913332 h 3296340"/>
                  <a:gd name="connsiteX15" fmla="*/ 948256 w 1870079"/>
                  <a:gd name="connsiteY15" fmla="*/ 0 h 3296340"/>
                  <a:gd name="connsiteX16" fmla="*/ 99354 w 1870079"/>
                  <a:gd name="connsiteY16" fmla="*/ 858457 h 3296340"/>
                  <a:gd name="connsiteX17" fmla="*/ 119742 w 1870079"/>
                  <a:gd name="connsiteY17" fmla="*/ 1238940 h 3296340"/>
                  <a:gd name="connsiteX18" fmla="*/ 0 w 1870079"/>
                  <a:gd name="connsiteY18" fmla="*/ 1521969 h 3296340"/>
                  <a:gd name="connsiteX19" fmla="*/ 21771 w 1870079"/>
                  <a:gd name="connsiteY19" fmla="*/ 2686740 h 3296340"/>
                  <a:gd name="connsiteX20" fmla="*/ 119742 w 1870079"/>
                  <a:gd name="connsiteY20" fmla="*/ 2937112 h 3296340"/>
                  <a:gd name="connsiteX21" fmla="*/ 108857 w 1870079"/>
                  <a:gd name="connsiteY21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2264 w 1870079"/>
                  <a:gd name="connsiteY10" fmla="*/ 1119875 h 3296340"/>
                  <a:gd name="connsiteX11" fmla="*/ 593467 w 1870079"/>
                  <a:gd name="connsiteY11" fmla="*/ 237848 h 3296340"/>
                  <a:gd name="connsiteX12" fmla="*/ 1670508 w 1870079"/>
                  <a:gd name="connsiteY12" fmla="*/ 1068728 h 3296340"/>
                  <a:gd name="connsiteX13" fmla="*/ 1870079 w 1870079"/>
                  <a:gd name="connsiteY13" fmla="*/ 1081411 h 3296340"/>
                  <a:gd name="connsiteX14" fmla="*/ 1806723 w 1870079"/>
                  <a:gd name="connsiteY14" fmla="*/ 913332 h 3296340"/>
                  <a:gd name="connsiteX15" fmla="*/ 948256 w 1870079"/>
                  <a:gd name="connsiteY15" fmla="*/ 0 h 3296340"/>
                  <a:gd name="connsiteX16" fmla="*/ 99354 w 1870079"/>
                  <a:gd name="connsiteY16" fmla="*/ 858457 h 3296340"/>
                  <a:gd name="connsiteX17" fmla="*/ 119742 w 1870079"/>
                  <a:gd name="connsiteY17" fmla="*/ 1238940 h 3296340"/>
                  <a:gd name="connsiteX18" fmla="*/ 0 w 1870079"/>
                  <a:gd name="connsiteY18" fmla="*/ 1521969 h 3296340"/>
                  <a:gd name="connsiteX19" fmla="*/ 21771 w 1870079"/>
                  <a:gd name="connsiteY19" fmla="*/ 2686740 h 3296340"/>
                  <a:gd name="connsiteX20" fmla="*/ 119742 w 1870079"/>
                  <a:gd name="connsiteY20" fmla="*/ 2937112 h 3296340"/>
                  <a:gd name="connsiteX21" fmla="*/ 108857 w 1870079"/>
                  <a:gd name="connsiteY21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5432 w 1870079"/>
                  <a:gd name="connsiteY10" fmla="*/ 923254 h 3296340"/>
                  <a:gd name="connsiteX11" fmla="*/ 593467 w 1870079"/>
                  <a:gd name="connsiteY11" fmla="*/ 237848 h 3296340"/>
                  <a:gd name="connsiteX12" fmla="*/ 1670508 w 1870079"/>
                  <a:gd name="connsiteY12" fmla="*/ 1068728 h 3296340"/>
                  <a:gd name="connsiteX13" fmla="*/ 1870079 w 1870079"/>
                  <a:gd name="connsiteY13" fmla="*/ 1081411 h 3296340"/>
                  <a:gd name="connsiteX14" fmla="*/ 1806723 w 1870079"/>
                  <a:gd name="connsiteY14" fmla="*/ 913332 h 3296340"/>
                  <a:gd name="connsiteX15" fmla="*/ 948256 w 1870079"/>
                  <a:gd name="connsiteY15" fmla="*/ 0 h 3296340"/>
                  <a:gd name="connsiteX16" fmla="*/ 99354 w 1870079"/>
                  <a:gd name="connsiteY16" fmla="*/ 858457 h 3296340"/>
                  <a:gd name="connsiteX17" fmla="*/ 119742 w 1870079"/>
                  <a:gd name="connsiteY17" fmla="*/ 1238940 h 3296340"/>
                  <a:gd name="connsiteX18" fmla="*/ 0 w 1870079"/>
                  <a:gd name="connsiteY18" fmla="*/ 1521969 h 3296340"/>
                  <a:gd name="connsiteX19" fmla="*/ 21771 w 1870079"/>
                  <a:gd name="connsiteY19" fmla="*/ 2686740 h 3296340"/>
                  <a:gd name="connsiteX20" fmla="*/ 119742 w 1870079"/>
                  <a:gd name="connsiteY20" fmla="*/ 2937112 h 3296340"/>
                  <a:gd name="connsiteX21" fmla="*/ 108857 w 1870079"/>
                  <a:gd name="connsiteY21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5432 w 1870079"/>
                  <a:gd name="connsiteY10" fmla="*/ 923254 h 3296340"/>
                  <a:gd name="connsiteX11" fmla="*/ 593467 w 1870079"/>
                  <a:gd name="connsiteY11" fmla="*/ 237848 h 3296340"/>
                  <a:gd name="connsiteX12" fmla="*/ 1670508 w 1870079"/>
                  <a:gd name="connsiteY12" fmla="*/ 1068728 h 3296340"/>
                  <a:gd name="connsiteX13" fmla="*/ 1870079 w 1870079"/>
                  <a:gd name="connsiteY13" fmla="*/ 1081411 h 3296340"/>
                  <a:gd name="connsiteX14" fmla="*/ 1806723 w 1870079"/>
                  <a:gd name="connsiteY14" fmla="*/ 913332 h 3296340"/>
                  <a:gd name="connsiteX15" fmla="*/ 948256 w 1870079"/>
                  <a:gd name="connsiteY15" fmla="*/ 0 h 3296340"/>
                  <a:gd name="connsiteX16" fmla="*/ 99354 w 1870079"/>
                  <a:gd name="connsiteY16" fmla="*/ 858457 h 3296340"/>
                  <a:gd name="connsiteX17" fmla="*/ 119742 w 1870079"/>
                  <a:gd name="connsiteY17" fmla="*/ 1238940 h 3296340"/>
                  <a:gd name="connsiteX18" fmla="*/ 0 w 1870079"/>
                  <a:gd name="connsiteY18" fmla="*/ 1521969 h 3296340"/>
                  <a:gd name="connsiteX19" fmla="*/ 21771 w 1870079"/>
                  <a:gd name="connsiteY19" fmla="*/ 2686740 h 3296340"/>
                  <a:gd name="connsiteX20" fmla="*/ 119742 w 1870079"/>
                  <a:gd name="connsiteY20" fmla="*/ 2937112 h 3296340"/>
                  <a:gd name="connsiteX21" fmla="*/ 108857 w 1870079"/>
                  <a:gd name="connsiteY21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5432 w 1870079"/>
                  <a:gd name="connsiteY10" fmla="*/ 923254 h 3296340"/>
                  <a:gd name="connsiteX11" fmla="*/ 593467 w 1870079"/>
                  <a:gd name="connsiteY11" fmla="*/ 237848 h 3296340"/>
                  <a:gd name="connsiteX12" fmla="*/ 1670508 w 1870079"/>
                  <a:gd name="connsiteY12" fmla="*/ 1068728 h 3296340"/>
                  <a:gd name="connsiteX13" fmla="*/ 1870079 w 1870079"/>
                  <a:gd name="connsiteY13" fmla="*/ 1081411 h 3296340"/>
                  <a:gd name="connsiteX14" fmla="*/ 1806723 w 1870079"/>
                  <a:gd name="connsiteY14" fmla="*/ 913332 h 3296340"/>
                  <a:gd name="connsiteX15" fmla="*/ 948256 w 1870079"/>
                  <a:gd name="connsiteY15" fmla="*/ 0 h 3296340"/>
                  <a:gd name="connsiteX16" fmla="*/ 99354 w 1870079"/>
                  <a:gd name="connsiteY16" fmla="*/ 858457 h 3296340"/>
                  <a:gd name="connsiteX17" fmla="*/ 119742 w 1870079"/>
                  <a:gd name="connsiteY17" fmla="*/ 1238940 h 3296340"/>
                  <a:gd name="connsiteX18" fmla="*/ 0 w 1870079"/>
                  <a:gd name="connsiteY18" fmla="*/ 1521969 h 3296340"/>
                  <a:gd name="connsiteX19" fmla="*/ 21771 w 1870079"/>
                  <a:gd name="connsiteY19" fmla="*/ 2686740 h 3296340"/>
                  <a:gd name="connsiteX20" fmla="*/ 119742 w 1870079"/>
                  <a:gd name="connsiteY20" fmla="*/ 2937112 h 3296340"/>
                  <a:gd name="connsiteX21" fmla="*/ 108857 w 1870079"/>
                  <a:gd name="connsiteY21" fmla="*/ 3296340 h 3296340"/>
                  <a:gd name="connsiteX0" fmla="*/ 108857 w 1870079"/>
                  <a:gd name="connsiteY0" fmla="*/ 3296340 h 3296340"/>
                  <a:gd name="connsiteX1" fmla="*/ 250371 w 1870079"/>
                  <a:gd name="connsiteY1" fmla="*/ 3296340 h 3296340"/>
                  <a:gd name="connsiteX2" fmla="*/ 239486 w 1870079"/>
                  <a:gd name="connsiteY2" fmla="*/ 3078626 h 3296340"/>
                  <a:gd name="connsiteX3" fmla="*/ 293914 w 1870079"/>
                  <a:gd name="connsiteY3" fmla="*/ 2947998 h 3296340"/>
                  <a:gd name="connsiteX4" fmla="*/ 424542 w 1870079"/>
                  <a:gd name="connsiteY4" fmla="*/ 2806483 h 3296340"/>
                  <a:gd name="connsiteX5" fmla="*/ 533400 w 1870079"/>
                  <a:gd name="connsiteY5" fmla="*/ 2686740 h 3296340"/>
                  <a:gd name="connsiteX6" fmla="*/ 522514 w 1870079"/>
                  <a:gd name="connsiteY6" fmla="*/ 1674369 h 3296340"/>
                  <a:gd name="connsiteX7" fmla="*/ 522514 w 1870079"/>
                  <a:gd name="connsiteY7" fmla="*/ 1521969 h 3296340"/>
                  <a:gd name="connsiteX8" fmla="*/ 391886 w 1870079"/>
                  <a:gd name="connsiteY8" fmla="*/ 1402226 h 3296340"/>
                  <a:gd name="connsiteX9" fmla="*/ 250371 w 1870079"/>
                  <a:gd name="connsiteY9" fmla="*/ 1249826 h 3296340"/>
                  <a:gd name="connsiteX10" fmla="*/ 225432 w 1870079"/>
                  <a:gd name="connsiteY10" fmla="*/ 923254 h 3296340"/>
                  <a:gd name="connsiteX11" fmla="*/ 593467 w 1870079"/>
                  <a:gd name="connsiteY11" fmla="*/ 237848 h 3296340"/>
                  <a:gd name="connsiteX12" fmla="*/ 1670508 w 1870079"/>
                  <a:gd name="connsiteY12" fmla="*/ 1068728 h 3296340"/>
                  <a:gd name="connsiteX13" fmla="*/ 1870079 w 1870079"/>
                  <a:gd name="connsiteY13" fmla="*/ 1081411 h 3296340"/>
                  <a:gd name="connsiteX14" fmla="*/ 1806723 w 1870079"/>
                  <a:gd name="connsiteY14" fmla="*/ 913332 h 3296340"/>
                  <a:gd name="connsiteX15" fmla="*/ 948256 w 1870079"/>
                  <a:gd name="connsiteY15" fmla="*/ 0 h 3296340"/>
                  <a:gd name="connsiteX16" fmla="*/ 99354 w 1870079"/>
                  <a:gd name="connsiteY16" fmla="*/ 858457 h 3296340"/>
                  <a:gd name="connsiteX17" fmla="*/ 84897 w 1870079"/>
                  <a:gd name="connsiteY17" fmla="*/ 1146972 h 3296340"/>
                  <a:gd name="connsiteX18" fmla="*/ 0 w 1870079"/>
                  <a:gd name="connsiteY18" fmla="*/ 1521969 h 3296340"/>
                  <a:gd name="connsiteX19" fmla="*/ 21771 w 1870079"/>
                  <a:gd name="connsiteY19" fmla="*/ 2686740 h 3296340"/>
                  <a:gd name="connsiteX20" fmla="*/ 119742 w 1870079"/>
                  <a:gd name="connsiteY20" fmla="*/ 2937112 h 3296340"/>
                  <a:gd name="connsiteX21" fmla="*/ 108857 w 1870079"/>
                  <a:gd name="connsiteY21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03821 w 1879986"/>
                  <a:gd name="connsiteY3" fmla="*/ 2947998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32421 w 1879986"/>
                  <a:gd name="connsiteY6" fmla="*/ 1674369 h 3296340"/>
                  <a:gd name="connsiteX7" fmla="*/ 532421 w 1879986"/>
                  <a:gd name="connsiteY7" fmla="*/ 1521969 h 3296340"/>
                  <a:gd name="connsiteX8" fmla="*/ 401793 w 1879986"/>
                  <a:gd name="connsiteY8" fmla="*/ 1402226 h 3296340"/>
                  <a:gd name="connsiteX9" fmla="*/ 260278 w 1879986"/>
                  <a:gd name="connsiteY9" fmla="*/ 1249826 h 3296340"/>
                  <a:gd name="connsiteX10" fmla="*/ 235339 w 1879986"/>
                  <a:gd name="connsiteY10" fmla="*/ 923254 h 3296340"/>
                  <a:gd name="connsiteX11" fmla="*/ 603374 w 1879986"/>
                  <a:gd name="connsiteY11" fmla="*/ 237848 h 3296340"/>
                  <a:gd name="connsiteX12" fmla="*/ 1680415 w 1879986"/>
                  <a:gd name="connsiteY12" fmla="*/ 1068728 h 3296340"/>
                  <a:gd name="connsiteX13" fmla="*/ 1879986 w 1879986"/>
                  <a:gd name="connsiteY13" fmla="*/ 1081411 h 3296340"/>
                  <a:gd name="connsiteX14" fmla="*/ 1816630 w 1879986"/>
                  <a:gd name="connsiteY14" fmla="*/ 913332 h 3296340"/>
                  <a:gd name="connsiteX15" fmla="*/ 958163 w 1879986"/>
                  <a:gd name="connsiteY15" fmla="*/ 0 h 3296340"/>
                  <a:gd name="connsiteX16" fmla="*/ 109261 w 1879986"/>
                  <a:gd name="connsiteY16" fmla="*/ 858457 h 3296340"/>
                  <a:gd name="connsiteX17" fmla="*/ 94804 w 1879986"/>
                  <a:gd name="connsiteY17" fmla="*/ 1146972 h 3296340"/>
                  <a:gd name="connsiteX18" fmla="*/ 9907 w 1879986"/>
                  <a:gd name="connsiteY18" fmla="*/ 1521969 h 3296340"/>
                  <a:gd name="connsiteX19" fmla="*/ 0 w 1879986"/>
                  <a:gd name="connsiteY19" fmla="*/ 2778708 h 3296340"/>
                  <a:gd name="connsiteX20" fmla="*/ 129649 w 1879986"/>
                  <a:gd name="connsiteY20" fmla="*/ 2937112 h 3296340"/>
                  <a:gd name="connsiteX21" fmla="*/ 118764 w 1879986"/>
                  <a:gd name="connsiteY21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03821 w 1879986"/>
                  <a:gd name="connsiteY3" fmla="*/ 2947998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32421 w 1879986"/>
                  <a:gd name="connsiteY6" fmla="*/ 1674369 h 3296340"/>
                  <a:gd name="connsiteX7" fmla="*/ 532421 w 1879986"/>
                  <a:gd name="connsiteY7" fmla="*/ 1521969 h 3296340"/>
                  <a:gd name="connsiteX8" fmla="*/ 401793 w 1879986"/>
                  <a:gd name="connsiteY8" fmla="*/ 1402226 h 3296340"/>
                  <a:gd name="connsiteX9" fmla="*/ 234935 w 1879986"/>
                  <a:gd name="connsiteY9" fmla="*/ 1138830 h 3296340"/>
                  <a:gd name="connsiteX10" fmla="*/ 235339 w 1879986"/>
                  <a:gd name="connsiteY10" fmla="*/ 923254 h 3296340"/>
                  <a:gd name="connsiteX11" fmla="*/ 603374 w 1879986"/>
                  <a:gd name="connsiteY11" fmla="*/ 237848 h 3296340"/>
                  <a:gd name="connsiteX12" fmla="*/ 1680415 w 1879986"/>
                  <a:gd name="connsiteY12" fmla="*/ 1068728 h 3296340"/>
                  <a:gd name="connsiteX13" fmla="*/ 1879986 w 1879986"/>
                  <a:gd name="connsiteY13" fmla="*/ 1081411 h 3296340"/>
                  <a:gd name="connsiteX14" fmla="*/ 1816630 w 1879986"/>
                  <a:gd name="connsiteY14" fmla="*/ 913332 h 3296340"/>
                  <a:gd name="connsiteX15" fmla="*/ 958163 w 1879986"/>
                  <a:gd name="connsiteY15" fmla="*/ 0 h 3296340"/>
                  <a:gd name="connsiteX16" fmla="*/ 109261 w 1879986"/>
                  <a:gd name="connsiteY16" fmla="*/ 858457 h 3296340"/>
                  <a:gd name="connsiteX17" fmla="*/ 94804 w 1879986"/>
                  <a:gd name="connsiteY17" fmla="*/ 1146972 h 3296340"/>
                  <a:gd name="connsiteX18" fmla="*/ 9907 w 1879986"/>
                  <a:gd name="connsiteY18" fmla="*/ 1521969 h 3296340"/>
                  <a:gd name="connsiteX19" fmla="*/ 0 w 1879986"/>
                  <a:gd name="connsiteY19" fmla="*/ 2778708 h 3296340"/>
                  <a:gd name="connsiteX20" fmla="*/ 129649 w 1879986"/>
                  <a:gd name="connsiteY20" fmla="*/ 2937112 h 3296340"/>
                  <a:gd name="connsiteX21" fmla="*/ 118764 w 1879986"/>
                  <a:gd name="connsiteY21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03821 w 1879986"/>
                  <a:gd name="connsiteY3" fmla="*/ 2947998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32421 w 1879986"/>
                  <a:gd name="connsiteY6" fmla="*/ 1674369 h 3296340"/>
                  <a:gd name="connsiteX7" fmla="*/ 532421 w 1879986"/>
                  <a:gd name="connsiteY7" fmla="*/ 1521969 h 3296340"/>
                  <a:gd name="connsiteX8" fmla="*/ 401793 w 1879986"/>
                  <a:gd name="connsiteY8" fmla="*/ 1402226 h 3296340"/>
                  <a:gd name="connsiteX9" fmla="*/ 362622 w 1879986"/>
                  <a:gd name="connsiteY9" fmla="*/ 1341459 h 3296340"/>
                  <a:gd name="connsiteX10" fmla="*/ 234935 w 1879986"/>
                  <a:gd name="connsiteY10" fmla="*/ 1138830 h 3296340"/>
                  <a:gd name="connsiteX11" fmla="*/ 235339 w 1879986"/>
                  <a:gd name="connsiteY11" fmla="*/ 923254 h 3296340"/>
                  <a:gd name="connsiteX12" fmla="*/ 603374 w 1879986"/>
                  <a:gd name="connsiteY12" fmla="*/ 237848 h 3296340"/>
                  <a:gd name="connsiteX13" fmla="*/ 1680415 w 1879986"/>
                  <a:gd name="connsiteY13" fmla="*/ 1068728 h 3296340"/>
                  <a:gd name="connsiteX14" fmla="*/ 1879986 w 1879986"/>
                  <a:gd name="connsiteY14" fmla="*/ 1081411 h 3296340"/>
                  <a:gd name="connsiteX15" fmla="*/ 1816630 w 1879986"/>
                  <a:gd name="connsiteY15" fmla="*/ 913332 h 3296340"/>
                  <a:gd name="connsiteX16" fmla="*/ 958163 w 1879986"/>
                  <a:gd name="connsiteY16" fmla="*/ 0 h 3296340"/>
                  <a:gd name="connsiteX17" fmla="*/ 109261 w 1879986"/>
                  <a:gd name="connsiteY17" fmla="*/ 858457 h 3296340"/>
                  <a:gd name="connsiteX18" fmla="*/ 94804 w 1879986"/>
                  <a:gd name="connsiteY18" fmla="*/ 1146972 h 3296340"/>
                  <a:gd name="connsiteX19" fmla="*/ 9907 w 1879986"/>
                  <a:gd name="connsiteY19" fmla="*/ 1521969 h 3296340"/>
                  <a:gd name="connsiteX20" fmla="*/ 0 w 1879986"/>
                  <a:gd name="connsiteY20" fmla="*/ 2778708 h 3296340"/>
                  <a:gd name="connsiteX21" fmla="*/ 129649 w 1879986"/>
                  <a:gd name="connsiteY21" fmla="*/ 2937112 h 3296340"/>
                  <a:gd name="connsiteX22" fmla="*/ 118764 w 1879986"/>
                  <a:gd name="connsiteY22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03821 w 1879986"/>
                  <a:gd name="connsiteY3" fmla="*/ 2947998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32421 w 1879986"/>
                  <a:gd name="connsiteY6" fmla="*/ 1674369 h 3296340"/>
                  <a:gd name="connsiteX7" fmla="*/ 532421 w 1879986"/>
                  <a:gd name="connsiteY7" fmla="*/ 1521969 h 3296340"/>
                  <a:gd name="connsiteX8" fmla="*/ 401793 w 1879986"/>
                  <a:gd name="connsiteY8" fmla="*/ 1402226 h 3296340"/>
                  <a:gd name="connsiteX9" fmla="*/ 353118 w 1879986"/>
                  <a:gd name="connsiteY9" fmla="*/ 1138495 h 3296340"/>
                  <a:gd name="connsiteX10" fmla="*/ 234935 w 1879986"/>
                  <a:gd name="connsiteY10" fmla="*/ 1138830 h 3296340"/>
                  <a:gd name="connsiteX11" fmla="*/ 235339 w 1879986"/>
                  <a:gd name="connsiteY11" fmla="*/ 923254 h 3296340"/>
                  <a:gd name="connsiteX12" fmla="*/ 603374 w 1879986"/>
                  <a:gd name="connsiteY12" fmla="*/ 237848 h 3296340"/>
                  <a:gd name="connsiteX13" fmla="*/ 1680415 w 1879986"/>
                  <a:gd name="connsiteY13" fmla="*/ 1068728 h 3296340"/>
                  <a:gd name="connsiteX14" fmla="*/ 1879986 w 1879986"/>
                  <a:gd name="connsiteY14" fmla="*/ 1081411 h 3296340"/>
                  <a:gd name="connsiteX15" fmla="*/ 1816630 w 1879986"/>
                  <a:gd name="connsiteY15" fmla="*/ 913332 h 3296340"/>
                  <a:gd name="connsiteX16" fmla="*/ 958163 w 1879986"/>
                  <a:gd name="connsiteY16" fmla="*/ 0 h 3296340"/>
                  <a:gd name="connsiteX17" fmla="*/ 109261 w 1879986"/>
                  <a:gd name="connsiteY17" fmla="*/ 858457 h 3296340"/>
                  <a:gd name="connsiteX18" fmla="*/ 94804 w 1879986"/>
                  <a:gd name="connsiteY18" fmla="*/ 1146972 h 3296340"/>
                  <a:gd name="connsiteX19" fmla="*/ 9907 w 1879986"/>
                  <a:gd name="connsiteY19" fmla="*/ 1521969 h 3296340"/>
                  <a:gd name="connsiteX20" fmla="*/ 0 w 1879986"/>
                  <a:gd name="connsiteY20" fmla="*/ 2778708 h 3296340"/>
                  <a:gd name="connsiteX21" fmla="*/ 129649 w 1879986"/>
                  <a:gd name="connsiteY21" fmla="*/ 2937112 h 3296340"/>
                  <a:gd name="connsiteX22" fmla="*/ 118764 w 1879986"/>
                  <a:gd name="connsiteY22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03821 w 1879986"/>
                  <a:gd name="connsiteY3" fmla="*/ 2947998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32421 w 1879986"/>
                  <a:gd name="connsiteY6" fmla="*/ 1674369 h 3296340"/>
                  <a:gd name="connsiteX7" fmla="*/ 532421 w 1879986"/>
                  <a:gd name="connsiteY7" fmla="*/ 1521969 h 3296340"/>
                  <a:gd name="connsiteX8" fmla="*/ 401793 w 1879986"/>
                  <a:gd name="connsiteY8" fmla="*/ 1402226 h 3296340"/>
                  <a:gd name="connsiteX9" fmla="*/ 375293 w 1879986"/>
                  <a:gd name="connsiteY9" fmla="*/ 1293890 h 3296340"/>
                  <a:gd name="connsiteX10" fmla="*/ 353118 w 1879986"/>
                  <a:gd name="connsiteY10" fmla="*/ 1138495 h 3296340"/>
                  <a:gd name="connsiteX11" fmla="*/ 234935 w 1879986"/>
                  <a:gd name="connsiteY11" fmla="*/ 1138830 h 3296340"/>
                  <a:gd name="connsiteX12" fmla="*/ 235339 w 1879986"/>
                  <a:gd name="connsiteY12" fmla="*/ 923254 h 3296340"/>
                  <a:gd name="connsiteX13" fmla="*/ 603374 w 1879986"/>
                  <a:gd name="connsiteY13" fmla="*/ 237848 h 3296340"/>
                  <a:gd name="connsiteX14" fmla="*/ 1680415 w 1879986"/>
                  <a:gd name="connsiteY14" fmla="*/ 1068728 h 3296340"/>
                  <a:gd name="connsiteX15" fmla="*/ 1879986 w 1879986"/>
                  <a:gd name="connsiteY15" fmla="*/ 1081411 h 3296340"/>
                  <a:gd name="connsiteX16" fmla="*/ 1816630 w 1879986"/>
                  <a:gd name="connsiteY16" fmla="*/ 913332 h 3296340"/>
                  <a:gd name="connsiteX17" fmla="*/ 958163 w 1879986"/>
                  <a:gd name="connsiteY17" fmla="*/ 0 h 3296340"/>
                  <a:gd name="connsiteX18" fmla="*/ 109261 w 1879986"/>
                  <a:gd name="connsiteY18" fmla="*/ 858457 h 3296340"/>
                  <a:gd name="connsiteX19" fmla="*/ 94804 w 1879986"/>
                  <a:gd name="connsiteY19" fmla="*/ 1146972 h 3296340"/>
                  <a:gd name="connsiteX20" fmla="*/ 9907 w 1879986"/>
                  <a:gd name="connsiteY20" fmla="*/ 1521969 h 3296340"/>
                  <a:gd name="connsiteX21" fmla="*/ 0 w 1879986"/>
                  <a:gd name="connsiteY21" fmla="*/ 2778708 h 3296340"/>
                  <a:gd name="connsiteX22" fmla="*/ 129649 w 1879986"/>
                  <a:gd name="connsiteY22" fmla="*/ 2937112 h 3296340"/>
                  <a:gd name="connsiteX23" fmla="*/ 118764 w 1879986"/>
                  <a:gd name="connsiteY23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03821 w 1879986"/>
                  <a:gd name="connsiteY3" fmla="*/ 2947998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32421 w 1879986"/>
                  <a:gd name="connsiteY6" fmla="*/ 1674369 h 3296340"/>
                  <a:gd name="connsiteX7" fmla="*/ 532421 w 1879986"/>
                  <a:gd name="connsiteY7" fmla="*/ 1521969 h 3296340"/>
                  <a:gd name="connsiteX8" fmla="*/ 401793 w 1879986"/>
                  <a:gd name="connsiteY8" fmla="*/ 1402226 h 3296340"/>
                  <a:gd name="connsiteX9" fmla="*/ 356286 w 1879986"/>
                  <a:gd name="connsiteY9" fmla="*/ 1268519 h 3296340"/>
                  <a:gd name="connsiteX10" fmla="*/ 353118 w 1879986"/>
                  <a:gd name="connsiteY10" fmla="*/ 1138495 h 3296340"/>
                  <a:gd name="connsiteX11" fmla="*/ 234935 w 1879986"/>
                  <a:gd name="connsiteY11" fmla="*/ 1138830 h 3296340"/>
                  <a:gd name="connsiteX12" fmla="*/ 235339 w 1879986"/>
                  <a:gd name="connsiteY12" fmla="*/ 923254 h 3296340"/>
                  <a:gd name="connsiteX13" fmla="*/ 603374 w 1879986"/>
                  <a:gd name="connsiteY13" fmla="*/ 237848 h 3296340"/>
                  <a:gd name="connsiteX14" fmla="*/ 1680415 w 1879986"/>
                  <a:gd name="connsiteY14" fmla="*/ 1068728 h 3296340"/>
                  <a:gd name="connsiteX15" fmla="*/ 1879986 w 1879986"/>
                  <a:gd name="connsiteY15" fmla="*/ 1081411 h 3296340"/>
                  <a:gd name="connsiteX16" fmla="*/ 1816630 w 1879986"/>
                  <a:gd name="connsiteY16" fmla="*/ 913332 h 3296340"/>
                  <a:gd name="connsiteX17" fmla="*/ 958163 w 1879986"/>
                  <a:gd name="connsiteY17" fmla="*/ 0 h 3296340"/>
                  <a:gd name="connsiteX18" fmla="*/ 109261 w 1879986"/>
                  <a:gd name="connsiteY18" fmla="*/ 858457 h 3296340"/>
                  <a:gd name="connsiteX19" fmla="*/ 94804 w 1879986"/>
                  <a:gd name="connsiteY19" fmla="*/ 1146972 h 3296340"/>
                  <a:gd name="connsiteX20" fmla="*/ 9907 w 1879986"/>
                  <a:gd name="connsiteY20" fmla="*/ 1521969 h 3296340"/>
                  <a:gd name="connsiteX21" fmla="*/ 0 w 1879986"/>
                  <a:gd name="connsiteY21" fmla="*/ 2778708 h 3296340"/>
                  <a:gd name="connsiteX22" fmla="*/ 129649 w 1879986"/>
                  <a:gd name="connsiteY22" fmla="*/ 2937112 h 3296340"/>
                  <a:gd name="connsiteX23" fmla="*/ 118764 w 1879986"/>
                  <a:gd name="connsiteY23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03821 w 1879986"/>
                  <a:gd name="connsiteY3" fmla="*/ 2947998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32421 w 1879986"/>
                  <a:gd name="connsiteY6" fmla="*/ 1674369 h 3296340"/>
                  <a:gd name="connsiteX7" fmla="*/ 532421 w 1879986"/>
                  <a:gd name="connsiteY7" fmla="*/ 1521969 h 3296340"/>
                  <a:gd name="connsiteX8" fmla="*/ 328934 w 1879986"/>
                  <a:gd name="connsiteY8" fmla="*/ 1269031 h 3296340"/>
                  <a:gd name="connsiteX9" fmla="*/ 356286 w 1879986"/>
                  <a:gd name="connsiteY9" fmla="*/ 1268519 h 3296340"/>
                  <a:gd name="connsiteX10" fmla="*/ 353118 w 1879986"/>
                  <a:gd name="connsiteY10" fmla="*/ 1138495 h 3296340"/>
                  <a:gd name="connsiteX11" fmla="*/ 234935 w 1879986"/>
                  <a:gd name="connsiteY11" fmla="*/ 1138830 h 3296340"/>
                  <a:gd name="connsiteX12" fmla="*/ 235339 w 1879986"/>
                  <a:gd name="connsiteY12" fmla="*/ 923254 h 3296340"/>
                  <a:gd name="connsiteX13" fmla="*/ 603374 w 1879986"/>
                  <a:gd name="connsiteY13" fmla="*/ 237848 h 3296340"/>
                  <a:gd name="connsiteX14" fmla="*/ 1680415 w 1879986"/>
                  <a:gd name="connsiteY14" fmla="*/ 1068728 h 3296340"/>
                  <a:gd name="connsiteX15" fmla="*/ 1879986 w 1879986"/>
                  <a:gd name="connsiteY15" fmla="*/ 1081411 h 3296340"/>
                  <a:gd name="connsiteX16" fmla="*/ 1816630 w 1879986"/>
                  <a:gd name="connsiteY16" fmla="*/ 913332 h 3296340"/>
                  <a:gd name="connsiteX17" fmla="*/ 958163 w 1879986"/>
                  <a:gd name="connsiteY17" fmla="*/ 0 h 3296340"/>
                  <a:gd name="connsiteX18" fmla="*/ 109261 w 1879986"/>
                  <a:gd name="connsiteY18" fmla="*/ 858457 h 3296340"/>
                  <a:gd name="connsiteX19" fmla="*/ 94804 w 1879986"/>
                  <a:gd name="connsiteY19" fmla="*/ 1146972 h 3296340"/>
                  <a:gd name="connsiteX20" fmla="*/ 9907 w 1879986"/>
                  <a:gd name="connsiteY20" fmla="*/ 1521969 h 3296340"/>
                  <a:gd name="connsiteX21" fmla="*/ 0 w 1879986"/>
                  <a:gd name="connsiteY21" fmla="*/ 2778708 h 3296340"/>
                  <a:gd name="connsiteX22" fmla="*/ 129649 w 1879986"/>
                  <a:gd name="connsiteY22" fmla="*/ 2937112 h 3296340"/>
                  <a:gd name="connsiteX23" fmla="*/ 118764 w 1879986"/>
                  <a:gd name="connsiteY23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03821 w 1879986"/>
                  <a:gd name="connsiteY3" fmla="*/ 2947998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32421 w 1879986"/>
                  <a:gd name="connsiteY6" fmla="*/ 1674369 h 3296340"/>
                  <a:gd name="connsiteX7" fmla="*/ 532421 w 1879986"/>
                  <a:gd name="connsiteY7" fmla="*/ 1521969 h 3296340"/>
                  <a:gd name="connsiteX8" fmla="*/ 359454 w 1879986"/>
                  <a:gd name="connsiteY8" fmla="*/ 1309746 h 3296340"/>
                  <a:gd name="connsiteX9" fmla="*/ 328934 w 1879986"/>
                  <a:gd name="connsiteY9" fmla="*/ 1269031 h 3296340"/>
                  <a:gd name="connsiteX10" fmla="*/ 356286 w 1879986"/>
                  <a:gd name="connsiteY10" fmla="*/ 1268519 h 3296340"/>
                  <a:gd name="connsiteX11" fmla="*/ 353118 w 1879986"/>
                  <a:gd name="connsiteY11" fmla="*/ 1138495 h 3296340"/>
                  <a:gd name="connsiteX12" fmla="*/ 234935 w 1879986"/>
                  <a:gd name="connsiteY12" fmla="*/ 1138830 h 3296340"/>
                  <a:gd name="connsiteX13" fmla="*/ 235339 w 1879986"/>
                  <a:gd name="connsiteY13" fmla="*/ 923254 h 3296340"/>
                  <a:gd name="connsiteX14" fmla="*/ 603374 w 1879986"/>
                  <a:gd name="connsiteY14" fmla="*/ 237848 h 3296340"/>
                  <a:gd name="connsiteX15" fmla="*/ 1680415 w 1879986"/>
                  <a:gd name="connsiteY15" fmla="*/ 1068728 h 3296340"/>
                  <a:gd name="connsiteX16" fmla="*/ 1879986 w 1879986"/>
                  <a:gd name="connsiteY16" fmla="*/ 1081411 h 3296340"/>
                  <a:gd name="connsiteX17" fmla="*/ 1816630 w 1879986"/>
                  <a:gd name="connsiteY17" fmla="*/ 913332 h 3296340"/>
                  <a:gd name="connsiteX18" fmla="*/ 958163 w 1879986"/>
                  <a:gd name="connsiteY18" fmla="*/ 0 h 3296340"/>
                  <a:gd name="connsiteX19" fmla="*/ 109261 w 1879986"/>
                  <a:gd name="connsiteY19" fmla="*/ 858457 h 3296340"/>
                  <a:gd name="connsiteX20" fmla="*/ 94804 w 1879986"/>
                  <a:gd name="connsiteY20" fmla="*/ 1146972 h 3296340"/>
                  <a:gd name="connsiteX21" fmla="*/ 9907 w 1879986"/>
                  <a:gd name="connsiteY21" fmla="*/ 1521969 h 3296340"/>
                  <a:gd name="connsiteX22" fmla="*/ 0 w 1879986"/>
                  <a:gd name="connsiteY22" fmla="*/ 2778708 h 3296340"/>
                  <a:gd name="connsiteX23" fmla="*/ 129649 w 1879986"/>
                  <a:gd name="connsiteY23" fmla="*/ 2937112 h 3296340"/>
                  <a:gd name="connsiteX24" fmla="*/ 118764 w 1879986"/>
                  <a:gd name="connsiteY24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03821 w 1879986"/>
                  <a:gd name="connsiteY3" fmla="*/ 2947998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32421 w 1879986"/>
                  <a:gd name="connsiteY6" fmla="*/ 1674369 h 3296340"/>
                  <a:gd name="connsiteX7" fmla="*/ 532421 w 1879986"/>
                  <a:gd name="connsiteY7" fmla="*/ 1521969 h 3296340"/>
                  <a:gd name="connsiteX8" fmla="*/ 334112 w 1879986"/>
                  <a:gd name="connsiteY8" fmla="*/ 1290719 h 3296340"/>
                  <a:gd name="connsiteX9" fmla="*/ 328934 w 1879986"/>
                  <a:gd name="connsiteY9" fmla="*/ 1269031 h 3296340"/>
                  <a:gd name="connsiteX10" fmla="*/ 356286 w 1879986"/>
                  <a:gd name="connsiteY10" fmla="*/ 1268519 h 3296340"/>
                  <a:gd name="connsiteX11" fmla="*/ 353118 w 1879986"/>
                  <a:gd name="connsiteY11" fmla="*/ 1138495 h 3296340"/>
                  <a:gd name="connsiteX12" fmla="*/ 234935 w 1879986"/>
                  <a:gd name="connsiteY12" fmla="*/ 1138830 h 3296340"/>
                  <a:gd name="connsiteX13" fmla="*/ 235339 w 1879986"/>
                  <a:gd name="connsiteY13" fmla="*/ 923254 h 3296340"/>
                  <a:gd name="connsiteX14" fmla="*/ 603374 w 1879986"/>
                  <a:gd name="connsiteY14" fmla="*/ 237848 h 3296340"/>
                  <a:gd name="connsiteX15" fmla="*/ 1680415 w 1879986"/>
                  <a:gd name="connsiteY15" fmla="*/ 1068728 h 3296340"/>
                  <a:gd name="connsiteX16" fmla="*/ 1879986 w 1879986"/>
                  <a:gd name="connsiteY16" fmla="*/ 1081411 h 3296340"/>
                  <a:gd name="connsiteX17" fmla="*/ 1816630 w 1879986"/>
                  <a:gd name="connsiteY17" fmla="*/ 913332 h 3296340"/>
                  <a:gd name="connsiteX18" fmla="*/ 958163 w 1879986"/>
                  <a:gd name="connsiteY18" fmla="*/ 0 h 3296340"/>
                  <a:gd name="connsiteX19" fmla="*/ 109261 w 1879986"/>
                  <a:gd name="connsiteY19" fmla="*/ 858457 h 3296340"/>
                  <a:gd name="connsiteX20" fmla="*/ 94804 w 1879986"/>
                  <a:gd name="connsiteY20" fmla="*/ 1146972 h 3296340"/>
                  <a:gd name="connsiteX21" fmla="*/ 9907 w 1879986"/>
                  <a:gd name="connsiteY21" fmla="*/ 1521969 h 3296340"/>
                  <a:gd name="connsiteX22" fmla="*/ 0 w 1879986"/>
                  <a:gd name="connsiteY22" fmla="*/ 2778708 h 3296340"/>
                  <a:gd name="connsiteX23" fmla="*/ 129649 w 1879986"/>
                  <a:gd name="connsiteY23" fmla="*/ 2937112 h 3296340"/>
                  <a:gd name="connsiteX24" fmla="*/ 118764 w 1879986"/>
                  <a:gd name="connsiteY24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03821 w 1879986"/>
                  <a:gd name="connsiteY3" fmla="*/ 2947998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32421 w 1879986"/>
                  <a:gd name="connsiteY6" fmla="*/ 1674369 h 3296340"/>
                  <a:gd name="connsiteX7" fmla="*/ 532421 w 1879986"/>
                  <a:gd name="connsiteY7" fmla="*/ 1521969 h 3296340"/>
                  <a:gd name="connsiteX8" fmla="*/ 424261 w 1879986"/>
                  <a:gd name="connsiteY8" fmla="*/ 1397278 h 3296340"/>
                  <a:gd name="connsiteX9" fmla="*/ 334112 w 1879986"/>
                  <a:gd name="connsiteY9" fmla="*/ 1290719 h 3296340"/>
                  <a:gd name="connsiteX10" fmla="*/ 328934 w 1879986"/>
                  <a:gd name="connsiteY10" fmla="*/ 1269031 h 3296340"/>
                  <a:gd name="connsiteX11" fmla="*/ 356286 w 1879986"/>
                  <a:gd name="connsiteY11" fmla="*/ 1268519 h 3296340"/>
                  <a:gd name="connsiteX12" fmla="*/ 353118 w 1879986"/>
                  <a:gd name="connsiteY12" fmla="*/ 1138495 h 3296340"/>
                  <a:gd name="connsiteX13" fmla="*/ 234935 w 1879986"/>
                  <a:gd name="connsiteY13" fmla="*/ 1138830 h 3296340"/>
                  <a:gd name="connsiteX14" fmla="*/ 235339 w 1879986"/>
                  <a:gd name="connsiteY14" fmla="*/ 923254 h 3296340"/>
                  <a:gd name="connsiteX15" fmla="*/ 603374 w 1879986"/>
                  <a:gd name="connsiteY15" fmla="*/ 237848 h 3296340"/>
                  <a:gd name="connsiteX16" fmla="*/ 1680415 w 1879986"/>
                  <a:gd name="connsiteY16" fmla="*/ 1068728 h 3296340"/>
                  <a:gd name="connsiteX17" fmla="*/ 1879986 w 1879986"/>
                  <a:gd name="connsiteY17" fmla="*/ 1081411 h 3296340"/>
                  <a:gd name="connsiteX18" fmla="*/ 1816630 w 1879986"/>
                  <a:gd name="connsiteY18" fmla="*/ 913332 h 3296340"/>
                  <a:gd name="connsiteX19" fmla="*/ 958163 w 1879986"/>
                  <a:gd name="connsiteY19" fmla="*/ 0 h 3296340"/>
                  <a:gd name="connsiteX20" fmla="*/ 109261 w 1879986"/>
                  <a:gd name="connsiteY20" fmla="*/ 858457 h 3296340"/>
                  <a:gd name="connsiteX21" fmla="*/ 94804 w 1879986"/>
                  <a:gd name="connsiteY21" fmla="*/ 1146972 h 3296340"/>
                  <a:gd name="connsiteX22" fmla="*/ 9907 w 1879986"/>
                  <a:gd name="connsiteY22" fmla="*/ 1521969 h 3296340"/>
                  <a:gd name="connsiteX23" fmla="*/ 0 w 1879986"/>
                  <a:gd name="connsiteY23" fmla="*/ 2778708 h 3296340"/>
                  <a:gd name="connsiteX24" fmla="*/ 129649 w 1879986"/>
                  <a:gd name="connsiteY24" fmla="*/ 2937112 h 3296340"/>
                  <a:gd name="connsiteX25" fmla="*/ 118764 w 1879986"/>
                  <a:gd name="connsiteY25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03821 w 1879986"/>
                  <a:gd name="connsiteY3" fmla="*/ 2947998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32421 w 1879986"/>
                  <a:gd name="connsiteY6" fmla="*/ 1674369 h 3296340"/>
                  <a:gd name="connsiteX7" fmla="*/ 532421 w 1879986"/>
                  <a:gd name="connsiteY7" fmla="*/ 1521969 h 3296340"/>
                  <a:gd name="connsiteX8" fmla="*/ 368764 w 1879986"/>
                  <a:gd name="connsiteY8" fmla="*/ 1302973 h 3296340"/>
                  <a:gd name="connsiteX9" fmla="*/ 334112 w 1879986"/>
                  <a:gd name="connsiteY9" fmla="*/ 1290719 h 3296340"/>
                  <a:gd name="connsiteX10" fmla="*/ 328934 w 1879986"/>
                  <a:gd name="connsiteY10" fmla="*/ 1269031 h 3296340"/>
                  <a:gd name="connsiteX11" fmla="*/ 356286 w 1879986"/>
                  <a:gd name="connsiteY11" fmla="*/ 1268519 h 3296340"/>
                  <a:gd name="connsiteX12" fmla="*/ 353118 w 1879986"/>
                  <a:gd name="connsiteY12" fmla="*/ 1138495 h 3296340"/>
                  <a:gd name="connsiteX13" fmla="*/ 234935 w 1879986"/>
                  <a:gd name="connsiteY13" fmla="*/ 1138830 h 3296340"/>
                  <a:gd name="connsiteX14" fmla="*/ 235339 w 1879986"/>
                  <a:gd name="connsiteY14" fmla="*/ 923254 h 3296340"/>
                  <a:gd name="connsiteX15" fmla="*/ 603374 w 1879986"/>
                  <a:gd name="connsiteY15" fmla="*/ 237848 h 3296340"/>
                  <a:gd name="connsiteX16" fmla="*/ 1680415 w 1879986"/>
                  <a:gd name="connsiteY16" fmla="*/ 1068728 h 3296340"/>
                  <a:gd name="connsiteX17" fmla="*/ 1879986 w 1879986"/>
                  <a:gd name="connsiteY17" fmla="*/ 1081411 h 3296340"/>
                  <a:gd name="connsiteX18" fmla="*/ 1816630 w 1879986"/>
                  <a:gd name="connsiteY18" fmla="*/ 913332 h 3296340"/>
                  <a:gd name="connsiteX19" fmla="*/ 958163 w 1879986"/>
                  <a:gd name="connsiteY19" fmla="*/ 0 h 3296340"/>
                  <a:gd name="connsiteX20" fmla="*/ 109261 w 1879986"/>
                  <a:gd name="connsiteY20" fmla="*/ 858457 h 3296340"/>
                  <a:gd name="connsiteX21" fmla="*/ 94804 w 1879986"/>
                  <a:gd name="connsiteY21" fmla="*/ 1146972 h 3296340"/>
                  <a:gd name="connsiteX22" fmla="*/ 9907 w 1879986"/>
                  <a:gd name="connsiteY22" fmla="*/ 1521969 h 3296340"/>
                  <a:gd name="connsiteX23" fmla="*/ 0 w 1879986"/>
                  <a:gd name="connsiteY23" fmla="*/ 2778708 h 3296340"/>
                  <a:gd name="connsiteX24" fmla="*/ 129649 w 1879986"/>
                  <a:gd name="connsiteY24" fmla="*/ 2937112 h 3296340"/>
                  <a:gd name="connsiteX25" fmla="*/ 118764 w 1879986"/>
                  <a:gd name="connsiteY25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03821 w 1879986"/>
                  <a:gd name="connsiteY3" fmla="*/ 2947998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32421 w 1879986"/>
                  <a:gd name="connsiteY6" fmla="*/ 1674369 h 3296340"/>
                  <a:gd name="connsiteX7" fmla="*/ 542073 w 1879986"/>
                  <a:gd name="connsiteY7" fmla="*/ 1512297 h 3296340"/>
                  <a:gd name="connsiteX8" fmla="*/ 368764 w 1879986"/>
                  <a:gd name="connsiteY8" fmla="*/ 1302973 h 3296340"/>
                  <a:gd name="connsiteX9" fmla="*/ 334112 w 1879986"/>
                  <a:gd name="connsiteY9" fmla="*/ 1290719 h 3296340"/>
                  <a:gd name="connsiteX10" fmla="*/ 328934 w 1879986"/>
                  <a:gd name="connsiteY10" fmla="*/ 1269031 h 3296340"/>
                  <a:gd name="connsiteX11" fmla="*/ 356286 w 1879986"/>
                  <a:gd name="connsiteY11" fmla="*/ 1268519 h 3296340"/>
                  <a:gd name="connsiteX12" fmla="*/ 353118 w 1879986"/>
                  <a:gd name="connsiteY12" fmla="*/ 1138495 h 3296340"/>
                  <a:gd name="connsiteX13" fmla="*/ 234935 w 1879986"/>
                  <a:gd name="connsiteY13" fmla="*/ 1138830 h 3296340"/>
                  <a:gd name="connsiteX14" fmla="*/ 235339 w 1879986"/>
                  <a:gd name="connsiteY14" fmla="*/ 923254 h 3296340"/>
                  <a:gd name="connsiteX15" fmla="*/ 603374 w 1879986"/>
                  <a:gd name="connsiteY15" fmla="*/ 237848 h 3296340"/>
                  <a:gd name="connsiteX16" fmla="*/ 1680415 w 1879986"/>
                  <a:gd name="connsiteY16" fmla="*/ 1068728 h 3296340"/>
                  <a:gd name="connsiteX17" fmla="*/ 1879986 w 1879986"/>
                  <a:gd name="connsiteY17" fmla="*/ 1081411 h 3296340"/>
                  <a:gd name="connsiteX18" fmla="*/ 1816630 w 1879986"/>
                  <a:gd name="connsiteY18" fmla="*/ 913332 h 3296340"/>
                  <a:gd name="connsiteX19" fmla="*/ 958163 w 1879986"/>
                  <a:gd name="connsiteY19" fmla="*/ 0 h 3296340"/>
                  <a:gd name="connsiteX20" fmla="*/ 109261 w 1879986"/>
                  <a:gd name="connsiteY20" fmla="*/ 858457 h 3296340"/>
                  <a:gd name="connsiteX21" fmla="*/ 94804 w 1879986"/>
                  <a:gd name="connsiteY21" fmla="*/ 1146972 h 3296340"/>
                  <a:gd name="connsiteX22" fmla="*/ 9907 w 1879986"/>
                  <a:gd name="connsiteY22" fmla="*/ 1521969 h 3296340"/>
                  <a:gd name="connsiteX23" fmla="*/ 0 w 1879986"/>
                  <a:gd name="connsiteY23" fmla="*/ 2778708 h 3296340"/>
                  <a:gd name="connsiteX24" fmla="*/ 129649 w 1879986"/>
                  <a:gd name="connsiteY24" fmla="*/ 2937112 h 3296340"/>
                  <a:gd name="connsiteX25" fmla="*/ 118764 w 1879986"/>
                  <a:gd name="connsiteY25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03821 w 1879986"/>
                  <a:gd name="connsiteY3" fmla="*/ 2947998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56550 w 1879986"/>
                  <a:gd name="connsiteY6" fmla="*/ 1594571 h 3296340"/>
                  <a:gd name="connsiteX7" fmla="*/ 542073 w 1879986"/>
                  <a:gd name="connsiteY7" fmla="*/ 1512297 h 3296340"/>
                  <a:gd name="connsiteX8" fmla="*/ 368764 w 1879986"/>
                  <a:gd name="connsiteY8" fmla="*/ 1302973 h 3296340"/>
                  <a:gd name="connsiteX9" fmla="*/ 334112 w 1879986"/>
                  <a:gd name="connsiteY9" fmla="*/ 1290719 h 3296340"/>
                  <a:gd name="connsiteX10" fmla="*/ 328934 w 1879986"/>
                  <a:gd name="connsiteY10" fmla="*/ 1269031 h 3296340"/>
                  <a:gd name="connsiteX11" fmla="*/ 356286 w 1879986"/>
                  <a:gd name="connsiteY11" fmla="*/ 1268519 h 3296340"/>
                  <a:gd name="connsiteX12" fmla="*/ 353118 w 1879986"/>
                  <a:gd name="connsiteY12" fmla="*/ 1138495 h 3296340"/>
                  <a:gd name="connsiteX13" fmla="*/ 234935 w 1879986"/>
                  <a:gd name="connsiteY13" fmla="*/ 1138830 h 3296340"/>
                  <a:gd name="connsiteX14" fmla="*/ 235339 w 1879986"/>
                  <a:gd name="connsiteY14" fmla="*/ 923254 h 3296340"/>
                  <a:gd name="connsiteX15" fmla="*/ 603374 w 1879986"/>
                  <a:gd name="connsiteY15" fmla="*/ 237848 h 3296340"/>
                  <a:gd name="connsiteX16" fmla="*/ 1680415 w 1879986"/>
                  <a:gd name="connsiteY16" fmla="*/ 1068728 h 3296340"/>
                  <a:gd name="connsiteX17" fmla="*/ 1879986 w 1879986"/>
                  <a:gd name="connsiteY17" fmla="*/ 1081411 h 3296340"/>
                  <a:gd name="connsiteX18" fmla="*/ 1816630 w 1879986"/>
                  <a:gd name="connsiteY18" fmla="*/ 913332 h 3296340"/>
                  <a:gd name="connsiteX19" fmla="*/ 958163 w 1879986"/>
                  <a:gd name="connsiteY19" fmla="*/ 0 h 3296340"/>
                  <a:gd name="connsiteX20" fmla="*/ 109261 w 1879986"/>
                  <a:gd name="connsiteY20" fmla="*/ 858457 h 3296340"/>
                  <a:gd name="connsiteX21" fmla="*/ 94804 w 1879986"/>
                  <a:gd name="connsiteY21" fmla="*/ 1146972 h 3296340"/>
                  <a:gd name="connsiteX22" fmla="*/ 9907 w 1879986"/>
                  <a:gd name="connsiteY22" fmla="*/ 1521969 h 3296340"/>
                  <a:gd name="connsiteX23" fmla="*/ 0 w 1879986"/>
                  <a:gd name="connsiteY23" fmla="*/ 2778708 h 3296340"/>
                  <a:gd name="connsiteX24" fmla="*/ 129649 w 1879986"/>
                  <a:gd name="connsiteY24" fmla="*/ 2937112 h 3296340"/>
                  <a:gd name="connsiteX25" fmla="*/ 118764 w 1879986"/>
                  <a:gd name="connsiteY25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03821 w 1879986"/>
                  <a:gd name="connsiteY3" fmla="*/ 2947998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56550 w 1879986"/>
                  <a:gd name="connsiteY6" fmla="*/ 1594571 h 3296340"/>
                  <a:gd name="connsiteX7" fmla="*/ 542073 w 1879986"/>
                  <a:gd name="connsiteY7" fmla="*/ 1512297 h 3296340"/>
                  <a:gd name="connsiteX8" fmla="*/ 368764 w 1879986"/>
                  <a:gd name="connsiteY8" fmla="*/ 1302973 h 3296340"/>
                  <a:gd name="connsiteX9" fmla="*/ 329287 w 1879986"/>
                  <a:gd name="connsiteY9" fmla="*/ 1302809 h 3296340"/>
                  <a:gd name="connsiteX10" fmla="*/ 328934 w 1879986"/>
                  <a:gd name="connsiteY10" fmla="*/ 1269031 h 3296340"/>
                  <a:gd name="connsiteX11" fmla="*/ 356286 w 1879986"/>
                  <a:gd name="connsiteY11" fmla="*/ 1268519 h 3296340"/>
                  <a:gd name="connsiteX12" fmla="*/ 353118 w 1879986"/>
                  <a:gd name="connsiteY12" fmla="*/ 1138495 h 3296340"/>
                  <a:gd name="connsiteX13" fmla="*/ 234935 w 1879986"/>
                  <a:gd name="connsiteY13" fmla="*/ 1138830 h 3296340"/>
                  <a:gd name="connsiteX14" fmla="*/ 235339 w 1879986"/>
                  <a:gd name="connsiteY14" fmla="*/ 923254 h 3296340"/>
                  <a:gd name="connsiteX15" fmla="*/ 603374 w 1879986"/>
                  <a:gd name="connsiteY15" fmla="*/ 237848 h 3296340"/>
                  <a:gd name="connsiteX16" fmla="*/ 1680415 w 1879986"/>
                  <a:gd name="connsiteY16" fmla="*/ 1068728 h 3296340"/>
                  <a:gd name="connsiteX17" fmla="*/ 1879986 w 1879986"/>
                  <a:gd name="connsiteY17" fmla="*/ 1081411 h 3296340"/>
                  <a:gd name="connsiteX18" fmla="*/ 1816630 w 1879986"/>
                  <a:gd name="connsiteY18" fmla="*/ 913332 h 3296340"/>
                  <a:gd name="connsiteX19" fmla="*/ 958163 w 1879986"/>
                  <a:gd name="connsiteY19" fmla="*/ 0 h 3296340"/>
                  <a:gd name="connsiteX20" fmla="*/ 109261 w 1879986"/>
                  <a:gd name="connsiteY20" fmla="*/ 858457 h 3296340"/>
                  <a:gd name="connsiteX21" fmla="*/ 94804 w 1879986"/>
                  <a:gd name="connsiteY21" fmla="*/ 1146972 h 3296340"/>
                  <a:gd name="connsiteX22" fmla="*/ 9907 w 1879986"/>
                  <a:gd name="connsiteY22" fmla="*/ 1521969 h 3296340"/>
                  <a:gd name="connsiteX23" fmla="*/ 0 w 1879986"/>
                  <a:gd name="connsiteY23" fmla="*/ 2778708 h 3296340"/>
                  <a:gd name="connsiteX24" fmla="*/ 129649 w 1879986"/>
                  <a:gd name="connsiteY24" fmla="*/ 2937112 h 3296340"/>
                  <a:gd name="connsiteX25" fmla="*/ 118764 w 1879986"/>
                  <a:gd name="connsiteY25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23124 w 1879986"/>
                  <a:gd name="connsiteY3" fmla="*/ 3071321 h 3296340"/>
                  <a:gd name="connsiteX4" fmla="*/ 434449 w 1879986"/>
                  <a:gd name="connsiteY4" fmla="*/ 2806483 h 3296340"/>
                  <a:gd name="connsiteX5" fmla="*/ 543307 w 1879986"/>
                  <a:gd name="connsiteY5" fmla="*/ 2686740 h 3296340"/>
                  <a:gd name="connsiteX6" fmla="*/ 556550 w 1879986"/>
                  <a:gd name="connsiteY6" fmla="*/ 1594571 h 3296340"/>
                  <a:gd name="connsiteX7" fmla="*/ 542073 w 1879986"/>
                  <a:gd name="connsiteY7" fmla="*/ 1512297 h 3296340"/>
                  <a:gd name="connsiteX8" fmla="*/ 368764 w 1879986"/>
                  <a:gd name="connsiteY8" fmla="*/ 1302973 h 3296340"/>
                  <a:gd name="connsiteX9" fmla="*/ 329287 w 1879986"/>
                  <a:gd name="connsiteY9" fmla="*/ 1302809 h 3296340"/>
                  <a:gd name="connsiteX10" fmla="*/ 328934 w 1879986"/>
                  <a:gd name="connsiteY10" fmla="*/ 1269031 h 3296340"/>
                  <a:gd name="connsiteX11" fmla="*/ 356286 w 1879986"/>
                  <a:gd name="connsiteY11" fmla="*/ 1268519 h 3296340"/>
                  <a:gd name="connsiteX12" fmla="*/ 353118 w 1879986"/>
                  <a:gd name="connsiteY12" fmla="*/ 1138495 h 3296340"/>
                  <a:gd name="connsiteX13" fmla="*/ 234935 w 1879986"/>
                  <a:gd name="connsiteY13" fmla="*/ 1138830 h 3296340"/>
                  <a:gd name="connsiteX14" fmla="*/ 235339 w 1879986"/>
                  <a:gd name="connsiteY14" fmla="*/ 923254 h 3296340"/>
                  <a:gd name="connsiteX15" fmla="*/ 603374 w 1879986"/>
                  <a:gd name="connsiteY15" fmla="*/ 237848 h 3296340"/>
                  <a:gd name="connsiteX16" fmla="*/ 1680415 w 1879986"/>
                  <a:gd name="connsiteY16" fmla="*/ 1068728 h 3296340"/>
                  <a:gd name="connsiteX17" fmla="*/ 1879986 w 1879986"/>
                  <a:gd name="connsiteY17" fmla="*/ 1081411 h 3296340"/>
                  <a:gd name="connsiteX18" fmla="*/ 1816630 w 1879986"/>
                  <a:gd name="connsiteY18" fmla="*/ 913332 h 3296340"/>
                  <a:gd name="connsiteX19" fmla="*/ 958163 w 1879986"/>
                  <a:gd name="connsiteY19" fmla="*/ 0 h 3296340"/>
                  <a:gd name="connsiteX20" fmla="*/ 109261 w 1879986"/>
                  <a:gd name="connsiteY20" fmla="*/ 858457 h 3296340"/>
                  <a:gd name="connsiteX21" fmla="*/ 94804 w 1879986"/>
                  <a:gd name="connsiteY21" fmla="*/ 1146972 h 3296340"/>
                  <a:gd name="connsiteX22" fmla="*/ 9907 w 1879986"/>
                  <a:gd name="connsiteY22" fmla="*/ 1521969 h 3296340"/>
                  <a:gd name="connsiteX23" fmla="*/ 0 w 1879986"/>
                  <a:gd name="connsiteY23" fmla="*/ 2778708 h 3296340"/>
                  <a:gd name="connsiteX24" fmla="*/ 129649 w 1879986"/>
                  <a:gd name="connsiteY24" fmla="*/ 2937112 h 3296340"/>
                  <a:gd name="connsiteX25" fmla="*/ 118764 w 1879986"/>
                  <a:gd name="connsiteY25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23124 w 1879986"/>
                  <a:gd name="connsiteY3" fmla="*/ 3071321 h 3296340"/>
                  <a:gd name="connsiteX4" fmla="*/ 511661 w 1879986"/>
                  <a:gd name="connsiteY4" fmla="*/ 2854845 h 3296340"/>
                  <a:gd name="connsiteX5" fmla="*/ 543307 w 1879986"/>
                  <a:gd name="connsiteY5" fmla="*/ 2686740 h 3296340"/>
                  <a:gd name="connsiteX6" fmla="*/ 556550 w 1879986"/>
                  <a:gd name="connsiteY6" fmla="*/ 1594571 h 3296340"/>
                  <a:gd name="connsiteX7" fmla="*/ 542073 w 1879986"/>
                  <a:gd name="connsiteY7" fmla="*/ 1512297 h 3296340"/>
                  <a:gd name="connsiteX8" fmla="*/ 368764 w 1879986"/>
                  <a:gd name="connsiteY8" fmla="*/ 1302973 h 3296340"/>
                  <a:gd name="connsiteX9" fmla="*/ 329287 w 1879986"/>
                  <a:gd name="connsiteY9" fmla="*/ 1302809 h 3296340"/>
                  <a:gd name="connsiteX10" fmla="*/ 328934 w 1879986"/>
                  <a:gd name="connsiteY10" fmla="*/ 1269031 h 3296340"/>
                  <a:gd name="connsiteX11" fmla="*/ 356286 w 1879986"/>
                  <a:gd name="connsiteY11" fmla="*/ 1268519 h 3296340"/>
                  <a:gd name="connsiteX12" fmla="*/ 353118 w 1879986"/>
                  <a:gd name="connsiteY12" fmla="*/ 1138495 h 3296340"/>
                  <a:gd name="connsiteX13" fmla="*/ 234935 w 1879986"/>
                  <a:gd name="connsiteY13" fmla="*/ 1138830 h 3296340"/>
                  <a:gd name="connsiteX14" fmla="*/ 235339 w 1879986"/>
                  <a:gd name="connsiteY14" fmla="*/ 923254 h 3296340"/>
                  <a:gd name="connsiteX15" fmla="*/ 603374 w 1879986"/>
                  <a:gd name="connsiteY15" fmla="*/ 237848 h 3296340"/>
                  <a:gd name="connsiteX16" fmla="*/ 1680415 w 1879986"/>
                  <a:gd name="connsiteY16" fmla="*/ 1068728 h 3296340"/>
                  <a:gd name="connsiteX17" fmla="*/ 1879986 w 1879986"/>
                  <a:gd name="connsiteY17" fmla="*/ 1081411 h 3296340"/>
                  <a:gd name="connsiteX18" fmla="*/ 1816630 w 1879986"/>
                  <a:gd name="connsiteY18" fmla="*/ 913332 h 3296340"/>
                  <a:gd name="connsiteX19" fmla="*/ 958163 w 1879986"/>
                  <a:gd name="connsiteY19" fmla="*/ 0 h 3296340"/>
                  <a:gd name="connsiteX20" fmla="*/ 109261 w 1879986"/>
                  <a:gd name="connsiteY20" fmla="*/ 858457 h 3296340"/>
                  <a:gd name="connsiteX21" fmla="*/ 94804 w 1879986"/>
                  <a:gd name="connsiteY21" fmla="*/ 1146972 h 3296340"/>
                  <a:gd name="connsiteX22" fmla="*/ 9907 w 1879986"/>
                  <a:gd name="connsiteY22" fmla="*/ 1521969 h 3296340"/>
                  <a:gd name="connsiteX23" fmla="*/ 0 w 1879986"/>
                  <a:gd name="connsiteY23" fmla="*/ 2778708 h 3296340"/>
                  <a:gd name="connsiteX24" fmla="*/ 129649 w 1879986"/>
                  <a:gd name="connsiteY24" fmla="*/ 2937112 h 3296340"/>
                  <a:gd name="connsiteX25" fmla="*/ 118764 w 1879986"/>
                  <a:gd name="connsiteY25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23124 w 1879986"/>
                  <a:gd name="connsiteY3" fmla="*/ 3071321 h 3296340"/>
                  <a:gd name="connsiteX4" fmla="*/ 511661 w 1879986"/>
                  <a:gd name="connsiteY4" fmla="*/ 2854845 h 3296340"/>
                  <a:gd name="connsiteX5" fmla="*/ 555371 w 1879986"/>
                  <a:gd name="connsiteY5" fmla="*/ 2747193 h 3296340"/>
                  <a:gd name="connsiteX6" fmla="*/ 556550 w 1879986"/>
                  <a:gd name="connsiteY6" fmla="*/ 1594571 h 3296340"/>
                  <a:gd name="connsiteX7" fmla="*/ 542073 w 1879986"/>
                  <a:gd name="connsiteY7" fmla="*/ 1512297 h 3296340"/>
                  <a:gd name="connsiteX8" fmla="*/ 368764 w 1879986"/>
                  <a:gd name="connsiteY8" fmla="*/ 1302973 h 3296340"/>
                  <a:gd name="connsiteX9" fmla="*/ 329287 w 1879986"/>
                  <a:gd name="connsiteY9" fmla="*/ 1302809 h 3296340"/>
                  <a:gd name="connsiteX10" fmla="*/ 328934 w 1879986"/>
                  <a:gd name="connsiteY10" fmla="*/ 1269031 h 3296340"/>
                  <a:gd name="connsiteX11" fmla="*/ 356286 w 1879986"/>
                  <a:gd name="connsiteY11" fmla="*/ 1268519 h 3296340"/>
                  <a:gd name="connsiteX12" fmla="*/ 353118 w 1879986"/>
                  <a:gd name="connsiteY12" fmla="*/ 1138495 h 3296340"/>
                  <a:gd name="connsiteX13" fmla="*/ 234935 w 1879986"/>
                  <a:gd name="connsiteY13" fmla="*/ 1138830 h 3296340"/>
                  <a:gd name="connsiteX14" fmla="*/ 235339 w 1879986"/>
                  <a:gd name="connsiteY14" fmla="*/ 923254 h 3296340"/>
                  <a:gd name="connsiteX15" fmla="*/ 603374 w 1879986"/>
                  <a:gd name="connsiteY15" fmla="*/ 237848 h 3296340"/>
                  <a:gd name="connsiteX16" fmla="*/ 1680415 w 1879986"/>
                  <a:gd name="connsiteY16" fmla="*/ 1068728 h 3296340"/>
                  <a:gd name="connsiteX17" fmla="*/ 1879986 w 1879986"/>
                  <a:gd name="connsiteY17" fmla="*/ 1081411 h 3296340"/>
                  <a:gd name="connsiteX18" fmla="*/ 1816630 w 1879986"/>
                  <a:gd name="connsiteY18" fmla="*/ 913332 h 3296340"/>
                  <a:gd name="connsiteX19" fmla="*/ 958163 w 1879986"/>
                  <a:gd name="connsiteY19" fmla="*/ 0 h 3296340"/>
                  <a:gd name="connsiteX20" fmla="*/ 109261 w 1879986"/>
                  <a:gd name="connsiteY20" fmla="*/ 858457 h 3296340"/>
                  <a:gd name="connsiteX21" fmla="*/ 94804 w 1879986"/>
                  <a:gd name="connsiteY21" fmla="*/ 1146972 h 3296340"/>
                  <a:gd name="connsiteX22" fmla="*/ 9907 w 1879986"/>
                  <a:gd name="connsiteY22" fmla="*/ 1521969 h 3296340"/>
                  <a:gd name="connsiteX23" fmla="*/ 0 w 1879986"/>
                  <a:gd name="connsiteY23" fmla="*/ 2778708 h 3296340"/>
                  <a:gd name="connsiteX24" fmla="*/ 129649 w 1879986"/>
                  <a:gd name="connsiteY24" fmla="*/ 2937112 h 3296340"/>
                  <a:gd name="connsiteX25" fmla="*/ 118764 w 1879986"/>
                  <a:gd name="connsiteY25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23124 w 1879986"/>
                  <a:gd name="connsiteY3" fmla="*/ 3071321 h 3296340"/>
                  <a:gd name="connsiteX4" fmla="*/ 511661 w 1879986"/>
                  <a:gd name="connsiteY4" fmla="*/ 2854845 h 3296340"/>
                  <a:gd name="connsiteX5" fmla="*/ 555371 w 1879986"/>
                  <a:gd name="connsiteY5" fmla="*/ 2747193 h 3296340"/>
                  <a:gd name="connsiteX6" fmla="*/ 556550 w 1879986"/>
                  <a:gd name="connsiteY6" fmla="*/ 1594571 h 3296340"/>
                  <a:gd name="connsiteX7" fmla="*/ 542073 w 1879986"/>
                  <a:gd name="connsiteY7" fmla="*/ 1512297 h 3296340"/>
                  <a:gd name="connsiteX8" fmla="*/ 368764 w 1879986"/>
                  <a:gd name="connsiteY8" fmla="*/ 1302973 h 3296340"/>
                  <a:gd name="connsiteX9" fmla="*/ 329287 w 1879986"/>
                  <a:gd name="connsiteY9" fmla="*/ 1302809 h 3296340"/>
                  <a:gd name="connsiteX10" fmla="*/ 328934 w 1879986"/>
                  <a:gd name="connsiteY10" fmla="*/ 1269031 h 3296340"/>
                  <a:gd name="connsiteX11" fmla="*/ 356286 w 1879986"/>
                  <a:gd name="connsiteY11" fmla="*/ 1268519 h 3296340"/>
                  <a:gd name="connsiteX12" fmla="*/ 353118 w 1879986"/>
                  <a:gd name="connsiteY12" fmla="*/ 1138495 h 3296340"/>
                  <a:gd name="connsiteX13" fmla="*/ 234935 w 1879986"/>
                  <a:gd name="connsiteY13" fmla="*/ 1138830 h 3296340"/>
                  <a:gd name="connsiteX14" fmla="*/ 235339 w 1879986"/>
                  <a:gd name="connsiteY14" fmla="*/ 923254 h 3296340"/>
                  <a:gd name="connsiteX15" fmla="*/ 603374 w 1879986"/>
                  <a:gd name="connsiteY15" fmla="*/ 237848 h 3296340"/>
                  <a:gd name="connsiteX16" fmla="*/ 1680415 w 1879986"/>
                  <a:gd name="connsiteY16" fmla="*/ 1068728 h 3296340"/>
                  <a:gd name="connsiteX17" fmla="*/ 1879986 w 1879986"/>
                  <a:gd name="connsiteY17" fmla="*/ 1081411 h 3296340"/>
                  <a:gd name="connsiteX18" fmla="*/ 1816630 w 1879986"/>
                  <a:gd name="connsiteY18" fmla="*/ 913332 h 3296340"/>
                  <a:gd name="connsiteX19" fmla="*/ 958163 w 1879986"/>
                  <a:gd name="connsiteY19" fmla="*/ 0 h 3296340"/>
                  <a:gd name="connsiteX20" fmla="*/ 109261 w 1879986"/>
                  <a:gd name="connsiteY20" fmla="*/ 858457 h 3296340"/>
                  <a:gd name="connsiteX21" fmla="*/ 94804 w 1879986"/>
                  <a:gd name="connsiteY21" fmla="*/ 1146972 h 3296340"/>
                  <a:gd name="connsiteX22" fmla="*/ 9907 w 1879986"/>
                  <a:gd name="connsiteY22" fmla="*/ 1521969 h 3296340"/>
                  <a:gd name="connsiteX23" fmla="*/ 0 w 1879986"/>
                  <a:gd name="connsiteY23" fmla="*/ 2778708 h 3296340"/>
                  <a:gd name="connsiteX24" fmla="*/ 129649 w 1879986"/>
                  <a:gd name="connsiteY24" fmla="*/ 2937112 h 3296340"/>
                  <a:gd name="connsiteX25" fmla="*/ 118764 w 1879986"/>
                  <a:gd name="connsiteY25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49393 w 1879986"/>
                  <a:gd name="connsiteY2" fmla="*/ 3078626 h 3296340"/>
                  <a:gd name="connsiteX3" fmla="*/ 323124 w 1879986"/>
                  <a:gd name="connsiteY3" fmla="*/ 3071321 h 3296340"/>
                  <a:gd name="connsiteX4" fmla="*/ 511661 w 1879986"/>
                  <a:gd name="connsiteY4" fmla="*/ 2854845 h 3296340"/>
                  <a:gd name="connsiteX5" fmla="*/ 555371 w 1879986"/>
                  <a:gd name="connsiteY5" fmla="*/ 2747193 h 3296340"/>
                  <a:gd name="connsiteX6" fmla="*/ 556550 w 1879986"/>
                  <a:gd name="connsiteY6" fmla="*/ 1594571 h 3296340"/>
                  <a:gd name="connsiteX7" fmla="*/ 542073 w 1879986"/>
                  <a:gd name="connsiteY7" fmla="*/ 1512297 h 3296340"/>
                  <a:gd name="connsiteX8" fmla="*/ 368764 w 1879986"/>
                  <a:gd name="connsiteY8" fmla="*/ 1302973 h 3296340"/>
                  <a:gd name="connsiteX9" fmla="*/ 329287 w 1879986"/>
                  <a:gd name="connsiteY9" fmla="*/ 1302809 h 3296340"/>
                  <a:gd name="connsiteX10" fmla="*/ 328934 w 1879986"/>
                  <a:gd name="connsiteY10" fmla="*/ 1269031 h 3296340"/>
                  <a:gd name="connsiteX11" fmla="*/ 356286 w 1879986"/>
                  <a:gd name="connsiteY11" fmla="*/ 1268519 h 3296340"/>
                  <a:gd name="connsiteX12" fmla="*/ 353118 w 1879986"/>
                  <a:gd name="connsiteY12" fmla="*/ 1138495 h 3296340"/>
                  <a:gd name="connsiteX13" fmla="*/ 234935 w 1879986"/>
                  <a:gd name="connsiteY13" fmla="*/ 1138830 h 3296340"/>
                  <a:gd name="connsiteX14" fmla="*/ 235339 w 1879986"/>
                  <a:gd name="connsiteY14" fmla="*/ 923254 h 3296340"/>
                  <a:gd name="connsiteX15" fmla="*/ 603374 w 1879986"/>
                  <a:gd name="connsiteY15" fmla="*/ 237848 h 3296340"/>
                  <a:gd name="connsiteX16" fmla="*/ 1680415 w 1879986"/>
                  <a:gd name="connsiteY16" fmla="*/ 1068728 h 3296340"/>
                  <a:gd name="connsiteX17" fmla="*/ 1879986 w 1879986"/>
                  <a:gd name="connsiteY17" fmla="*/ 1081411 h 3296340"/>
                  <a:gd name="connsiteX18" fmla="*/ 1816630 w 1879986"/>
                  <a:gd name="connsiteY18" fmla="*/ 913332 h 3296340"/>
                  <a:gd name="connsiteX19" fmla="*/ 958163 w 1879986"/>
                  <a:gd name="connsiteY19" fmla="*/ 0 h 3296340"/>
                  <a:gd name="connsiteX20" fmla="*/ 109261 w 1879986"/>
                  <a:gd name="connsiteY20" fmla="*/ 858457 h 3296340"/>
                  <a:gd name="connsiteX21" fmla="*/ 94804 w 1879986"/>
                  <a:gd name="connsiteY21" fmla="*/ 1146972 h 3296340"/>
                  <a:gd name="connsiteX22" fmla="*/ 9907 w 1879986"/>
                  <a:gd name="connsiteY22" fmla="*/ 1521969 h 3296340"/>
                  <a:gd name="connsiteX23" fmla="*/ 0 w 1879986"/>
                  <a:gd name="connsiteY23" fmla="*/ 2778708 h 3296340"/>
                  <a:gd name="connsiteX24" fmla="*/ 129649 w 1879986"/>
                  <a:gd name="connsiteY24" fmla="*/ 2937112 h 3296340"/>
                  <a:gd name="connsiteX25" fmla="*/ 118764 w 1879986"/>
                  <a:gd name="connsiteY25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319367 w 1879986"/>
                  <a:gd name="connsiteY2" fmla="*/ 3160841 h 3296340"/>
                  <a:gd name="connsiteX3" fmla="*/ 323124 w 1879986"/>
                  <a:gd name="connsiteY3" fmla="*/ 3071321 h 3296340"/>
                  <a:gd name="connsiteX4" fmla="*/ 511661 w 1879986"/>
                  <a:gd name="connsiteY4" fmla="*/ 2854845 h 3296340"/>
                  <a:gd name="connsiteX5" fmla="*/ 555371 w 1879986"/>
                  <a:gd name="connsiteY5" fmla="*/ 2747193 h 3296340"/>
                  <a:gd name="connsiteX6" fmla="*/ 556550 w 1879986"/>
                  <a:gd name="connsiteY6" fmla="*/ 1594571 h 3296340"/>
                  <a:gd name="connsiteX7" fmla="*/ 542073 w 1879986"/>
                  <a:gd name="connsiteY7" fmla="*/ 1512297 h 3296340"/>
                  <a:gd name="connsiteX8" fmla="*/ 368764 w 1879986"/>
                  <a:gd name="connsiteY8" fmla="*/ 1302973 h 3296340"/>
                  <a:gd name="connsiteX9" fmla="*/ 329287 w 1879986"/>
                  <a:gd name="connsiteY9" fmla="*/ 1302809 h 3296340"/>
                  <a:gd name="connsiteX10" fmla="*/ 328934 w 1879986"/>
                  <a:gd name="connsiteY10" fmla="*/ 1269031 h 3296340"/>
                  <a:gd name="connsiteX11" fmla="*/ 356286 w 1879986"/>
                  <a:gd name="connsiteY11" fmla="*/ 1268519 h 3296340"/>
                  <a:gd name="connsiteX12" fmla="*/ 353118 w 1879986"/>
                  <a:gd name="connsiteY12" fmla="*/ 1138495 h 3296340"/>
                  <a:gd name="connsiteX13" fmla="*/ 234935 w 1879986"/>
                  <a:gd name="connsiteY13" fmla="*/ 1138830 h 3296340"/>
                  <a:gd name="connsiteX14" fmla="*/ 235339 w 1879986"/>
                  <a:gd name="connsiteY14" fmla="*/ 923254 h 3296340"/>
                  <a:gd name="connsiteX15" fmla="*/ 603374 w 1879986"/>
                  <a:gd name="connsiteY15" fmla="*/ 237848 h 3296340"/>
                  <a:gd name="connsiteX16" fmla="*/ 1680415 w 1879986"/>
                  <a:gd name="connsiteY16" fmla="*/ 1068728 h 3296340"/>
                  <a:gd name="connsiteX17" fmla="*/ 1879986 w 1879986"/>
                  <a:gd name="connsiteY17" fmla="*/ 1081411 h 3296340"/>
                  <a:gd name="connsiteX18" fmla="*/ 1816630 w 1879986"/>
                  <a:gd name="connsiteY18" fmla="*/ 913332 h 3296340"/>
                  <a:gd name="connsiteX19" fmla="*/ 958163 w 1879986"/>
                  <a:gd name="connsiteY19" fmla="*/ 0 h 3296340"/>
                  <a:gd name="connsiteX20" fmla="*/ 109261 w 1879986"/>
                  <a:gd name="connsiteY20" fmla="*/ 858457 h 3296340"/>
                  <a:gd name="connsiteX21" fmla="*/ 94804 w 1879986"/>
                  <a:gd name="connsiteY21" fmla="*/ 1146972 h 3296340"/>
                  <a:gd name="connsiteX22" fmla="*/ 9907 w 1879986"/>
                  <a:gd name="connsiteY22" fmla="*/ 1521969 h 3296340"/>
                  <a:gd name="connsiteX23" fmla="*/ 0 w 1879986"/>
                  <a:gd name="connsiteY23" fmla="*/ 2778708 h 3296340"/>
                  <a:gd name="connsiteX24" fmla="*/ 129649 w 1879986"/>
                  <a:gd name="connsiteY24" fmla="*/ 2937112 h 3296340"/>
                  <a:gd name="connsiteX25" fmla="*/ 118764 w 1879986"/>
                  <a:gd name="connsiteY25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81901 w 1879986"/>
                  <a:gd name="connsiteY2" fmla="*/ 3247122 h 3296340"/>
                  <a:gd name="connsiteX3" fmla="*/ 319367 w 1879986"/>
                  <a:gd name="connsiteY3" fmla="*/ 3160841 h 3296340"/>
                  <a:gd name="connsiteX4" fmla="*/ 323124 w 1879986"/>
                  <a:gd name="connsiteY4" fmla="*/ 3071321 h 3296340"/>
                  <a:gd name="connsiteX5" fmla="*/ 511661 w 1879986"/>
                  <a:gd name="connsiteY5" fmla="*/ 2854845 h 3296340"/>
                  <a:gd name="connsiteX6" fmla="*/ 555371 w 1879986"/>
                  <a:gd name="connsiteY6" fmla="*/ 2747193 h 3296340"/>
                  <a:gd name="connsiteX7" fmla="*/ 556550 w 1879986"/>
                  <a:gd name="connsiteY7" fmla="*/ 1594571 h 3296340"/>
                  <a:gd name="connsiteX8" fmla="*/ 542073 w 1879986"/>
                  <a:gd name="connsiteY8" fmla="*/ 1512297 h 3296340"/>
                  <a:gd name="connsiteX9" fmla="*/ 368764 w 1879986"/>
                  <a:gd name="connsiteY9" fmla="*/ 1302973 h 3296340"/>
                  <a:gd name="connsiteX10" fmla="*/ 329287 w 1879986"/>
                  <a:gd name="connsiteY10" fmla="*/ 1302809 h 3296340"/>
                  <a:gd name="connsiteX11" fmla="*/ 328934 w 1879986"/>
                  <a:gd name="connsiteY11" fmla="*/ 1269031 h 3296340"/>
                  <a:gd name="connsiteX12" fmla="*/ 356286 w 1879986"/>
                  <a:gd name="connsiteY12" fmla="*/ 1268519 h 3296340"/>
                  <a:gd name="connsiteX13" fmla="*/ 353118 w 1879986"/>
                  <a:gd name="connsiteY13" fmla="*/ 1138495 h 3296340"/>
                  <a:gd name="connsiteX14" fmla="*/ 234935 w 1879986"/>
                  <a:gd name="connsiteY14" fmla="*/ 1138830 h 3296340"/>
                  <a:gd name="connsiteX15" fmla="*/ 235339 w 1879986"/>
                  <a:gd name="connsiteY15" fmla="*/ 923254 h 3296340"/>
                  <a:gd name="connsiteX16" fmla="*/ 603374 w 1879986"/>
                  <a:gd name="connsiteY16" fmla="*/ 237848 h 3296340"/>
                  <a:gd name="connsiteX17" fmla="*/ 1680415 w 1879986"/>
                  <a:gd name="connsiteY17" fmla="*/ 1068728 h 3296340"/>
                  <a:gd name="connsiteX18" fmla="*/ 1879986 w 1879986"/>
                  <a:gd name="connsiteY18" fmla="*/ 1081411 h 3296340"/>
                  <a:gd name="connsiteX19" fmla="*/ 1816630 w 1879986"/>
                  <a:gd name="connsiteY19" fmla="*/ 913332 h 3296340"/>
                  <a:gd name="connsiteX20" fmla="*/ 958163 w 1879986"/>
                  <a:gd name="connsiteY20" fmla="*/ 0 h 3296340"/>
                  <a:gd name="connsiteX21" fmla="*/ 109261 w 1879986"/>
                  <a:gd name="connsiteY21" fmla="*/ 858457 h 3296340"/>
                  <a:gd name="connsiteX22" fmla="*/ 94804 w 1879986"/>
                  <a:gd name="connsiteY22" fmla="*/ 1146972 h 3296340"/>
                  <a:gd name="connsiteX23" fmla="*/ 9907 w 1879986"/>
                  <a:gd name="connsiteY23" fmla="*/ 1521969 h 3296340"/>
                  <a:gd name="connsiteX24" fmla="*/ 0 w 1879986"/>
                  <a:gd name="connsiteY24" fmla="*/ 2778708 h 3296340"/>
                  <a:gd name="connsiteX25" fmla="*/ 129649 w 1879986"/>
                  <a:gd name="connsiteY25" fmla="*/ 2937112 h 3296340"/>
                  <a:gd name="connsiteX26" fmla="*/ 118764 w 1879986"/>
                  <a:gd name="connsiteY26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31230 w 1879986"/>
                  <a:gd name="connsiteY2" fmla="*/ 3169743 h 3296340"/>
                  <a:gd name="connsiteX3" fmla="*/ 319367 w 1879986"/>
                  <a:gd name="connsiteY3" fmla="*/ 3160841 h 3296340"/>
                  <a:gd name="connsiteX4" fmla="*/ 323124 w 1879986"/>
                  <a:gd name="connsiteY4" fmla="*/ 3071321 h 3296340"/>
                  <a:gd name="connsiteX5" fmla="*/ 511661 w 1879986"/>
                  <a:gd name="connsiteY5" fmla="*/ 2854845 h 3296340"/>
                  <a:gd name="connsiteX6" fmla="*/ 555371 w 1879986"/>
                  <a:gd name="connsiteY6" fmla="*/ 2747193 h 3296340"/>
                  <a:gd name="connsiteX7" fmla="*/ 556550 w 1879986"/>
                  <a:gd name="connsiteY7" fmla="*/ 1594571 h 3296340"/>
                  <a:gd name="connsiteX8" fmla="*/ 542073 w 1879986"/>
                  <a:gd name="connsiteY8" fmla="*/ 1512297 h 3296340"/>
                  <a:gd name="connsiteX9" fmla="*/ 368764 w 1879986"/>
                  <a:gd name="connsiteY9" fmla="*/ 1302973 h 3296340"/>
                  <a:gd name="connsiteX10" fmla="*/ 329287 w 1879986"/>
                  <a:gd name="connsiteY10" fmla="*/ 1302809 h 3296340"/>
                  <a:gd name="connsiteX11" fmla="*/ 328934 w 1879986"/>
                  <a:gd name="connsiteY11" fmla="*/ 1269031 h 3296340"/>
                  <a:gd name="connsiteX12" fmla="*/ 356286 w 1879986"/>
                  <a:gd name="connsiteY12" fmla="*/ 1268519 h 3296340"/>
                  <a:gd name="connsiteX13" fmla="*/ 353118 w 1879986"/>
                  <a:gd name="connsiteY13" fmla="*/ 1138495 h 3296340"/>
                  <a:gd name="connsiteX14" fmla="*/ 234935 w 1879986"/>
                  <a:gd name="connsiteY14" fmla="*/ 1138830 h 3296340"/>
                  <a:gd name="connsiteX15" fmla="*/ 235339 w 1879986"/>
                  <a:gd name="connsiteY15" fmla="*/ 923254 h 3296340"/>
                  <a:gd name="connsiteX16" fmla="*/ 603374 w 1879986"/>
                  <a:gd name="connsiteY16" fmla="*/ 237848 h 3296340"/>
                  <a:gd name="connsiteX17" fmla="*/ 1680415 w 1879986"/>
                  <a:gd name="connsiteY17" fmla="*/ 1068728 h 3296340"/>
                  <a:gd name="connsiteX18" fmla="*/ 1879986 w 1879986"/>
                  <a:gd name="connsiteY18" fmla="*/ 1081411 h 3296340"/>
                  <a:gd name="connsiteX19" fmla="*/ 1816630 w 1879986"/>
                  <a:gd name="connsiteY19" fmla="*/ 913332 h 3296340"/>
                  <a:gd name="connsiteX20" fmla="*/ 958163 w 1879986"/>
                  <a:gd name="connsiteY20" fmla="*/ 0 h 3296340"/>
                  <a:gd name="connsiteX21" fmla="*/ 109261 w 1879986"/>
                  <a:gd name="connsiteY21" fmla="*/ 858457 h 3296340"/>
                  <a:gd name="connsiteX22" fmla="*/ 94804 w 1879986"/>
                  <a:gd name="connsiteY22" fmla="*/ 1146972 h 3296340"/>
                  <a:gd name="connsiteX23" fmla="*/ 9907 w 1879986"/>
                  <a:gd name="connsiteY23" fmla="*/ 1521969 h 3296340"/>
                  <a:gd name="connsiteX24" fmla="*/ 0 w 1879986"/>
                  <a:gd name="connsiteY24" fmla="*/ 2778708 h 3296340"/>
                  <a:gd name="connsiteX25" fmla="*/ 129649 w 1879986"/>
                  <a:gd name="connsiteY25" fmla="*/ 2937112 h 3296340"/>
                  <a:gd name="connsiteX26" fmla="*/ 118764 w 1879986"/>
                  <a:gd name="connsiteY26" fmla="*/ 3296340 h 3296340"/>
                  <a:gd name="connsiteX0" fmla="*/ 118764 w 1879986"/>
                  <a:gd name="connsiteY0" fmla="*/ 3296340 h 3296340"/>
                  <a:gd name="connsiteX1" fmla="*/ 260278 w 1879986"/>
                  <a:gd name="connsiteY1" fmla="*/ 3296340 h 3296340"/>
                  <a:gd name="connsiteX2" fmla="*/ 231230 w 1879986"/>
                  <a:gd name="connsiteY2" fmla="*/ 3169743 h 3296340"/>
                  <a:gd name="connsiteX3" fmla="*/ 319367 w 1879986"/>
                  <a:gd name="connsiteY3" fmla="*/ 3160841 h 3296340"/>
                  <a:gd name="connsiteX4" fmla="*/ 323124 w 1879986"/>
                  <a:gd name="connsiteY4" fmla="*/ 3071321 h 3296340"/>
                  <a:gd name="connsiteX5" fmla="*/ 511661 w 1879986"/>
                  <a:gd name="connsiteY5" fmla="*/ 2854845 h 3296340"/>
                  <a:gd name="connsiteX6" fmla="*/ 555371 w 1879986"/>
                  <a:gd name="connsiteY6" fmla="*/ 2747193 h 3296340"/>
                  <a:gd name="connsiteX7" fmla="*/ 556550 w 1879986"/>
                  <a:gd name="connsiteY7" fmla="*/ 1594571 h 3296340"/>
                  <a:gd name="connsiteX8" fmla="*/ 542073 w 1879986"/>
                  <a:gd name="connsiteY8" fmla="*/ 1512297 h 3296340"/>
                  <a:gd name="connsiteX9" fmla="*/ 368764 w 1879986"/>
                  <a:gd name="connsiteY9" fmla="*/ 1302973 h 3296340"/>
                  <a:gd name="connsiteX10" fmla="*/ 329287 w 1879986"/>
                  <a:gd name="connsiteY10" fmla="*/ 1302809 h 3296340"/>
                  <a:gd name="connsiteX11" fmla="*/ 328934 w 1879986"/>
                  <a:gd name="connsiteY11" fmla="*/ 1269031 h 3296340"/>
                  <a:gd name="connsiteX12" fmla="*/ 356286 w 1879986"/>
                  <a:gd name="connsiteY12" fmla="*/ 1268519 h 3296340"/>
                  <a:gd name="connsiteX13" fmla="*/ 353118 w 1879986"/>
                  <a:gd name="connsiteY13" fmla="*/ 1138495 h 3296340"/>
                  <a:gd name="connsiteX14" fmla="*/ 234935 w 1879986"/>
                  <a:gd name="connsiteY14" fmla="*/ 1138830 h 3296340"/>
                  <a:gd name="connsiteX15" fmla="*/ 235339 w 1879986"/>
                  <a:gd name="connsiteY15" fmla="*/ 923254 h 3296340"/>
                  <a:gd name="connsiteX16" fmla="*/ 603374 w 1879986"/>
                  <a:gd name="connsiteY16" fmla="*/ 237848 h 3296340"/>
                  <a:gd name="connsiteX17" fmla="*/ 1680415 w 1879986"/>
                  <a:gd name="connsiteY17" fmla="*/ 1068728 h 3296340"/>
                  <a:gd name="connsiteX18" fmla="*/ 1879986 w 1879986"/>
                  <a:gd name="connsiteY18" fmla="*/ 1081411 h 3296340"/>
                  <a:gd name="connsiteX19" fmla="*/ 1816630 w 1879986"/>
                  <a:gd name="connsiteY19" fmla="*/ 913332 h 3296340"/>
                  <a:gd name="connsiteX20" fmla="*/ 958163 w 1879986"/>
                  <a:gd name="connsiteY20" fmla="*/ 0 h 3296340"/>
                  <a:gd name="connsiteX21" fmla="*/ 109261 w 1879986"/>
                  <a:gd name="connsiteY21" fmla="*/ 858457 h 3296340"/>
                  <a:gd name="connsiteX22" fmla="*/ 94804 w 1879986"/>
                  <a:gd name="connsiteY22" fmla="*/ 1146972 h 3296340"/>
                  <a:gd name="connsiteX23" fmla="*/ 9907 w 1879986"/>
                  <a:gd name="connsiteY23" fmla="*/ 1521969 h 3296340"/>
                  <a:gd name="connsiteX24" fmla="*/ 0 w 1879986"/>
                  <a:gd name="connsiteY24" fmla="*/ 2778708 h 3296340"/>
                  <a:gd name="connsiteX25" fmla="*/ 95870 w 1879986"/>
                  <a:gd name="connsiteY25" fmla="*/ 3178922 h 3296340"/>
                  <a:gd name="connsiteX26" fmla="*/ 118764 w 1879986"/>
                  <a:gd name="connsiteY26" fmla="*/ 3296340 h 3296340"/>
                  <a:gd name="connsiteX0" fmla="*/ 118764 w 1879986"/>
                  <a:gd name="connsiteY0" fmla="*/ 3296340 h 4072550"/>
                  <a:gd name="connsiteX1" fmla="*/ 573952 w 1879986"/>
                  <a:gd name="connsiteY1" fmla="*/ 4072550 h 4072550"/>
                  <a:gd name="connsiteX2" fmla="*/ 231230 w 1879986"/>
                  <a:gd name="connsiteY2" fmla="*/ 3169743 h 4072550"/>
                  <a:gd name="connsiteX3" fmla="*/ 319367 w 1879986"/>
                  <a:gd name="connsiteY3" fmla="*/ 3160841 h 4072550"/>
                  <a:gd name="connsiteX4" fmla="*/ 323124 w 1879986"/>
                  <a:gd name="connsiteY4" fmla="*/ 3071321 h 4072550"/>
                  <a:gd name="connsiteX5" fmla="*/ 511661 w 1879986"/>
                  <a:gd name="connsiteY5" fmla="*/ 2854845 h 4072550"/>
                  <a:gd name="connsiteX6" fmla="*/ 555371 w 1879986"/>
                  <a:gd name="connsiteY6" fmla="*/ 2747193 h 4072550"/>
                  <a:gd name="connsiteX7" fmla="*/ 556550 w 1879986"/>
                  <a:gd name="connsiteY7" fmla="*/ 1594571 h 4072550"/>
                  <a:gd name="connsiteX8" fmla="*/ 542073 w 1879986"/>
                  <a:gd name="connsiteY8" fmla="*/ 1512297 h 4072550"/>
                  <a:gd name="connsiteX9" fmla="*/ 368764 w 1879986"/>
                  <a:gd name="connsiteY9" fmla="*/ 1302973 h 4072550"/>
                  <a:gd name="connsiteX10" fmla="*/ 329287 w 1879986"/>
                  <a:gd name="connsiteY10" fmla="*/ 1302809 h 4072550"/>
                  <a:gd name="connsiteX11" fmla="*/ 328934 w 1879986"/>
                  <a:gd name="connsiteY11" fmla="*/ 1269031 h 4072550"/>
                  <a:gd name="connsiteX12" fmla="*/ 356286 w 1879986"/>
                  <a:gd name="connsiteY12" fmla="*/ 1268519 h 4072550"/>
                  <a:gd name="connsiteX13" fmla="*/ 353118 w 1879986"/>
                  <a:gd name="connsiteY13" fmla="*/ 1138495 h 4072550"/>
                  <a:gd name="connsiteX14" fmla="*/ 234935 w 1879986"/>
                  <a:gd name="connsiteY14" fmla="*/ 1138830 h 4072550"/>
                  <a:gd name="connsiteX15" fmla="*/ 235339 w 1879986"/>
                  <a:gd name="connsiteY15" fmla="*/ 923254 h 4072550"/>
                  <a:gd name="connsiteX16" fmla="*/ 603374 w 1879986"/>
                  <a:gd name="connsiteY16" fmla="*/ 237848 h 4072550"/>
                  <a:gd name="connsiteX17" fmla="*/ 1680415 w 1879986"/>
                  <a:gd name="connsiteY17" fmla="*/ 1068728 h 4072550"/>
                  <a:gd name="connsiteX18" fmla="*/ 1879986 w 1879986"/>
                  <a:gd name="connsiteY18" fmla="*/ 1081411 h 4072550"/>
                  <a:gd name="connsiteX19" fmla="*/ 1816630 w 1879986"/>
                  <a:gd name="connsiteY19" fmla="*/ 913332 h 4072550"/>
                  <a:gd name="connsiteX20" fmla="*/ 958163 w 1879986"/>
                  <a:gd name="connsiteY20" fmla="*/ 0 h 4072550"/>
                  <a:gd name="connsiteX21" fmla="*/ 109261 w 1879986"/>
                  <a:gd name="connsiteY21" fmla="*/ 858457 h 4072550"/>
                  <a:gd name="connsiteX22" fmla="*/ 94804 w 1879986"/>
                  <a:gd name="connsiteY22" fmla="*/ 1146972 h 4072550"/>
                  <a:gd name="connsiteX23" fmla="*/ 9907 w 1879986"/>
                  <a:gd name="connsiteY23" fmla="*/ 1521969 h 4072550"/>
                  <a:gd name="connsiteX24" fmla="*/ 0 w 1879986"/>
                  <a:gd name="connsiteY24" fmla="*/ 2778708 h 4072550"/>
                  <a:gd name="connsiteX25" fmla="*/ 95870 w 1879986"/>
                  <a:gd name="connsiteY25" fmla="*/ 3178922 h 4072550"/>
                  <a:gd name="connsiteX26" fmla="*/ 118764 w 1879986"/>
                  <a:gd name="connsiteY26" fmla="*/ 3296340 h 4072550"/>
                  <a:gd name="connsiteX0" fmla="*/ 94635 w 1879986"/>
                  <a:gd name="connsiteY0" fmla="*/ 3523641 h 4072550"/>
                  <a:gd name="connsiteX1" fmla="*/ 573952 w 1879986"/>
                  <a:gd name="connsiteY1" fmla="*/ 4072550 h 4072550"/>
                  <a:gd name="connsiteX2" fmla="*/ 231230 w 1879986"/>
                  <a:gd name="connsiteY2" fmla="*/ 3169743 h 4072550"/>
                  <a:gd name="connsiteX3" fmla="*/ 319367 w 1879986"/>
                  <a:gd name="connsiteY3" fmla="*/ 3160841 h 4072550"/>
                  <a:gd name="connsiteX4" fmla="*/ 323124 w 1879986"/>
                  <a:gd name="connsiteY4" fmla="*/ 3071321 h 4072550"/>
                  <a:gd name="connsiteX5" fmla="*/ 511661 w 1879986"/>
                  <a:gd name="connsiteY5" fmla="*/ 2854845 h 4072550"/>
                  <a:gd name="connsiteX6" fmla="*/ 555371 w 1879986"/>
                  <a:gd name="connsiteY6" fmla="*/ 2747193 h 4072550"/>
                  <a:gd name="connsiteX7" fmla="*/ 556550 w 1879986"/>
                  <a:gd name="connsiteY7" fmla="*/ 1594571 h 4072550"/>
                  <a:gd name="connsiteX8" fmla="*/ 542073 w 1879986"/>
                  <a:gd name="connsiteY8" fmla="*/ 1512297 h 4072550"/>
                  <a:gd name="connsiteX9" fmla="*/ 368764 w 1879986"/>
                  <a:gd name="connsiteY9" fmla="*/ 1302973 h 4072550"/>
                  <a:gd name="connsiteX10" fmla="*/ 329287 w 1879986"/>
                  <a:gd name="connsiteY10" fmla="*/ 1302809 h 4072550"/>
                  <a:gd name="connsiteX11" fmla="*/ 328934 w 1879986"/>
                  <a:gd name="connsiteY11" fmla="*/ 1269031 h 4072550"/>
                  <a:gd name="connsiteX12" fmla="*/ 356286 w 1879986"/>
                  <a:gd name="connsiteY12" fmla="*/ 1268519 h 4072550"/>
                  <a:gd name="connsiteX13" fmla="*/ 353118 w 1879986"/>
                  <a:gd name="connsiteY13" fmla="*/ 1138495 h 4072550"/>
                  <a:gd name="connsiteX14" fmla="*/ 234935 w 1879986"/>
                  <a:gd name="connsiteY14" fmla="*/ 1138830 h 4072550"/>
                  <a:gd name="connsiteX15" fmla="*/ 235339 w 1879986"/>
                  <a:gd name="connsiteY15" fmla="*/ 923254 h 4072550"/>
                  <a:gd name="connsiteX16" fmla="*/ 603374 w 1879986"/>
                  <a:gd name="connsiteY16" fmla="*/ 237848 h 4072550"/>
                  <a:gd name="connsiteX17" fmla="*/ 1680415 w 1879986"/>
                  <a:gd name="connsiteY17" fmla="*/ 1068728 h 4072550"/>
                  <a:gd name="connsiteX18" fmla="*/ 1879986 w 1879986"/>
                  <a:gd name="connsiteY18" fmla="*/ 1081411 h 4072550"/>
                  <a:gd name="connsiteX19" fmla="*/ 1816630 w 1879986"/>
                  <a:gd name="connsiteY19" fmla="*/ 913332 h 4072550"/>
                  <a:gd name="connsiteX20" fmla="*/ 958163 w 1879986"/>
                  <a:gd name="connsiteY20" fmla="*/ 0 h 4072550"/>
                  <a:gd name="connsiteX21" fmla="*/ 109261 w 1879986"/>
                  <a:gd name="connsiteY21" fmla="*/ 858457 h 4072550"/>
                  <a:gd name="connsiteX22" fmla="*/ 94804 w 1879986"/>
                  <a:gd name="connsiteY22" fmla="*/ 1146972 h 4072550"/>
                  <a:gd name="connsiteX23" fmla="*/ 9907 w 1879986"/>
                  <a:gd name="connsiteY23" fmla="*/ 1521969 h 4072550"/>
                  <a:gd name="connsiteX24" fmla="*/ 0 w 1879986"/>
                  <a:gd name="connsiteY24" fmla="*/ 2778708 h 4072550"/>
                  <a:gd name="connsiteX25" fmla="*/ 95870 w 1879986"/>
                  <a:gd name="connsiteY25" fmla="*/ 3178922 h 4072550"/>
                  <a:gd name="connsiteX26" fmla="*/ 94635 w 1879986"/>
                  <a:gd name="connsiteY26" fmla="*/ 3523641 h 4072550"/>
                  <a:gd name="connsiteX0" fmla="*/ 94635 w 1879986"/>
                  <a:gd name="connsiteY0" fmla="*/ 3523641 h 4072550"/>
                  <a:gd name="connsiteX1" fmla="*/ 351874 w 1879986"/>
                  <a:gd name="connsiteY1" fmla="*/ 3820211 h 4072550"/>
                  <a:gd name="connsiteX2" fmla="*/ 573952 w 1879986"/>
                  <a:gd name="connsiteY2" fmla="*/ 4072550 h 4072550"/>
                  <a:gd name="connsiteX3" fmla="*/ 231230 w 1879986"/>
                  <a:gd name="connsiteY3" fmla="*/ 3169743 h 4072550"/>
                  <a:gd name="connsiteX4" fmla="*/ 319367 w 1879986"/>
                  <a:gd name="connsiteY4" fmla="*/ 3160841 h 4072550"/>
                  <a:gd name="connsiteX5" fmla="*/ 323124 w 1879986"/>
                  <a:gd name="connsiteY5" fmla="*/ 3071321 h 4072550"/>
                  <a:gd name="connsiteX6" fmla="*/ 511661 w 1879986"/>
                  <a:gd name="connsiteY6" fmla="*/ 2854845 h 4072550"/>
                  <a:gd name="connsiteX7" fmla="*/ 555371 w 1879986"/>
                  <a:gd name="connsiteY7" fmla="*/ 2747193 h 4072550"/>
                  <a:gd name="connsiteX8" fmla="*/ 556550 w 1879986"/>
                  <a:gd name="connsiteY8" fmla="*/ 1594571 h 4072550"/>
                  <a:gd name="connsiteX9" fmla="*/ 542073 w 1879986"/>
                  <a:gd name="connsiteY9" fmla="*/ 1512297 h 4072550"/>
                  <a:gd name="connsiteX10" fmla="*/ 368764 w 1879986"/>
                  <a:gd name="connsiteY10" fmla="*/ 1302973 h 4072550"/>
                  <a:gd name="connsiteX11" fmla="*/ 329287 w 1879986"/>
                  <a:gd name="connsiteY11" fmla="*/ 1302809 h 4072550"/>
                  <a:gd name="connsiteX12" fmla="*/ 328934 w 1879986"/>
                  <a:gd name="connsiteY12" fmla="*/ 1269031 h 4072550"/>
                  <a:gd name="connsiteX13" fmla="*/ 356286 w 1879986"/>
                  <a:gd name="connsiteY13" fmla="*/ 1268519 h 4072550"/>
                  <a:gd name="connsiteX14" fmla="*/ 353118 w 1879986"/>
                  <a:gd name="connsiteY14" fmla="*/ 1138495 h 4072550"/>
                  <a:gd name="connsiteX15" fmla="*/ 234935 w 1879986"/>
                  <a:gd name="connsiteY15" fmla="*/ 1138830 h 4072550"/>
                  <a:gd name="connsiteX16" fmla="*/ 235339 w 1879986"/>
                  <a:gd name="connsiteY16" fmla="*/ 923254 h 4072550"/>
                  <a:gd name="connsiteX17" fmla="*/ 603374 w 1879986"/>
                  <a:gd name="connsiteY17" fmla="*/ 237848 h 4072550"/>
                  <a:gd name="connsiteX18" fmla="*/ 1680415 w 1879986"/>
                  <a:gd name="connsiteY18" fmla="*/ 1068728 h 4072550"/>
                  <a:gd name="connsiteX19" fmla="*/ 1879986 w 1879986"/>
                  <a:gd name="connsiteY19" fmla="*/ 1081411 h 4072550"/>
                  <a:gd name="connsiteX20" fmla="*/ 1816630 w 1879986"/>
                  <a:gd name="connsiteY20" fmla="*/ 913332 h 4072550"/>
                  <a:gd name="connsiteX21" fmla="*/ 958163 w 1879986"/>
                  <a:gd name="connsiteY21" fmla="*/ 0 h 4072550"/>
                  <a:gd name="connsiteX22" fmla="*/ 109261 w 1879986"/>
                  <a:gd name="connsiteY22" fmla="*/ 858457 h 4072550"/>
                  <a:gd name="connsiteX23" fmla="*/ 94804 w 1879986"/>
                  <a:gd name="connsiteY23" fmla="*/ 1146972 h 4072550"/>
                  <a:gd name="connsiteX24" fmla="*/ 9907 w 1879986"/>
                  <a:gd name="connsiteY24" fmla="*/ 1521969 h 4072550"/>
                  <a:gd name="connsiteX25" fmla="*/ 0 w 1879986"/>
                  <a:gd name="connsiteY25" fmla="*/ 2778708 h 4072550"/>
                  <a:gd name="connsiteX26" fmla="*/ 95870 w 1879986"/>
                  <a:gd name="connsiteY26" fmla="*/ 3178922 h 4072550"/>
                  <a:gd name="connsiteX27" fmla="*/ 94635 w 1879986"/>
                  <a:gd name="connsiteY27" fmla="*/ 3523641 h 4072550"/>
                  <a:gd name="connsiteX0" fmla="*/ 94635 w 1879986"/>
                  <a:gd name="connsiteY0" fmla="*/ 3523641 h 4136982"/>
                  <a:gd name="connsiteX1" fmla="*/ 359113 w 1879986"/>
                  <a:gd name="connsiteY1" fmla="*/ 4136982 h 4136982"/>
                  <a:gd name="connsiteX2" fmla="*/ 573952 w 1879986"/>
                  <a:gd name="connsiteY2" fmla="*/ 4072550 h 4136982"/>
                  <a:gd name="connsiteX3" fmla="*/ 231230 w 1879986"/>
                  <a:gd name="connsiteY3" fmla="*/ 3169743 h 4136982"/>
                  <a:gd name="connsiteX4" fmla="*/ 319367 w 1879986"/>
                  <a:gd name="connsiteY4" fmla="*/ 3160841 h 4136982"/>
                  <a:gd name="connsiteX5" fmla="*/ 323124 w 1879986"/>
                  <a:gd name="connsiteY5" fmla="*/ 3071321 h 4136982"/>
                  <a:gd name="connsiteX6" fmla="*/ 511661 w 1879986"/>
                  <a:gd name="connsiteY6" fmla="*/ 2854845 h 4136982"/>
                  <a:gd name="connsiteX7" fmla="*/ 555371 w 1879986"/>
                  <a:gd name="connsiteY7" fmla="*/ 2747193 h 4136982"/>
                  <a:gd name="connsiteX8" fmla="*/ 556550 w 1879986"/>
                  <a:gd name="connsiteY8" fmla="*/ 1594571 h 4136982"/>
                  <a:gd name="connsiteX9" fmla="*/ 542073 w 1879986"/>
                  <a:gd name="connsiteY9" fmla="*/ 1512297 h 4136982"/>
                  <a:gd name="connsiteX10" fmla="*/ 368764 w 1879986"/>
                  <a:gd name="connsiteY10" fmla="*/ 1302973 h 4136982"/>
                  <a:gd name="connsiteX11" fmla="*/ 329287 w 1879986"/>
                  <a:gd name="connsiteY11" fmla="*/ 1302809 h 4136982"/>
                  <a:gd name="connsiteX12" fmla="*/ 328934 w 1879986"/>
                  <a:gd name="connsiteY12" fmla="*/ 1269031 h 4136982"/>
                  <a:gd name="connsiteX13" fmla="*/ 356286 w 1879986"/>
                  <a:gd name="connsiteY13" fmla="*/ 1268519 h 4136982"/>
                  <a:gd name="connsiteX14" fmla="*/ 353118 w 1879986"/>
                  <a:gd name="connsiteY14" fmla="*/ 1138495 h 4136982"/>
                  <a:gd name="connsiteX15" fmla="*/ 234935 w 1879986"/>
                  <a:gd name="connsiteY15" fmla="*/ 1138830 h 4136982"/>
                  <a:gd name="connsiteX16" fmla="*/ 235339 w 1879986"/>
                  <a:gd name="connsiteY16" fmla="*/ 923254 h 4136982"/>
                  <a:gd name="connsiteX17" fmla="*/ 603374 w 1879986"/>
                  <a:gd name="connsiteY17" fmla="*/ 237848 h 4136982"/>
                  <a:gd name="connsiteX18" fmla="*/ 1680415 w 1879986"/>
                  <a:gd name="connsiteY18" fmla="*/ 1068728 h 4136982"/>
                  <a:gd name="connsiteX19" fmla="*/ 1879986 w 1879986"/>
                  <a:gd name="connsiteY19" fmla="*/ 1081411 h 4136982"/>
                  <a:gd name="connsiteX20" fmla="*/ 1816630 w 1879986"/>
                  <a:gd name="connsiteY20" fmla="*/ 913332 h 4136982"/>
                  <a:gd name="connsiteX21" fmla="*/ 958163 w 1879986"/>
                  <a:gd name="connsiteY21" fmla="*/ 0 h 4136982"/>
                  <a:gd name="connsiteX22" fmla="*/ 109261 w 1879986"/>
                  <a:gd name="connsiteY22" fmla="*/ 858457 h 4136982"/>
                  <a:gd name="connsiteX23" fmla="*/ 94804 w 1879986"/>
                  <a:gd name="connsiteY23" fmla="*/ 1146972 h 4136982"/>
                  <a:gd name="connsiteX24" fmla="*/ 9907 w 1879986"/>
                  <a:gd name="connsiteY24" fmla="*/ 1521969 h 4136982"/>
                  <a:gd name="connsiteX25" fmla="*/ 0 w 1879986"/>
                  <a:gd name="connsiteY25" fmla="*/ 2778708 h 4136982"/>
                  <a:gd name="connsiteX26" fmla="*/ 95870 w 1879986"/>
                  <a:gd name="connsiteY26" fmla="*/ 3178922 h 4136982"/>
                  <a:gd name="connsiteX27" fmla="*/ 94635 w 1879986"/>
                  <a:gd name="connsiteY27" fmla="*/ 3523641 h 4136982"/>
                  <a:gd name="connsiteX0" fmla="*/ 94635 w 1879986"/>
                  <a:gd name="connsiteY0" fmla="*/ 3523641 h 4136982"/>
                  <a:gd name="connsiteX1" fmla="*/ 359113 w 1879986"/>
                  <a:gd name="connsiteY1" fmla="*/ 4136982 h 4136982"/>
                  <a:gd name="connsiteX2" fmla="*/ 573952 w 1879986"/>
                  <a:gd name="connsiteY2" fmla="*/ 4072550 h 4136982"/>
                  <a:gd name="connsiteX3" fmla="*/ 436325 w 1879986"/>
                  <a:gd name="connsiteY3" fmla="*/ 3723487 h 4136982"/>
                  <a:gd name="connsiteX4" fmla="*/ 231230 w 1879986"/>
                  <a:gd name="connsiteY4" fmla="*/ 3169743 h 4136982"/>
                  <a:gd name="connsiteX5" fmla="*/ 319367 w 1879986"/>
                  <a:gd name="connsiteY5" fmla="*/ 3160841 h 4136982"/>
                  <a:gd name="connsiteX6" fmla="*/ 323124 w 1879986"/>
                  <a:gd name="connsiteY6" fmla="*/ 3071321 h 4136982"/>
                  <a:gd name="connsiteX7" fmla="*/ 511661 w 1879986"/>
                  <a:gd name="connsiteY7" fmla="*/ 2854845 h 4136982"/>
                  <a:gd name="connsiteX8" fmla="*/ 555371 w 1879986"/>
                  <a:gd name="connsiteY8" fmla="*/ 2747193 h 4136982"/>
                  <a:gd name="connsiteX9" fmla="*/ 556550 w 1879986"/>
                  <a:gd name="connsiteY9" fmla="*/ 1594571 h 4136982"/>
                  <a:gd name="connsiteX10" fmla="*/ 542073 w 1879986"/>
                  <a:gd name="connsiteY10" fmla="*/ 1512297 h 4136982"/>
                  <a:gd name="connsiteX11" fmla="*/ 368764 w 1879986"/>
                  <a:gd name="connsiteY11" fmla="*/ 1302973 h 4136982"/>
                  <a:gd name="connsiteX12" fmla="*/ 329287 w 1879986"/>
                  <a:gd name="connsiteY12" fmla="*/ 1302809 h 4136982"/>
                  <a:gd name="connsiteX13" fmla="*/ 328934 w 1879986"/>
                  <a:gd name="connsiteY13" fmla="*/ 1269031 h 4136982"/>
                  <a:gd name="connsiteX14" fmla="*/ 356286 w 1879986"/>
                  <a:gd name="connsiteY14" fmla="*/ 1268519 h 4136982"/>
                  <a:gd name="connsiteX15" fmla="*/ 353118 w 1879986"/>
                  <a:gd name="connsiteY15" fmla="*/ 1138495 h 4136982"/>
                  <a:gd name="connsiteX16" fmla="*/ 234935 w 1879986"/>
                  <a:gd name="connsiteY16" fmla="*/ 1138830 h 4136982"/>
                  <a:gd name="connsiteX17" fmla="*/ 235339 w 1879986"/>
                  <a:gd name="connsiteY17" fmla="*/ 923254 h 4136982"/>
                  <a:gd name="connsiteX18" fmla="*/ 603374 w 1879986"/>
                  <a:gd name="connsiteY18" fmla="*/ 237848 h 4136982"/>
                  <a:gd name="connsiteX19" fmla="*/ 1680415 w 1879986"/>
                  <a:gd name="connsiteY19" fmla="*/ 1068728 h 4136982"/>
                  <a:gd name="connsiteX20" fmla="*/ 1879986 w 1879986"/>
                  <a:gd name="connsiteY20" fmla="*/ 1081411 h 4136982"/>
                  <a:gd name="connsiteX21" fmla="*/ 1816630 w 1879986"/>
                  <a:gd name="connsiteY21" fmla="*/ 913332 h 4136982"/>
                  <a:gd name="connsiteX22" fmla="*/ 958163 w 1879986"/>
                  <a:gd name="connsiteY22" fmla="*/ 0 h 4136982"/>
                  <a:gd name="connsiteX23" fmla="*/ 109261 w 1879986"/>
                  <a:gd name="connsiteY23" fmla="*/ 858457 h 4136982"/>
                  <a:gd name="connsiteX24" fmla="*/ 94804 w 1879986"/>
                  <a:gd name="connsiteY24" fmla="*/ 1146972 h 4136982"/>
                  <a:gd name="connsiteX25" fmla="*/ 9907 w 1879986"/>
                  <a:gd name="connsiteY25" fmla="*/ 1521969 h 4136982"/>
                  <a:gd name="connsiteX26" fmla="*/ 0 w 1879986"/>
                  <a:gd name="connsiteY26" fmla="*/ 2778708 h 4136982"/>
                  <a:gd name="connsiteX27" fmla="*/ 95870 w 1879986"/>
                  <a:gd name="connsiteY27" fmla="*/ 3178922 h 4136982"/>
                  <a:gd name="connsiteX28" fmla="*/ 94635 w 1879986"/>
                  <a:gd name="connsiteY28" fmla="*/ 3523641 h 4136982"/>
                  <a:gd name="connsiteX0" fmla="*/ 94635 w 1879986"/>
                  <a:gd name="connsiteY0" fmla="*/ 3523641 h 4136982"/>
                  <a:gd name="connsiteX1" fmla="*/ 359113 w 1879986"/>
                  <a:gd name="connsiteY1" fmla="*/ 4136982 h 4136982"/>
                  <a:gd name="connsiteX2" fmla="*/ 573952 w 1879986"/>
                  <a:gd name="connsiteY2" fmla="*/ 4072550 h 4136982"/>
                  <a:gd name="connsiteX3" fmla="*/ 1478686 w 1879986"/>
                  <a:gd name="connsiteY3" fmla="*/ 3384953 h 4136982"/>
                  <a:gd name="connsiteX4" fmla="*/ 231230 w 1879986"/>
                  <a:gd name="connsiteY4" fmla="*/ 3169743 h 4136982"/>
                  <a:gd name="connsiteX5" fmla="*/ 319367 w 1879986"/>
                  <a:gd name="connsiteY5" fmla="*/ 3160841 h 4136982"/>
                  <a:gd name="connsiteX6" fmla="*/ 323124 w 1879986"/>
                  <a:gd name="connsiteY6" fmla="*/ 3071321 h 4136982"/>
                  <a:gd name="connsiteX7" fmla="*/ 511661 w 1879986"/>
                  <a:gd name="connsiteY7" fmla="*/ 2854845 h 4136982"/>
                  <a:gd name="connsiteX8" fmla="*/ 555371 w 1879986"/>
                  <a:gd name="connsiteY8" fmla="*/ 2747193 h 4136982"/>
                  <a:gd name="connsiteX9" fmla="*/ 556550 w 1879986"/>
                  <a:gd name="connsiteY9" fmla="*/ 1594571 h 4136982"/>
                  <a:gd name="connsiteX10" fmla="*/ 542073 w 1879986"/>
                  <a:gd name="connsiteY10" fmla="*/ 1512297 h 4136982"/>
                  <a:gd name="connsiteX11" fmla="*/ 368764 w 1879986"/>
                  <a:gd name="connsiteY11" fmla="*/ 1302973 h 4136982"/>
                  <a:gd name="connsiteX12" fmla="*/ 329287 w 1879986"/>
                  <a:gd name="connsiteY12" fmla="*/ 1302809 h 4136982"/>
                  <a:gd name="connsiteX13" fmla="*/ 328934 w 1879986"/>
                  <a:gd name="connsiteY13" fmla="*/ 1269031 h 4136982"/>
                  <a:gd name="connsiteX14" fmla="*/ 356286 w 1879986"/>
                  <a:gd name="connsiteY14" fmla="*/ 1268519 h 4136982"/>
                  <a:gd name="connsiteX15" fmla="*/ 353118 w 1879986"/>
                  <a:gd name="connsiteY15" fmla="*/ 1138495 h 4136982"/>
                  <a:gd name="connsiteX16" fmla="*/ 234935 w 1879986"/>
                  <a:gd name="connsiteY16" fmla="*/ 1138830 h 4136982"/>
                  <a:gd name="connsiteX17" fmla="*/ 235339 w 1879986"/>
                  <a:gd name="connsiteY17" fmla="*/ 923254 h 4136982"/>
                  <a:gd name="connsiteX18" fmla="*/ 603374 w 1879986"/>
                  <a:gd name="connsiteY18" fmla="*/ 237848 h 4136982"/>
                  <a:gd name="connsiteX19" fmla="*/ 1680415 w 1879986"/>
                  <a:gd name="connsiteY19" fmla="*/ 1068728 h 4136982"/>
                  <a:gd name="connsiteX20" fmla="*/ 1879986 w 1879986"/>
                  <a:gd name="connsiteY20" fmla="*/ 1081411 h 4136982"/>
                  <a:gd name="connsiteX21" fmla="*/ 1816630 w 1879986"/>
                  <a:gd name="connsiteY21" fmla="*/ 913332 h 4136982"/>
                  <a:gd name="connsiteX22" fmla="*/ 958163 w 1879986"/>
                  <a:gd name="connsiteY22" fmla="*/ 0 h 4136982"/>
                  <a:gd name="connsiteX23" fmla="*/ 109261 w 1879986"/>
                  <a:gd name="connsiteY23" fmla="*/ 858457 h 4136982"/>
                  <a:gd name="connsiteX24" fmla="*/ 94804 w 1879986"/>
                  <a:gd name="connsiteY24" fmla="*/ 1146972 h 4136982"/>
                  <a:gd name="connsiteX25" fmla="*/ 9907 w 1879986"/>
                  <a:gd name="connsiteY25" fmla="*/ 1521969 h 4136982"/>
                  <a:gd name="connsiteX26" fmla="*/ 0 w 1879986"/>
                  <a:gd name="connsiteY26" fmla="*/ 2778708 h 4136982"/>
                  <a:gd name="connsiteX27" fmla="*/ 95870 w 1879986"/>
                  <a:gd name="connsiteY27" fmla="*/ 3178922 h 4136982"/>
                  <a:gd name="connsiteX28" fmla="*/ 94635 w 1879986"/>
                  <a:gd name="connsiteY28" fmla="*/ 3523641 h 4136982"/>
                  <a:gd name="connsiteX0" fmla="*/ 94635 w 1879986"/>
                  <a:gd name="connsiteY0" fmla="*/ 3523641 h 4136982"/>
                  <a:gd name="connsiteX1" fmla="*/ 359113 w 1879986"/>
                  <a:gd name="connsiteY1" fmla="*/ 4136982 h 4136982"/>
                  <a:gd name="connsiteX2" fmla="*/ 573952 w 1879986"/>
                  <a:gd name="connsiteY2" fmla="*/ 4072550 h 4136982"/>
                  <a:gd name="connsiteX3" fmla="*/ 477343 w 1879986"/>
                  <a:gd name="connsiteY3" fmla="*/ 3863736 h 4136982"/>
                  <a:gd name="connsiteX4" fmla="*/ 231230 w 1879986"/>
                  <a:gd name="connsiteY4" fmla="*/ 3169743 h 4136982"/>
                  <a:gd name="connsiteX5" fmla="*/ 319367 w 1879986"/>
                  <a:gd name="connsiteY5" fmla="*/ 3160841 h 4136982"/>
                  <a:gd name="connsiteX6" fmla="*/ 323124 w 1879986"/>
                  <a:gd name="connsiteY6" fmla="*/ 3071321 h 4136982"/>
                  <a:gd name="connsiteX7" fmla="*/ 511661 w 1879986"/>
                  <a:gd name="connsiteY7" fmla="*/ 2854845 h 4136982"/>
                  <a:gd name="connsiteX8" fmla="*/ 555371 w 1879986"/>
                  <a:gd name="connsiteY8" fmla="*/ 2747193 h 4136982"/>
                  <a:gd name="connsiteX9" fmla="*/ 556550 w 1879986"/>
                  <a:gd name="connsiteY9" fmla="*/ 1594571 h 4136982"/>
                  <a:gd name="connsiteX10" fmla="*/ 542073 w 1879986"/>
                  <a:gd name="connsiteY10" fmla="*/ 1512297 h 4136982"/>
                  <a:gd name="connsiteX11" fmla="*/ 368764 w 1879986"/>
                  <a:gd name="connsiteY11" fmla="*/ 1302973 h 4136982"/>
                  <a:gd name="connsiteX12" fmla="*/ 329287 w 1879986"/>
                  <a:gd name="connsiteY12" fmla="*/ 1302809 h 4136982"/>
                  <a:gd name="connsiteX13" fmla="*/ 328934 w 1879986"/>
                  <a:gd name="connsiteY13" fmla="*/ 1269031 h 4136982"/>
                  <a:gd name="connsiteX14" fmla="*/ 356286 w 1879986"/>
                  <a:gd name="connsiteY14" fmla="*/ 1268519 h 4136982"/>
                  <a:gd name="connsiteX15" fmla="*/ 353118 w 1879986"/>
                  <a:gd name="connsiteY15" fmla="*/ 1138495 h 4136982"/>
                  <a:gd name="connsiteX16" fmla="*/ 234935 w 1879986"/>
                  <a:gd name="connsiteY16" fmla="*/ 1138830 h 4136982"/>
                  <a:gd name="connsiteX17" fmla="*/ 235339 w 1879986"/>
                  <a:gd name="connsiteY17" fmla="*/ 923254 h 4136982"/>
                  <a:gd name="connsiteX18" fmla="*/ 603374 w 1879986"/>
                  <a:gd name="connsiteY18" fmla="*/ 237848 h 4136982"/>
                  <a:gd name="connsiteX19" fmla="*/ 1680415 w 1879986"/>
                  <a:gd name="connsiteY19" fmla="*/ 1068728 h 4136982"/>
                  <a:gd name="connsiteX20" fmla="*/ 1879986 w 1879986"/>
                  <a:gd name="connsiteY20" fmla="*/ 1081411 h 4136982"/>
                  <a:gd name="connsiteX21" fmla="*/ 1816630 w 1879986"/>
                  <a:gd name="connsiteY21" fmla="*/ 913332 h 4136982"/>
                  <a:gd name="connsiteX22" fmla="*/ 958163 w 1879986"/>
                  <a:gd name="connsiteY22" fmla="*/ 0 h 4136982"/>
                  <a:gd name="connsiteX23" fmla="*/ 109261 w 1879986"/>
                  <a:gd name="connsiteY23" fmla="*/ 858457 h 4136982"/>
                  <a:gd name="connsiteX24" fmla="*/ 94804 w 1879986"/>
                  <a:gd name="connsiteY24" fmla="*/ 1146972 h 4136982"/>
                  <a:gd name="connsiteX25" fmla="*/ 9907 w 1879986"/>
                  <a:gd name="connsiteY25" fmla="*/ 1521969 h 4136982"/>
                  <a:gd name="connsiteX26" fmla="*/ 0 w 1879986"/>
                  <a:gd name="connsiteY26" fmla="*/ 2778708 h 4136982"/>
                  <a:gd name="connsiteX27" fmla="*/ 95870 w 1879986"/>
                  <a:gd name="connsiteY27" fmla="*/ 3178922 h 4136982"/>
                  <a:gd name="connsiteX28" fmla="*/ 94635 w 1879986"/>
                  <a:gd name="connsiteY28" fmla="*/ 3523641 h 4136982"/>
                  <a:gd name="connsiteX0" fmla="*/ 94635 w 1879986"/>
                  <a:gd name="connsiteY0" fmla="*/ 3523641 h 4136982"/>
                  <a:gd name="connsiteX1" fmla="*/ 359113 w 1879986"/>
                  <a:gd name="connsiteY1" fmla="*/ 4136982 h 4136982"/>
                  <a:gd name="connsiteX2" fmla="*/ 1674223 w 1879986"/>
                  <a:gd name="connsiteY2" fmla="*/ 3231052 h 4136982"/>
                  <a:gd name="connsiteX3" fmla="*/ 477343 w 1879986"/>
                  <a:gd name="connsiteY3" fmla="*/ 3863736 h 4136982"/>
                  <a:gd name="connsiteX4" fmla="*/ 231230 w 1879986"/>
                  <a:gd name="connsiteY4" fmla="*/ 3169743 h 4136982"/>
                  <a:gd name="connsiteX5" fmla="*/ 319367 w 1879986"/>
                  <a:gd name="connsiteY5" fmla="*/ 3160841 h 4136982"/>
                  <a:gd name="connsiteX6" fmla="*/ 323124 w 1879986"/>
                  <a:gd name="connsiteY6" fmla="*/ 3071321 h 4136982"/>
                  <a:gd name="connsiteX7" fmla="*/ 511661 w 1879986"/>
                  <a:gd name="connsiteY7" fmla="*/ 2854845 h 4136982"/>
                  <a:gd name="connsiteX8" fmla="*/ 555371 w 1879986"/>
                  <a:gd name="connsiteY8" fmla="*/ 2747193 h 4136982"/>
                  <a:gd name="connsiteX9" fmla="*/ 556550 w 1879986"/>
                  <a:gd name="connsiteY9" fmla="*/ 1594571 h 4136982"/>
                  <a:gd name="connsiteX10" fmla="*/ 542073 w 1879986"/>
                  <a:gd name="connsiteY10" fmla="*/ 1512297 h 4136982"/>
                  <a:gd name="connsiteX11" fmla="*/ 368764 w 1879986"/>
                  <a:gd name="connsiteY11" fmla="*/ 1302973 h 4136982"/>
                  <a:gd name="connsiteX12" fmla="*/ 329287 w 1879986"/>
                  <a:gd name="connsiteY12" fmla="*/ 1302809 h 4136982"/>
                  <a:gd name="connsiteX13" fmla="*/ 328934 w 1879986"/>
                  <a:gd name="connsiteY13" fmla="*/ 1269031 h 4136982"/>
                  <a:gd name="connsiteX14" fmla="*/ 356286 w 1879986"/>
                  <a:gd name="connsiteY14" fmla="*/ 1268519 h 4136982"/>
                  <a:gd name="connsiteX15" fmla="*/ 353118 w 1879986"/>
                  <a:gd name="connsiteY15" fmla="*/ 1138495 h 4136982"/>
                  <a:gd name="connsiteX16" fmla="*/ 234935 w 1879986"/>
                  <a:gd name="connsiteY16" fmla="*/ 1138830 h 4136982"/>
                  <a:gd name="connsiteX17" fmla="*/ 235339 w 1879986"/>
                  <a:gd name="connsiteY17" fmla="*/ 923254 h 4136982"/>
                  <a:gd name="connsiteX18" fmla="*/ 603374 w 1879986"/>
                  <a:gd name="connsiteY18" fmla="*/ 237848 h 4136982"/>
                  <a:gd name="connsiteX19" fmla="*/ 1680415 w 1879986"/>
                  <a:gd name="connsiteY19" fmla="*/ 1068728 h 4136982"/>
                  <a:gd name="connsiteX20" fmla="*/ 1879986 w 1879986"/>
                  <a:gd name="connsiteY20" fmla="*/ 1081411 h 4136982"/>
                  <a:gd name="connsiteX21" fmla="*/ 1816630 w 1879986"/>
                  <a:gd name="connsiteY21" fmla="*/ 913332 h 4136982"/>
                  <a:gd name="connsiteX22" fmla="*/ 958163 w 1879986"/>
                  <a:gd name="connsiteY22" fmla="*/ 0 h 4136982"/>
                  <a:gd name="connsiteX23" fmla="*/ 109261 w 1879986"/>
                  <a:gd name="connsiteY23" fmla="*/ 858457 h 4136982"/>
                  <a:gd name="connsiteX24" fmla="*/ 94804 w 1879986"/>
                  <a:gd name="connsiteY24" fmla="*/ 1146972 h 4136982"/>
                  <a:gd name="connsiteX25" fmla="*/ 9907 w 1879986"/>
                  <a:gd name="connsiteY25" fmla="*/ 1521969 h 4136982"/>
                  <a:gd name="connsiteX26" fmla="*/ 0 w 1879986"/>
                  <a:gd name="connsiteY26" fmla="*/ 2778708 h 4136982"/>
                  <a:gd name="connsiteX27" fmla="*/ 95870 w 1879986"/>
                  <a:gd name="connsiteY27" fmla="*/ 3178922 h 4136982"/>
                  <a:gd name="connsiteX28" fmla="*/ 94635 w 1879986"/>
                  <a:gd name="connsiteY28" fmla="*/ 3523641 h 4136982"/>
                  <a:gd name="connsiteX0" fmla="*/ 94635 w 1879986"/>
                  <a:gd name="connsiteY0" fmla="*/ 3523641 h 4136982"/>
                  <a:gd name="connsiteX1" fmla="*/ 359113 w 1879986"/>
                  <a:gd name="connsiteY1" fmla="*/ 4136982 h 4136982"/>
                  <a:gd name="connsiteX2" fmla="*/ 1674223 w 1879986"/>
                  <a:gd name="connsiteY2" fmla="*/ 3231052 h 4136982"/>
                  <a:gd name="connsiteX3" fmla="*/ 581097 w 1879986"/>
                  <a:gd name="connsiteY3" fmla="*/ 4076529 h 4136982"/>
                  <a:gd name="connsiteX4" fmla="*/ 231230 w 1879986"/>
                  <a:gd name="connsiteY4" fmla="*/ 3169743 h 4136982"/>
                  <a:gd name="connsiteX5" fmla="*/ 319367 w 1879986"/>
                  <a:gd name="connsiteY5" fmla="*/ 3160841 h 4136982"/>
                  <a:gd name="connsiteX6" fmla="*/ 323124 w 1879986"/>
                  <a:gd name="connsiteY6" fmla="*/ 3071321 h 4136982"/>
                  <a:gd name="connsiteX7" fmla="*/ 511661 w 1879986"/>
                  <a:gd name="connsiteY7" fmla="*/ 2854845 h 4136982"/>
                  <a:gd name="connsiteX8" fmla="*/ 555371 w 1879986"/>
                  <a:gd name="connsiteY8" fmla="*/ 2747193 h 4136982"/>
                  <a:gd name="connsiteX9" fmla="*/ 556550 w 1879986"/>
                  <a:gd name="connsiteY9" fmla="*/ 1594571 h 4136982"/>
                  <a:gd name="connsiteX10" fmla="*/ 542073 w 1879986"/>
                  <a:gd name="connsiteY10" fmla="*/ 1512297 h 4136982"/>
                  <a:gd name="connsiteX11" fmla="*/ 368764 w 1879986"/>
                  <a:gd name="connsiteY11" fmla="*/ 1302973 h 4136982"/>
                  <a:gd name="connsiteX12" fmla="*/ 329287 w 1879986"/>
                  <a:gd name="connsiteY12" fmla="*/ 1302809 h 4136982"/>
                  <a:gd name="connsiteX13" fmla="*/ 328934 w 1879986"/>
                  <a:gd name="connsiteY13" fmla="*/ 1269031 h 4136982"/>
                  <a:gd name="connsiteX14" fmla="*/ 356286 w 1879986"/>
                  <a:gd name="connsiteY14" fmla="*/ 1268519 h 4136982"/>
                  <a:gd name="connsiteX15" fmla="*/ 353118 w 1879986"/>
                  <a:gd name="connsiteY15" fmla="*/ 1138495 h 4136982"/>
                  <a:gd name="connsiteX16" fmla="*/ 234935 w 1879986"/>
                  <a:gd name="connsiteY16" fmla="*/ 1138830 h 4136982"/>
                  <a:gd name="connsiteX17" fmla="*/ 235339 w 1879986"/>
                  <a:gd name="connsiteY17" fmla="*/ 923254 h 4136982"/>
                  <a:gd name="connsiteX18" fmla="*/ 603374 w 1879986"/>
                  <a:gd name="connsiteY18" fmla="*/ 237848 h 4136982"/>
                  <a:gd name="connsiteX19" fmla="*/ 1680415 w 1879986"/>
                  <a:gd name="connsiteY19" fmla="*/ 1068728 h 4136982"/>
                  <a:gd name="connsiteX20" fmla="*/ 1879986 w 1879986"/>
                  <a:gd name="connsiteY20" fmla="*/ 1081411 h 4136982"/>
                  <a:gd name="connsiteX21" fmla="*/ 1816630 w 1879986"/>
                  <a:gd name="connsiteY21" fmla="*/ 913332 h 4136982"/>
                  <a:gd name="connsiteX22" fmla="*/ 958163 w 1879986"/>
                  <a:gd name="connsiteY22" fmla="*/ 0 h 4136982"/>
                  <a:gd name="connsiteX23" fmla="*/ 109261 w 1879986"/>
                  <a:gd name="connsiteY23" fmla="*/ 858457 h 4136982"/>
                  <a:gd name="connsiteX24" fmla="*/ 94804 w 1879986"/>
                  <a:gd name="connsiteY24" fmla="*/ 1146972 h 4136982"/>
                  <a:gd name="connsiteX25" fmla="*/ 9907 w 1879986"/>
                  <a:gd name="connsiteY25" fmla="*/ 1521969 h 4136982"/>
                  <a:gd name="connsiteX26" fmla="*/ 0 w 1879986"/>
                  <a:gd name="connsiteY26" fmla="*/ 2778708 h 4136982"/>
                  <a:gd name="connsiteX27" fmla="*/ 95870 w 1879986"/>
                  <a:gd name="connsiteY27" fmla="*/ 3178922 h 4136982"/>
                  <a:gd name="connsiteX28" fmla="*/ 94635 w 1879986"/>
                  <a:gd name="connsiteY28" fmla="*/ 3523641 h 4136982"/>
                  <a:gd name="connsiteX0" fmla="*/ 94635 w 1879986"/>
                  <a:gd name="connsiteY0" fmla="*/ 3523641 h 4076529"/>
                  <a:gd name="connsiteX1" fmla="*/ 1818901 w 1879986"/>
                  <a:gd name="connsiteY1" fmla="*/ 3237450 h 4076529"/>
                  <a:gd name="connsiteX2" fmla="*/ 1674223 w 1879986"/>
                  <a:gd name="connsiteY2" fmla="*/ 3231052 h 4076529"/>
                  <a:gd name="connsiteX3" fmla="*/ 581097 w 1879986"/>
                  <a:gd name="connsiteY3" fmla="*/ 4076529 h 4076529"/>
                  <a:gd name="connsiteX4" fmla="*/ 231230 w 1879986"/>
                  <a:gd name="connsiteY4" fmla="*/ 3169743 h 4076529"/>
                  <a:gd name="connsiteX5" fmla="*/ 319367 w 1879986"/>
                  <a:gd name="connsiteY5" fmla="*/ 3160841 h 4076529"/>
                  <a:gd name="connsiteX6" fmla="*/ 323124 w 1879986"/>
                  <a:gd name="connsiteY6" fmla="*/ 3071321 h 4076529"/>
                  <a:gd name="connsiteX7" fmla="*/ 511661 w 1879986"/>
                  <a:gd name="connsiteY7" fmla="*/ 2854845 h 4076529"/>
                  <a:gd name="connsiteX8" fmla="*/ 555371 w 1879986"/>
                  <a:gd name="connsiteY8" fmla="*/ 2747193 h 4076529"/>
                  <a:gd name="connsiteX9" fmla="*/ 556550 w 1879986"/>
                  <a:gd name="connsiteY9" fmla="*/ 1594571 h 4076529"/>
                  <a:gd name="connsiteX10" fmla="*/ 542073 w 1879986"/>
                  <a:gd name="connsiteY10" fmla="*/ 1512297 h 4076529"/>
                  <a:gd name="connsiteX11" fmla="*/ 368764 w 1879986"/>
                  <a:gd name="connsiteY11" fmla="*/ 1302973 h 4076529"/>
                  <a:gd name="connsiteX12" fmla="*/ 329287 w 1879986"/>
                  <a:gd name="connsiteY12" fmla="*/ 1302809 h 4076529"/>
                  <a:gd name="connsiteX13" fmla="*/ 328934 w 1879986"/>
                  <a:gd name="connsiteY13" fmla="*/ 1269031 h 4076529"/>
                  <a:gd name="connsiteX14" fmla="*/ 356286 w 1879986"/>
                  <a:gd name="connsiteY14" fmla="*/ 1268519 h 4076529"/>
                  <a:gd name="connsiteX15" fmla="*/ 353118 w 1879986"/>
                  <a:gd name="connsiteY15" fmla="*/ 1138495 h 4076529"/>
                  <a:gd name="connsiteX16" fmla="*/ 234935 w 1879986"/>
                  <a:gd name="connsiteY16" fmla="*/ 1138830 h 4076529"/>
                  <a:gd name="connsiteX17" fmla="*/ 235339 w 1879986"/>
                  <a:gd name="connsiteY17" fmla="*/ 923254 h 4076529"/>
                  <a:gd name="connsiteX18" fmla="*/ 603374 w 1879986"/>
                  <a:gd name="connsiteY18" fmla="*/ 237848 h 4076529"/>
                  <a:gd name="connsiteX19" fmla="*/ 1680415 w 1879986"/>
                  <a:gd name="connsiteY19" fmla="*/ 1068728 h 4076529"/>
                  <a:gd name="connsiteX20" fmla="*/ 1879986 w 1879986"/>
                  <a:gd name="connsiteY20" fmla="*/ 1081411 h 4076529"/>
                  <a:gd name="connsiteX21" fmla="*/ 1816630 w 1879986"/>
                  <a:gd name="connsiteY21" fmla="*/ 913332 h 4076529"/>
                  <a:gd name="connsiteX22" fmla="*/ 958163 w 1879986"/>
                  <a:gd name="connsiteY22" fmla="*/ 0 h 4076529"/>
                  <a:gd name="connsiteX23" fmla="*/ 109261 w 1879986"/>
                  <a:gd name="connsiteY23" fmla="*/ 858457 h 4076529"/>
                  <a:gd name="connsiteX24" fmla="*/ 94804 w 1879986"/>
                  <a:gd name="connsiteY24" fmla="*/ 1146972 h 4076529"/>
                  <a:gd name="connsiteX25" fmla="*/ 9907 w 1879986"/>
                  <a:gd name="connsiteY25" fmla="*/ 1521969 h 4076529"/>
                  <a:gd name="connsiteX26" fmla="*/ 0 w 1879986"/>
                  <a:gd name="connsiteY26" fmla="*/ 2778708 h 4076529"/>
                  <a:gd name="connsiteX27" fmla="*/ 95870 w 1879986"/>
                  <a:gd name="connsiteY27" fmla="*/ 3178922 h 4076529"/>
                  <a:gd name="connsiteX28" fmla="*/ 94635 w 1879986"/>
                  <a:gd name="connsiteY28" fmla="*/ 3523641 h 4076529"/>
                  <a:gd name="connsiteX0" fmla="*/ 94635 w 1879986"/>
                  <a:gd name="connsiteY0" fmla="*/ 3523641 h 4076529"/>
                  <a:gd name="connsiteX1" fmla="*/ 1003350 w 1879986"/>
                  <a:gd name="connsiteY1" fmla="*/ 3372863 h 4076529"/>
                  <a:gd name="connsiteX2" fmla="*/ 1818901 w 1879986"/>
                  <a:gd name="connsiteY2" fmla="*/ 3237450 h 4076529"/>
                  <a:gd name="connsiteX3" fmla="*/ 1674223 w 1879986"/>
                  <a:gd name="connsiteY3" fmla="*/ 3231052 h 4076529"/>
                  <a:gd name="connsiteX4" fmla="*/ 581097 w 1879986"/>
                  <a:gd name="connsiteY4" fmla="*/ 4076529 h 4076529"/>
                  <a:gd name="connsiteX5" fmla="*/ 231230 w 1879986"/>
                  <a:gd name="connsiteY5" fmla="*/ 3169743 h 4076529"/>
                  <a:gd name="connsiteX6" fmla="*/ 319367 w 1879986"/>
                  <a:gd name="connsiteY6" fmla="*/ 3160841 h 4076529"/>
                  <a:gd name="connsiteX7" fmla="*/ 323124 w 1879986"/>
                  <a:gd name="connsiteY7" fmla="*/ 3071321 h 4076529"/>
                  <a:gd name="connsiteX8" fmla="*/ 511661 w 1879986"/>
                  <a:gd name="connsiteY8" fmla="*/ 2854845 h 4076529"/>
                  <a:gd name="connsiteX9" fmla="*/ 555371 w 1879986"/>
                  <a:gd name="connsiteY9" fmla="*/ 2747193 h 4076529"/>
                  <a:gd name="connsiteX10" fmla="*/ 556550 w 1879986"/>
                  <a:gd name="connsiteY10" fmla="*/ 1594571 h 4076529"/>
                  <a:gd name="connsiteX11" fmla="*/ 542073 w 1879986"/>
                  <a:gd name="connsiteY11" fmla="*/ 1512297 h 4076529"/>
                  <a:gd name="connsiteX12" fmla="*/ 368764 w 1879986"/>
                  <a:gd name="connsiteY12" fmla="*/ 1302973 h 4076529"/>
                  <a:gd name="connsiteX13" fmla="*/ 329287 w 1879986"/>
                  <a:gd name="connsiteY13" fmla="*/ 1302809 h 4076529"/>
                  <a:gd name="connsiteX14" fmla="*/ 328934 w 1879986"/>
                  <a:gd name="connsiteY14" fmla="*/ 1269031 h 4076529"/>
                  <a:gd name="connsiteX15" fmla="*/ 356286 w 1879986"/>
                  <a:gd name="connsiteY15" fmla="*/ 1268519 h 4076529"/>
                  <a:gd name="connsiteX16" fmla="*/ 353118 w 1879986"/>
                  <a:gd name="connsiteY16" fmla="*/ 1138495 h 4076529"/>
                  <a:gd name="connsiteX17" fmla="*/ 234935 w 1879986"/>
                  <a:gd name="connsiteY17" fmla="*/ 1138830 h 4076529"/>
                  <a:gd name="connsiteX18" fmla="*/ 235339 w 1879986"/>
                  <a:gd name="connsiteY18" fmla="*/ 923254 h 4076529"/>
                  <a:gd name="connsiteX19" fmla="*/ 603374 w 1879986"/>
                  <a:gd name="connsiteY19" fmla="*/ 237848 h 4076529"/>
                  <a:gd name="connsiteX20" fmla="*/ 1680415 w 1879986"/>
                  <a:gd name="connsiteY20" fmla="*/ 1068728 h 4076529"/>
                  <a:gd name="connsiteX21" fmla="*/ 1879986 w 1879986"/>
                  <a:gd name="connsiteY21" fmla="*/ 1081411 h 4076529"/>
                  <a:gd name="connsiteX22" fmla="*/ 1816630 w 1879986"/>
                  <a:gd name="connsiteY22" fmla="*/ 913332 h 4076529"/>
                  <a:gd name="connsiteX23" fmla="*/ 958163 w 1879986"/>
                  <a:gd name="connsiteY23" fmla="*/ 0 h 4076529"/>
                  <a:gd name="connsiteX24" fmla="*/ 109261 w 1879986"/>
                  <a:gd name="connsiteY24" fmla="*/ 858457 h 4076529"/>
                  <a:gd name="connsiteX25" fmla="*/ 94804 w 1879986"/>
                  <a:gd name="connsiteY25" fmla="*/ 1146972 h 4076529"/>
                  <a:gd name="connsiteX26" fmla="*/ 9907 w 1879986"/>
                  <a:gd name="connsiteY26" fmla="*/ 1521969 h 4076529"/>
                  <a:gd name="connsiteX27" fmla="*/ 0 w 1879986"/>
                  <a:gd name="connsiteY27" fmla="*/ 2778708 h 4076529"/>
                  <a:gd name="connsiteX28" fmla="*/ 95870 w 1879986"/>
                  <a:gd name="connsiteY28" fmla="*/ 3178922 h 4076529"/>
                  <a:gd name="connsiteX29" fmla="*/ 94635 w 1879986"/>
                  <a:gd name="connsiteY29" fmla="*/ 3523641 h 4076529"/>
                  <a:gd name="connsiteX0" fmla="*/ 94635 w 1879986"/>
                  <a:gd name="connsiteY0" fmla="*/ 3523641 h 4330430"/>
                  <a:gd name="connsiteX1" fmla="*/ 938203 w 1879986"/>
                  <a:gd name="connsiteY1" fmla="*/ 4330430 h 4330430"/>
                  <a:gd name="connsiteX2" fmla="*/ 1818901 w 1879986"/>
                  <a:gd name="connsiteY2" fmla="*/ 3237450 h 4330430"/>
                  <a:gd name="connsiteX3" fmla="*/ 1674223 w 1879986"/>
                  <a:gd name="connsiteY3" fmla="*/ 3231052 h 4330430"/>
                  <a:gd name="connsiteX4" fmla="*/ 581097 w 1879986"/>
                  <a:gd name="connsiteY4" fmla="*/ 4076529 h 4330430"/>
                  <a:gd name="connsiteX5" fmla="*/ 231230 w 1879986"/>
                  <a:gd name="connsiteY5" fmla="*/ 3169743 h 4330430"/>
                  <a:gd name="connsiteX6" fmla="*/ 319367 w 1879986"/>
                  <a:gd name="connsiteY6" fmla="*/ 3160841 h 4330430"/>
                  <a:gd name="connsiteX7" fmla="*/ 323124 w 1879986"/>
                  <a:gd name="connsiteY7" fmla="*/ 3071321 h 4330430"/>
                  <a:gd name="connsiteX8" fmla="*/ 511661 w 1879986"/>
                  <a:gd name="connsiteY8" fmla="*/ 2854845 h 4330430"/>
                  <a:gd name="connsiteX9" fmla="*/ 555371 w 1879986"/>
                  <a:gd name="connsiteY9" fmla="*/ 2747193 h 4330430"/>
                  <a:gd name="connsiteX10" fmla="*/ 556550 w 1879986"/>
                  <a:gd name="connsiteY10" fmla="*/ 1594571 h 4330430"/>
                  <a:gd name="connsiteX11" fmla="*/ 542073 w 1879986"/>
                  <a:gd name="connsiteY11" fmla="*/ 1512297 h 4330430"/>
                  <a:gd name="connsiteX12" fmla="*/ 368764 w 1879986"/>
                  <a:gd name="connsiteY12" fmla="*/ 1302973 h 4330430"/>
                  <a:gd name="connsiteX13" fmla="*/ 329287 w 1879986"/>
                  <a:gd name="connsiteY13" fmla="*/ 1302809 h 4330430"/>
                  <a:gd name="connsiteX14" fmla="*/ 328934 w 1879986"/>
                  <a:gd name="connsiteY14" fmla="*/ 1269031 h 4330430"/>
                  <a:gd name="connsiteX15" fmla="*/ 356286 w 1879986"/>
                  <a:gd name="connsiteY15" fmla="*/ 1268519 h 4330430"/>
                  <a:gd name="connsiteX16" fmla="*/ 353118 w 1879986"/>
                  <a:gd name="connsiteY16" fmla="*/ 1138495 h 4330430"/>
                  <a:gd name="connsiteX17" fmla="*/ 234935 w 1879986"/>
                  <a:gd name="connsiteY17" fmla="*/ 1138830 h 4330430"/>
                  <a:gd name="connsiteX18" fmla="*/ 235339 w 1879986"/>
                  <a:gd name="connsiteY18" fmla="*/ 923254 h 4330430"/>
                  <a:gd name="connsiteX19" fmla="*/ 603374 w 1879986"/>
                  <a:gd name="connsiteY19" fmla="*/ 237848 h 4330430"/>
                  <a:gd name="connsiteX20" fmla="*/ 1680415 w 1879986"/>
                  <a:gd name="connsiteY20" fmla="*/ 1068728 h 4330430"/>
                  <a:gd name="connsiteX21" fmla="*/ 1879986 w 1879986"/>
                  <a:gd name="connsiteY21" fmla="*/ 1081411 h 4330430"/>
                  <a:gd name="connsiteX22" fmla="*/ 1816630 w 1879986"/>
                  <a:gd name="connsiteY22" fmla="*/ 913332 h 4330430"/>
                  <a:gd name="connsiteX23" fmla="*/ 958163 w 1879986"/>
                  <a:gd name="connsiteY23" fmla="*/ 0 h 4330430"/>
                  <a:gd name="connsiteX24" fmla="*/ 109261 w 1879986"/>
                  <a:gd name="connsiteY24" fmla="*/ 858457 h 4330430"/>
                  <a:gd name="connsiteX25" fmla="*/ 94804 w 1879986"/>
                  <a:gd name="connsiteY25" fmla="*/ 1146972 h 4330430"/>
                  <a:gd name="connsiteX26" fmla="*/ 9907 w 1879986"/>
                  <a:gd name="connsiteY26" fmla="*/ 1521969 h 4330430"/>
                  <a:gd name="connsiteX27" fmla="*/ 0 w 1879986"/>
                  <a:gd name="connsiteY27" fmla="*/ 2778708 h 4330430"/>
                  <a:gd name="connsiteX28" fmla="*/ 95870 w 1879986"/>
                  <a:gd name="connsiteY28" fmla="*/ 3178922 h 4330430"/>
                  <a:gd name="connsiteX29" fmla="*/ 94635 w 1879986"/>
                  <a:gd name="connsiteY29" fmla="*/ 3523641 h 4330430"/>
                  <a:gd name="connsiteX0" fmla="*/ 94635 w 1879986"/>
                  <a:gd name="connsiteY0" fmla="*/ 3523641 h 4330430"/>
                  <a:gd name="connsiteX1" fmla="*/ 938203 w 1879986"/>
                  <a:gd name="connsiteY1" fmla="*/ 4330430 h 4330430"/>
                  <a:gd name="connsiteX2" fmla="*/ 1818901 w 1879986"/>
                  <a:gd name="connsiteY2" fmla="*/ 3237450 h 4330430"/>
                  <a:gd name="connsiteX3" fmla="*/ 1674223 w 1879986"/>
                  <a:gd name="connsiteY3" fmla="*/ 3231052 h 4330430"/>
                  <a:gd name="connsiteX4" fmla="*/ 581097 w 1879986"/>
                  <a:gd name="connsiteY4" fmla="*/ 4076529 h 4330430"/>
                  <a:gd name="connsiteX5" fmla="*/ 231230 w 1879986"/>
                  <a:gd name="connsiteY5" fmla="*/ 3169743 h 4330430"/>
                  <a:gd name="connsiteX6" fmla="*/ 319367 w 1879986"/>
                  <a:gd name="connsiteY6" fmla="*/ 3160841 h 4330430"/>
                  <a:gd name="connsiteX7" fmla="*/ 323124 w 1879986"/>
                  <a:gd name="connsiteY7" fmla="*/ 3071321 h 4330430"/>
                  <a:gd name="connsiteX8" fmla="*/ 511661 w 1879986"/>
                  <a:gd name="connsiteY8" fmla="*/ 2854845 h 4330430"/>
                  <a:gd name="connsiteX9" fmla="*/ 555371 w 1879986"/>
                  <a:gd name="connsiteY9" fmla="*/ 2747193 h 4330430"/>
                  <a:gd name="connsiteX10" fmla="*/ 556550 w 1879986"/>
                  <a:gd name="connsiteY10" fmla="*/ 1594571 h 4330430"/>
                  <a:gd name="connsiteX11" fmla="*/ 542073 w 1879986"/>
                  <a:gd name="connsiteY11" fmla="*/ 1512297 h 4330430"/>
                  <a:gd name="connsiteX12" fmla="*/ 368764 w 1879986"/>
                  <a:gd name="connsiteY12" fmla="*/ 1302973 h 4330430"/>
                  <a:gd name="connsiteX13" fmla="*/ 329287 w 1879986"/>
                  <a:gd name="connsiteY13" fmla="*/ 1302809 h 4330430"/>
                  <a:gd name="connsiteX14" fmla="*/ 328934 w 1879986"/>
                  <a:gd name="connsiteY14" fmla="*/ 1269031 h 4330430"/>
                  <a:gd name="connsiteX15" fmla="*/ 356286 w 1879986"/>
                  <a:gd name="connsiteY15" fmla="*/ 1268519 h 4330430"/>
                  <a:gd name="connsiteX16" fmla="*/ 353118 w 1879986"/>
                  <a:gd name="connsiteY16" fmla="*/ 1138495 h 4330430"/>
                  <a:gd name="connsiteX17" fmla="*/ 234935 w 1879986"/>
                  <a:gd name="connsiteY17" fmla="*/ 1138830 h 4330430"/>
                  <a:gd name="connsiteX18" fmla="*/ 235339 w 1879986"/>
                  <a:gd name="connsiteY18" fmla="*/ 923254 h 4330430"/>
                  <a:gd name="connsiteX19" fmla="*/ 603374 w 1879986"/>
                  <a:gd name="connsiteY19" fmla="*/ 237848 h 4330430"/>
                  <a:gd name="connsiteX20" fmla="*/ 1680415 w 1879986"/>
                  <a:gd name="connsiteY20" fmla="*/ 1068728 h 4330430"/>
                  <a:gd name="connsiteX21" fmla="*/ 1879986 w 1879986"/>
                  <a:gd name="connsiteY21" fmla="*/ 1081411 h 4330430"/>
                  <a:gd name="connsiteX22" fmla="*/ 1816630 w 1879986"/>
                  <a:gd name="connsiteY22" fmla="*/ 913332 h 4330430"/>
                  <a:gd name="connsiteX23" fmla="*/ 958163 w 1879986"/>
                  <a:gd name="connsiteY23" fmla="*/ 0 h 4330430"/>
                  <a:gd name="connsiteX24" fmla="*/ 109261 w 1879986"/>
                  <a:gd name="connsiteY24" fmla="*/ 858457 h 4330430"/>
                  <a:gd name="connsiteX25" fmla="*/ 94804 w 1879986"/>
                  <a:gd name="connsiteY25" fmla="*/ 1146972 h 4330430"/>
                  <a:gd name="connsiteX26" fmla="*/ 9907 w 1879986"/>
                  <a:gd name="connsiteY26" fmla="*/ 1521969 h 4330430"/>
                  <a:gd name="connsiteX27" fmla="*/ 0 w 1879986"/>
                  <a:gd name="connsiteY27" fmla="*/ 2778708 h 4330430"/>
                  <a:gd name="connsiteX28" fmla="*/ 95870 w 1879986"/>
                  <a:gd name="connsiteY28" fmla="*/ 3178922 h 4330430"/>
                  <a:gd name="connsiteX29" fmla="*/ 94635 w 1879986"/>
                  <a:gd name="connsiteY29" fmla="*/ 3523641 h 4330430"/>
                  <a:gd name="connsiteX0" fmla="*/ 94635 w 1879986"/>
                  <a:gd name="connsiteY0" fmla="*/ 3523641 h 4330430"/>
                  <a:gd name="connsiteX1" fmla="*/ 938203 w 1879986"/>
                  <a:gd name="connsiteY1" fmla="*/ 4330430 h 4330430"/>
                  <a:gd name="connsiteX2" fmla="*/ 1802011 w 1879986"/>
                  <a:gd name="connsiteY2" fmla="*/ 3474424 h 4330430"/>
                  <a:gd name="connsiteX3" fmla="*/ 1674223 w 1879986"/>
                  <a:gd name="connsiteY3" fmla="*/ 3231052 h 4330430"/>
                  <a:gd name="connsiteX4" fmla="*/ 581097 w 1879986"/>
                  <a:gd name="connsiteY4" fmla="*/ 4076529 h 4330430"/>
                  <a:gd name="connsiteX5" fmla="*/ 231230 w 1879986"/>
                  <a:gd name="connsiteY5" fmla="*/ 3169743 h 4330430"/>
                  <a:gd name="connsiteX6" fmla="*/ 319367 w 1879986"/>
                  <a:gd name="connsiteY6" fmla="*/ 3160841 h 4330430"/>
                  <a:gd name="connsiteX7" fmla="*/ 323124 w 1879986"/>
                  <a:gd name="connsiteY7" fmla="*/ 3071321 h 4330430"/>
                  <a:gd name="connsiteX8" fmla="*/ 511661 w 1879986"/>
                  <a:gd name="connsiteY8" fmla="*/ 2854845 h 4330430"/>
                  <a:gd name="connsiteX9" fmla="*/ 555371 w 1879986"/>
                  <a:gd name="connsiteY9" fmla="*/ 2747193 h 4330430"/>
                  <a:gd name="connsiteX10" fmla="*/ 556550 w 1879986"/>
                  <a:gd name="connsiteY10" fmla="*/ 1594571 h 4330430"/>
                  <a:gd name="connsiteX11" fmla="*/ 542073 w 1879986"/>
                  <a:gd name="connsiteY11" fmla="*/ 1512297 h 4330430"/>
                  <a:gd name="connsiteX12" fmla="*/ 368764 w 1879986"/>
                  <a:gd name="connsiteY12" fmla="*/ 1302973 h 4330430"/>
                  <a:gd name="connsiteX13" fmla="*/ 329287 w 1879986"/>
                  <a:gd name="connsiteY13" fmla="*/ 1302809 h 4330430"/>
                  <a:gd name="connsiteX14" fmla="*/ 328934 w 1879986"/>
                  <a:gd name="connsiteY14" fmla="*/ 1269031 h 4330430"/>
                  <a:gd name="connsiteX15" fmla="*/ 356286 w 1879986"/>
                  <a:gd name="connsiteY15" fmla="*/ 1268519 h 4330430"/>
                  <a:gd name="connsiteX16" fmla="*/ 353118 w 1879986"/>
                  <a:gd name="connsiteY16" fmla="*/ 1138495 h 4330430"/>
                  <a:gd name="connsiteX17" fmla="*/ 234935 w 1879986"/>
                  <a:gd name="connsiteY17" fmla="*/ 1138830 h 4330430"/>
                  <a:gd name="connsiteX18" fmla="*/ 235339 w 1879986"/>
                  <a:gd name="connsiteY18" fmla="*/ 923254 h 4330430"/>
                  <a:gd name="connsiteX19" fmla="*/ 603374 w 1879986"/>
                  <a:gd name="connsiteY19" fmla="*/ 237848 h 4330430"/>
                  <a:gd name="connsiteX20" fmla="*/ 1680415 w 1879986"/>
                  <a:gd name="connsiteY20" fmla="*/ 1068728 h 4330430"/>
                  <a:gd name="connsiteX21" fmla="*/ 1879986 w 1879986"/>
                  <a:gd name="connsiteY21" fmla="*/ 1081411 h 4330430"/>
                  <a:gd name="connsiteX22" fmla="*/ 1816630 w 1879986"/>
                  <a:gd name="connsiteY22" fmla="*/ 913332 h 4330430"/>
                  <a:gd name="connsiteX23" fmla="*/ 958163 w 1879986"/>
                  <a:gd name="connsiteY23" fmla="*/ 0 h 4330430"/>
                  <a:gd name="connsiteX24" fmla="*/ 109261 w 1879986"/>
                  <a:gd name="connsiteY24" fmla="*/ 858457 h 4330430"/>
                  <a:gd name="connsiteX25" fmla="*/ 94804 w 1879986"/>
                  <a:gd name="connsiteY25" fmla="*/ 1146972 h 4330430"/>
                  <a:gd name="connsiteX26" fmla="*/ 9907 w 1879986"/>
                  <a:gd name="connsiteY26" fmla="*/ 1521969 h 4330430"/>
                  <a:gd name="connsiteX27" fmla="*/ 0 w 1879986"/>
                  <a:gd name="connsiteY27" fmla="*/ 2778708 h 4330430"/>
                  <a:gd name="connsiteX28" fmla="*/ 95870 w 1879986"/>
                  <a:gd name="connsiteY28" fmla="*/ 3178922 h 4330430"/>
                  <a:gd name="connsiteX29" fmla="*/ 94635 w 1879986"/>
                  <a:gd name="connsiteY29" fmla="*/ 3523641 h 4330430"/>
                  <a:gd name="connsiteX0" fmla="*/ 94635 w 1879986"/>
                  <a:gd name="connsiteY0" fmla="*/ 3523641 h 4330430"/>
                  <a:gd name="connsiteX1" fmla="*/ 938203 w 1879986"/>
                  <a:gd name="connsiteY1" fmla="*/ 4330430 h 4330430"/>
                  <a:gd name="connsiteX2" fmla="*/ 1802011 w 1879986"/>
                  <a:gd name="connsiteY2" fmla="*/ 3474424 h 4330430"/>
                  <a:gd name="connsiteX3" fmla="*/ 1674223 w 1879986"/>
                  <a:gd name="connsiteY3" fmla="*/ 3231052 h 4330430"/>
                  <a:gd name="connsiteX4" fmla="*/ 581097 w 1879986"/>
                  <a:gd name="connsiteY4" fmla="*/ 4076529 h 4330430"/>
                  <a:gd name="connsiteX5" fmla="*/ 231230 w 1879986"/>
                  <a:gd name="connsiteY5" fmla="*/ 3169743 h 4330430"/>
                  <a:gd name="connsiteX6" fmla="*/ 319367 w 1879986"/>
                  <a:gd name="connsiteY6" fmla="*/ 3160841 h 4330430"/>
                  <a:gd name="connsiteX7" fmla="*/ 323124 w 1879986"/>
                  <a:gd name="connsiteY7" fmla="*/ 3071321 h 4330430"/>
                  <a:gd name="connsiteX8" fmla="*/ 511661 w 1879986"/>
                  <a:gd name="connsiteY8" fmla="*/ 2854845 h 4330430"/>
                  <a:gd name="connsiteX9" fmla="*/ 555371 w 1879986"/>
                  <a:gd name="connsiteY9" fmla="*/ 2747193 h 4330430"/>
                  <a:gd name="connsiteX10" fmla="*/ 556550 w 1879986"/>
                  <a:gd name="connsiteY10" fmla="*/ 1594571 h 4330430"/>
                  <a:gd name="connsiteX11" fmla="*/ 542073 w 1879986"/>
                  <a:gd name="connsiteY11" fmla="*/ 1512297 h 4330430"/>
                  <a:gd name="connsiteX12" fmla="*/ 368764 w 1879986"/>
                  <a:gd name="connsiteY12" fmla="*/ 1302973 h 4330430"/>
                  <a:gd name="connsiteX13" fmla="*/ 329287 w 1879986"/>
                  <a:gd name="connsiteY13" fmla="*/ 1302809 h 4330430"/>
                  <a:gd name="connsiteX14" fmla="*/ 328934 w 1879986"/>
                  <a:gd name="connsiteY14" fmla="*/ 1269031 h 4330430"/>
                  <a:gd name="connsiteX15" fmla="*/ 356286 w 1879986"/>
                  <a:gd name="connsiteY15" fmla="*/ 1268519 h 4330430"/>
                  <a:gd name="connsiteX16" fmla="*/ 353118 w 1879986"/>
                  <a:gd name="connsiteY16" fmla="*/ 1138495 h 4330430"/>
                  <a:gd name="connsiteX17" fmla="*/ 234935 w 1879986"/>
                  <a:gd name="connsiteY17" fmla="*/ 1138830 h 4330430"/>
                  <a:gd name="connsiteX18" fmla="*/ 235339 w 1879986"/>
                  <a:gd name="connsiteY18" fmla="*/ 923254 h 4330430"/>
                  <a:gd name="connsiteX19" fmla="*/ 603374 w 1879986"/>
                  <a:gd name="connsiteY19" fmla="*/ 237848 h 4330430"/>
                  <a:gd name="connsiteX20" fmla="*/ 1680415 w 1879986"/>
                  <a:gd name="connsiteY20" fmla="*/ 1068728 h 4330430"/>
                  <a:gd name="connsiteX21" fmla="*/ 1879986 w 1879986"/>
                  <a:gd name="connsiteY21" fmla="*/ 1081411 h 4330430"/>
                  <a:gd name="connsiteX22" fmla="*/ 1816630 w 1879986"/>
                  <a:gd name="connsiteY22" fmla="*/ 913332 h 4330430"/>
                  <a:gd name="connsiteX23" fmla="*/ 958163 w 1879986"/>
                  <a:gd name="connsiteY23" fmla="*/ 0 h 4330430"/>
                  <a:gd name="connsiteX24" fmla="*/ 109261 w 1879986"/>
                  <a:gd name="connsiteY24" fmla="*/ 858457 h 4330430"/>
                  <a:gd name="connsiteX25" fmla="*/ 94804 w 1879986"/>
                  <a:gd name="connsiteY25" fmla="*/ 1146972 h 4330430"/>
                  <a:gd name="connsiteX26" fmla="*/ 9907 w 1879986"/>
                  <a:gd name="connsiteY26" fmla="*/ 1521969 h 4330430"/>
                  <a:gd name="connsiteX27" fmla="*/ 0 w 1879986"/>
                  <a:gd name="connsiteY27" fmla="*/ 2778708 h 4330430"/>
                  <a:gd name="connsiteX28" fmla="*/ 95870 w 1879986"/>
                  <a:gd name="connsiteY28" fmla="*/ 3178922 h 4330430"/>
                  <a:gd name="connsiteX29" fmla="*/ 94635 w 1879986"/>
                  <a:gd name="connsiteY29" fmla="*/ 3523641 h 4330430"/>
                  <a:gd name="connsiteX0" fmla="*/ 94635 w 1879986"/>
                  <a:gd name="connsiteY0" fmla="*/ 3523641 h 4330577"/>
                  <a:gd name="connsiteX1" fmla="*/ 938203 w 1879986"/>
                  <a:gd name="connsiteY1" fmla="*/ 4330430 h 4330577"/>
                  <a:gd name="connsiteX2" fmla="*/ 1802011 w 1879986"/>
                  <a:gd name="connsiteY2" fmla="*/ 3474424 h 4330577"/>
                  <a:gd name="connsiteX3" fmla="*/ 1674223 w 1879986"/>
                  <a:gd name="connsiteY3" fmla="*/ 3231052 h 4330577"/>
                  <a:gd name="connsiteX4" fmla="*/ 581097 w 1879986"/>
                  <a:gd name="connsiteY4" fmla="*/ 4076529 h 4330577"/>
                  <a:gd name="connsiteX5" fmla="*/ 231230 w 1879986"/>
                  <a:gd name="connsiteY5" fmla="*/ 3169743 h 4330577"/>
                  <a:gd name="connsiteX6" fmla="*/ 319367 w 1879986"/>
                  <a:gd name="connsiteY6" fmla="*/ 3160841 h 4330577"/>
                  <a:gd name="connsiteX7" fmla="*/ 323124 w 1879986"/>
                  <a:gd name="connsiteY7" fmla="*/ 3071321 h 4330577"/>
                  <a:gd name="connsiteX8" fmla="*/ 511661 w 1879986"/>
                  <a:gd name="connsiteY8" fmla="*/ 2854845 h 4330577"/>
                  <a:gd name="connsiteX9" fmla="*/ 555371 w 1879986"/>
                  <a:gd name="connsiteY9" fmla="*/ 2747193 h 4330577"/>
                  <a:gd name="connsiteX10" fmla="*/ 556550 w 1879986"/>
                  <a:gd name="connsiteY10" fmla="*/ 1594571 h 4330577"/>
                  <a:gd name="connsiteX11" fmla="*/ 542073 w 1879986"/>
                  <a:gd name="connsiteY11" fmla="*/ 1512297 h 4330577"/>
                  <a:gd name="connsiteX12" fmla="*/ 368764 w 1879986"/>
                  <a:gd name="connsiteY12" fmla="*/ 1302973 h 4330577"/>
                  <a:gd name="connsiteX13" fmla="*/ 329287 w 1879986"/>
                  <a:gd name="connsiteY13" fmla="*/ 1302809 h 4330577"/>
                  <a:gd name="connsiteX14" fmla="*/ 328934 w 1879986"/>
                  <a:gd name="connsiteY14" fmla="*/ 1269031 h 4330577"/>
                  <a:gd name="connsiteX15" fmla="*/ 356286 w 1879986"/>
                  <a:gd name="connsiteY15" fmla="*/ 1268519 h 4330577"/>
                  <a:gd name="connsiteX16" fmla="*/ 353118 w 1879986"/>
                  <a:gd name="connsiteY16" fmla="*/ 1138495 h 4330577"/>
                  <a:gd name="connsiteX17" fmla="*/ 234935 w 1879986"/>
                  <a:gd name="connsiteY17" fmla="*/ 1138830 h 4330577"/>
                  <a:gd name="connsiteX18" fmla="*/ 235339 w 1879986"/>
                  <a:gd name="connsiteY18" fmla="*/ 923254 h 4330577"/>
                  <a:gd name="connsiteX19" fmla="*/ 603374 w 1879986"/>
                  <a:gd name="connsiteY19" fmla="*/ 237848 h 4330577"/>
                  <a:gd name="connsiteX20" fmla="*/ 1680415 w 1879986"/>
                  <a:gd name="connsiteY20" fmla="*/ 1068728 h 4330577"/>
                  <a:gd name="connsiteX21" fmla="*/ 1879986 w 1879986"/>
                  <a:gd name="connsiteY21" fmla="*/ 1081411 h 4330577"/>
                  <a:gd name="connsiteX22" fmla="*/ 1816630 w 1879986"/>
                  <a:gd name="connsiteY22" fmla="*/ 913332 h 4330577"/>
                  <a:gd name="connsiteX23" fmla="*/ 958163 w 1879986"/>
                  <a:gd name="connsiteY23" fmla="*/ 0 h 4330577"/>
                  <a:gd name="connsiteX24" fmla="*/ 109261 w 1879986"/>
                  <a:gd name="connsiteY24" fmla="*/ 858457 h 4330577"/>
                  <a:gd name="connsiteX25" fmla="*/ 94804 w 1879986"/>
                  <a:gd name="connsiteY25" fmla="*/ 1146972 h 4330577"/>
                  <a:gd name="connsiteX26" fmla="*/ 9907 w 1879986"/>
                  <a:gd name="connsiteY26" fmla="*/ 1521969 h 4330577"/>
                  <a:gd name="connsiteX27" fmla="*/ 0 w 1879986"/>
                  <a:gd name="connsiteY27" fmla="*/ 2778708 h 4330577"/>
                  <a:gd name="connsiteX28" fmla="*/ 95870 w 1879986"/>
                  <a:gd name="connsiteY28" fmla="*/ 3178922 h 4330577"/>
                  <a:gd name="connsiteX29" fmla="*/ 94635 w 1879986"/>
                  <a:gd name="connsiteY29" fmla="*/ 3523641 h 4330577"/>
                  <a:gd name="connsiteX0" fmla="*/ 94635 w 1879986"/>
                  <a:gd name="connsiteY0" fmla="*/ 3523641 h 4330577"/>
                  <a:gd name="connsiteX1" fmla="*/ 938203 w 1879986"/>
                  <a:gd name="connsiteY1" fmla="*/ 4330430 h 4330577"/>
                  <a:gd name="connsiteX2" fmla="*/ 1802011 w 1879986"/>
                  <a:gd name="connsiteY2" fmla="*/ 3474424 h 4330577"/>
                  <a:gd name="connsiteX3" fmla="*/ 1674223 w 1879986"/>
                  <a:gd name="connsiteY3" fmla="*/ 3231052 h 4330577"/>
                  <a:gd name="connsiteX4" fmla="*/ 581097 w 1879986"/>
                  <a:gd name="connsiteY4" fmla="*/ 4076529 h 4330577"/>
                  <a:gd name="connsiteX5" fmla="*/ 231230 w 1879986"/>
                  <a:gd name="connsiteY5" fmla="*/ 3169743 h 4330577"/>
                  <a:gd name="connsiteX6" fmla="*/ 319367 w 1879986"/>
                  <a:gd name="connsiteY6" fmla="*/ 3160841 h 4330577"/>
                  <a:gd name="connsiteX7" fmla="*/ 323124 w 1879986"/>
                  <a:gd name="connsiteY7" fmla="*/ 3071321 h 4330577"/>
                  <a:gd name="connsiteX8" fmla="*/ 511661 w 1879986"/>
                  <a:gd name="connsiteY8" fmla="*/ 2854845 h 4330577"/>
                  <a:gd name="connsiteX9" fmla="*/ 555371 w 1879986"/>
                  <a:gd name="connsiteY9" fmla="*/ 2747193 h 4330577"/>
                  <a:gd name="connsiteX10" fmla="*/ 556550 w 1879986"/>
                  <a:gd name="connsiteY10" fmla="*/ 1594571 h 4330577"/>
                  <a:gd name="connsiteX11" fmla="*/ 542073 w 1879986"/>
                  <a:gd name="connsiteY11" fmla="*/ 1512297 h 4330577"/>
                  <a:gd name="connsiteX12" fmla="*/ 368764 w 1879986"/>
                  <a:gd name="connsiteY12" fmla="*/ 1302973 h 4330577"/>
                  <a:gd name="connsiteX13" fmla="*/ 329287 w 1879986"/>
                  <a:gd name="connsiteY13" fmla="*/ 1302809 h 4330577"/>
                  <a:gd name="connsiteX14" fmla="*/ 328934 w 1879986"/>
                  <a:gd name="connsiteY14" fmla="*/ 1269031 h 4330577"/>
                  <a:gd name="connsiteX15" fmla="*/ 356286 w 1879986"/>
                  <a:gd name="connsiteY15" fmla="*/ 1268519 h 4330577"/>
                  <a:gd name="connsiteX16" fmla="*/ 353118 w 1879986"/>
                  <a:gd name="connsiteY16" fmla="*/ 1138495 h 4330577"/>
                  <a:gd name="connsiteX17" fmla="*/ 234935 w 1879986"/>
                  <a:gd name="connsiteY17" fmla="*/ 1138830 h 4330577"/>
                  <a:gd name="connsiteX18" fmla="*/ 235339 w 1879986"/>
                  <a:gd name="connsiteY18" fmla="*/ 923254 h 4330577"/>
                  <a:gd name="connsiteX19" fmla="*/ 603374 w 1879986"/>
                  <a:gd name="connsiteY19" fmla="*/ 237848 h 4330577"/>
                  <a:gd name="connsiteX20" fmla="*/ 1680415 w 1879986"/>
                  <a:gd name="connsiteY20" fmla="*/ 1068728 h 4330577"/>
                  <a:gd name="connsiteX21" fmla="*/ 1879986 w 1879986"/>
                  <a:gd name="connsiteY21" fmla="*/ 1081411 h 4330577"/>
                  <a:gd name="connsiteX22" fmla="*/ 1816630 w 1879986"/>
                  <a:gd name="connsiteY22" fmla="*/ 913332 h 4330577"/>
                  <a:gd name="connsiteX23" fmla="*/ 958163 w 1879986"/>
                  <a:gd name="connsiteY23" fmla="*/ 0 h 4330577"/>
                  <a:gd name="connsiteX24" fmla="*/ 109261 w 1879986"/>
                  <a:gd name="connsiteY24" fmla="*/ 858457 h 4330577"/>
                  <a:gd name="connsiteX25" fmla="*/ 94804 w 1879986"/>
                  <a:gd name="connsiteY25" fmla="*/ 1146972 h 4330577"/>
                  <a:gd name="connsiteX26" fmla="*/ 9907 w 1879986"/>
                  <a:gd name="connsiteY26" fmla="*/ 1521969 h 4330577"/>
                  <a:gd name="connsiteX27" fmla="*/ 0 w 1879986"/>
                  <a:gd name="connsiteY27" fmla="*/ 2778708 h 4330577"/>
                  <a:gd name="connsiteX28" fmla="*/ 95870 w 1879986"/>
                  <a:gd name="connsiteY28" fmla="*/ 3178922 h 4330577"/>
                  <a:gd name="connsiteX29" fmla="*/ 94635 w 1879986"/>
                  <a:gd name="connsiteY29" fmla="*/ 3523641 h 4330577"/>
                  <a:gd name="connsiteX0" fmla="*/ 94635 w 1879986"/>
                  <a:gd name="connsiteY0" fmla="*/ 3523641 h 4330639"/>
                  <a:gd name="connsiteX1" fmla="*/ 938203 w 1879986"/>
                  <a:gd name="connsiteY1" fmla="*/ 4330430 h 4330639"/>
                  <a:gd name="connsiteX2" fmla="*/ 1802011 w 1879986"/>
                  <a:gd name="connsiteY2" fmla="*/ 3474424 h 4330639"/>
                  <a:gd name="connsiteX3" fmla="*/ 1674223 w 1879986"/>
                  <a:gd name="connsiteY3" fmla="*/ 3231052 h 4330639"/>
                  <a:gd name="connsiteX4" fmla="*/ 581097 w 1879986"/>
                  <a:gd name="connsiteY4" fmla="*/ 4076529 h 4330639"/>
                  <a:gd name="connsiteX5" fmla="*/ 231230 w 1879986"/>
                  <a:gd name="connsiteY5" fmla="*/ 3169743 h 4330639"/>
                  <a:gd name="connsiteX6" fmla="*/ 319367 w 1879986"/>
                  <a:gd name="connsiteY6" fmla="*/ 3160841 h 4330639"/>
                  <a:gd name="connsiteX7" fmla="*/ 323124 w 1879986"/>
                  <a:gd name="connsiteY7" fmla="*/ 3071321 h 4330639"/>
                  <a:gd name="connsiteX8" fmla="*/ 511661 w 1879986"/>
                  <a:gd name="connsiteY8" fmla="*/ 2854845 h 4330639"/>
                  <a:gd name="connsiteX9" fmla="*/ 555371 w 1879986"/>
                  <a:gd name="connsiteY9" fmla="*/ 2747193 h 4330639"/>
                  <a:gd name="connsiteX10" fmla="*/ 556550 w 1879986"/>
                  <a:gd name="connsiteY10" fmla="*/ 1594571 h 4330639"/>
                  <a:gd name="connsiteX11" fmla="*/ 542073 w 1879986"/>
                  <a:gd name="connsiteY11" fmla="*/ 1512297 h 4330639"/>
                  <a:gd name="connsiteX12" fmla="*/ 368764 w 1879986"/>
                  <a:gd name="connsiteY12" fmla="*/ 1302973 h 4330639"/>
                  <a:gd name="connsiteX13" fmla="*/ 329287 w 1879986"/>
                  <a:gd name="connsiteY13" fmla="*/ 1302809 h 4330639"/>
                  <a:gd name="connsiteX14" fmla="*/ 328934 w 1879986"/>
                  <a:gd name="connsiteY14" fmla="*/ 1269031 h 4330639"/>
                  <a:gd name="connsiteX15" fmla="*/ 356286 w 1879986"/>
                  <a:gd name="connsiteY15" fmla="*/ 1268519 h 4330639"/>
                  <a:gd name="connsiteX16" fmla="*/ 353118 w 1879986"/>
                  <a:gd name="connsiteY16" fmla="*/ 1138495 h 4330639"/>
                  <a:gd name="connsiteX17" fmla="*/ 234935 w 1879986"/>
                  <a:gd name="connsiteY17" fmla="*/ 1138830 h 4330639"/>
                  <a:gd name="connsiteX18" fmla="*/ 235339 w 1879986"/>
                  <a:gd name="connsiteY18" fmla="*/ 923254 h 4330639"/>
                  <a:gd name="connsiteX19" fmla="*/ 603374 w 1879986"/>
                  <a:gd name="connsiteY19" fmla="*/ 237848 h 4330639"/>
                  <a:gd name="connsiteX20" fmla="*/ 1680415 w 1879986"/>
                  <a:gd name="connsiteY20" fmla="*/ 1068728 h 4330639"/>
                  <a:gd name="connsiteX21" fmla="*/ 1879986 w 1879986"/>
                  <a:gd name="connsiteY21" fmla="*/ 1081411 h 4330639"/>
                  <a:gd name="connsiteX22" fmla="*/ 1816630 w 1879986"/>
                  <a:gd name="connsiteY22" fmla="*/ 913332 h 4330639"/>
                  <a:gd name="connsiteX23" fmla="*/ 958163 w 1879986"/>
                  <a:gd name="connsiteY23" fmla="*/ 0 h 4330639"/>
                  <a:gd name="connsiteX24" fmla="*/ 109261 w 1879986"/>
                  <a:gd name="connsiteY24" fmla="*/ 858457 h 4330639"/>
                  <a:gd name="connsiteX25" fmla="*/ 94804 w 1879986"/>
                  <a:gd name="connsiteY25" fmla="*/ 1146972 h 4330639"/>
                  <a:gd name="connsiteX26" fmla="*/ 9907 w 1879986"/>
                  <a:gd name="connsiteY26" fmla="*/ 1521969 h 4330639"/>
                  <a:gd name="connsiteX27" fmla="*/ 0 w 1879986"/>
                  <a:gd name="connsiteY27" fmla="*/ 2778708 h 4330639"/>
                  <a:gd name="connsiteX28" fmla="*/ 95870 w 1879986"/>
                  <a:gd name="connsiteY28" fmla="*/ 3178922 h 4330639"/>
                  <a:gd name="connsiteX29" fmla="*/ 94635 w 1879986"/>
                  <a:gd name="connsiteY29" fmla="*/ 3523641 h 4330639"/>
                  <a:gd name="connsiteX0" fmla="*/ 94635 w 1879986"/>
                  <a:gd name="connsiteY0" fmla="*/ 3523641 h 4330639"/>
                  <a:gd name="connsiteX1" fmla="*/ 938203 w 1879986"/>
                  <a:gd name="connsiteY1" fmla="*/ 4330430 h 4330639"/>
                  <a:gd name="connsiteX2" fmla="*/ 1802011 w 1879986"/>
                  <a:gd name="connsiteY2" fmla="*/ 3474424 h 4330639"/>
                  <a:gd name="connsiteX3" fmla="*/ 1674223 w 1879986"/>
                  <a:gd name="connsiteY3" fmla="*/ 3231052 h 4330639"/>
                  <a:gd name="connsiteX4" fmla="*/ 581097 w 1879986"/>
                  <a:gd name="connsiteY4" fmla="*/ 4076529 h 4330639"/>
                  <a:gd name="connsiteX5" fmla="*/ 231230 w 1879986"/>
                  <a:gd name="connsiteY5" fmla="*/ 3169743 h 4330639"/>
                  <a:gd name="connsiteX6" fmla="*/ 319367 w 1879986"/>
                  <a:gd name="connsiteY6" fmla="*/ 3160841 h 4330639"/>
                  <a:gd name="connsiteX7" fmla="*/ 323124 w 1879986"/>
                  <a:gd name="connsiteY7" fmla="*/ 3071321 h 4330639"/>
                  <a:gd name="connsiteX8" fmla="*/ 511661 w 1879986"/>
                  <a:gd name="connsiteY8" fmla="*/ 2854845 h 4330639"/>
                  <a:gd name="connsiteX9" fmla="*/ 555371 w 1879986"/>
                  <a:gd name="connsiteY9" fmla="*/ 2747193 h 4330639"/>
                  <a:gd name="connsiteX10" fmla="*/ 556550 w 1879986"/>
                  <a:gd name="connsiteY10" fmla="*/ 1594571 h 4330639"/>
                  <a:gd name="connsiteX11" fmla="*/ 542073 w 1879986"/>
                  <a:gd name="connsiteY11" fmla="*/ 1512297 h 4330639"/>
                  <a:gd name="connsiteX12" fmla="*/ 368764 w 1879986"/>
                  <a:gd name="connsiteY12" fmla="*/ 1302973 h 4330639"/>
                  <a:gd name="connsiteX13" fmla="*/ 329287 w 1879986"/>
                  <a:gd name="connsiteY13" fmla="*/ 1302809 h 4330639"/>
                  <a:gd name="connsiteX14" fmla="*/ 328934 w 1879986"/>
                  <a:gd name="connsiteY14" fmla="*/ 1269031 h 4330639"/>
                  <a:gd name="connsiteX15" fmla="*/ 356286 w 1879986"/>
                  <a:gd name="connsiteY15" fmla="*/ 1268519 h 4330639"/>
                  <a:gd name="connsiteX16" fmla="*/ 353118 w 1879986"/>
                  <a:gd name="connsiteY16" fmla="*/ 1138495 h 4330639"/>
                  <a:gd name="connsiteX17" fmla="*/ 234935 w 1879986"/>
                  <a:gd name="connsiteY17" fmla="*/ 1138830 h 4330639"/>
                  <a:gd name="connsiteX18" fmla="*/ 235339 w 1879986"/>
                  <a:gd name="connsiteY18" fmla="*/ 923254 h 4330639"/>
                  <a:gd name="connsiteX19" fmla="*/ 603374 w 1879986"/>
                  <a:gd name="connsiteY19" fmla="*/ 237848 h 4330639"/>
                  <a:gd name="connsiteX20" fmla="*/ 1680415 w 1879986"/>
                  <a:gd name="connsiteY20" fmla="*/ 1068728 h 4330639"/>
                  <a:gd name="connsiteX21" fmla="*/ 1879986 w 1879986"/>
                  <a:gd name="connsiteY21" fmla="*/ 1081411 h 4330639"/>
                  <a:gd name="connsiteX22" fmla="*/ 1816630 w 1879986"/>
                  <a:gd name="connsiteY22" fmla="*/ 913332 h 4330639"/>
                  <a:gd name="connsiteX23" fmla="*/ 958163 w 1879986"/>
                  <a:gd name="connsiteY23" fmla="*/ 0 h 4330639"/>
                  <a:gd name="connsiteX24" fmla="*/ 109261 w 1879986"/>
                  <a:gd name="connsiteY24" fmla="*/ 858457 h 4330639"/>
                  <a:gd name="connsiteX25" fmla="*/ 94804 w 1879986"/>
                  <a:gd name="connsiteY25" fmla="*/ 1146972 h 4330639"/>
                  <a:gd name="connsiteX26" fmla="*/ 9907 w 1879986"/>
                  <a:gd name="connsiteY26" fmla="*/ 1521969 h 4330639"/>
                  <a:gd name="connsiteX27" fmla="*/ 0 w 1879986"/>
                  <a:gd name="connsiteY27" fmla="*/ 2778708 h 4330639"/>
                  <a:gd name="connsiteX28" fmla="*/ 95870 w 1879986"/>
                  <a:gd name="connsiteY28" fmla="*/ 3178922 h 4330639"/>
                  <a:gd name="connsiteX29" fmla="*/ 94635 w 1879986"/>
                  <a:gd name="connsiteY29" fmla="*/ 3523641 h 4330639"/>
                  <a:gd name="connsiteX0" fmla="*/ 94635 w 1879986"/>
                  <a:gd name="connsiteY0" fmla="*/ 3523641 h 4330639"/>
                  <a:gd name="connsiteX1" fmla="*/ 938203 w 1879986"/>
                  <a:gd name="connsiteY1" fmla="*/ 4330430 h 4330639"/>
                  <a:gd name="connsiteX2" fmla="*/ 1802011 w 1879986"/>
                  <a:gd name="connsiteY2" fmla="*/ 3474424 h 4330639"/>
                  <a:gd name="connsiteX3" fmla="*/ 1674223 w 1879986"/>
                  <a:gd name="connsiteY3" fmla="*/ 3231052 h 4330639"/>
                  <a:gd name="connsiteX4" fmla="*/ 581097 w 1879986"/>
                  <a:gd name="connsiteY4" fmla="*/ 4076529 h 4330639"/>
                  <a:gd name="connsiteX5" fmla="*/ 296378 w 1879986"/>
                  <a:gd name="connsiteY5" fmla="*/ 3409134 h 4330639"/>
                  <a:gd name="connsiteX6" fmla="*/ 231230 w 1879986"/>
                  <a:gd name="connsiteY6" fmla="*/ 3169743 h 4330639"/>
                  <a:gd name="connsiteX7" fmla="*/ 319367 w 1879986"/>
                  <a:gd name="connsiteY7" fmla="*/ 3160841 h 4330639"/>
                  <a:gd name="connsiteX8" fmla="*/ 323124 w 1879986"/>
                  <a:gd name="connsiteY8" fmla="*/ 3071321 h 4330639"/>
                  <a:gd name="connsiteX9" fmla="*/ 511661 w 1879986"/>
                  <a:gd name="connsiteY9" fmla="*/ 2854845 h 4330639"/>
                  <a:gd name="connsiteX10" fmla="*/ 555371 w 1879986"/>
                  <a:gd name="connsiteY10" fmla="*/ 2747193 h 4330639"/>
                  <a:gd name="connsiteX11" fmla="*/ 556550 w 1879986"/>
                  <a:gd name="connsiteY11" fmla="*/ 1594571 h 4330639"/>
                  <a:gd name="connsiteX12" fmla="*/ 542073 w 1879986"/>
                  <a:gd name="connsiteY12" fmla="*/ 1512297 h 4330639"/>
                  <a:gd name="connsiteX13" fmla="*/ 368764 w 1879986"/>
                  <a:gd name="connsiteY13" fmla="*/ 1302973 h 4330639"/>
                  <a:gd name="connsiteX14" fmla="*/ 329287 w 1879986"/>
                  <a:gd name="connsiteY14" fmla="*/ 1302809 h 4330639"/>
                  <a:gd name="connsiteX15" fmla="*/ 328934 w 1879986"/>
                  <a:gd name="connsiteY15" fmla="*/ 1269031 h 4330639"/>
                  <a:gd name="connsiteX16" fmla="*/ 356286 w 1879986"/>
                  <a:gd name="connsiteY16" fmla="*/ 1268519 h 4330639"/>
                  <a:gd name="connsiteX17" fmla="*/ 353118 w 1879986"/>
                  <a:gd name="connsiteY17" fmla="*/ 1138495 h 4330639"/>
                  <a:gd name="connsiteX18" fmla="*/ 234935 w 1879986"/>
                  <a:gd name="connsiteY18" fmla="*/ 1138830 h 4330639"/>
                  <a:gd name="connsiteX19" fmla="*/ 235339 w 1879986"/>
                  <a:gd name="connsiteY19" fmla="*/ 923254 h 4330639"/>
                  <a:gd name="connsiteX20" fmla="*/ 603374 w 1879986"/>
                  <a:gd name="connsiteY20" fmla="*/ 237848 h 4330639"/>
                  <a:gd name="connsiteX21" fmla="*/ 1680415 w 1879986"/>
                  <a:gd name="connsiteY21" fmla="*/ 1068728 h 4330639"/>
                  <a:gd name="connsiteX22" fmla="*/ 1879986 w 1879986"/>
                  <a:gd name="connsiteY22" fmla="*/ 1081411 h 4330639"/>
                  <a:gd name="connsiteX23" fmla="*/ 1816630 w 1879986"/>
                  <a:gd name="connsiteY23" fmla="*/ 913332 h 4330639"/>
                  <a:gd name="connsiteX24" fmla="*/ 958163 w 1879986"/>
                  <a:gd name="connsiteY24" fmla="*/ 0 h 4330639"/>
                  <a:gd name="connsiteX25" fmla="*/ 109261 w 1879986"/>
                  <a:gd name="connsiteY25" fmla="*/ 858457 h 4330639"/>
                  <a:gd name="connsiteX26" fmla="*/ 94804 w 1879986"/>
                  <a:gd name="connsiteY26" fmla="*/ 1146972 h 4330639"/>
                  <a:gd name="connsiteX27" fmla="*/ 9907 w 1879986"/>
                  <a:gd name="connsiteY27" fmla="*/ 1521969 h 4330639"/>
                  <a:gd name="connsiteX28" fmla="*/ 0 w 1879986"/>
                  <a:gd name="connsiteY28" fmla="*/ 2778708 h 4330639"/>
                  <a:gd name="connsiteX29" fmla="*/ 95870 w 1879986"/>
                  <a:gd name="connsiteY29" fmla="*/ 3178922 h 4330639"/>
                  <a:gd name="connsiteX30" fmla="*/ 94635 w 1879986"/>
                  <a:gd name="connsiteY30" fmla="*/ 3523641 h 4330639"/>
                  <a:gd name="connsiteX0" fmla="*/ 94635 w 1879986"/>
                  <a:gd name="connsiteY0" fmla="*/ 3523641 h 4330639"/>
                  <a:gd name="connsiteX1" fmla="*/ 938203 w 1879986"/>
                  <a:gd name="connsiteY1" fmla="*/ 4330430 h 4330639"/>
                  <a:gd name="connsiteX2" fmla="*/ 1802011 w 1879986"/>
                  <a:gd name="connsiteY2" fmla="*/ 3474424 h 4330639"/>
                  <a:gd name="connsiteX3" fmla="*/ 1674223 w 1879986"/>
                  <a:gd name="connsiteY3" fmla="*/ 3231052 h 4330639"/>
                  <a:gd name="connsiteX4" fmla="*/ 581097 w 1879986"/>
                  <a:gd name="connsiteY4" fmla="*/ 4076529 h 4330639"/>
                  <a:gd name="connsiteX5" fmla="*/ 243296 w 1879986"/>
                  <a:gd name="connsiteY5" fmla="*/ 3401879 h 4330639"/>
                  <a:gd name="connsiteX6" fmla="*/ 231230 w 1879986"/>
                  <a:gd name="connsiteY6" fmla="*/ 3169743 h 4330639"/>
                  <a:gd name="connsiteX7" fmla="*/ 319367 w 1879986"/>
                  <a:gd name="connsiteY7" fmla="*/ 3160841 h 4330639"/>
                  <a:gd name="connsiteX8" fmla="*/ 323124 w 1879986"/>
                  <a:gd name="connsiteY8" fmla="*/ 3071321 h 4330639"/>
                  <a:gd name="connsiteX9" fmla="*/ 511661 w 1879986"/>
                  <a:gd name="connsiteY9" fmla="*/ 2854845 h 4330639"/>
                  <a:gd name="connsiteX10" fmla="*/ 555371 w 1879986"/>
                  <a:gd name="connsiteY10" fmla="*/ 2747193 h 4330639"/>
                  <a:gd name="connsiteX11" fmla="*/ 556550 w 1879986"/>
                  <a:gd name="connsiteY11" fmla="*/ 1594571 h 4330639"/>
                  <a:gd name="connsiteX12" fmla="*/ 542073 w 1879986"/>
                  <a:gd name="connsiteY12" fmla="*/ 1512297 h 4330639"/>
                  <a:gd name="connsiteX13" fmla="*/ 368764 w 1879986"/>
                  <a:gd name="connsiteY13" fmla="*/ 1302973 h 4330639"/>
                  <a:gd name="connsiteX14" fmla="*/ 329287 w 1879986"/>
                  <a:gd name="connsiteY14" fmla="*/ 1302809 h 4330639"/>
                  <a:gd name="connsiteX15" fmla="*/ 328934 w 1879986"/>
                  <a:gd name="connsiteY15" fmla="*/ 1269031 h 4330639"/>
                  <a:gd name="connsiteX16" fmla="*/ 356286 w 1879986"/>
                  <a:gd name="connsiteY16" fmla="*/ 1268519 h 4330639"/>
                  <a:gd name="connsiteX17" fmla="*/ 353118 w 1879986"/>
                  <a:gd name="connsiteY17" fmla="*/ 1138495 h 4330639"/>
                  <a:gd name="connsiteX18" fmla="*/ 234935 w 1879986"/>
                  <a:gd name="connsiteY18" fmla="*/ 1138830 h 4330639"/>
                  <a:gd name="connsiteX19" fmla="*/ 235339 w 1879986"/>
                  <a:gd name="connsiteY19" fmla="*/ 923254 h 4330639"/>
                  <a:gd name="connsiteX20" fmla="*/ 603374 w 1879986"/>
                  <a:gd name="connsiteY20" fmla="*/ 237848 h 4330639"/>
                  <a:gd name="connsiteX21" fmla="*/ 1680415 w 1879986"/>
                  <a:gd name="connsiteY21" fmla="*/ 1068728 h 4330639"/>
                  <a:gd name="connsiteX22" fmla="*/ 1879986 w 1879986"/>
                  <a:gd name="connsiteY22" fmla="*/ 1081411 h 4330639"/>
                  <a:gd name="connsiteX23" fmla="*/ 1816630 w 1879986"/>
                  <a:gd name="connsiteY23" fmla="*/ 913332 h 4330639"/>
                  <a:gd name="connsiteX24" fmla="*/ 958163 w 1879986"/>
                  <a:gd name="connsiteY24" fmla="*/ 0 h 4330639"/>
                  <a:gd name="connsiteX25" fmla="*/ 109261 w 1879986"/>
                  <a:gd name="connsiteY25" fmla="*/ 858457 h 4330639"/>
                  <a:gd name="connsiteX26" fmla="*/ 94804 w 1879986"/>
                  <a:gd name="connsiteY26" fmla="*/ 1146972 h 4330639"/>
                  <a:gd name="connsiteX27" fmla="*/ 9907 w 1879986"/>
                  <a:gd name="connsiteY27" fmla="*/ 1521969 h 4330639"/>
                  <a:gd name="connsiteX28" fmla="*/ 0 w 1879986"/>
                  <a:gd name="connsiteY28" fmla="*/ 2778708 h 4330639"/>
                  <a:gd name="connsiteX29" fmla="*/ 95870 w 1879986"/>
                  <a:gd name="connsiteY29" fmla="*/ 3178922 h 4330639"/>
                  <a:gd name="connsiteX30" fmla="*/ 94635 w 1879986"/>
                  <a:gd name="connsiteY30" fmla="*/ 3523641 h 4330639"/>
                  <a:gd name="connsiteX0" fmla="*/ 94635 w 1879986"/>
                  <a:gd name="connsiteY0" fmla="*/ 3523641 h 4330639"/>
                  <a:gd name="connsiteX1" fmla="*/ 938203 w 1879986"/>
                  <a:gd name="connsiteY1" fmla="*/ 4330430 h 4330639"/>
                  <a:gd name="connsiteX2" fmla="*/ 1802011 w 1879986"/>
                  <a:gd name="connsiteY2" fmla="*/ 3474424 h 4330639"/>
                  <a:gd name="connsiteX3" fmla="*/ 1674223 w 1879986"/>
                  <a:gd name="connsiteY3" fmla="*/ 3231052 h 4330639"/>
                  <a:gd name="connsiteX4" fmla="*/ 581097 w 1879986"/>
                  <a:gd name="connsiteY4" fmla="*/ 4076529 h 4330639"/>
                  <a:gd name="connsiteX5" fmla="*/ 243296 w 1879986"/>
                  <a:gd name="connsiteY5" fmla="*/ 3401879 h 4330639"/>
                  <a:gd name="connsiteX6" fmla="*/ 231230 w 1879986"/>
                  <a:gd name="connsiteY6" fmla="*/ 3169743 h 4330639"/>
                  <a:gd name="connsiteX7" fmla="*/ 319367 w 1879986"/>
                  <a:gd name="connsiteY7" fmla="*/ 3160841 h 4330639"/>
                  <a:gd name="connsiteX8" fmla="*/ 323124 w 1879986"/>
                  <a:gd name="connsiteY8" fmla="*/ 3071321 h 4330639"/>
                  <a:gd name="connsiteX9" fmla="*/ 511661 w 1879986"/>
                  <a:gd name="connsiteY9" fmla="*/ 2854845 h 4330639"/>
                  <a:gd name="connsiteX10" fmla="*/ 555371 w 1879986"/>
                  <a:gd name="connsiteY10" fmla="*/ 2747193 h 4330639"/>
                  <a:gd name="connsiteX11" fmla="*/ 556550 w 1879986"/>
                  <a:gd name="connsiteY11" fmla="*/ 1594571 h 4330639"/>
                  <a:gd name="connsiteX12" fmla="*/ 542073 w 1879986"/>
                  <a:gd name="connsiteY12" fmla="*/ 1512297 h 4330639"/>
                  <a:gd name="connsiteX13" fmla="*/ 368764 w 1879986"/>
                  <a:gd name="connsiteY13" fmla="*/ 1302973 h 4330639"/>
                  <a:gd name="connsiteX14" fmla="*/ 329287 w 1879986"/>
                  <a:gd name="connsiteY14" fmla="*/ 1302809 h 4330639"/>
                  <a:gd name="connsiteX15" fmla="*/ 328934 w 1879986"/>
                  <a:gd name="connsiteY15" fmla="*/ 1269031 h 4330639"/>
                  <a:gd name="connsiteX16" fmla="*/ 356286 w 1879986"/>
                  <a:gd name="connsiteY16" fmla="*/ 1268519 h 4330639"/>
                  <a:gd name="connsiteX17" fmla="*/ 353118 w 1879986"/>
                  <a:gd name="connsiteY17" fmla="*/ 1138495 h 4330639"/>
                  <a:gd name="connsiteX18" fmla="*/ 234935 w 1879986"/>
                  <a:gd name="connsiteY18" fmla="*/ 1138830 h 4330639"/>
                  <a:gd name="connsiteX19" fmla="*/ 235339 w 1879986"/>
                  <a:gd name="connsiteY19" fmla="*/ 923254 h 4330639"/>
                  <a:gd name="connsiteX20" fmla="*/ 603374 w 1879986"/>
                  <a:gd name="connsiteY20" fmla="*/ 237848 h 4330639"/>
                  <a:gd name="connsiteX21" fmla="*/ 1680415 w 1879986"/>
                  <a:gd name="connsiteY21" fmla="*/ 1068728 h 4330639"/>
                  <a:gd name="connsiteX22" fmla="*/ 1879986 w 1879986"/>
                  <a:gd name="connsiteY22" fmla="*/ 1081411 h 4330639"/>
                  <a:gd name="connsiteX23" fmla="*/ 1816630 w 1879986"/>
                  <a:gd name="connsiteY23" fmla="*/ 913332 h 4330639"/>
                  <a:gd name="connsiteX24" fmla="*/ 958163 w 1879986"/>
                  <a:gd name="connsiteY24" fmla="*/ 0 h 4330639"/>
                  <a:gd name="connsiteX25" fmla="*/ 109261 w 1879986"/>
                  <a:gd name="connsiteY25" fmla="*/ 858457 h 4330639"/>
                  <a:gd name="connsiteX26" fmla="*/ 94804 w 1879986"/>
                  <a:gd name="connsiteY26" fmla="*/ 1146972 h 4330639"/>
                  <a:gd name="connsiteX27" fmla="*/ 9907 w 1879986"/>
                  <a:gd name="connsiteY27" fmla="*/ 1521969 h 4330639"/>
                  <a:gd name="connsiteX28" fmla="*/ 0 w 1879986"/>
                  <a:gd name="connsiteY28" fmla="*/ 2778708 h 4330639"/>
                  <a:gd name="connsiteX29" fmla="*/ 95870 w 1879986"/>
                  <a:gd name="connsiteY29" fmla="*/ 3178922 h 4330639"/>
                  <a:gd name="connsiteX30" fmla="*/ 94635 w 1879986"/>
                  <a:gd name="connsiteY30" fmla="*/ 3523641 h 4330639"/>
                  <a:gd name="connsiteX0" fmla="*/ 94635 w 1879986"/>
                  <a:gd name="connsiteY0" fmla="*/ 3523641 h 4330639"/>
                  <a:gd name="connsiteX1" fmla="*/ 938203 w 1879986"/>
                  <a:gd name="connsiteY1" fmla="*/ 4330430 h 4330639"/>
                  <a:gd name="connsiteX2" fmla="*/ 1802011 w 1879986"/>
                  <a:gd name="connsiteY2" fmla="*/ 3474424 h 4330639"/>
                  <a:gd name="connsiteX3" fmla="*/ 1674223 w 1879986"/>
                  <a:gd name="connsiteY3" fmla="*/ 3231052 h 4330639"/>
                  <a:gd name="connsiteX4" fmla="*/ 581097 w 1879986"/>
                  <a:gd name="connsiteY4" fmla="*/ 4076529 h 4330639"/>
                  <a:gd name="connsiteX5" fmla="*/ 243296 w 1879986"/>
                  <a:gd name="connsiteY5" fmla="*/ 3401879 h 4330639"/>
                  <a:gd name="connsiteX6" fmla="*/ 231230 w 1879986"/>
                  <a:gd name="connsiteY6" fmla="*/ 3169743 h 4330639"/>
                  <a:gd name="connsiteX7" fmla="*/ 319367 w 1879986"/>
                  <a:gd name="connsiteY7" fmla="*/ 3160841 h 4330639"/>
                  <a:gd name="connsiteX8" fmla="*/ 323124 w 1879986"/>
                  <a:gd name="connsiteY8" fmla="*/ 3071321 h 4330639"/>
                  <a:gd name="connsiteX9" fmla="*/ 511661 w 1879986"/>
                  <a:gd name="connsiteY9" fmla="*/ 2854845 h 4330639"/>
                  <a:gd name="connsiteX10" fmla="*/ 555371 w 1879986"/>
                  <a:gd name="connsiteY10" fmla="*/ 2747193 h 4330639"/>
                  <a:gd name="connsiteX11" fmla="*/ 556550 w 1879986"/>
                  <a:gd name="connsiteY11" fmla="*/ 1594571 h 4330639"/>
                  <a:gd name="connsiteX12" fmla="*/ 542073 w 1879986"/>
                  <a:gd name="connsiteY12" fmla="*/ 1512297 h 4330639"/>
                  <a:gd name="connsiteX13" fmla="*/ 368764 w 1879986"/>
                  <a:gd name="connsiteY13" fmla="*/ 1302973 h 4330639"/>
                  <a:gd name="connsiteX14" fmla="*/ 329287 w 1879986"/>
                  <a:gd name="connsiteY14" fmla="*/ 1302809 h 4330639"/>
                  <a:gd name="connsiteX15" fmla="*/ 328934 w 1879986"/>
                  <a:gd name="connsiteY15" fmla="*/ 1269031 h 4330639"/>
                  <a:gd name="connsiteX16" fmla="*/ 356286 w 1879986"/>
                  <a:gd name="connsiteY16" fmla="*/ 1268519 h 4330639"/>
                  <a:gd name="connsiteX17" fmla="*/ 353118 w 1879986"/>
                  <a:gd name="connsiteY17" fmla="*/ 1138495 h 4330639"/>
                  <a:gd name="connsiteX18" fmla="*/ 234935 w 1879986"/>
                  <a:gd name="connsiteY18" fmla="*/ 1138830 h 4330639"/>
                  <a:gd name="connsiteX19" fmla="*/ 235339 w 1879986"/>
                  <a:gd name="connsiteY19" fmla="*/ 923254 h 4330639"/>
                  <a:gd name="connsiteX20" fmla="*/ 603374 w 1879986"/>
                  <a:gd name="connsiteY20" fmla="*/ 237848 h 4330639"/>
                  <a:gd name="connsiteX21" fmla="*/ 1680415 w 1879986"/>
                  <a:gd name="connsiteY21" fmla="*/ 1068728 h 4330639"/>
                  <a:gd name="connsiteX22" fmla="*/ 1879986 w 1879986"/>
                  <a:gd name="connsiteY22" fmla="*/ 1081411 h 4330639"/>
                  <a:gd name="connsiteX23" fmla="*/ 1816630 w 1879986"/>
                  <a:gd name="connsiteY23" fmla="*/ 913332 h 4330639"/>
                  <a:gd name="connsiteX24" fmla="*/ 958163 w 1879986"/>
                  <a:gd name="connsiteY24" fmla="*/ 0 h 4330639"/>
                  <a:gd name="connsiteX25" fmla="*/ 109261 w 1879986"/>
                  <a:gd name="connsiteY25" fmla="*/ 858457 h 4330639"/>
                  <a:gd name="connsiteX26" fmla="*/ 94804 w 1879986"/>
                  <a:gd name="connsiteY26" fmla="*/ 1146972 h 4330639"/>
                  <a:gd name="connsiteX27" fmla="*/ 9907 w 1879986"/>
                  <a:gd name="connsiteY27" fmla="*/ 1521969 h 4330639"/>
                  <a:gd name="connsiteX28" fmla="*/ 0 w 1879986"/>
                  <a:gd name="connsiteY28" fmla="*/ 2778708 h 4330639"/>
                  <a:gd name="connsiteX29" fmla="*/ 95870 w 1879986"/>
                  <a:gd name="connsiteY29" fmla="*/ 3178922 h 4330639"/>
                  <a:gd name="connsiteX30" fmla="*/ 94635 w 1879986"/>
                  <a:gd name="connsiteY30" fmla="*/ 3523641 h 4330639"/>
                  <a:gd name="connsiteX0" fmla="*/ 94635 w 1879986"/>
                  <a:gd name="connsiteY0" fmla="*/ 3523641 h 4330639"/>
                  <a:gd name="connsiteX1" fmla="*/ 938203 w 1879986"/>
                  <a:gd name="connsiteY1" fmla="*/ 4330430 h 4330639"/>
                  <a:gd name="connsiteX2" fmla="*/ 1802011 w 1879986"/>
                  <a:gd name="connsiteY2" fmla="*/ 3474424 h 4330639"/>
                  <a:gd name="connsiteX3" fmla="*/ 1674223 w 1879986"/>
                  <a:gd name="connsiteY3" fmla="*/ 3231052 h 4330639"/>
                  <a:gd name="connsiteX4" fmla="*/ 581097 w 1879986"/>
                  <a:gd name="connsiteY4" fmla="*/ 4076529 h 4330639"/>
                  <a:gd name="connsiteX5" fmla="*/ 243296 w 1879986"/>
                  <a:gd name="connsiteY5" fmla="*/ 3401879 h 4330639"/>
                  <a:gd name="connsiteX6" fmla="*/ 231230 w 1879986"/>
                  <a:gd name="connsiteY6" fmla="*/ 3169743 h 4330639"/>
                  <a:gd name="connsiteX7" fmla="*/ 319367 w 1879986"/>
                  <a:gd name="connsiteY7" fmla="*/ 3160841 h 4330639"/>
                  <a:gd name="connsiteX8" fmla="*/ 323124 w 1879986"/>
                  <a:gd name="connsiteY8" fmla="*/ 3071321 h 4330639"/>
                  <a:gd name="connsiteX9" fmla="*/ 511661 w 1879986"/>
                  <a:gd name="connsiteY9" fmla="*/ 2854845 h 4330639"/>
                  <a:gd name="connsiteX10" fmla="*/ 555371 w 1879986"/>
                  <a:gd name="connsiteY10" fmla="*/ 2747193 h 4330639"/>
                  <a:gd name="connsiteX11" fmla="*/ 556550 w 1879986"/>
                  <a:gd name="connsiteY11" fmla="*/ 1594571 h 4330639"/>
                  <a:gd name="connsiteX12" fmla="*/ 542073 w 1879986"/>
                  <a:gd name="connsiteY12" fmla="*/ 1512297 h 4330639"/>
                  <a:gd name="connsiteX13" fmla="*/ 368764 w 1879986"/>
                  <a:gd name="connsiteY13" fmla="*/ 1302973 h 4330639"/>
                  <a:gd name="connsiteX14" fmla="*/ 329287 w 1879986"/>
                  <a:gd name="connsiteY14" fmla="*/ 1302809 h 4330639"/>
                  <a:gd name="connsiteX15" fmla="*/ 328934 w 1879986"/>
                  <a:gd name="connsiteY15" fmla="*/ 1269031 h 4330639"/>
                  <a:gd name="connsiteX16" fmla="*/ 356286 w 1879986"/>
                  <a:gd name="connsiteY16" fmla="*/ 1268519 h 4330639"/>
                  <a:gd name="connsiteX17" fmla="*/ 353118 w 1879986"/>
                  <a:gd name="connsiteY17" fmla="*/ 1138495 h 4330639"/>
                  <a:gd name="connsiteX18" fmla="*/ 234935 w 1879986"/>
                  <a:gd name="connsiteY18" fmla="*/ 1138830 h 4330639"/>
                  <a:gd name="connsiteX19" fmla="*/ 235339 w 1879986"/>
                  <a:gd name="connsiteY19" fmla="*/ 923254 h 4330639"/>
                  <a:gd name="connsiteX20" fmla="*/ 603374 w 1879986"/>
                  <a:gd name="connsiteY20" fmla="*/ 237848 h 4330639"/>
                  <a:gd name="connsiteX21" fmla="*/ 1680415 w 1879986"/>
                  <a:gd name="connsiteY21" fmla="*/ 1068728 h 4330639"/>
                  <a:gd name="connsiteX22" fmla="*/ 1879986 w 1879986"/>
                  <a:gd name="connsiteY22" fmla="*/ 1081411 h 4330639"/>
                  <a:gd name="connsiteX23" fmla="*/ 1816630 w 1879986"/>
                  <a:gd name="connsiteY23" fmla="*/ 913332 h 4330639"/>
                  <a:gd name="connsiteX24" fmla="*/ 958163 w 1879986"/>
                  <a:gd name="connsiteY24" fmla="*/ 0 h 4330639"/>
                  <a:gd name="connsiteX25" fmla="*/ 109261 w 1879986"/>
                  <a:gd name="connsiteY25" fmla="*/ 858457 h 4330639"/>
                  <a:gd name="connsiteX26" fmla="*/ 94804 w 1879986"/>
                  <a:gd name="connsiteY26" fmla="*/ 1146972 h 4330639"/>
                  <a:gd name="connsiteX27" fmla="*/ 9907 w 1879986"/>
                  <a:gd name="connsiteY27" fmla="*/ 1521969 h 4330639"/>
                  <a:gd name="connsiteX28" fmla="*/ 0 w 1879986"/>
                  <a:gd name="connsiteY28" fmla="*/ 2778708 h 4330639"/>
                  <a:gd name="connsiteX29" fmla="*/ 95870 w 1879986"/>
                  <a:gd name="connsiteY29" fmla="*/ 3178922 h 4330639"/>
                  <a:gd name="connsiteX30" fmla="*/ 94635 w 1879986"/>
                  <a:gd name="connsiteY30" fmla="*/ 3523641 h 4330639"/>
                  <a:gd name="connsiteX0" fmla="*/ 94635 w 1879986"/>
                  <a:gd name="connsiteY0" fmla="*/ 3523641 h 4330639"/>
                  <a:gd name="connsiteX1" fmla="*/ 938203 w 1879986"/>
                  <a:gd name="connsiteY1" fmla="*/ 4330430 h 4330639"/>
                  <a:gd name="connsiteX2" fmla="*/ 1802011 w 1879986"/>
                  <a:gd name="connsiteY2" fmla="*/ 3474424 h 4330639"/>
                  <a:gd name="connsiteX3" fmla="*/ 1674223 w 1879986"/>
                  <a:gd name="connsiteY3" fmla="*/ 3231052 h 4330639"/>
                  <a:gd name="connsiteX4" fmla="*/ 581097 w 1879986"/>
                  <a:gd name="connsiteY4" fmla="*/ 4076529 h 4330639"/>
                  <a:gd name="connsiteX5" fmla="*/ 243296 w 1879986"/>
                  <a:gd name="connsiteY5" fmla="*/ 3401879 h 4330639"/>
                  <a:gd name="connsiteX6" fmla="*/ 231230 w 1879986"/>
                  <a:gd name="connsiteY6" fmla="*/ 3169743 h 4330639"/>
                  <a:gd name="connsiteX7" fmla="*/ 319367 w 1879986"/>
                  <a:gd name="connsiteY7" fmla="*/ 3160841 h 4330639"/>
                  <a:gd name="connsiteX8" fmla="*/ 323124 w 1879986"/>
                  <a:gd name="connsiteY8" fmla="*/ 3071321 h 4330639"/>
                  <a:gd name="connsiteX9" fmla="*/ 511661 w 1879986"/>
                  <a:gd name="connsiteY9" fmla="*/ 2854845 h 4330639"/>
                  <a:gd name="connsiteX10" fmla="*/ 555371 w 1879986"/>
                  <a:gd name="connsiteY10" fmla="*/ 2747193 h 4330639"/>
                  <a:gd name="connsiteX11" fmla="*/ 556550 w 1879986"/>
                  <a:gd name="connsiteY11" fmla="*/ 1594571 h 4330639"/>
                  <a:gd name="connsiteX12" fmla="*/ 542073 w 1879986"/>
                  <a:gd name="connsiteY12" fmla="*/ 1512297 h 4330639"/>
                  <a:gd name="connsiteX13" fmla="*/ 368764 w 1879986"/>
                  <a:gd name="connsiteY13" fmla="*/ 1302973 h 4330639"/>
                  <a:gd name="connsiteX14" fmla="*/ 329287 w 1879986"/>
                  <a:gd name="connsiteY14" fmla="*/ 1302809 h 4330639"/>
                  <a:gd name="connsiteX15" fmla="*/ 328934 w 1879986"/>
                  <a:gd name="connsiteY15" fmla="*/ 1269031 h 4330639"/>
                  <a:gd name="connsiteX16" fmla="*/ 356286 w 1879986"/>
                  <a:gd name="connsiteY16" fmla="*/ 1268519 h 4330639"/>
                  <a:gd name="connsiteX17" fmla="*/ 353118 w 1879986"/>
                  <a:gd name="connsiteY17" fmla="*/ 1138495 h 4330639"/>
                  <a:gd name="connsiteX18" fmla="*/ 234935 w 1879986"/>
                  <a:gd name="connsiteY18" fmla="*/ 1138830 h 4330639"/>
                  <a:gd name="connsiteX19" fmla="*/ 235339 w 1879986"/>
                  <a:gd name="connsiteY19" fmla="*/ 923254 h 4330639"/>
                  <a:gd name="connsiteX20" fmla="*/ 603374 w 1879986"/>
                  <a:gd name="connsiteY20" fmla="*/ 237848 h 4330639"/>
                  <a:gd name="connsiteX21" fmla="*/ 1680415 w 1879986"/>
                  <a:gd name="connsiteY21" fmla="*/ 1068728 h 4330639"/>
                  <a:gd name="connsiteX22" fmla="*/ 1777883 w 1879986"/>
                  <a:gd name="connsiteY22" fmla="*/ 1078088 h 4330639"/>
                  <a:gd name="connsiteX23" fmla="*/ 1879986 w 1879986"/>
                  <a:gd name="connsiteY23" fmla="*/ 1081411 h 4330639"/>
                  <a:gd name="connsiteX24" fmla="*/ 1816630 w 1879986"/>
                  <a:gd name="connsiteY24" fmla="*/ 913332 h 4330639"/>
                  <a:gd name="connsiteX25" fmla="*/ 958163 w 1879986"/>
                  <a:gd name="connsiteY25" fmla="*/ 0 h 4330639"/>
                  <a:gd name="connsiteX26" fmla="*/ 109261 w 1879986"/>
                  <a:gd name="connsiteY26" fmla="*/ 858457 h 4330639"/>
                  <a:gd name="connsiteX27" fmla="*/ 94804 w 1879986"/>
                  <a:gd name="connsiteY27" fmla="*/ 1146972 h 4330639"/>
                  <a:gd name="connsiteX28" fmla="*/ 9907 w 1879986"/>
                  <a:gd name="connsiteY28" fmla="*/ 1521969 h 4330639"/>
                  <a:gd name="connsiteX29" fmla="*/ 0 w 1879986"/>
                  <a:gd name="connsiteY29" fmla="*/ 2778708 h 4330639"/>
                  <a:gd name="connsiteX30" fmla="*/ 95870 w 1879986"/>
                  <a:gd name="connsiteY30" fmla="*/ 3178922 h 4330639"/>
                  <a:gd name="connsiteX31" fmla="*/ 94635 w 1879986"/>
                  <a:gd name="connsiteY31" fmla="*/ 3523641 h 4330639"/>
                  <a:gd name="connsiteX0" fmla="*/ 94635 w 1879986"/>
                  <a:gd name="connsiteY0" fmla="*/ 3523641 h 4330639"/>
                  <a:gd name="connsiteX1" fmla="*/ 938203 w 1879986"/>
                  <a:gd name="connsiteY1" fmla="*/ 4330430 h 4330639"/>
                  <a:gd name="connsiteX2" fmla="*/ 1802011 w 1879986"/>
                  <a:gd name="connsiteY2" fmla="*/ 3474424 h 4330639"/>
                  <a:gd name="connsiteX3" fmla="*/ 1674223 w 1879986"/>
                  <a:gd name="connsiteY3" fmla="*/ 3231052 h 4330639"/>
                  <a:gd name="connsiteX4" fmla="*/ 581097 w 1879986"/>
                  <a:gd name="connsiteY4" fmla="*/ 4076529 h 4330639"/>
                  <a:gd name="connsiteX5" fmla="*/ 243296 w 1879986"/>
                  <a:gd name="connsiteY5" fmla="*/ 3401879 h 4330639"/>
                  <a:gd name="connsiteX6" fmla="*/ 231230 w 1879986"/>
                  <a:gd name="connsiteY6" fmla="*/ 3169743 h 4330639"/>
                  <a:gd name="connsiteX7" fmla="*/ 319367 w 1879986"/>
                  <a:gd name="connsiteY7" fmla="*/ 3160841 h 4330639"/>
                  <a:gd name="connsiteX8" fmla="*/ 323124 w 1879986"/>
                  <a:gd name="connsiteY8" fmla="*/ 3071321 h 4330639"/>
                  <a:gd name="connsiteX9" fmla="*/ 511661 w 1879986"/>
                  <a:gd name="connsiteY9" fmla="*/ 2854845 h 4330639"/>
                  <a:gd name="connsiteX10" fmla="*/ 555371 w 1879986"/>
                  <a:gd name="connsiteY10" fmla="*/ 2747193 h 4330639"/>
                  <a:gd name="connsiteX11" fmla="*/ 556550 w 1879986"/>
                  <a:gd name="connsiteY11" fmla="*/ 1594571 h 4330639"/>
                  <a:gd name="connsiteX12" fmla="*/ 542073 w 1879986"/>
                  <a:gd name="connsiteY12" fmla="*/ 1512297 h 4330639"/>
                  <a:gd name="connsiteX13" fmla="*/ 368764 w 1879986"/>
                  <a:gd name="connsiteY13" fmla="*/ 1302973 h 4330639"/>
                  <a:gd name="connsiteX14" fmla="*/ 329287 w 1879986"/>
                  <a:gd name="connsiteY14" fmla="*/ 1302809 h 4330639"/>
                  <a:gd name="connsiteX15" fmla="*/ 328934 w 1879986"/>
                  <a:gd name="connsiteY15" fmla="*/ 1269031 h 4330639"/>
                  <a:gd name="connsiteX16" fmla="*/ 356286 w 1879986"/>
                  <a:gd name="connsiteY16" fmla="*/ 1268519 h 4330639"/>
                  <a:gd name="connsiteX17" fmla="*/ 353118 w 1879986"/>
                  <a:gd name="connsiteY17" fmla="*/ 1138495 h 4330639"/>
                  <a:gd name="connsiteX18" fmla="*/ 234935 w 1879986"/>
                  <a:gd name="connsiteY18" fmla="*/ 1138830 h 4330639"/>
                  <a:gd name="connsiteX19" fmla="*/ 235339 w 1879986"/>
                  <a:gd name="connsiteY19" fmla="*/ 923254 h 4330639"/>
                  <a:gd name="connsiteX20" fmla="*/ 603374 w 1879986"/>
                  <a:gd name="connsiteY20" fmla="*/ 237848 h 4330639"/>
                  <a:gd name="connsiteX21" fmla="*/ 1680415 w 1879986"/>
                  <a:gd name="connsiteY21" fmla="*/ 1068728 h 4330639"/>
                  <a:gd name="connsiteX22" fmla="*/ 1826140 w 1879986"/>
                  <a:gd name="connsiteY22" fmla="*/ 1385187 h 4330639"/>
                  <a:gd name="connsiteX23" fmla="*/ 1879986 w 1879986"/>
                  <a:gd name="connsiteY23" fmla="*/ 1081411 h 4330639"/>
                  <a:gd name="connsiteX24" fmla="*/ 1816630 w 1879986"/>
                  <a:gd name="connsiteY24" fmla="*/ 913332 h 4330639"/>
                  <a:gd name="connsiteX25" fmla="*/ 958163 w 1879986"/>
                  <a:gd name="connsiteY25" fmla="*/ 0 h 4330639"/>
                  <a:gd name="connsiteX26" fmla="*/ 109261 w 1879986"/>
                  <a:gd name="connsiteY26" fmla="*/ 858457 h 4330639"/>
                  <a:gd name="connsiteX27" fmla="*/ 94804 w 1879986"/>
                  <a:gd name="connsiteY27" fmla="*/ 1146972 h 4330639"/>
                  <a:gd name="connsiteX28" fmla="*/ 9907 w 1879986"/>
                  <a:gd name="connsiteY28" fmla="*/ 1521969 h 4330639"/>
                  <a:gd name="connsiteX29" fmla="*/ 0 w 1879986"/>
                  <a:gd name="connsiteY29" fmla="*/ 2778708 h 4330639"/>
                  <a:gd name="connsiteX30" fmla="*/ 95870 w 1879986"/>
                  <a:gd name="connsiteY30" fmla="*/ 3178922 h 4330639"/>
                  <a:gd name="connsiteX31" fmla="*/ 94635 w 1879986"/>
                  <a:gd name="connsiteY31" fmla="*/ 3523641 h 4330639"/>
                  <a:gd name="connsiteX0" fmla="*/ 94635 w 1879986"/>
                  <a:gd name="connsiteY0" fmla="*/ 3523641 h 4330639"/>
                  <a:gd name="connsiteX1" fmla="*/ 938203 w 1879986"/>
                  <a:gd name="connsiteY1" fmla="*/ 4330430 h 4330639"/>
                  <a:gd name="connsiteX2" fmla="*/ 1802011 w 1879986"/>
                  <a:gd name="connsiteY2" fmla="*/ 3474424 h 4330639"/>
                  <a:gd name="connsiteX3" fmla="*/ 1674223 w 1879986"/>
                  <a:gd name="connsiteY3" fmla="*/ 3231052 h 4330639"/>
                  <a:gd name="connsiteX4" fmla="*/ 581097 w 1879986"/>
                  <a:gd name="connsiteY4" fmla="*/ 4076529 h 4330639"/>
                  <a:gd name="connsiteX5" fmla="*/ 243296 w 1879986"/>
                  <a:gd name="connsiteY5" fmla="*/ 3401879 h 4330639"/>
                  <a:gd name="connsiteX6" fmla="*/ 231230 w 1879986"/>
                  <a:gd name="connsiteY6" fmla="*/ 3169743 h 4330639"/>
                  <a:gd name="connsiteX7" fmla="*/ 319367 w 1879986"/>
                  <a:gd name="connsiteY7" fmla="*/ 3160841 h 4330639"/>
                  <a:gd name="connsiteX8" fmla="*/ 323124 w 1879986"/>
                  <a:gd name="connsiteY8" fmla="*/ 3071321 h 4330639"/>
                  <a:gd name="connsiteX9" fmla="*/ 511661 w 1879986"/>
                  <a:gd name="connsiteY9" fmla="*/ 2854845 h 4330639"/>
                  <a:gd name="connsiteX10" fmla="*/ 555371 w 1879986"/>
                  <a:gd name="connsiteY10" fmla="*/ 2747193 h 4330639"/>
                  <a:gd name="connsiteX11" fmla="*/ 556550 w 1879986"/>
                  <a:gd name="connsiteY11" fmla="*/ 1594571 h 4330639"/>
                  <a:gd name="connsiteX12" fmla="*/ 542073 w 1879986"/>
                  <a:gd name="connsiteY12" fmla="*/ 1512297 h 4330639"/>
                  <a:gd name="connsiteX13" fmla="*/ 368764 w 1879986"/>
                  <a:gd name="connsiteY13" fmla="*/ 1302973 h 4330639"/>
                  <a:gd name="connsiteX14" fmla="*/ 329287 w 1879986"/>
                  <a:gd name="connsiteY14" fmla="*/ 1302809 h 4330639"/>
                  <a:gd name="connsiteX15" fmla="*/ 328934 w 1879986"/>
                  <a:gd name="connsiteY15" fmla="*/ 1269031 h 4330639"/>
                  <a:gd name="connsiteX16" fmla="*/ 356286 w 1879986"/>
                  <a:gd name="connsiteY16" fmla="*/ 1268519 h 4330639"/>
                  <a:gd name="connsiteX17" fmla="*/ 353118 w 1879986"/>
                  <a:gd name="connsiteY17" fmla="*/ 1138495 h 4330639"/>
                  <a:gd name="connsiteX18" fmla="*/ 234935 w 1879986"/>
                  <a:gd name="connsiteY18" fmla="*/ 1138830 h 4330639"/>
                  <a:gd name="connsiteX19" fmla="*/ 235339 w 1879986"/>
                  <a:gd name="connsiteY19" fmla="*/ 923254 h 4330639"/>
                  <a:gd name="connsiteX20" fmla="*/ 603374 w 1879986"/>
                  <a:gd name="connsiteY20" fmla="*/ 237848 h 4330639"/>
                  <a:gd name="connsiteX21" fmla="*/ 1680415 w 1879986"/>
                  <a:gd name="connsiteY21" fmla="*/ 1068728 h 4330639"/>
                  <a:gd name="connsiteX22" fmla="*/ 1741689 w 1879986"/>
                  <a:gd name="connsiteY22" fmla="*/ 1203829 h 4330639"/>
                  <a:gd name="connsiteX23" fmla="*/ 1826140 w 1879986"/>
                  <a:gd name="connsiteY23" fmla="*/ 1385187 h 4330639"/>
                  <a:gd name="connsiteX24" fmla="*/ 1879986 w 1879986"/>
                  <a:gd name="connsiteY24" fmla="*/ 1081411 h 4330639"/>
                  <a:gd name="connsiteX25" fmla="*/ 1816630 w 1879986"/>
                  <a:gd name="connsiteY25" fmla="*/ 913332 h 4330639"/>
                  <a:gd name="connsiteX26" fmla="*/ 958163 w 1879986"/>
                  <a:gd name="connsiteY26" fmla="*/ 0 h 4330639"/>
                  <a:gd name="connsiteX27" fmla="*/ 109261 w 1879986"/>
                  <a:gd name="connsiteY27" fmla="*/ 858457 h 4330639"/>
                  <a:gd name="connsiteX28" fmla="*/ 94804 w 1879986"/>
                  <a:gd name="connsiteY28" fmla="*/ 1146972 h 4330639"/>
                  <a:gd name="connsiteX29" fmla="*/ 9907 w 1879986"/>
                  <a:gd name="connsiteY29" fmla="*/ 1521969 h 4330639"/>
                  <a:gd name="connsiteX30" fmla="*/ 0 w 1879986"/>
                  <a:gd name="connsiteY30" fmla="*/ 2778708 h 4330639"/>
                  <a:gd name="connsiteX31" fmla="*/ 95870 w 1879986"/>
                  <a:gd name="connsiteY31" fmla="*/ 3178922 h 4330639"/>
                  <a:gd name="connsiteX32" fmla="*/ 94635 w 1879986"/>
                  <a:gd name="connsiteY32" fmla="*/ 3523641 h 4330639"/>
                  <a:gd name="connsiteX0" fmla="*/ 94635 w 1879986"/>
                  <a:gd name="connsiteY0" fmla="*/ 3523641 h 4330639"/>
                  <a:gd name="connsiteX1" fmla="*/ 938203 w 1879986"/>
                  <a:gd name="connsiteY1" fmla="*/ 4330430 h 4330639"/>
                  <a:gd name="connsiteX2" fmla="*/ 1802011 w 1879986"/>
                  <a:gd name="connsiteY2" fmla="*/ 3474424 h 4330639"/>
                  <a:gd name="connsiteX3" fmla="*/ 1674223 w 1879986"/>
                  <a:gd name="connsiteY3" fmla="*/ 3231052 h 4330639"/>
                  <a:gd name="connsiteX4" fmla="*/ 581097 w 1879986"/>
                  <a:gd name="connsiteY4" fmla="*/ 4076529 h 4330639"/>
                  <a:gd name="connsiteX5" fmla="*/ 243296 w 1879986"/>
                  <a:gd name="connsiteY5" fmla="*/ 3401879 h 4330639"/>
                  <a:gd name="connsiteX6" fmla="*/ 231230 w 1879986"/>
                  <a:gd name="connsiteY6" fmla="*/ 3169743 h 4330639"/>
                  <a:gd name="connsiteX7" fmla="*/ 319367 w 1879986"/>
                  <a:gd name="connsiteY7" fmla="*/ 3160841 h 4330639"/>
                  <a:gd name="connsiteX8" fmla="*/ 323124 w 1879986"/>
                  <a:gd name="connsiteY8" fmla="*/ 3071321 h 4330639"/>
                  <a:gd name="connsiteX9" fmla="*/ 511661 w 1879986"/>
                  <a:gd name="connsiteY9" fmla="*/ 2854845 h 4330639"/>
                  <a:gd name="connsiteX10" fmla="*/ 555371 w 1879986"/>
                  <a:gd name="connsiteY10" fmla="*/ 2747193 h 4330639"/>
                  <a:gd name="connsiteX11" fmla="*/ 556550 w 1879986"/>
                  <a:gd name="connsiteY11" fmla="*/ 1594571 h 4330639"/>
                  <a:gd name="connsiteX12" fmla="*/ 542073 w 1879986"/>
                  <a:gd name="connsiteY12" fmla="*/ 1512297 h 4330639"/>
                  <a:gd name="connsiteX13" fmla="*/ 368764 w 1879986"/>
                  <a:gd name="connsiteY13" fmla="*/ 1302973 h 4330639"/>
                  <a:gd name="connsiteX14" fmla="*/ 329287 w 1879986"/>
                  <a:gd name="connsiteY14" fmla="*/ 1302809 h 4330639"/>
                  <a:gd name="connsiteX15" fmla="*/ 328934 w 1879986"/>
                  <a:gd name="connsiteY15" fmla="*/ 1269031 h 4330639"/>
                  <a:gd name="connsiteX16" fmla="*/ 356286 w 1879986"/>
                  <a:gd name="connsiteY16" fmla="*/ 1268519 h 4330639"/>
                  <a:gd name="connsiteX17" fmla="*/ 353118 w 1879986"/>
                  <a:gd name="connsiteY17" fmla="*/ 1138495 h 4330639"/>
                  <a:gd name="connsiteX18" fmla="*/ 234935 w 1879986"/>
                  <a:gd name="connsiteY18" fmla="*/ 1138830 h 4330639"/>
                  <a:gd name="connsiteX19" fmla="*/ 235339 w 1879986"/>
                  <a:gd name="connsiteY19" fmla="*/ 923254 h 4330639"/>
                  <a:gd name="connsiteX20" fmla="*/ 603374 w 1879986"/>
                  <a:gd name="connsiteY20" fmla="*/ 237848 h 4330639"/>
                  <a:gd name="connsiteX21" fmla="*/ 1680415 w 1879986"/>
                  <a:gd name="connsiteY21" fmla="*/ 1068728 h 4330639"/>
                  <a:gd name="connsiteX22" fmla="*/ 1676542 w 1879986"/>
                  <a:gd name="connsiteY22" fmla="*/ 1356169 h 4330639"/>
                  <a:gd name="connsiteX23" fmla="*/ 1826140 w 1879986"/>
                  <a:gd name="connsiteY23" fmla="*/ 1385187 h 4330639"/>
                  <a:gd name="connsiteX24" fmla="*/ 1879986 w 1879986"/>
                  <a:gd name="connsiteY24" fmla="*/ 1081411 h 4330639"/>
                  <a:gd name="connsiteX25" fmla="*/ 1816630 w 1879986"/>
                  <a:gd name="connsiteY25" fmla="*/ 913332 h 4330639"/>
                  <a:gd name="connsiteX26" fmla="*/ 958163 w 1879986"/>
                  <a:gd name="connsiteY26" fmla="*/ 0 h 4330639"/>
                  <a:gd name="connsiteX27" fmla="*/ 109261 w 1879986"/>
                  <a:gd name="connsiteY27" fmla="*/ 858457 h 4330639"/>
                  <a:gd name="connsiteX28" fmla="*/ 94804 w 1879986"/>
                  <a:gd name="connsiteY28" fmla="*/ 1146972 h 4330639"/>
                  <a:gd name="connsiteX29" fmla="*/ 9907 w 1879986"/>
                  <a:gd name="connsiteY29" fmla="*/ 1521969 h 4330639"/>
                  <a:gd name="connsiteX30" fmla="*/ 0 w 1879986"/>
                  <a:gd name="connsiteY30" fmla="*/ 2778708 h 4330639"/>
                  <a:gd name="connsiteX31" fmla="*/ 95870 w 1879986"/>
                  <a:gd name="connsiteY31" fmla="*/ 3178922 h 4330639"/>
                  <a:gd name="connsiteX32" fmla="*/ 94635 w 1879986"/>
                  <a:gd name="connsiteY32" fmla="*/ 3523641 h 4330639"/>
                  <a:gd name="connsiteX0" fmla="*/ 94635 w 1879986"/>
                  <a:gd name="connsiteY0" fmla="*/ 3523641 h 4330639"/>
                  <a:gd name="connsiteX1" fmla="*/ 938203 w 1879986"/>
                  <a:gd name="connsiteY1" fmla="*/ 4330430 h 4330639"/>
                  <a:gd name="connsiteX2" fmla="*/ 1802011 w 1879986"/>
                  <a:gd name="connsiteY2" fmla="*/ 3474424 h 4330639"/>
                  <a:gd name="connsiteX3" fmla="*/ 1674223 w 1879986"/>
                  <a:gd name="connsiteY3" fmla="*/ 3231052 h 4330639"/>
                  <a:gd name="connsiteX4" fmla="*/ 581097 w 1879986"/>
                  <a:gd name="connsiteY4" fmla="*/ 4076529 h 4330639"/>
                  <a:gd name="connsiteX5" fmla="*/ 243296 w 1879986"/>
                  <a:gd name="connsiteY5" fmla="*/ 3401879 h 4330639"/>
                  <a:gd name="connsiteX6" fmla="*/ 231230 w 1879986"/>
                  <a:gd name="connsiteY6" fmla="*/ 3169743 h 4330639"/>
                  <a:gd name="connsiteX7" fmla="*/ 319367 w 1879986"/>
                  <a:gd name="connsiteY7" fmla="*/ 3160841 h 4330639"/>
                  <a:gd name="connsiteX8" fmla="*/ 323124 w 1879986"/>
                  <a:gd name="connsiteY8" fmla="*/ 3071321 h 4330639"/>
                  <a:gd name="connsiteX9" fmla="*/ 511661 w 1879986"/>
                  <a:gd name="connsiteY9" fmla="*/ 2854845 h 4330639"/>
                  <a:gd name="connsiteX10" fmla="*/ 555371 w 1879986"/>
                  <a:gd name="connsiteY10" fmla="*/ 2747193 h 4330639"/>
                  <a:gd name="connsiteX11" fmla="*/ 556550 w 1879986"/>
                  <a:gd name="connsiteY11" fmla="*/ 1594571 h 4330639"/>
                  <a:gd name="connsiteX12" fmla="*/ 542073 w 1879986"/>
                  <a:gd name="connsiteY12" fmla="*/ 1512297 h 4330639"/>
                  <a:gd name="connsiteX13" fmla="*/ 368764 w 1879986"/>
                  <a:gd name="connsiteY13" fmla="*/ 1302973 h 4330639"/>
                  <a:gd name="connsiteX14" fmla="*/ 329287 w 1879986"/>
                  <a:gd name="connsiteY14" fmla="*/ 1302809 h 4330639"/>
                  <a:gd name="connsiteX15" fmla="*/ 328934 w 1879986"/>
                  <a:gd name="connsiteY15" fmla="*/ 1269031 h 4330639"/>
                  <a:gd name="connsiteX16" fmla="*/ 356286 w 1879986"/>
                  <a:gd name="connsiteY16" fmla="*/ 1268519 h 4330639"/>
                  <a:gd name="connsiteX17" fmla="*/ 353118 w 1879986"/>
                  <a:gd name="connsiteY17" fmla="*/ 1138495 h 4330639"/>
                  <a:gd name="connsiteX18" fmla="*/ 234935 w 1879986"/>
                  <a:gd name="connsiteY18" fmla="*/ 1138830 h 4330639"/>
                  <a:gd name="connsiteX19" fmla="*/ 235339 w 1879986"/>
                  <a:gd name="connsiteY19" fmla="*/ 923254 h 4330639"/>
                  <a:gd name="connsiteX20" fmla="*/ 603374 w 1879986"/>
                  <a:gd name="connsiteY20" fmla="*/ 237848 h 4330639"/>
                  <a:gd name="connsiteX21" fmla="*/ 1680415 w 1879986"/>
                  <a:gd name="connsiteY21" fmla="*/ 1068728 h 4330639"/>
                  <a:gd name="connsiteX22" fmla="*/ 1676542 w 1879986"/>
                  <a:gd name="connsiteY22" fmla="*/ 1356169 h 4330639"/>
                  <a:gd name="connsiteX23" fmla="*/ 1744103 w 1879986"/>
                  <a:gd name="connsiteY23" fmla="*/ 1370678 h 4330639"/>
                  <a:gd name="connsiteX24" fmla="*/ 1826140 w 1879986"/>
                  <a:gd name="connsiteY24" fmla="*/ 1385187 h 4330639"/>
                  <a:gd name="connsiteX25" fmla="*/ 1879986 w 1879986"/>
                  <a:gd name="connsiteY25" fmla="*/ 1081411 h 4330639"/>
                  <a:gd name="connsiteX26" fmla="*/ 1816630 w 1879986"/>
                  <a:gd name="connsiteY26" fmla="*/ 913332 h 4330639"/>
                  <a:gd name="connsiteX27" fmla="*/ 958163 w 1879986"/>
                  <a:gd name="connsiteY27" fmla="*/ 0 h 4330639"/>
                  <a:gd name="connsiteX28" fmla="*/ 109261 w 1879986"/>
                  <a:gd name="connsiteY28" fmla="*/ 858457 h 4330639"/>
                  <a:gd name="connsiteX29" fmla="*/ 94804 w 1879986"/>
                  <a:gd name="connsiteY29" fmla="*/ 1146972 h 4330639"/>
                  <a:gd name="connsiteX30" fmla="*/ 9907 w 1879986"/>
                  <a:gd name="connsiteY30" fmla="*/ 1521969 h 4330639"/>
                  <a:gd name="connsiteX31" fmla="*/ 0 w 1879986"/>
                  <a:gd name="connsiteY31" fmla="*/ 2778708 h 4330639"/>
                  <a:gd name="connsiteX32" fmla="*/ 95870 w 1879986"/>
                  <a:gd name="connsiteY32" fmla="*/ 3178922 h 4330639"/>
                  <a:gd name="connsiteX33" fmla="*/ 94635 w 1879986"/>
                  <a:gd name="connsiteY33" fmla="*/ 3523641 h 4330639"/>
                  <a:gd name="connsiteX0" fmla="*/ 94635 w 1879986"/>
                  <a:gd name="connsiteY0" fmla="*/ 3523641 h 4330639"/>
                  <a:gd name="connsiteX1" fmla="*/ 938203 w 1879986"/>
                  <a:gd name="connsiteY1" fmla="*/ 4330430 h 4330639"/>
                  <a:gd name="connsiteX2" fmla="*/ 1802011 w 1879986"/>
                  <a:gd name="connsiteY2" fmla="*/ 3474424 h 4330639"/>
                  <a:gd name="connsiteX3" fmla="*/ 1674223 w 1879986"/>
                  <a:gd name="connsiteY3" fmla="*/ 3231052 h 4330639"/>
                  <a:gd name="connsiteX4" fmla="*/ 581097 w 1879986"/>
                  <a:gd name="connsiteY4" fmla="*/ 4076529 h 4330639"/>
                  <a:gd name="connsiteX5" fmla="*/ 243296 w 1879986"/>
                  <a:gd name="connsiteY5" fmla="*/ 3401879 h 4330639"/>
                  <a:gd name="connsiteX6" fmla="*/ 231230 w 1879986"/>
                  <a:gd name="connsiteY6" fmla="*/ 3169743 h 4330639"/>
                  <a:gd name="connsiteX7" fmla="*/ 319367 w 1879986"/>
                  <a:gd name="connsiteY7" fmla="*/ 3160841 h 4330639"/>
                  <a:gd name="connsiteX8" fmla="*/ 323124 w 1879986"/>
                  <a:gd name="connsiteY8" fmla="*/ 3071321 h 4330639"/>
                  <a:gd name="connsiteX9" fmla="*/ 511661 w 1879986"/>
                  <a:gd name="connsiteY9" fmla="*/ 2854845 h 4330639"/>
                  <a:gd name="connsiteX10" fmla="*/ 555371 w 1879986"/>
                  <a:gd name="connsiteY10" fmla="*/ 2747193 h 4330639"/>
                  <a:gd name="connsiteX11" fmla="*/ 556550 w 1879986"/>
                  <a:gd name="connsiteY11" fmla="*/ 1594571 h 4330639"/>
                  <a:gd name="connsiteX12" fmla="*/ 542073 w 1879986"/>
                  <a:gd name="connsiteY12" fmla="*/ 1512297 h 4330639"/>
                  <a:gd name="connsiteX13" fmla="*/ 368764 w 1879986"/>
                  <a:gd name="connsiteY13" fmla="*/ 1302973 h 4330639"/>
                  <a:gd name="connsiteX14" fmla="*/ 329287 w 1879986"/>
                  <a:gd name="connsiteY14" fmla="*/ 1302809 h 4330639"/>
                  <a:gd name="connsiteX15" fmla="*/ 328934 w 1879986"/>
                  <a:gd name="connsiteY15" fmla="*/ 1269031 h 4330639"/>
                  <a:gd name="connsiteX16" fmla="*/ 356286 w 1879986"/>
                  <a:gd name="connsiteY16" fmla="*/ 1268519 h 4330639"/>
                  <a:gd name="connsiteX17" fmla="*/ 353118 w 1879986"/>
                  <a:gd name="connsiteY17" fmla="*/ 1138495 h 4330639"/>
                  <a:gd name="connsiteX18" fmla="*/ 234935 w 1879986"/>
                  <a:gd name="connsiteY18" fmla="*/ 1138830 h 4330639"/>
                  <a:gd name="connsiteX19" fmla="*/ 235339 w 1879986"/>
                  <a:gd name="connsiteY19" fmla="*/ 923254 h 4330639"/>
                  <a:gd name="connsiteX20" fmla="*/ 603374 w 1879986"/>
                  <a:gd name="connsiteY20" fmla="*/ 237848 h 4330639"/>
                  <a:gd name="connsiteX21" fmla="*/ 1680415 w 1879986"/>
                  <a:gd name="connsiteY21" fmla="*/ 1068728 h 4330639"/>
                  <a:gd name="connsiteX22" fmla="*/ 1676542 w 1879986"/>
                  <a:gd name="connsiteY22" fmla="*/ 1356169 h 4330639"/>
                  <a:gd name="connsiteX23" fmla="*/ 1645175 w 1879986"/>
                  <a:gd name="connsiteY23" fmla="*/ 1718884 h 4330639"/>
                  <a:gd name="connsiteX24" fmla="*/ 1826140 w 1879986"/>
                  <a:gd name="connsiteY24" fmla="*/ 1385187 h 4330639"/>
                  <a:gd name="connsiteX25" fmla="*/ 1879986 w 1879986"/>
                  <a:gd name="connsiteY25" fmla="*/ 1081411 h 4330639"/>
                  <a:gd name="connsiteX26" fmla="*/ 1816630 w 1879986"/>
                  <a:gd name="connsiteY26" fmla="*/ 913332 h 4330639"/>
                  <a:gd name="connsiteX27" fmla="*/ 958163 w 1879986"/>
                  <a:gd name="connsiteY27" fmla="*/ 0 h 4330639"/>
                  <a:gd name="connsiteX28" fmla="*/ 109261 w 1879986"/>
                  <a:gd name="connsiteY28" fmla="*/ 858457 h 4330639"/>
                  <a:gd name="connsiteX29" fmla="*/ 94804 w 1879986"/>
                  <a:gd name="connsiteY29" fmla="*/ 1146972 h 4330639"/>
                  <a:gd name="connsiteX30" fmla="*/ 9907 w 1879986"/>
                  <a:gd name="connsiteY30" fmla="*/ 1521969 h 4330639"/>
                  <a:gd name="connsiteX31" fmla="*/ 0 w 1879986"/>
                  <a:gd name="connsiteY31" fmla="*/ 2778708 h 4330639"/>
                  <a:gd name="connsiteX32" fmla="*/ 95870 w 1879986"/>
                  <a:gd name="connsiteY32" fmla="*/ 3178922 h 4330639"/>
                  <a:gd name="connsiteX33" fmla="*/ 94635 w 1879986"/>
                  <a:gd name="connsiteY33" fmla="*/ 3523641 h 4330639"/>
                  <a:gd name="connsiteX0" fmla="*/ 94635 w 1879986"/>
                  <a:gd name="connsiteY0" fmla="*/ 3523641 h 4330639"/>
                  <a:gd name="connsiteX1" fmla="*/ 938203 w 1879986"/>
                  <a:gd name="connsiteY1" fmla="*/ 4330430 h 4330639"/>
                  <a:gd name="connsiteX2" fmla="*/ 1802011 w 1879986"/>
                  <a:gd name="connsiteY2" fmla="*/ 3474424 h 4330639"/>
                  <a:gd name="connsiteX3" fmla="*/ 1674223 w 1879986"/>
                  <a:gd name="connsiteY3" fmla="*/ 3231052 h 4330639"/>
                  <a:gd name="connsiteX4" fmla="*/ 581097 w 1879986"/>
                  <a:gd name="connsiteY4" fmla="*/ 4076529 h 4330639"/>
                  <a:gd name="connsiteX5" fmla="*/ 243296 w 1879986"/>
                  <a:gd name="connsiteY5" fmla="*/ 3401879 h 4330639"/>
                  <a:gd name="connsiteX6" fmla="*/ 231230 w 1879986"/>
                  <a:gd name="connsiteY6" fmla="*/ 3169743 h 4330639"/>
                  <a:gd name="connsiteX7" fmla="*/ 319367 w 1879986"/>
                  <a:gd name="connsiteY7" fmla="*/ 3160841 h 4330639"/>
                  <a:gd name="connsiteX8" fmla="*/ 323124 w 1879986"/>
                  <a:gd name="connsiteY8" fmla="*/ 3071321 h 4330639"/>
                  <a:gd name="connsiteX9" fmla="*/ 511661 w 1879986"/>
                  <a:gd name="connsiteY9" fmla="*/ 2854845 h 4330639"/>
                  <a:gd name="connsiteX10" fmla="*/ 555371 w 1879986"/>
                  <a:gd name="connsiteY10" fmla="*/ 2747193 h 4330639"/>
                  <a:gd name="connsiteX11" fmla="*/ 556550 w 1879986"/>
                  <a:gd name="connsiteY11" fmla="*/ 1594571 h 4330639"/>
                  <a:gd name="connsiteX12" fmla="*/ 542073 w 1879986"/>
                  <a:gd name="connsiteY12" fmla="*/ 1512297 h 4330639"/>
                  <a:gd name="connsiteX13" fmla="*/ 368764 w 1879986"/>
                  <a:gd name="connsiteY13" fmla="*/ 1302973 h 4330639"/>
                  <a:gd name="connsiteX14" fmla="*/ 329287 w 1879986"/>
                  <a:gd name="connsiteY14" fmla="*/ 1302809 h 4330639"/>
                  <a:gd name="connsiteX15" fmla="*/ 328934 w 1879986"/>
                  <a:gd name="connsiteY15" fmla="*/ 1269031 h 4330639"/>
                  <a:gd name="connsiteX16" fmla="*/ 356286 w 1879986"/>
                  <a:gd name="connsiteY16" fmla="*/ 1268519 h 4330639"/>
                  <a:gd name="connsiteX17" fmla="*/ 353118 w 1879986"/>
                  <a:gd name="connsiteY17" fmla="*/ 1138495 h 4330639"/>
                  <a:gd name="connsiteX18" fmla="*/ 234935 w 1879986"/>
                  <a:gd name="connsiteY18" fmla="*/ 1138830 h 4330639"/>
                  <a:gd name="connsiteX19" fmla="*/ 235339 w 1879986"/>
                  <a:gd name="connsiteY19" fmla="*/ 923254 h 4330639"/>
                  <a:gd name="connsiteX20" fmla="*/ 603374 w 1879986"/>
                  <a:gd name="connsiteY20" fmla="*/ 237848 h 4330639"/>
                  <a:gd name="connsiteX21" fmla="*/ 1680415 w 1879986"/>
                  <a:gd name="connsiteY21" fmla="*/ 1068728 h 4330639"/>
                  <a:gd name="connsiteX22" fmla="*/ 1676542 w 1879986"/>
                  <a:gd name="connsiteY22" fmla="*/ 1356169 h 4330639"/>
                  <a:gd name="connsiteX23" fmla="*/ 1645175 w 1879986"/>
                  <a:gd name="connsiteY23" fmla="*/ 1718884 h 4330639"/>
                  <a:gd name="connsiteX24" fmla="*/ 1734452 w 1879986"/>
                  <a:gd name="connsiteY24" fmla="*/ 1547198 h 4330639"/>
                  <a:gd name="connsiteX25" fmla="*/ 1826140 w 1879986"/>
                  <a:gd name="connsiteY25" fmla="*/ 1385187 h 4330639"/>
                  <a:gd name="connsiteX26" fmla="*/ 1879986 w 1879986"/>
                  <a:gd name="connsiteY26" fmla="*/ 1081411 h 4330639"/>
                  <a:gd name="connsiteX27" fmla="*/ 1816630 w 1879986"/>
                  <a:gd name="connsiteY27" fmla="*/ 913332 h 4330639"/>
                  <a:gd name="connsiteX28" fmla="*/ 958163 w 1879986"/>
                  <a:gd name="connsiteY28" fmla="*/ 0 h 4330639"/>
                  <a:gd name="connsiteX29" fmla="*/ 109261 w 1879986"/>
                  <a:gd name="connsiteY29" fmla="*/ 858457 h 4330639"/>
                  <a:gd name="connsiteX30" fmla="*/ 94804 w 1879986"/>
                  <a:gd name="connsiteY30" fmla="*/ 1146972 h 4330639"/>
                  <a:gd name="connsiteX31" fmla="*/ 9907 w 1879986"/>
                  <a:gd name="connsiteY31" fmla="*/ 1521969 h 4330639"/>
                  <a:gd name="connsiteX32" fmla="*/ 0 w 1879986"/>
                  <a:gd name="connsiteY32" fmla="*/ 2778708 h 4330639"/>
                  <a:gd name="connsiteX33" fmla="*/ 95870 w 1879986"/>
                  <a:gd name="connsiteY33" fmla="*/ 3178922 h 4330639"/>
                  <a:gd name="connsiteX34" fmla="*/ 94635 w 1879986"/>
                  <a:gd name="connsiteY34" fmla="*/ 3523641 h 4330639"/>
                  <a:gd name="connsiteX0" fmla="*/ 94635 w 2106035"/>
                  <a:gd name="connsiteY0" fmla="*/ 3523641 h 4330639"/>
                  <a:gd name="connsiteX1" fmla="*/ 938203 w 2106035"/>
                  <a:gd name="connsiteY1" fmla="*/ 4330430 h 4330639"/>
                  <a:gd name="connsiteX2" fmla="*/ 1802011 w 2106035"/>
                  <a:gd name="connsiteY2" fmla="*/ 3474424 h 4330639"/>
                  <a:gd name="connsiteX3" fmla="*/ 1674223 w 2106035"/>
                  <a:gd name="connsiteY3" fmla="*/ 3231052 h 4330639"/>
                  <a:gd name="connsiteX4" fmla="*/ 581097 w 2106035"/>
                  <a:gd name="connsiteY4" fmla="*/ 4076529 h 4330639"/>
                  <a:gd name="connsiteX5" fmla="*/ 243296 w 2106035"/>
                  <a:gd name="connsiteY5" fmla="*/ 3401879 h 4330639"/>
                  <a:gd name="connsiteX6" fmla="*/ 231230 w 2106035"/>
                  <a:gd name="connsiteY6" fmla="*/ 3169743 h 4330639"/>
                  <a:gd name="connsiteX7" fmla="*/ 319367 w 2106035"/>
                  <a:gd name="connsiteY7" fmla="*/ 3160841 h 4330639"/>
                  <a:gd name="connsiteX8" fmla="*/ 323124 w 2106035"/>
                  <a:gd name="connsiteY8" fmla="*/ 3071321 h 4330639"/>
                  <a:gd name="connsiteX9" fmla="*/ 511661 w 2106035"/>
                  <a:gd name="connsiteY9" fmla="*/ 2854845 h 4330639"/>
                  <a:gd name="connsiteX10" fmla="*/ 555371 w 2106035"/>
                  <a:gd name="connsiteY10" fmla="*/ 2747193 h 4330639"/>
                  <a:gd name="connsiteX11" fmla="*/ 556550 w 2106035"/>
                  <a:gd name="connsiteY11" fmla="*/ 1594571 h 4330639"/>
                  <a:gd name="connsiteX12" fmla="*/ 542073 w 2106035"/>
                  <a:gd name="connsiteY12" fmla="*/ 1512297 h 4330639"/>
                  <a:gd name="connsiteX13" fmla="*/ 368764 w 2106035"/>
                  <a:gd name="connsiteY13" fmla="*/ 1302973 h 4330639"/>
                  <a:gd name="connsiteX14" fmla="*/ 329287 w 2106035"/>
                  <a:gd name="connsiteY14" fmla="*/ 1302809 h 4330639"/>
                  <a:gd name="connsiteX15" fmla="*/ 328934 w 2106035"/>
                  <a:gd name="connsiteY15" fmla="*/ 1269031 h 4330639"/>
                  <a:gd name="connsiteX16" fmla="*/ 356286 w 2106035"/>
                  <a:gd name="connsiteY16" fmla="*/ 1268519 h 4330639"/>
                  <a:gd name="connsiteX17" fmla="*/ 353118 w 2106035"/>
                  <a:gd name="connsiteY17" fmla="*/ 1138495 h 4330639"/>
                  <a:gd name="connsiteX18" fmla="*/ 234935 w 2106035"/>
                  <a:gd name="connsiteY18" fmla="*/ 1138830 h 4330639"/>
                  <a:gd name="connsiteX19" fmla="*/ 235339 w 2106035"/>
                  <a:gd name="connsiteY19" fmla="*/ 923254 h 4330639"/>
                  <a:gd name="connsiteX20" fmla="*/ 603374 w 2106035"/>
                  <a:gd name="connsiteY20" fmla="*/ 237848 h 4330639"/>
                  <a:gd name="connsiteX21" fmla="*/ 1680415 w 2106035"/>
                  <a:gd name="connsiteY21" fmla="*/ 1068728 h 4330639"/>
                  <a:gd name="connsiteX22" fmla="*/ 1676542 w 2106035"/>
                  <a:gd name="connsiteY22" fmla="*/ 1356169 h 4330639"/>
                  <a:gd name="connsiteX23" fmla="*/ 1645175 w 2106035"/>
                  <a:gd name="connsiteY23" fmla="*/ 1718884 h 4330639"/>
                  <a:gd name="connsiteX24" fmla="*/ 2106035 w 2106035"/>
                  <a:gd name="connsiteY24" fmla="*/ 1663267 h 4330639"/>
                  <a:gd name="connsiteX25" fmla="*/ 1826140 w 2106035"/>
                  <a:gd name="connsiteY25" fmla="*/ 1385187 h 4330639"/>
                  <a:gd name="connsiteX26" fmla="*/ 1879986 w 2106035"/>
                  <a:gd name="connsiteY26" fmla="*/ 1081411 h 4330639"/>
                  <a:gd name="connsiteX27" fmla="*/ 1816630 w 2106035"/>
                  <a:gd name="connsiteY27" fmla="*/ 913332 h 4330639"/>
                  <a:gd name="connsiteX28" fmla="*/ 958163 w 2106035"/>
                  <a:gd name="connsiteY28" fmla="*/ 0 h 4330639"/>
                  <a:gd name="connsiteX29" fmla="*/ 109261 w 2106035"/>
                  <a:gd name="connsiteY29" fmla="*/ 858457 h 4330639"/>
                  <a:gd name="connsiteX30" fmla="*/ 94804 w 2106035"/>
                  <a:gd name="connsiteY30" fmla="*/ 1146972 h 4330639"/>
                  <a:gd name="connsiteX31" fmla="*/ 9907 w 2106035"/>
                  <a:gd name="connsiteY31" fmla="*/ 1521969 h 4330639"/>
                  <a:gd name="connsiteX32" fmla="*/ 0 w 2106035"/>
                  <a:gd name="connsiteY32" fmla="*/ 2778708 h 4330639"/>
                  <a:gd name="connsiteX33" fmla="*/ 95870 w 2106035"/>
                  <a:gd name="connsiteY33" fmla="*/ 3178922 h 4330639"/>
                  <a:gd name="connsiteX34" fmla="*/ 94635 w 2106035"/>
                  <a:gd name="connsiteY34" fmla="*/ 3523641 h 4330639"/>
                  <a:gd name="connsiteX0" fmla="*/ 94635 w 2106035"/>
                  <a:gd name="connsiteY0" fmla="*/ 3523641 h 4330639"/>
                  <a:gd name="connsiteX1" fmla="*/ 938203 w 2106035"/>
                  <a:gd name="connsiteY1" fmla="*/ 4330430 h 4330639"/>
                  <a:gd name="connsiteX2" fmla="*/ 1802011 w 2106035"/>
                  <a:gd name="connsiteY2" fmla="*/ 3474424 h 4330639"/>
                  <a:gd name="connsiteX3" fmla="*/ 1674223 w 2106035"/>
                  <a:gd name="connsiteY3" fmla="*/ 3231052 h 4330639"/>
                  <a:gd name="connsiteX4" fmla="*/ 581097 w 2106035"/>
                  <a:gd name="connsiteY4" fmla="*/ 4076529 h 4330639"/>
                  <a:gd name="connsiteX5" fmla="*/ 243296 w 2106035"/>
                  <a:gd name="connsiteY5" fmla="*/ 3401879 h 4330639"/>
                  <a:gd name="connsiteX6" fmla="*/ 231230 w 2106035"/>
                  <a:gd name="connsiteY6" fmla="*/ 3169743 h 4330639"/>
                  <a:gd name="connsiteX7" fmla="*/ 319367 w 2106035"/>
                  <a:gd name="connsiteY7" fmla="*/ 3160841 h 4330639"/>
                  <a:gd name="connsiteX8" fmla="*/ 323124 w 2106035"/>
                  <a:gd name="connsiteY8" fmla="*/ 3071321 h 4330639"/>
                  <a:gd name="connsiteX9" fmla="*/ 511661 w 2106035"/>
                  <a:gd name="connsiteY9" fmla="*/ 2854845 h 4330639"/>
                  <a:gd name="connsiteX10" fmla="*/ 555371 w 2106035"/>
                  <a:gd name="connsiteY10" fmla="*/ 2747193 h 4330639"/>
                  <a:gd name="connsiteX11" fmla="*/ 556550 w 2106035"/>
                  <a:gd name="connsiteY11" fmla="*/ 1594571 h 4330639"/>
                  <a:gd name="connsiteX12" fmla="*/ 542073 w 2106035"/>
                  <a:gd name="connsiteY12" fmla="*/ 1512297 h 4330639"/>
                  <a:gd name="connsiteX13" fmla="*/ 368764 w 2106035"/>
                  <a:gd name="connsiteY13" fmla="*/ 1302973 h 4330639"/>
                  <a:gd name="connsiteX14" fmla="*/ 329287 w 2106035"/>
                  <a:gd name="connsiteY14" fmla="*/ 1302809 h 4330639"/>
                  <a:gd name="connsiteX15" fmla="*/ 328934 w 2106035"/>
                  <a:gd name="connsiteY15" fmla="*/ 1269031 h 4330639"/>
                  <a:gd name="connsiteX16" fmla="*/ 356286 w 2106035"/>
                  <a:gd name="connsiteY16" fmla="*/ 1268519 h 4330639"/>
                  <a:gd name="connsiteX17" fmla="*/ 353118 w 2106035"/>
                  <a:gd name="connsiteY17" fmla="*/ 1138495 h 4330639"/>
                  <a:gd name="connsiteX18" fmla="*/ 234935 w 2106035"/>
                  <a:gd name="connsiteY18" fmla="*/ 1138830 h 4330639"/>
                  <a:gd name="connsiteX19" fmla="*/ 235339 w 2106035"/>
                  <a:gd name="connsiteY19" fmla="*/ 923254 h 4330639"/>
                  <a:gd name="connsiteX20" fmla="*/ 603374 w 2106035"/>
                  <a:gd name="connsiteY20" fmla="*/ 237848 h 4330639"/>
                  <a:gd name="connsiteX21" fmla="*/ 1680415 w 2106035"/>
                  <a:gd name="connsiteY21" fmla="*/ 1068728 h 4330639"/>
                  <a:gd name="connsiteX22" fmla="*/ 1676542 w 2106035"/>
                  <a:gd name="connsiteY22" fmla="*/ 1356169 h 4330639"/>
                  <a:gd name="connsiteX23" fmla="*/ 1645175 w 2106035"/>
                  <a:gd name="connsiteY23" fmla="*/ 1718884 h 4330639"/>
                  <a:gd name="connsiteX24" fmla="*/ 1797186 w 2106035"/>
                  <a:gd name="connsiteY24" fmla="*/ 1704376 h 4330639"/>
                  <a:gd name="connsiteX25" fmla="*/ 2106035 w 2106035"/>
                  <a:gd name="connsiteY25" fmla="*/ 1663267 h 4330639"/>
                  <a:gd name="connsiteX26" fmla="*/ 1826140 w 2106035"/>
                  <a:gd name="connsiteY26" fmla="*/ 1385187 h 4330639"/>
                  <a:gd name="connsiteX27" fmla="*/ 1879986 w 2106035"/>
                  <a:gd name="connsiteY27" fmla="*/ 1081411 h 4330639"/>
                  <a:gd name="connsiteX28" fmla="*/ 1816630 w 2106035"/>
                  <a:gd name="connsiteY28" fmla="*/ 913332 h 4330639"/>
                  <a:gd name="connsiteX29" fmla="*/ 958163 w 2106035"/>
                  <a:gd name="connsiteY29" fmla="*/ 0 h 4330639"/>
                  <a:gd name="connsiteX30" fmla="*/ 109261 w 2106035"/>
                  <a:gd name="connsiteY30" fmla="*/ 858457 h 4330639"/>
                  <a:gd name="connsiteX31" fmla="*/ 94804 w 2106035"/>
                  <a:gd name="connsiteY31" fmla="*/ 1146972 h 4330639"/>
                  <a:gd name="connsiteX32" fmla="*/ 9907 w 2106035"/>
                  <a:gd name="connsiteY32" fmla="*/ 1521969 h 4330639"/>
                  <a:gd name="connsiteX33" fmla="*/ 0 w 2106035"/>
                  <a:gd name="connsiteY33" fmla="*/ 2778708 h 4330639"/>
                  <a:gd name="connsiteX34" fmla="*/ 95870 w 2106035"/>
                  <a:gd name="connsiteY34" fmla="*/ 3178922 h 4330639"/>
                  <a:gd name="connsiteX35" fmla="*/ 94635 w 2106035"/>
                  <a:gd name="connsiteY35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2147054 w 2147054"/>
                  <a:gd name="connsiteY24" fmla="*/ 1759991 h 4330639"/>
                  <a:gd name="connsiteX25" fmla="*/ 2106035 w 2147054"/>
                  <a:gd name="connsiteY25" fmla="*/ 1663267 h 4330639"/>
                  <a:gd name="connsiteX26" fmla="*/ 1826140 w 2147054"/>
                  <a:gd name="connsiteY26" fmla="*/ 1385187 h 4330639"/>
                  <a:gd name="connsiteX27" fmla="*/ 1879986 w 2147054"/>
                  <a:gd name="connsiteY27" fmla="*/ 1081411 h 4330639"/>
                  <a:gd name="connsiteX28" fmla="*/ 1816630 w 2147054"/>
                  <a:gd name="connsiteY28" fmla="*/ 913332 h 4330639"/>
                  <a:gd name="connsiteX29" fmla="*/ 958163 w 2147054"/>
                  <a:gd name="connsiteY29" fmla="*/ 0 h 4330639"/>
                  <a:gd name="connsiteX30" fmla="*/ 109261 w 2147054"/>
                  <a:gd name="connsiteY30" fmla="*/ 858457 h 4330639"/>
                  <a:gd name="connsiteX31" fmla="*/ 94804 w 2147054"/>
                  <a:gd name="connsiteY31" fmla="*/ 1146972 h 4330639"/>
                  <a:gd name="connsiteX32" fmla="*/ 9907 w 2147054"/>
                  <a:gd name="connsiteY32" fmla="*/ 1521969 h 4330639"/>
                  <a:gd name="connsiteX33" fmla="*/ 0 w 2147054"/>
                  <a:gd name="connsiteY33" fmla="*/ 2778708 h 4330639"/>
                  <a:gd name="connsiteX34" fmla="*/ 95870 w 2147054"/>
                  <a:gd name="connsiteY34" fmla="*/ 3178922 h 4330639"/>
                  <a:gd name="connsiteX35" fmla="*/ 94635 w 2147054"/>
                  <a:gd name="connsiteY35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917831 w 2147054"/>
                  <a:gd name="connsiteY24" fmla="*/ 1740646 h 4330639"/>
                  <a:gd name="connsiteX25" fmla="*/ 2147054 w 2147054"/>
                  <a:gd name="connsiteY25" fmla="*/ 1759991 h 4330639"/>
                  <a:gd name="connsiteX26" fmla="*/ 2106035 w 2147054"/>
                  <a:gd name="connsiteY26" fmla="*/ 1663267 h 4330639"/>
                  <a:gd name="connsiteX27" fmla="*/ 1826140 w 2147054"/>
                  <a:gd name="connsiteY27" fmla="*/ 1385187 h 4330639"/>
                  <a:gd name="connsiteX28" fmla="*/ 1879986 w 2147054"/>
                  <a:gd name="connsiteY28" fmla="*/ 1081411 h 4330639"/>
                  <a:gd name="connsiteX29" fmla="*/ 1816630 w 2147054"/>
                  <a:gd name="connsiteY29" fmla="*/ 913332 h 4330639"/>
                  <a:gd name="connsiteX30" fmla="*/ 958163 w 2147054"/>
                  <a:gd name="connsiteY30" fmla="*/ 0 h 4330639"/>
                  <a:gd name="connsiteX31" fmla="*/ 109261 w 2147054"/>
                  <a:gd name="connsiteY31" fmla="*/ 858457 h 4330639"/>
                  <a:gd name="connsiteX32" fmla="*/ 94804 w 2147054"/>
                  <a:gd name="connsiteY32" fmla="*/ 1146972 h 4330639"/>
                  <a:gd name="connsiteX33" fmla="*/ 9907 w 2147054"/>
                  <a:gd name="connsiteY33" fmla="*/ 1521969 h 4330639"/>
                  <a:gd name="connsiteX34" fmla="*/ 0 w 2147054"/>
                  <a:gd name="connsiteY34" fmla="*/ 2778708 h 4330639"/>
                  <a:gd name="connsiteX35" fmla="*/ 95870 w 2147054"/>
                  <a:gd name="connsiteY35" fmla="*/ 3178922 h 4330639"/>
                  <a:gd name="connsiteX36" fmla="*/ 94635 w 2147054"/>
                  <a:gd name="connsiteY36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2144641 w 2147054"/>
                  <a:gd name="connsiteY24" fmla="*/ 2550708 h 4330639"/>
                  <a:gd name="connsiteX25" fmla="*/ 2147054 w 2147054"/>
                  <a:gd name="connsiteY25" fmla="*/ 1759991 h 4330639"/>
                  <a:gd name="connsiteX26" fmla="*/ 2106035 w 2147054"/>
                  <a:gd name="connsiteY26" fmla="*/ 1663267 h 4330639"/>
                  <a:gd name="connsiteX27" fmla="*/ 1826140 w 2147054"/>
                  <a:gd name="connsiteY27" fmla="*/ 1385187 h 4330639"/>
                  <a:gd name="connsiteX28" fmla="*/ 1879986 w 2147054"/>
                  <a:gd name="connsiteY28" fmla="*/ 1081411 h 4330639"/>
                  <a:gd name="connsiteX29" fmla="*/ 1816630 w 2147054"/>
                  <a:gd name="connsiteY29" fmla="*/ 913332 h 4330639"/>
                  <a:gd name="connsiteX30" fmla="*/ 958163 w 2147054"/>
                  <a:gd name="connsiteY30" fmla="*/ 0 h 4330639"/>
                  <a:gd name="connsiteX31" fmla="*/ 109261 w 2147054"/>
                  <a:gd name="connsiteY31" fmla="*/ 858457 h 4330639"/>
                  <a:gd name="connsiteX32" fmla="*/ 94804 w 2147054"/>
                  <a:gd name="connsiteY32" fmla="*/ 1146972 h 4330639"/>
                  <a:gd name="connsiteX33" fmla="*/ 9907 w 2147054"/>
                  <a:gd name="connsiteY33" fmla="*/ 1521969 h 4330639"/>
                  <a:gd name="connsiteX34" fmla="*/ 0 w 2147054"/>
                  <a:gd name="connsiteY34" fmla="*/ 2778708 h 4330639"/>
                  <a:gd name="connsiteX35" fmla="*/ 95870 w 2147054"/>
                  <a:gd name="connsiteY35" fmla="*/ 3178922 h 4330639"/>
                  <a:gd name="connsiteX36" fmla="*/ 94635 w 2147054"/>
                  <a:gd name="connsiteY36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937134 w 2147054"/>
                  <a:gd name="connsiteY24" fmla="*/ 2212175 h 4330639"/>
                  <a:gd name="connsiteX25" fmla="*/ 2144641 w 2147054"/>
                  <a:gd name="connsiteY25" fmla="*/ 2550708 h 4330639"/>
                  <a:gd name="connsiteX26" fmla="*/ 2147054 w 2147054"/>
                  <a:gd name="connsiteY26" fmla="*/ 1759991 h 4330639"/>
                  <a:gd name="connsiteX27" fmla="*/ 2106035 w 2147054"/>
                  <a:gd name="connsiteY27" fmla="*/ 1663267 h 4330639"/>
                  <a:gd name="connsiteX28" fmla="*/ 1826140 w 2147054"/>
                  <a:gd name="connsiteY28" fmla="*/ 1385187 h 4330639"/>
                  <a:gd name="connsiteX29" fmla="*/ 1879986 w 2147054"/>
                  <a:gd name="connsiteY29" fmla="*/ 1081411 h 4330639"/>
                  <a:gd name="connsiteX30" fmla="*/ 1816630 w 2147054"/>
                  <a:gd name="connsiteY30" fmla="*/ 913332 h 4330639"/>
                  <a:gd name="connsiteX31" fmla="*/ 958163 w 2147054"/>
                  <a:gd name="connsiteY31" fmla="*/ 0 h 4330639"/>
                  <a:gd name="connsiteX32" fmla="*/ 109261 w 2147054"/>
                  <a:gd name="connsiteY32" fmla="*/ 858457 h 4330639"/>
                  <a:gd name="connsiteX33" fmla="*/ 94804 w 2147054"/>
                  <a:gd name="connsiteY33" fmla="*/ 1146972 h 4330639"/>
                  <a:gd name="connsiteX34" fmla="*/ 9907 w 2147054"/>
                  <a:gd name="connsiteY34" fmla="*/ 1521969 h 4330639"/>
                  <a:gd name="connsiteX35" fmla="*/ 0 w 2147054"/>
                  <a:gd name="connsiteY35" fmla="*/ 2778708 h 4330639"/>
                  <a:gd name="connsiteX36" fmla="*/ 95870 w 2147054"/>
                  <a:gd name="connsiteY36" fmla="*/ 3178922 h 4330639"/>
                  <a:gd name="connsiteX37" fmla="*/ 94635 w 2147054"/>
                  <a:gd name="connsiteY37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2115686 w 2147054"/>
                  <a:gd name="connsiteY24" fmla="*/ 2642597 h 4330639"/>
                  <a:gd name="connsiteX25" fmla="*/ 2144641 w 2147054"/>
                  <a:gd name="connsiteY25" fmla="*/ 2550708 h 4330639"/>
                  <a:gd name="connsiteX26" fmla="*/ 2147054 w 2147054"/>
                  <a:gd name="connsiteY26" fmla="*/ 1759991 h 4330639"/>
                  <a:gd name="connsiteX27" fmla="*/ 2106035 w 2147054"/>
                  <a:gd name="connsiteY27" fmla="*/ 1663267 h 4330639"/>
                  <a:gd name="connsiteX28" fmla="*/ 1826140 w 2147054"/>
                  <a:gd name="connsiteY28" fmla="*/ 1385187 h 4330639"/>
                  <a:gd name="connsiteX29" fmla="*/ 1879986 w 2147054"/>
                  <a:gd name="connsiteY29" fmla="*/ 1081411 h 4330639"/>
                  <a:gd name="connsiteX30" fmla="*/ 1816630 w 2147054"/>
                  <a:gd name="connsiteY30" fmla="*/ 913332 h 4330639"/>
                  <a:gd name="connsiteX31" fmla="*/ 958163 w 2147054"/>
                  <a:gd name="connsiteY31" fmla="*/ 0 h 4330639"/>
                  <a:gd name="connsiteX32" fmla="*/ 109261 w 2147054"/>
                  <a:gd name="connsiteY32" fmla="*/ 858457 h 4330639"/>
                  <a:gd name="connsiteX33" fmla="*/ 94804 w 2147054"/>
                  <a:gd name="connsiteY33" fmla="*/ 1146972 h 4330639"/>
                  <a:gd name="connsiteX34" fmla="*/ 9907 w 2147054"/>
                  <a:gd name="connsiteY34" fmla="*/ 1521969 h 4330639"/>
                  <a:gd name="connsiteX35" fmla="*/ 0 w 2147054"/>
                  <a:gd name="connsiteY35" fmla="*/ 2778708 h 4330639"/>
                  <a:gd name="connsiteX36" fmla="*/ 95870 w 2147054"/>
                  <a:gd name="connsiteY36" fmla="*/ 3178922 h 4330639"/>
                  <a:gd name="connsiteX37" fmla="*/ 94635 w 2147054"/>
                  <a:gd name="connsiteY37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896114 w 2147054"/>
                  <a:gd name="connsiteY24" fmla="*/ 2200085 h 4330639"/>
                  <a:gd name="connsiteX25" fmla="*/ 2115686 w 2147054"/>
                  <a:gd name="connsiteY25" fmla="*/ 2642597 h 4330639"/>
                  <a:gd name="connsiteX26" fmla="*/ 2144641 w 2147054"/>
                  <a:gd name="connsiteY26" fmla="*/ 2550708 h 4330639"/>
                  <a:gd name="connsiteX27" fmla="*/ 2147054 w 2147054"/>
                  <a:gd name="connsiteY27" fmla="*/ 1759991 h 4330639"/>
                  <a:gd name="connsiteX28" fmla="*/ 2106035 w 2147054"/>
                  <a:gd name="connsiteY28" fmla="*/ 1663267 h 4330639"/>
                  <a:gd name="connsiteX29" fmla="*/ 1826140 w 2147054"/>
                  <a:gd name="connsiteY29" fmla="*/ 1385187 h 4330639"/>
                  <a:gd name="connsiteX30" fmla="*/ 1879986 w 2147054"/>
                  <a:gd name="connsiteY30" fmla="*/ 1081411 h 4330639"/>
                  <a:gd name="connsiteX31" fmla="*/ 1816630 w 2147054"/>
                  <a:gd name="connsiteY31" fmla="*/ 913332 h 4330639"/>
                  <a:gd name="connsiteX32" fmla="*/ 958163 w 2147054"/>
                  <a:gd name="connsiteY32" fmla="*/ 0 h 4330639"/>
                  <a:gd name="connsiteX33" fmla="*/ 109261 w 2147054"/>
                  <a:gd name="connsiteY33" fmla="*/ 858457 h 4330639"/>
                  <a:gd name="connsiteX34" fmla="*/ 94804 w 2147054"/>
                  <a:gd name="connsiteY34" fmla="*/ 1146972 h 4330639"/>
                  <a:gd name="connsiteX35" fmla="*/ 9907 w 2147054"/>
                  <a:gd name="connsiteY35" fmla="*/ 1521969 h 4330639"/>
                  <a:gd name="connsiteX36" fmla="*/ 0 w 2147054"/>
                  <a:gd name="connsiteY36" fmla="*/ 2778708 h 4330639"/>
                  <a:gd name="connsiteX37" fmla="*/ 95870 w 2147054"/>
                  <a:gd name="connsiteY37" fmla="*/ 3178922 h 4330639"/>
                  <a:gd name="connsiteX38" fmla="*/ 94635 w 2147054"/>
                  <a:gd name="connsiteY38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871986 w 2147054"/>
                  <a:gd name="connsiteY24" fmla="*/ 2862643 h 4330639"/>
                  <a:gd name="connsiteX25" fmla="*/ 2115686 w 2147054"/>
                  <a:gd name="connsiteY25" fmla="*/ 2642597 h 4330639"/>
                  <a:gd name="connsiteX26" fmla="*/ 2144641 w 2147054"/>
                  <a:gd name="connsiteY26" fmla="*/ 2550708 h 4330639"/>
                  <a:gd name="connsiteX27" fmla="*/ 2147054 w 2147054"/>
                  <a:gd name="connsiteY27" fmla="*/ 1759991 h 4330639"/>
                  <a:gd name="connsiteX28" fmla="*/ 2106035 w 2147054"/>
                  <a:gd name="connsiteY28" fmla="*/ 1663267 h 4330639"/>
                  <a:gd name="connsiteX29" fmla="*/ 1826140 w 2147054"/>
                  <a:gd name="connsiteY29" fmla="*/ 1385187 h 4330639"/>
                  <a:gd name="connsiteX30" fmla="*/ 1879986 w 2147054"/>
                  <a:gd name="connsiteY30" fmla="*/ 1081411 h 4330639"/>
                  <a:gd name="connsiteX31" fmla="*/ 1816630 w 2147054"/>
                  <a:gd name="connsiteY31" fmla="*/ 913332 h 4330639"/>
                  <a:gd name="connsiteX32" fmla="*/ 958163 w 2147054"/>
                  <a:gd name="connsiteY32" fmla="*/ 0 h 4330639"/>
                  <a:gd name="connsiteX33" fmla="*/ 109261 w 2147054"/>
                  <a:gd name="connsiteY33" fmla="*/ 858457 h 4330639"/>
                  <a:gd name="connsiteX34" fmla="*/ 94804 w 2147054"/>
                  <a:gd name="connsiteY34" fmla="*/ 1146972 h 4330639"/>
                  <a:gd name="connsiteX35" fmla="*/ 9907 w 2147054"/>
                  <a:gd name="connsiteY35" fmla="*/ 1521969 h 4330639"/>
                  <a:gd name="connsiteX36" fmla="*/ 0 w 2147054"/>
                  <a:gd name="connsiteY36" fmla="*/ 2778708 h 4330639"/>
                  <a:gd name="connsiteX37" fmla="*/ 95870 w 2147054"/>
                  <a:gd name="connsiteY37" fmla="*/ 3178922 h 4330639"/>
                  <a:gd name="connsiteX38" fmla="*/ 94635 w 2147054"/>
                  <a:gd name="connsiteY38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760993 w 2147054"/>
                  <a:gd name="connsiteY24" fmla="*/ 2294391 h 4330639"/>
                  <a:gd name="connsiteX25" fmla="*/ 1871986 w 2147054"/>
                  <a:gd name="connsiteY25" fmla="*/ 2862643 h 4330639"/>
                  <a:gd name="connsiteX26" fmla="*/ 2115686 w 2147054"/>
                  <a:gd name="connsiteY26" fmla="*/ 2642597 h 4330639"/>
                  <a:gd name="connsiteX27" fmla="*/ 2144641 w 2147054"/>
                  <a:gd name="connsiteY27" fmla="*/ 2550708 h 4330639"/>
                  <a:gd name="connsiteX28" fmla="*/ 2147054 w 2147054"/>
                  <a:gd name="connsiteY28" fmla="*/ 1759991 h 4330639"/>
                  <a:gd name="connsiteX29" fmla="*/ 2106035 w 2147054"/>
                  <a:gd name="connsiteY29" fmla="*/ 1663267 h 4330639"/>
                  <a:gd name="connsiteX30" fmla="*/ 1826140 w 2147054"/>
                  <a:gd name="connsiteY30" fmla="*/ 1385187 h 4330639"/>
                  <a:gd name="connsiteX31" fmla="*/ 1879986 w 2147054"/>
                  <a:gd name="connsiteY31" fmla="*/ 1081411 h 4330639"/>
                  <a:gd name="connsiteX32" fmla="*/ 1816630 w 2147054"/>
                  <a:gd name="connsiteY32" fmla="*/ 913332 h 4330639"/>
                  <a:gd name="connsiteX33" fmla="*/ 958163 w 2147054"/>
                  <a:gd name="connsiteY33" fmla="*/ 0 h 4330639"/>
                  <a:gd name="connsiteX34" fmla="*/ 109261 w 2147054"/>
                  <a:gd name="connsiteY34" fmla="*/ 858457 h 4330639"/>
                  <a:gd name="connsiteX35" fmla="*/ 94804 w 2147054"/>
                  <a:gd name="connsiteY35" fmla="*/ 1146972 h 4330639"/>
                  <a:gd name="connsiteX36" fmla="*/ 9907 w 2147054"/>
                  <a:gd name="connsiteY36" fmla="*/ 1521969 h 4330639"/>
                  <a:gd name="connsiteX37" fmla="*/ 0 w 2147054"/>
                  <a:gd name="connsiteY37" fmla="*/ 2778708 h 4330639"/>
                  <a:gd name="connsiteX38" fmla="*/ 95870 w 2147054"/>
                  <a:gd name="connsiteY38" fmla="*/ 3178922 h 4330639"/>
                  <a:gd name="connsiteX39" fmla="*/ 94635 w 2147054"/>
                  <a:gd name="connsiteY39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833380 w 2147054"/>
                  <a:gd name="connsiteY24" fmla="*/ 2983549 h 4330639"/>
                  <a:gd name="connsiteX25" fmla="*/ 1871986 w 2147054"/>
                  <a:gd name="connsiteY25" fmla="*/ 2862643 h 4330639"/>
                  <a:gd name="connsiteX26" fmla="*/ 2115686 w 2147054"/>
                  <a:gd name="connsiteY26" fmla="*/ 2642597 h 4330639"/>
                  <a:gd name="connsiteX27" fmla="*/ 2144641 w 2147054"/>
                  <a:gd name="connsiteY27" fmla="*/ 2550708 h 4330639"/>
                  <a:gd name="connsiteX28" fmla="*/ 2147054 w 2147054"/>
                  <a:gd name="connsiteY28" fmla="*/ 1759991 h 4330639"/>
                  <a:gd name="connsiteX29" fmla="*/ 2106035 w 2147054"/>
                  <a:gd name="connsiteY29" fmla="*/ 1663267 h 4330639"/>
                  <a:gd name="connsiteX30" fmla="*/ 1826140 w 2147054"/>
                  <a:gd name="connsiteY30" fmla="*/ 1385187 h 4330639"/>
                  <a:gd name="connsiteX31" fmla="*/ 1879986 w 2147054"/>
                  <a:gd name="connsiteY31" fmla="*/ 1081411 h 4330639"/>
                  <a:gd name="connsiteX32" fmla="*/ 1816630 w 2147054"/>
                  <a:gd name="connsiteY32" fmla="*/ 913332 h 4330639"/>
                  <a:gd name="connsiteX33" fmla="*/ 958163 w 2147054"/>
                  <a:gd name="connsiteY33" fmla="*/ 0 h 4330639"/>
                  <a:gd name="connsiteX34" fmla="*/ 109261 w 2147054"/>
                  <a:gd name="connsiteY34" fmla="*/ 858457 h 4330639"/>
                  <a:gd name="connsiteX35" fmla="*/ 94804 w 2147054"/>
                  <a:gd name="connsiteY35" fmla="*/ 1146972 h 4330639"/>
                  <a:gd name="connsiteX36" fmla="*/ 9907 w 2147054"/>
                  <a:gd name="connsiteY36" fmla="*/ 1521969 h 4330639"/>
                  <a:gd name="connsiteX37" fmla="*/ 0 w 2147054"/>
                  <a:gd name="connsiteY37" fmla="*/ 2778708 h 4330639"/>
                  <a:gd name="connsiteX38" fmla="*/ 95870 w 2147054"/>
                  <a:gd name="connsiteY38" fmla="*/ 3178922 h 4330639"/>
                  <a:gd name="connsiteX39" fmla="*/ 94635 w 2147054"/>
                  <a:gd name="connsiteY39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833380 w 2147054"/>
                  <a:gd name="connsiteY24" fmla="*/ 2983549 h 4330639"/>
                  <a:gd name="connsiteX25" fmla="*/ 1850270 w 2147054"/>
                  <a:gd name="connsiteY25" fmla="*/ 2884406 h 4330639"/>
                  <a:gd name="connsiteX26" fmla="*/ 2115686 w 2147054"/>
                  <a:gd name="connsiteY26" fmla="*/ 2642597 h 4330639"/>
                  <a:gd name="connsiteX27" fmla="*/ 2144641 w 2147054"/>
                  <a:gd name="connsiteY27" fmla="*/ 2550708 h 4330639"/>
                  <a:gd name="connsiteX28" fmla="*/ 2147054 w 2147054"/>
                  <a:gd name="connsiteY28" fmla="*/ 1759991 h 4330639"/>
                  <a:gd name="connsiteX29" fmla="*/ 2106035 w 2147054"/>
                  <a:gd name="connsiteY29" fmla="*/ 1663267 h 4330639"/>
                  <a:gd name="connsiteX30" fmla="*/ 1826140 w 2147054"/>
                  <a:gd name="connsiteY30" fmla="*/ 1385187 h 4330639"/>
                  <a:gd name="connsiteX31" fmla="*/ 1879986 w 2147054"/>
                  <a:gd name="connsiteY31" fmla="*/ 1081411 h 4330639"/>
                  <a:gd name="connsiteX32" fmla="*/ 1816630 w 2147054"/>
                  <a:gd name="connsiteY32" fmla="*/ 913332 h 4330639"/>
                  <a:gd name="connsiteX33" fmla="*/ 958163 w 2147054"/>
                  <a:gd name="connsiteY33" fmla="*/ 0 h 4330639"/>
                  <a:gd name="connsiteX34" fmla="*/ 109261 w 2147054"/>
                  <a:gd name="connsiteY34" fmla="*/ 858457 h 4330639"/>
                  <a:gd name="connsiteX35" fmla="*/ 94804 w 2147054"/>
                  <a:gd name="connsiteY35" fmla="*/ 1146972 h 4330639"/>
                  <a:gd name="connsiteX36" fmla="*/ 9907 w 2147054"/>
                  <a:gd name="connsiteY36" fmla="*/ 1521969 h 4330639"/>
                  <a:gd name="connsiteX37" fmla="*/ 0 w 2147054"/>
                  <a:gd name="connsiteY37" fmla="*/ 2778708 h 4330639"/>
                  <a:gd name="connsiteX38" fmla="*/ 95870 w 2147054"/>
                  <a:gd name="connsiteY38" fmla="*/ 3178922 h 4330639"/>
                  <a:gd name="connsiteX39" fmla="*/ 94635 w 2147054"/>
                  <a:gd name="connsiteY39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746516 w 2147054"/>
                  <a:gd name="connsiteY24" fmla="*/ 2386279 h 4330639"/>
                  <a:gd name="connsiteX25" fmla="*/ 1833380 w 2147054"/>
                  <a:gd name="connsiteY25" fmla="*/ 2983549 h 4330639"/>
                  <a:gd name="connsiteX26" fmla="*/ 1850270 w 2147054"/>
                  <a:gd name="connsiteY26" fmla="*/ 2884406 h 4330639"/>
                  <a:gd name="connsiteX27" fmla="*/ 2115686 w 2147054"/>
                  <a:gd name="connsiteY27" fmla="*/ 2642597 h 4330639"/>
                  <a:gd name="connsiteX28" fmla="*/ 2144641 w 2147054"/>
                  <a:gd name="connsiteY28" fmla="*/ 2550708 h 4330639"/>
                  <a:gd name="connsiteX29" fmla="*/ 2147054 w 2147054"/>
                  <a:gd name="connsiteY29" fmla="*/ 1759991 h 4330639"/>
                  <a:gd name="connsiteX30" fmla="*/ 2106035 w 2147054"/>
                  <a:gd name="connsiteY30" fmla="*/ 1663267 h 4330639"/>
                  <a:gd name="connsiteX31" fmla="*/ 1826140 w 2147054"/>
                  <a:gd name="connsiteY31" fmla="*/ 1385187 h 4330639"/>
                  <a:gd name="connsiteX32" fmla="*/ 1879986 w 2147054"/>
                  <a:gd name="connsiteY32" fmla="*/ 1081411 h 4330639"/>
                  <a:gd name="connsiteX33" fmla="*/ 1816630 w 2147054"/>
                  <a:gd name="connsiteY33" fmla="*/ 913332 h 4330639"/>
                  <a:gd name="connsiteX34" fmla="*/ 958163 w 2147054"/>
                  <a:gd name="connsiteY34" fmla="*/ 0 h 4330639"/>
                  <a:gd name="connsiteX35" fmla="*/ 109261 w 2147054"/>
                  <a:gd name="connsiteY35" fmla="*/ 858457 h 4330639"/>
                  <a:gd name="connsiteX36" fmla="*/ 94804 w 2147054"/>
                  <a:gd name="connsiteY36" fmla="*/ 1146972 h 4330639"/>
                  <a:gd name="connsiteX37" fmla="*/ 9907 w 2147054"/>
                  <a:gd name="connsiteY37" fmla="*/ 1521969 h 4330639"/>
                  <a:gd name="connsiteX38" fmla="*/ 0 w 2147054"/>
                  <a:gd name="connsiteY38" fmla="*/ 2778708 h 4330639"/>
                  <a:gd name="connsiteX39" fmla="*/ 95870 w 2147054"/>
                  <a:gd name="connsiteY39" fmla="*/ 3178922 h 4330639"/>
                  <a:gd name="connsiteX40" fmla="*/ 94635 w 2147054"/>
                  <a:gd name="connsiteY40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833380 w 2147054"/>
                  <a:gd name="connsiteY25" fmla="*/ 2983549 h 4330639"/>
                  <a:gd name="connsiteX26" fmla="*/ 1850270 w 2147054"/>
                  <a:gd name="connsiteY26" fmla="*/ 2884406 h 4330639"/>
                  <a:gd name="connsiteX27" fmla="*/ 2115686 w 2147054"/>
                  <a:gd name="connsiteY27" fmla="*/ 2642597 h 4330639"/>
                  <a:gd name="connsiteX28" fmla="*/ 2144641 w 2147054"/>
                  <a:gd name="connsiteY28" fmla="*/ 2550708 h 4330639"/>
                  <a:gd name="connsiteX29" fmla="*/ 2147054 w 2147054"/>
                  <a:gd name="connsiteY29" fmla="*/ 1759991 h 4330639"/>
                  <a:gd name="connsiteX30" fmla="*/ 2106035 w 2147054"/>
                  <a:gd name="connsiteY30" fmla="*/ 1663267 h 4330639"/>
                  <a:gd name="connsiteX31" fmla="*/ 1826140 w 2147054"/>
                  <a:gd name="connsiteY31" fmla="*/ 1385187 h 4330639"/>
                  <a:gd name="connsiteX32" fmla="*/ 1879986 w 2147054"/>
                  <a:gd name="connsiteY32" fmla="*/ 1081411 h 4330639"/>
                  <a:gd name="connsiteX33" fmla="*/ 1816630 w 2147054"/>
                  <a:gd name="connsiteY33" fmla="*/ 913332 h 4330639"/>
                  <a:gd name="connsiteX34" fmla="*/ 958163 w 2147054"/>
                  <a:gd name="connsiteY34" fmla="*/ 0 h 4330639"/>
                  <a:gd name="connsiteX35" fmla="*/ 109261 w 2147054"/>
                  <a:gd name="connsiteY35" fmla="*/ 858457 h 4330639"/>
                  <a:gd name="connsiteX36" fmla="*/ 94804 w 2147054"/>
                  <a:gd name="connsiteY36" fmla="*/ 1146972 h 4330639"/>
                  <a:gd name="connsiteX37" fmla="*/ 9907 w 2147054"/>
                  <a:gd name="connsiteY37" fmla="*/ 1521969 h 4330639"/>
                  <a:gd name="connsiteX38" fmla="*/ 0 w 2147054"/>
                  <a:gd name="connsiteY38" fmla="*/ 2778708 h 4330639"/>
                  <a:gd name="connsiteX39" fmla="*/ 95870 w 2147054"/>
                  <a:gd name="connsiteY39" fmla="*/ 3178922 h 4330639"/>
                  <a:gd name="connsiteX40" fmla="*/ 94635 w 2147054"/>
                  <a:gd name="connsiteY40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732038 w 2147054"/>
                  <a:gd name="connsiteY25" fmla="*/ 2780429 h 4330639"/>
                  <a:gd name="connsiteX26" fmla="*/ 1833380 w 2147054"/>
                  <a:gd name="connsiteY26" fmla="*/ 2983549 h 4330639"/>
                  <a:gd name="connsiteX27" fmla="*/ 1850270 w 2147054"/>
                  <a:gd name="connsiteY27" fmla="*/ 2884406 h 4330639"/>
                  <a:gd name="connsiteX28" fmla="*/ 2115686 w 2147054"/>
                  <a:gd name="connsiteY28" fmla="*/ 2642597 h 4330639"/>
                  <a:gd name="connsiteX29" fmla="*/ 2144641 w 2147054"/>
                  <a:gd name="connsiteY29" fmla="*/ 2550708 h 4330639"/>
                  <a:gd name="connsiteX30" fmla="*/ 2147054 w 2147054"/>
                  <a:gd name="connsiteY30" fmla="*/ 1759991 h 4330639"/>
                  <a:gd name="connsiteX31" fmla="*/ 2106035 w 2147054"/>
                  <a:gd name="connsiteY31" fmla="*/ 1663267 h 4330639"/>
                  <a:gd name="connsiteX32" fmla="*/ 1826140 w 2147054"/>
                  <a:gd name="connsiteY32" fmla="*/ 1385187 h 4330639"/>
                  <a:gd name="connsiteX33" fmla="*/ 1879986 w 2147054"/>
                  <a:gd name="connsiteY33" fmla="*/ 1081411 h 4330639"/>
                  <a:gd name="connsiteX34" fmla="*/ 1816630 w 2147054"/>
                  <a:gd name="connsiteY34" fmla="*/ 913332 h 4330639"/>
                  <a:gd name="connsiteX35" fmla="*/ 958163 w 2147054"/>
                  <a:gd name="connsiteY35" fmla="*/ 0 h 4330639"/>
                  <a:gd name="connsiteX36" fmla="*/ 109261 w 2147054"/>
                  <a:gd name="connsiteY36" fmla="*/ 858457 h 4330639"/>
                  <a:gd name="connsiteX37" fmla="*/ 94804 w 2147054"/>
                  <a:gd name="connsiteY37" fmla="*/ 1146972 h 4330639"/>
                  <a:gd name="connsiteX38" fmla="*/ 9907 w 2147054"/>
                  <a:gd name="connsiteY38" fmla="*/ 1521969 h 4330639"/>
                  <a:gd name="connsiteX39" fmla="*/ 0 w 2147054"/>
                  <a:gd name="connsiteY39" fmla="*/ 2778708 h 4330639"/>
                  <a:gd name="connsiteX40" fmla="*/ 95870 w 2147054"/>
                  <a:gd name="connsiteY40" fmla="*/ 3178922 h 4330639"/>
                  <a:gd name="connsiteX41" fmla="*/ 94635 w 2147054"/>
                  <a:gd name="connsiteY41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833380 w 2147054"/>
                  <a:gd name="connsiteY26" fmla="*/ 2983549 h 4330639"/>
                  <a:gd name="connsiteX27" fmla="*/ 1850270 w 2147054"/>
                  <a:gd name="connsiteY27" fmla="*/ 2884406 h 4330639"/>
                  <a:gd name="connsiteX28" fmla="*/ 2115686 w 2147054"/>
                  <a:gd name="connsiteY28" fmla="*/ 2642597 h 4330639"/>
                  <a:gd name="connsiteX29" fmla="*/ 2144641 w 2147054"/>
                  <a:gd name="connsiteY29" fmla="*/ 2550708 h 4330639"/>
                  <a:gd name="connsiteX30" fmla="*/ 2147054 w 2147054"/>
                  <a:gd name="connsiteY30" fmla="*/ 1759991 h 4330639"/>
                  <a:gd name="connsiteX31" fmla="*/ 2106035 w 2147054"/>
                  <a:gd name="connsiteY31" fmla="*/ 1663267 h 4330639"/>
                  <a:gd name="connsiteX32" fmla="*/ 1826140 w 2147054"/>
                  <a:gd name="connsiteY32" fmla="*/ 1385187 h 4330639"/>
                  <a:gd name="connsiteX33" fmla="*/ 1879986 w 2147054"/>
                  <a:gd name="connsiteY33" fmla="*/ 1081411 h 4330639"/>
                  <a:gd name="connsiteX34" fmla="*/ 1816630 w 2147054"/>
                  <a:gd name="connsiteY34" fmla="*/ 913332 h 4330639"/>
                  <a:gd name="connsiteX35" fmla="*/ 958163 w 2147054"/>
                  <a:gd name="connsiteY35" fmla="*/ 0 h 4330639"/>
                  <a:gd name="connsiteX36" fmla="*/ 109261 w 2147054"/>
                  <a:gd name="connsiteY36" fmla="*/ 858457 h 4330639"/>
                  <a:gd name="connsiteX37" fmla="*/ 94804 w 2147054"/>
                  <a:gd name="connsiteY37" fmla="*/ 1146972 h 4330639"/>
                  <a:gd name="connsiteX38" fmla="*/ 9907 w 2147054"/>
                  <a:gd name="connsiteY38" fmla="*/ 1521969 h 4330639"/>
                  <a:gd name="connsiteX39" fmla="*/ 0 w 2147054"/>
                  <a:gd name="connsiteY39" fmla="*/ 2778708 h 4330639"/>
                  <a:gd name="connsiteX40" fmla="*/ 95870 w 2147054"/>
                  <a:gd name="connsiteY40" fmla="*/ 3178922 h 4330639"/>
                  <a:gd name="connsiteX41" fmla="*/ 94635 w 2147054"/>
                  <a:gd name="connsiteY41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758580 w 2147054"/>
                  <a:gd name="connsiteY26" fmla="*/ 2925514 h 4330639"/>
                  <a:gd name="connsiteX27" fmla="*/ 1833380 w 2147054"/>
                  <a:gd name="connsiteY27" fmla="*/ 2983549 h 4330639"/>
                  <a:gd name="connsiteX28" fmla="*/ 1850270 w 2147054"/>
                  <a:gd name="connsiteY28" fmla="*/ 2884406 h 4330639"/>
                  <a:gd name="connsiteX29" fmla="*/ 2115686 w 2147054"/>
                  <a:gd name="connsiteY29" fmla="*/ 2642597 h 4330639"/>
                  <a:gd name="connsiteX30" fmla="*/ 2144641 w 2147054"/>
                  <a:gd name="connsiteY30" fmla="*/ 2550708 h 4330639"/>
                  <a:gd name="connsiteX31" fmla="*/ 2147054 w 2147054"/>
                  <a:gd name="connsiteY31" fmla="*/ 1759991 h 4330639"/>
                  <a:gd name="connsiteX32" fmla="*/ 2106035 w 2147054"/>
                  <a:gd name="connsiteY32" fmla="*/ 1663267 h 4330639"/>
                  <a:gd name="connsiteX33" fmla="*/ 1826140 w 2147054"/>
                  <a:gd name="connsiteY33" fmla="*/ 1385187 h 4330639"/>
                  <a:gd name="connsiteX34" fmla="*/ 1879986 w 2147054"/>
                  <a:gd name="connsiteY34" fmla="*/ 1081411 h 4330639"/>
                  <a:gd name="connsiteX35" fmla="*/ 1816630 w 2147054"/>
                  <a:gd name="connsiteY35" fmla="*/ 913332 h 4330639"/>
                  <a:gd name="connsiteX36" fmla="*/ 958163 w 2147054"/>
                  <a:gd name="connsiteY36" fmla="*/ 0 h 4330639"/>
                  <a:gd name="connsiteX37" fmla="*/ 109261 w 2147054"/>
                  <a:gd name="connsiteY37" fmla="*/ 858457 h 4330639"/>
                  <a:gd name="connsiteX38" fmla="*/ 94804 w 2147054"/>
                  <a:gd name="connsiteY38" fmla="*/ 1146972 h 4330639"/>
                  <a:gd name="connsiteX39" fmla="*/ 9907 w 2147054"/>
                  <a:gd name="connsiteY39" fmla="*/ 1521969 h 4330639"/>
                  <a:gd name="connsiteX40" fmla="*/ 0 w 2147054"/>
                  <a:gd name="connsiteY40" fmla="*/ 2778708 h 4330639"/>
                  <a:gd name="connsiteX41" fmla="*/ 95870 w 2147054"/>
                  <a:gd name="connsiteY41" fmla="*/ 3178922 h 4330639"/>
                  <a:gd name="connsiteX42" fmla="*/ 94635 w 2147054"/>
                  <a:gd name="connsiteY42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33380 w 2147054"/>
                  <a:gd name="connsiteY27" fmla="*/ 2983549 h 4330639"/>
                  <a:gd name="connsiteX28" fmla="*/ 1850270 w 2147054"/>
                  <a:gd name="connsiteY28" fmla="*/ 2884406 h 4330639"/>
                  <a:gd name="connsiteX29" fmla="*/ 2115686 w 2147054"/>
                  <a:gd name="connsiteY29" fmla="*/ 2642597 h 4330639"/>
                  <a:gd name="connsiteX30" fmla="*/ 2144641 w 2147054"/>
                  <a:gd name="connsiteY30" fmla="*/ 2550708 h 4330639"/>
                  <a:gd name="connsiteX31" fmla="*/ 2147054 w 2147054"/>
                  <a:gd name="connsiteY31" fmla="*/ 1759991 h 4330639"/>
                  <a:gd name="connsiteX32" fmla="*/ 2106035 w 2147054"/>
                  <a:gd name="connsiteY32" fmla="*/ 1663267 h 4330639"/>
                  <a:gd name="connsiteX33" fmla="*/ 1826140 w 2147054"/>
                  <a:gd name="connsiteY33" fmla="*/ 1385187 h 4330639"/>
                  <a:gd name="connsiteX34" fmla="*/ 1879986 w 2147054"/>
                  <a:gd name="connsiteY34" fmla="*/ 1081411 h 4330639"/>
                  <a:gd name="connsiteX35" fmla="*/ 1816630 w 2147054"/>
                  <a:gd name="connsiteY35" fmla="*/ 913332 h 4330639"/>
                  <a:gd name="connsiteX36" fmla="*/ 958163 w 2147054"/>
                  <a:gd name="connsiteY36" fmla="*/ 0 h 4330639"/>
                  <a:gd name="connsiteX37" fmla="*/ 109261 w 2147054"/>
                  <a:gd name="connsiteY37" fmla="*/ 858457 h 4330639"/>
                  <a:gd name="connsiteX38" fmla="*/ 94804 w 2147054"/>
                  <a:gd name="connsiteY38" fmla="*/ 1146972 h 4330639"/>
                  <a:gd name="connsiteX39" fmla="*/ 9907 w 2147054"/>
                  <a:gd name="connsiteY39" fmla="*/ 1521969 h 4330639"/>
                  <a:gd name="connsiteX40" fmla="*/ 0 w 2147054"/>
                  <a:gd name="connsiteY40" fmla="*/ 2778708 h 4330639"/>
                  <a:gd name="connsiteX41" fmla="*/ 95870 w 2147054"/>
                  <a:gd name="connsiteY41" fmla="*/ 3178922 h 4330639"/>
                  <a:gd name="connsiteX42" fmla="*/ 94635 w 2147054"/>
                  <a:gd name="connsiteY42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748929 w 2147054"/>
                  <a:gd name="connsiteY27" fmla="*/ 3106872 h 4330639"/>
                  <a:gd name="connsiteX28" fmla="*/ 1833380 w 2147054"/>
                  <a:gd name="connsiteY28" fmla="*/ 2983549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9991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9986 w 2147054"/>
                  <a:gd name="connsiteY35" fmla="*/ 1081411 h 4330639"/>
                  <a:gd name="connsiteX36" fmla="*/ 1816630 w 2147054"/>
                  <a:gd name="connsiteY36" fmla="*/ 913332 h 4330639"/>
                  <a:gd name="connsiteX37" fmla="*/ 958163 w 2147054"/>
                  <a:gd name="connsiteY37" fmla="*/ 0 h 4330639"/>
                  <a:gd name="connsiteX38" fmla="*/ 109261 w 2147054"/>
                  <a:gd name="connsiteY38" fmla="*/ 858457 h 4330639"/>
                  <a:gd name="connsiteX39" fmla="*/ 94804 w 2147054"/>
                  <a:gd name="connsiteY39" fmla="*/ 1146972 h 4330639"/>
                  <a:gd name="connsiteX40" fmla="*/ 9907 w 2147054"/>
                  <a:gd name="connsiteY40" fmla="*/ 1521969 h 4330639"/>
                  <a:gd name="connsiteX41" fmla="*/ 0 w 2147054"/>
                  <a:gd name="connsiteY41" fmla="*/ 2778708 h 4330639"/>
                  <a:gd name="connsiteX42" fmla="*/ 95870 w 2147054"/>
                  <a:gd name="connsiteY42" fmla="*/ 3178922 h 4330639"/>
                  <a:gd name="connsiteX43" fmla="*/ 94635 w 2147054"/>
                  <a:gd name="connsiteY43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33380 w 2147054"/>
                  <a:gd name="connsiteY28" fmla="*/ 2983549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9991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9986 w 2147054"/>
                  <a:gd name="connsiteY35" fmla="*/ 1081411 h 4330639"/>
                  <a:gd name="connsiteX36" fmla="*/ 1816630 w 2147054"/>
                  <a:gd name="connsiteY36" fmla="*/ 913332 h 4330639"/>
                  <a:gd name="connsiteX37" fmla="*/ 958163 w 2147054"/>
                  <a:gd name="connsiteY37" fmla="*/ 0 h 4330639"/>
                  <a:gd name="connsiteX38" fmla="*/ 109261 w 2147054"/>
                  <a:gd name="connsiteY38" fmla="*/ 858457 h 4330639"/>
                  <a:gd name="connsiteX39" fmla="*/ 94804 w 2147054"/>
                  <a:gd name="connsiteY39" fmla="*/ 1146972 h 4330639"/>
                  <a:gd name="connsiteX40" fmla="*/ 9907 w 2147054"/>
                  <a:gd name="connsiteY40" fmla="*/ 1521969 h 4330639"/>
                  <a:gd name="connsiteX41" fmla="*/ 0 w 2147054"/>
                  <a:gd name="connsiteY41" fmla="*/ 2778708 h 4330639"/>
                  <a:gd name="connsiteX42" fmla="*/ 95870 w 2147054"/>
                  <a:gd name="connsiteY42" fmla="*/ 3178922 h 4330639"/>
                  <a:gd name="connsiteX43" fmla="*/ 94635 w 2147054"/>
                  <a:gd name="connsiteY43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23728 w 2147054"/>
                  <a:gd name="connsiteY28" fmla="*/ 3102035 h 4330639"/>
                  <a:gd name="connsiteX29" fmla="*/ 1833380 w 2147054"/>
                  <a:gd name="connsiteY29" fmla="*/ 2983549 h 4330639"/>
                  <a:gd name="connsiteX30" fmla="*/ 1850270 w 2147054"/>
                  <a:gd name="connsiteY30" fmla="*/ 2884406 h 4330639"/>
                  <a:gd name="connsiteX31" fmla="*/ 2115686 w 2147054"/>
                  <a:gd name="connsiteY31" fmla="*/ 2642597 h 4330639"/>
                  <a:gd name="connsiteX32" fmla="*/ 2144641 w 2147054"/>
                  <a:gd name="connsiteY32" fmla="*/ 2550708 h 4330639"/>
                  <a:gd name="connsiteX33" fmla="*/ 2147054 w 2147054"/>
                  <a:gd name="connsiteY33" fmla="*/ 1759991 h 4330639"/>
                  <a:gd name="connsiteX34" fmla="*/ 2106035 w 2147054"/>
                  <a:gd name="connsiteY34" fmla="*/ 1663267 h 4330639"/>
                  <a:gd name="connsiteX35" fmla="*/ 1826140 w 2147054"/>
                  <a:gd name="connsiteY35" fmla="*/ 1385187 h 4330639"/>
                  <a:gd name="connsiteX36" fmla="*/ 1879986 w 2147054"/>
                  <a:gd name="connsiteY36" fmla="*/ 1081411 h 4330639"/>
                  <a:gd name="connsiteX37" fmla="*/ 1816630 w 2147054"/>
                  <a:gd name="connsiteY37" fmla="*/ 913332 h 4330639"/>
                  <a:gd name="connsiteX38" fmla="*/ 958163 w 2147054"/>
                  <a:gd name="connsiteY38" fmla="*/ 0 h 4330639"/>
                  <a:gd name="connsiteX39" fmla="*/ 109261 w 2147054"/>
                  <a:gd name="connsiteY39" fmla="*/ 858457 h 4330639"/>
                  <a:gd name="connsiteX40" fmla="*/ 94804 w 2147054"/>
                  <a:gd name="connsiteY40" fmla="*/ 1146972 h 4330639"/>
                  <a:gd name="connsiteX41" fmla="*/ 9907 w 2147054"/>
                  <a:gd name="connsiteY41" fmla="*/ 1521969 h 4330639"/>
                  <a:gd name="connsiteX42" fmla="*/ 0 w 2147054"/>
                  <a:gd name="connsiteY42" fmla="*/ 2778708 h 4330639"/>
                  <a:gd name="connsiteX43" fmla="*/ 95870 w 2147054"/>
                  <a:gd name="connsiteY43" fmla="*/ 3178922 h 4330639"/>
                  <a:gd name="connsiteX44" fmla="*/ 94635 w 2147054"/>
                  <a:gd name="connsiteY44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11663 w 2147054"/>
                  <a:gd name="connsiteY28" fmla="*/ 3058510 h 4330639"/>
                  <a:gd name="connsiteX29" fmla="*/ 1833380 w 2147054"/>
                  <a:gd name="connsiteY29" fmla="*/ 2983549 h 4330639"/>
                  <a:gd name="connsiteX30" fmla="*/ 1850270 w 2147054"/>
                  <a:gd name="connsiteY30" fmla="*/ 2884406 h 4330639"/>
                  <a:gd name="connsiteX31" fmla="*/ 2115686 w 2147054"/>
                  <a:gd name="connsiteY31" fmla="*/ 2642597 h 4330639"/>
                  <a:gd name="connsiteX32" fmla="*/ 2144641 w 2147054"/>
                  <a:gd name="connsiteY32" fmla="*/ 2550708 h 4330639"/>
                  <a:gd name="connsiteX33" fmla="*/ 2147054 w 2147054"/>
                  <a:gd name="connsiteY33" fmla="*/ 1759991 h 4330639"/>
                  <a:gd name="connsiteX34" fmla="*/ 2106035 w 2147054"/>
                  <a:gd name="connsiteY34" fmla="*/ 1663267 h 4330639"/>
                  <a:gd name="connsiteX35" fmla="*/ 1826140 w 2147054"/>
                  <a:gd name="connsiteY35" fmla="*/ 1385187 h 4330639"/>
                  <a:gd name="connsiteX36" fmla="*/ 1879986 w 2147054"/>
                  <a:gd name="connsiteY36" fmla="*/ 1081411 h 4330639"/>
                  <a:gd name="connsiteX37" fmla="*/ 1816630 w 2147054"/>
                  <a:gd name="connsiteY37" fmla="*/ 913332 h 4330639"/>
                  <a:gd name="connsiteX38" fmla="*/ 958163 w 2147054"/>
                  <a:gd name="connsiteY38" fmla="*/ 0 h 4330639"/>
                  <a:gd name="connsiteX39" fmla="*/ 109261 w 2147054"/>
                  <a:gd name="connsiteY39" fmla="*/ 858457 h 4330639"/>
                  <a:gd name="connsiteX40" fmla="*/ 94804 w 2147054"/>
                  <a:gd name="connsiteY40" fmla="*/ 1146972 h 4330639"/>
                  <a:gd name="connsiteX41" fmla="*/ 9907 w 2147054"/>
                  <a:gd name="connsiteY41" fmla="*/ 1521969 h 4330639"/>
                  <a:gd name="connsiteX42" fmla="*/ 0 w 2147054"/>
                  <a:gd name="connsiteY42" fmla="*/ 2778708 h 4330639"/>
                  <a:gd name="connsiteX43" fmla="*/ 95870 w 2147054"/>
                  <a:gd name="connsiteY43" fmla="*/ 3178922 h 4330639"/>
                  <a:gd name="connsiteX44" fmla="*/ 94635 w 2147054"/>
                  <a:gd name="connsiteY44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11663 w 2147054"/>
                  <a:gd name="connsiteY28" fmla="*/ 3058510 h 4330639"/>
                  <a:gd name="connsiteX29" fmla="*/ 1809251 w 2147054"/>
                  <a:gd name="connsiteY29" fmla="*/ 2942441 h 4330639"/>
                  <a:gd name="connsiteX30" fmla="*/ 1850270 w 2147054"/>
                  <a:gd name="connsiteY30" fmla="*/ 2884406 h 4330639"/>
                  <a:gd name="connsiteX31" fmla="*/ 2115686 w 2147054"/>
                  <a:gd name="connsiteY31" fmla="*/ 2642597 h 4330639"/>
                  <a:gd name="connsiteX32" fmla="*/ 2144641 w 2147054"/>
                  <a:gd name="connsiteY32" fmla="*/ 2550708 h 4330639"/>
                  <a:gd name="connsiteX33" fmla="*/ 2147054 w 2147054"/>
                  <a:gd name="connsiteY33" fmla="*/ 1759991 h 4330639"/>
                  <a:gd name="connsiteX34" fmla="*/ 2106035 w 2147054"/>
                  <a:gd name="connsiteY34" fmla="*/ 1663267 h 4330639"/>
                  <a:gd name="connsiteX35" fmla="*/ 1826140 w 2147054"/>
                  <a:gd name="connsiteY35" fmla="*/ 1385187 h 4330639"/>
                  <a:gd name="connsiteX36" fmla="*/ 1879986 w 2147054"/>
                  <a:gd name="connsiteY36" fmla="*/ 1081411 h 4330639"/>
                  <a:gd name="connsiteX37" fmla="*/ 1816630 w 2147054"/>
                  <a:gd name="connsiteY37" fmla="*/ 913332 h 4330639"/>
                  <a:gd name="connsiteX38" fmla="*/ 958163 w 2147054"/>
                  <a:gd name="connsiteY38" fmla="*/ 0 h 4330639"/>
                  <a:gd name="connsiteX39" fmla="*/ 109261 w 2147054"/>
                  <a:gd name="connsiteY39" fmla="*/ 858457 h 4330639"/>
                  <a:gd name="connsiteX40" fmla="*/ 94804 w 2147054"/>
                  <a:gd name="connsiteY40" fmla="*/ 1146972 h 4330639"/>
                  <a:gd name="connsiteX41" fmla="*/ 9907 w 2147054"/>
                  <a:gd name="connsiteY41" fmla="*/ 1521969 h 4330639"/>
                  <a:gd name="connsiteX42" fmla="*/ 0 w 2147054"/>
                  <a:gd name="connsiteY42" fmla="*/ 2778708 h 4330639"/>
                  <a:gd name="connsiteX43" fmla="*/ 95870 w 2147054"/>
                  <a:gd name="connsiteY43" fmla="*/ 3178922 h 4330639"/>
                  <a:gd name="connsiteX44" fmla="*/ 94635 w 2147054"/>
                  <a:gd name="connsiteY44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11663 w 2147054"/>
                  <a:gd name="connsiteY28" fmla="*/ 305851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9991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9986 w 2147054"/>
                  <a:gd name="connsiteY35" fmla="*/ 1081411 h 4330639"/>
                  <a:gd name="connsiteX36" fmla="*/ 1816630 w 2147054"/>
                  <a:gd name="connsiteY36" fmla="*/ 913332 h 4330639"/>
                  <a:gd name="connsiteX37" fmla="*/ 958163 w 2147054"/>
                  <a:gd name="connsiteY37" fmla="*/ 0 h 4330639"/>
                  <a:gd name="connsiteX38" fmla="*/ 109261 w 2147054"/>
                  <a:gd name="connsiteY38" fmla="*/ 858457 h 4330639"/>
                  <a:gd name="connsiteX39" fmla="*/ 94804 w 2147054"/>
                  <a:gd name="connsiteY39" fmla="*/ 1146972 h 4330639"/>
                  <a:gd name="connsiteX40" fmla="*/ 9907 w 2147054"/>
                  <a:gd name="connsiteY40" fmla="*/ 1521969 h 4330639"/>
                  <a:gd name="connsiteX41" fmla="*/ 0 w 2147054"/>
                  <a:gd name="connsiteY41" fmla="*/ 2778708 h 4330639"/>
                  <a:gd name="connsiteX42" fmla="*/ 95870 w 2147054"/>
                  <a:gd name="connsiteY42" fmla="*/ 3178922 h 4330639"/>
                  <a:gd name="connsiteX43" fmla="*/ 94635 w 2147054"/>
                  <a:gd name="connsiteY43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9991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9986 w 2147054"/>
                  <a:gd name="connsiteY35" fmla="*/ 1081411 h 4330639"/>
                  <a:gd name="connsiteX36" fmla="*/ 1816630 w 2147054"/>
                  <a:gd name="connsiteY36" fmla="*/ 913332 h 4330639"/>
                  <a:gd name="connsiteX37" fmla="*/ 958163 w 2147054"/>
                  <a:gd name="connsiteY37" fmla="*/ 0 h 4330639"/>
                  <a:gd name="connsiteX38" fmla="*/ 109261 w 2147054"/>
                  <a:gd name="connsiteY38" fmla="*/ 858457 h 4330639"/>
                  <a:gd name="connsiteX39" fmla="*/ 94804 w 2147054"/>
                  <a:gd name="connsiteY39" fmla="*/ 1146972 h 4330639"/>
                  <a:gd name="connsiteX40" fmla="*/ 9907 w 2147054"/>
                  <a:gd name="connsiteY40" fmla="*/ 1521969 h 4330639"/>
                  <a:gd name="connsiteX41" fmla="*/ 0 w 2147054"/>
                  <a:gd name="connsiteY41" fmla="*/ 2778708 h 4330639"/>
                  <a:gd name="connsiteX42" fmla="*/ 95870 w 2147054"/>
                  <a:gd name="connsiteY42" fmla="*/ 3178922 h 4330639"/>
                  <a:gd name="connsiteX43" fmla="*/ 94635 w 2147054"/>
                  <a:gd name="connsiteY43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9991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9986 w 2147054"/>
                  <a:gd name="connsiteY35" fmla="*/ 1081411 h 4330639"/>
                  <a:gd name="connsiteX36" fmla="*/ 1816630 w 2147054"/>
                  <a:gd name="connsiteY36" fmla="*/ 913332 h 4330639"/>
                  <a:gd name="connsiteX37" fmla="*/ 958163 w 2147054"/>
                  <a:gd name="connsiteY37" fmla="*/ 0 h 4330639"/>
                  <a:gd name="connsiteX38" fmla="*/ 109261 w 2147054"/>
                  <a:gd name="connsiteY38" fmla="*/ 858457 h 4330639"/>
                  <a:gd name="connsiteX39" fmla="*/ 94804 w 2147054"/>
                  <a:gd name="connsiteY39" fmla="*/ 1146972 h 4330639"/>
                  <a:gd name="connsiteX40" fmla="*/ 9907 w 2147054"/>
                  <a:gd name="connsiteY40" fmla="*/ 1521969 h 4330639"/>
                  <a:gd name="connsiteX41" fmla="*/ 0 w 2147054"/>
                  <a:gd name="connsiteY41" fmla="*/ 2778708 h 4330639"/>
                  <a:gd name="connsiteX42" fmla="*/ 95870 w 2147054"/>
                  <a:gd name="connsiteY42" fmla="*/ 3178922 h 4330639"/>
                  <a:gd name="connsiteX43" fmla="*/ 94635 w 2147054"/>
                  <a:gd name="connsiteY43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9991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9986 w 2147054"/>
                  <a:gd name="connsiteY35" fmla="*/ 1081411 h 4330639"/>
                  <a:gd name="connsiteX36" fmla="*/ 1816630 w 2147054"/>
                  <a:gd name="connsiteY36" fmla="*/ 913332 h 4330639"/>
                  <a:gd name="connsiteX37" fmla="*/ 958163 w 2147054"/>
                  <a:gd name="connsiteY37" fmla="*/ 0 h 4330639"/>
                  <a:gd name="connsiteX38" fmla="*/ 109261 w 2147054"/>
                  <a:gd name="connsiteY38" fmla="*/ 858457 h 4330639"/>
                  <a:gd name="connsiteX39" fmla="*/ 94804 w 2147054"/>
                  <a:gd name="connsiteY39" fmla="*/ 1146972 h 4330639"/>
                  <a:gd name="connsiteX40" fmla="*/ 9907 w 2147054"/>
                  <a:gd name="connsiteY40" fmla="*/ 1521969 h 4330639"/>
                  <a:gd name="connsiteX41" fmla="*/ 0 w 2147054"/>
                  <a:gd name="connsiteY41" fmla="*/ 2778708 h 4330639"/>
                  <a:gd name="connsiteX42" fmla="*/ 95870 w 2147054"/>
                  <a:gd name="connsiteY42" fmla="*/ 3178922 h 4330639"/>
                  <a:gd name="connsiteX43" fmla="*/ 94635 w 2147054"/>
                  <a:gd name="connsiteY43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9991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9986 w 2147054"/>
                  <a:gd name="connsiteY35" fmla="*/ 1081411 h 4330639"/>
                  <a:gd name="connsiteX36" fmla="*/ 1816630 w 2147054"/>
                  <a:gd name="connsiteY36" fmla="*/ 913332 h 4330639"/>
                  <a:gd name="connsiteX37" fmla="*/ 958163 w 2147054"/>
                  <a:gd name="connsiteY37" fmla="*/ 0 h 4330639"/>
                  <a:gd name="connsiteX38" fmla="*/ 109261 w 2147054"/>
                  <a:gd name="connsiteY38" fmla="*/ 858457 h 4330639"/>
                  <a:gd name="connsiteX39" fmla="*/ 94804 w 2147054"/>
                  <a:gd name="connsiteY39" fmla="*/ 1146972 h 4330639"/>
                  <a:gd name="connsiteX40" fmla="*/ 9907 w 2147054"/>
                  <a:gd name="connsiteY40" fmla="*/ 1521969 h 4330639"/>
                  <a:gd name="connsiteX41" fmla="*/ 0 w 2147054"/>
                  <a:gd name="connsiteY41" fmla="*/ 2778708 h 4330639"/>
                  <a:gd name="connsiteX42" fmla="*/ 95870 w 2147054"/>
                  <a:gd name="connsiteY42" fmla="*/ 3178922 h 4330639"/>
                  <a:gd name="connsiteX43" fmla="*/ 94635 w 2147054"/>
                  <a:gd name="connsiteY43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0319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9986 w 2147054"/>
                  <a:gd name="connsiteY35" fmla="*/ 1081411 h 4330639"/>
                  <a:gd name="connsiteX36" fmla="*/ 1816630 w 2147054"/>
                  <a:gd name="connsiteY36" fmla="*/ 913332 h 4330639"/>
                  <a:gd name="connsiteX37" fmla="*/ 958163 w 2147054"/>
                  <a:gd name="connsiteY37" fmla="*/ 0 h 4330639"/>
                  <a:gd name="connsiteX38" fmla="*/ 109261 w 2147054"/>
                  <a:gd name="connsiteY38" fmla="*/ 858457 h 4330639"/>
                  <a:gd name="connsiteX39" fmla="*/ 94804 w 2147054"/>
                  <a:gd name="connsiteY39" fmla="*/ 1146972 h 4330639"/>
                  <a:gd name="connsiteX40" fmla="*/ 9907 w 2147054"/>
                  <a:gd name="connsiteY40" fmla="*/ 1521969 h 4330639"/>
                  <a:gd name="connsiteX41" fmla="*/ 0 w 2147054"/>
                  <a:gd name="connsiteY41" fmla="*/ 2778708 h 4330639"/>
                  <a:gd name="connsiteX42" fmla="*/ 95870 w 2147054"/>
                  <a:gd name="connsiteY42" fmla="*/ 3178922 h 4330639"/>
                  <a:gd name="connsiteX43" fmla="*/ 94635 w 2147054"/>
                  <a:gd name="connsiteY43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0319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9986 w 2147054"/>
                  <a:gd name="connsiteY35" fmla="*/ 1081411 h 4330639"/>
                  <a:gd name="connsiteX36" fmla="*/ 1816630 w 2147054"/>
                  <a:gd name="connsiteY36" fmla="*/ 913332 h 4330639"/>
                  <a:gd name="connsiteX37" fmla="*/ 958163 w 2147054"/>
                  <a:gd name="connsiteY37" fmla="*/ 0 h 4330639"/>
                  <a:gd name="connsiteX38" fmla="*/ 109261 w 2147054"/>
                  <a:gd name="connsiteY38" fmla="*/ 858457 h 4330639"/>
                  <a:gd name="connsiteX39" fmla="*/ 94804 w 2147054"/>
                  <a:gd name="connsiteY39" fmla="*/ 1146972 h 4330639"/>
                  <a:gd name="connsiteX40" fmla="*/ 9907 w 2147054"/>
                  <a:gd name="connsiteY40" fmla="*/ 1521969 h 4330639"/>
                  <a:gd name="connsiteX41" fmla="*/ 0 w 2147054"/>
                  <a:gd name="connsiteY41" fmla="*/ 2778708 h 4330639"/>
                  <a:gd name="connsiteX42" fmla="*/ 95870 w 2147054"/>
                  <a:gd name="connsiteY42" fmla="*/ 3178922 h 4330639"/>
                  <a:gd name="connsiteX43" fmla="*/ 94635 w 2147054"/>
                  <a:gd name="connsiteY43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0319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9986 w 2147054"/>
                  <a:gd name="connsiteY35" fmla="*/ 1081411 h 4330639"/>
                  <a:gd name="connsiteX36" fmla="*/ 1816630 w 2147054"/>
                  <a:gd name="connsiteY36" fmla="*/ 913332 h 4330639"/>
                  <a:gd name="connsiteX37" fmla="*/ 958163 w 2147054"/>
                  <a:gd name="connsiteY37" fmla="*/ 0 h 4330639"/>
                  <a:gd name="connsiteX38" fmla="*/ 109261 w 2147054"/>
                  <a:gd name="connsiteY38" fmla="*/ 858457 h 4330639"/>
                  <a:gd name="connsiteX39" fmla="*/ 94804 w 2147054"/>
                  <a:gd name="connsiteY39" fmla="*/ 1146972 h 4330639"/>
                  <a:gd name="connsiteX40" fmla="*/ 9907 w 2147054"/>
                  <a:gd name="connsiteY40" fmla="*/ 1521969 h 4330639"/>
                  <a:gd name="connsiteX41" fmla="*/ 0 w 2147054"/>
                  <a:gd name="connsiteY41" fmla="*/ 2778708 h 4330639"/>
                  <a:gd name="connsiteX42" fmla="*/ 95870 w 2147054"/>
                  <a:gd name="connsiteY42" fmla="*/ 3178922 h 4330639"/>
                  <a:gd name="connsiteX43" fmla="*/ 94635 w 2147054"/>
                  <a:gd name="connsiteY43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0319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62334 w 2147054"/>
                  <a:gd name="connsiteY35" fmla="*/ 1155467 h 4330639"/>
                  <a:gd name="connsiteX36" fmla="*/ 1879986 w 2147054"/>
                  <a:gd name="connsiteY36" fmla="*/ 1081411 h 4330639"/>
                  <a:gd name="connsiteX37" fmla="*/ 1816630 w 2147054"/>
                  <a:gd name="connsiteY37" fmla="*/ 913332 h 4330639"/>
                  <a:gd name="connsiteX38" fmla="*/ 958163 w 2147054"/>
                  <a:gd name="connsiteY38" fmla="*/ 0 h 4330639"/>
                  <a:gd name="connsiteX39" fmla="*/ 109261 w 2147054"/>
                  <a:gd name="connsiteY39" fmla="*/ 858457 h 4330639"/>
                  <a:gd name="connsiteX40" fmla="*/ 94804 w 2147054"/>
                  <a:gd name="connsiteY40" fmla="*/ 1146972 h 4330639"/>
                  <a:gd name="connsiteX41" fmla="*/ 9907 w 2147054"/>
                  <a:gd name="connsiteY41" fmla="*/ 1521969 h 4330639"/>
                  <a:gd name="connsiteX42" fmla="*/ 0 w 2147054"/>
                  <a:gd name="connsiteY42" fmla="*/ 2778708 h 4330639"/>
                  <a:gd name="connsiteX43" fmla="*/ 95870 w 2147054"/>
                  <a:gd name="connsiteY43" fmla="*/ 3178922 h 4330639"/>
                  <a:gd name="connsiteX44" fmla="*/ 94635 w 2147054"/>
                  <a:gd name="connsiteY44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0319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4398 w 2147054"/>
                  <a:gd name="connsiteY35" fmla="*/ 1165140 h 4330639"/>
                  <a:gd name="connsiteX36" fmla="*/ 1879986 w 2147054"/>
                  <a:gd name="connsiteY36" fmla="*/ 1081411 h 4330639"/>
                  <a:gd name="connsiteX37" fmla="*/ 1816630 w 2147054"/>
                  <a:gd name="connsiteY37" fmla="*/ 913332 h 4330639"/>
                  <a:gd name="connsiteX38" fmla="*/ 958163 w 2147054"/>
                  <a:gd name="connsiteY38" fmla="*/ 0 h 4330639"/>
                  <a:gd name="connsiteX39" fmla="*/ 109261 w 2147054"/>
                  <a:gd name="connsiteY39" fmla="*/ 858457 h 4330639"/>
                  <a:gd name="connsiteX40" fmla="*/ 94804 w 2147054"/>
                  <a:gd name="connsiteY40" fmla="*/ 1146972 h 4330639"/>
                  <a:gd name="connsiteX41" fmla="*/ 9907 w 2147054"/>
                  <a:gd name="connsiteY41" fmla="*/ 1521969 h 4330639"/>
                  <a:gd name="connsiteX42" fmla="*/ 0 w 2147054"/>
                  <a:gd name="connsiteY42" fmla="*/ 2778708 h 4330639"/>
                  <a:gd name="connsiteX43" fmla="*/ 95870 w 2147054"/>
                  <a:gd name="connsiteY43" fmla="*/ 3178922 h 4330639"/>
                  <a:gd name="connsiteX44" fmla="*/ 94635 w 2147054"/>
                  <a:gd name="connsiteY44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45175 w 2147054"/>
                  <a:gd name="connsiteY23" fmla="*/ 1718884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0319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4398 w 2147054"/>
                  <a:gd name="connsiteY35" fmla="*/ 1165140 h 4330639"/>
                  <a:gd name="connsiteX36" fmla="*/ 1879986 w 2147054"/>
                  <a:gd name="connsiteY36" fmla="*/ 1081411 h 4330639"/>
                  <a:gd name="connsiteX37" fmla="*/ 1816630 w 2147054"/>
                  <a:gd name="connsiteY37" fmla="*/ 913332 h 4330639"/>
                  <a:gd name="connsiteX38" fmla="*/ 958163 w 2147054"/>
                  <a:gd name="connsiteY38" fmla="*/ 0 h 4330639"/>
                  <a:gd name="connsiteX39" fmla="*/ 109261 w 2147054"/>
                  <a:gd name="connsiteY39" fmla="*/ 858457 h 4330639"/>
                  <a:gd name="connsiteX40" fmla="*/ 94804 w 2147054"/>
                  <a:gd name="connsiteY40" fmla="*/ 1146972 h 4330639"/>
                  <a:gd name="connsiteX41" fmla="*/ 9907 w 2147054"/>
                  <a:gd name="connsiteY41" fmla="*/ 1521969 h 4330639"/>
                  <a:gd name="connsiteX42" fmla="*/ 0 w 2147054"/>
                  <a:gd name="connsiteY42" fmla="*/ 2778708 h 4330639"/>
                  <a:gd name="connsiteX43" fmla="*/ 95870 w 2147054"/>
                  <a:gd name="connsiteY43" fmla="*/ 3178922 h 4330639"/>
                  <a:gd name="connsiteX44" fmla="*/ 94635 w 2147054"/>
                  <a:gd name="connsiteY44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33111 w 2147054"/>
                  <a:gd name="connsiteY23" fmla="*/ 1704376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9250 w 2147054"/>
                  <a:gd name="connsiteY27" fmla="*/ 3447825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0319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4398 w 2147054"/>
                  <a:gd name="connsiteY35" fmla="*/ 1165140 h 4330639"/>
                  <a:gd name="connsiteX36" fmla="*/ 1879986 w 2147054"/>
                  <a:gd name="connsiteY36" fmla="*/ 1081411 h 4330639"/>
                  <a:gd name="connsiteX37" fmla="*/ 1816630 w 2147054"/>
                  <a:gd name="connsiteY37" fmla="*/ 913332 h 4330639"/>
                  <a:gd name="connsiteX38" fmla="*/ 958163 w 2147054"/>
                  <a:gd name="connsiteY38" fmla="*/ 0 h 4330639"/>
                  <a:gd name="connsiteX39" fmla="*/ 109261 w 2147054"/>
                  <a:gd name="connsiteY39" fmla="*/ 858457 h 4330639"/>
                  <a:gd name="connsiteX40" fmla="*/ 94804 w 2147054"/>
                  <a:gd name="connsiteY40" fmla="*/ 1146972 h 4330639"/>
                  <a:gd name="connsiteX41" fmla="*/ 9907 w 2147054"/>
                  <a:gd name="connsiteY41" fmla="*/ 1521969 h 4330639"/>
                  <a:gd name="connsiteX42" fmla="*/ 0 w 2147054"/>
                  <a:gd name="connsiteY42" fmla="*/ 2778708 h 4330639"/>
                  <a:gd name="connsiteX43" fmla="*/ 95870 w 2147054"/>
                  <a:gd name="connsiteY43" fmla="*/ 3178922 h 4330639"/>
                  <a:gd name="connsiteX44" fmla="*/ 94635 w 2147054"/>
                  <a:gd name="connsiteY44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33111 w 2147054"/>
                  <a:gd name="connsiteY23" fmla="*/ 1704376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03595 h 4330639"/>
                  <a:gd name="connsiteX27" fmla="*/ 1804424 w 2147054"/>
                  <a:gd name="connsiteY27" fmla="*/ 3462334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0319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4398 w 2147054"/>
                  <a:gd name="connsiteY35" fmla="*/ 1165140 h 4330639"/>
                  <a:gd name="connsiteX36" fmla="*/ 1879986 w 2147054"/>
                  <a:gd name="connsiteY36" fmla="*/ 1081411 h 4330639"/>
                  <a:gd name="connsiteX37" fmla="*/ 1816630 w 2147054"/>
                  <a:gd name="connsiteY37" fmla="*/ 913332 h 4330639"/>
                  <a:gd name="connsiteX38" fmla="*/ 958163 w 2147054"/>
                  <a:gd name="connsiteY38" fmla="*/ 0 h 4330639"/>
                  <a:gd name="connsiteX39" fmla="*/ 109261 w 2147054"/>
                  <a:gd name="connsiteY39" fmla="*/ 858457 h 4330639"/>
                  <a:gd name="connsiteX40" fmla="*/ 94804 w 2147054"/>
                  <a:gd name="connsiteY40" fmla="*/ 1146972 h 4330639"/>
                  <a:gd name="connsiteX41" fmla="*/ 9907 w 2147054"/>
                  <a:gd name="connsiteY41" fmla="*/ 1521969 h 4330639"/>
                  <a:gd name="connsiteX42" fmla="*/ 0 w 2147054"/>
                  <a:gd name="connsiteY42" fmla="*/ 2778708 h 4330639"/>
                  <a:gd name="connsiteX43" fmla="*/ 95870 w 2147054"/>
                  <a:gd name="connsiteY43" fmla="*/ 3178922 h 4330639"/>
                  <a:gd name="connsiteX44" fmla="*/ 94635 w 2147054"/>
                  <a:gd name="connsiteY44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33111 w 2147054"/>
                  <a:gd name="connsiteY23" fmla="*/ 1704376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8956 w 2147054"/>
                  <a:gd name="connsiteY26" fmla="*/ 3222940 h 4330639"/>
                  <a:gd name="connsiteX27" fmla="*/ 1804424 w 2147054"/>
                  <a:gd name="connsiteY27" fmla="*/ 3462334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0319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4398 w 2147054"/>
                  <a:gd name="connsiteY35" fmla="*/ 1165140 h 4330639"/>
                  <a:gd name="connsiteX36" fmla="*/ 1879986 w 2147054"/>
                  <a:gd name="connsiteY36" fmla="*/ 1081411 h 4330639"/>
                  <a:gd name="connsiteX37" fmla="*/ 1816630 w 2147054"/>
                  <a:gd name="connsiteY37" fmla="*/ 913332 h 4330639"/>
                  <a:gd name="connsiteX38" fmla="*/ 958163 w 2147054"/>
                  <a:gd name="connsiteY38" fmla="*/ 0 h 4330639"/>
                  <a:gd name="connsiteX39" fmla="*/ 109261 w 2147054"/>
                  <a:gd name="connsiteY39" fmla="*/ 858457 h 4330639"/>
                  <a:gd name="connsiteX40" fmla="*/ 94804 w 2147054"/>
                  <a:gd name="connsiteY40" fmla="*/ 1146972 h 4330639"/>
                  <a:gd name="connsiteX41" fmla="*/ 9907 w 2147054"/>
                  <a:gd name="connsiteY41" fmla="*/ 1521969 h 4330639"/>
                  <a:gd name="connsiteX42" fmla="*/ 0 w 2147054"/>
                  <a:gd name="connsiteY42" fmla="*/ 2778708 h 4330639"/>
                  <a:gd name="connsiteX43" fmla="*/ 95870 w 2147054"/>
                  <a:gd name="connsiteY43" fmla="*/ 3178922 h 4330639"/>
                  <a:gd name="connsiteX44" fmla="*/ 94635 w 2147054"/>
                  <a:gd name="connsiteY44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33111 w 2147054"/>
                  <a:gd name="connsiteY23" fmla="*/ 1704376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4130 w 2147054"/>
                  <a:gd name="connsiteY26" fmla="*/ 3213267 h 4330639"/>
                  <a:gd name="connsiteX27" fmla="*/ 1804424 w 2147054"/>
                  <a:gd name="connsiteY27" fmla="*/ 3462334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0319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4398 w 2147054"/>
                  <a:gd name="connsiteY35" fmla="*/ 1165140 h 4330639"/>
                  <a:gd name="connsiteX36" fmla="*/ 1879986 w 2147054"/>
                  <a:gd name="connsiteY36" fmla="*/ 1081411 h 4330639"/>
                  <a:gd name="connsiteX37" fmla="*/ 1816630 w 2147054"/>
                  <a:gd name="connsiteY37" fmla="*/ 913332 h 4330639"/>
                  <a:gd name="connsiteX38" fmla="*/ 958163 w 2147054"/>
                  <a:gd name="connsiteY38" fmla="*/ 0 h 4330639"/>
                  <a:gd name="connsiteX39" fmla="*/ 109261 w 2147054"/>
                  <a:gd name="connsiteY39" fmla="*/ 858457 h 4330639"/>
                  <a:gd name="connsiteX40" fmla="*/ 94804 w 2147054"/>
                  <a:gd name="connsiteY40" fmla="*/ 1146972 h 4330639"/>
                  <a:gd name="connsiteX41" fmla="*/ 9907 w 2147054"/>
                  <a:gd name="connsiteY41" fmla="*/ 1521969 h 4330639"/>
                  <a:gd name="connsiteX42" fmla="*/ 0 w 2147054"/>
                  <a:gd name="connsiteY42" fmla="*/ 2778708 h 4330639"/>
                  <a:gd name="connsiteX43" fmla="*/ 95870 w 2147054"/>
                  <a:gd name="connsiteY43" fmla="*/ 3178922 h 4330639"/>
                  <a:gd name="connsiteX44" fmla="*/ 94635 w 2147054"/>
                  <a:gd name="connsiteY44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33111 w 2147054"/>
                  <a:gd name="connsiteY23" fmla="*/ 1704376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2802 w 2147054"/>
                  <a:gd name="connsiteY26" fmla="*/ 3043348 h 4330639"/>
                  <a:gd name="connsiteX27" fmla="*/ 1674130 w 2147054"/>
                  <a:gd name="connsiteY27" fmla="*/ 3213267 h 4330639"/>
                  <a:gd name="connsiteX28" fmla="*/ 1804424 w 2147054"/>
                  <a:gd name="connsiteY28" fmla="*/ 3462334 h 4330639"/>
                  <a:gd name="connsiteX29" fmla="*/ 1814077 w 2147054"/>
                  <a:gd name="connsiteY29" fmla="*/ 2969040 h 4330639"/>
                  <a:gd name="connsiteX30" fmla="*/ 1850270 w 2147054"/>
                  <a:gd name="connsiteY30" fmla="*/ 2884406 h 4330639"/>
                  <a:gd name="connsiteX31" fmla="*/ 2115686 w 2147054"/>
                  <a:gd name="connsiteY31" fmla="*/ 2642597 h 4330639"/>
                  <a:gd name="connsiteX32" fmla="*/ 2144641 w 2147054"/>
                  <a:gd name="connsiteY32" fmla="*/ 2550708 h 4330639"/>
                  <a:gd name="connsiteX33" fmla="*/ 2147054 w 2147054"/>
                  <a:gd name="connsiteY33" fmla="*/ 1750319 h 4330639"/>
                  <a:gd name="connsiteX34" fmla="*/ 2106035 w 2147054"/>
                  <a:gd name="connsiteY34" fmla="*/ 1663267 h 4330639"/>
                  <a:gd name="connsiteX35" fmla="*/ 1826140 w 2147054"/>
                  <a:gd name="connsiteY35" fmla="*/ 1385187 h 4330639"/>
                  <a:gd name="connsiteX36" fmla="*/ 1874398 w 2147054"/>
                  <a:gd name="connsiteY36" fmla="*/ 1165140 h 4330639"/>
                  <a:gd name="connsiteX37" fmla="*/ 1879986 w 2147054"/>
                  <a:gd name="connsiteY37" fmla="*/ 1081411 h 4330639"/>
                  <a:gd name="connsiteX38" fmla="*/ 1816630 w 2147054"/>
                  <a:gd name="connsiteY38" fmla="*/ 913332 h 4330639"/>
                  <a:gd name="connsiteX39" fmla="*/ 958163 w 2147054"/>
                  <a:gd name="connsiteY39" fmla="*/ 0 h 4330639"/>
                  <a:gd name="connsiteX40" fmla="*/ 109261 w 2147054"/>
                  <a:gd name="connsiteY40" fmla="*/ 858457 h 4330639"/>
                  <a:gd name="connsiteX41" fmla="*/ 94804 w 2147054"/>
                  <a:gd name="connsiteY41" fmla="*/ 1146972 h 4330639"/>
                  <a:gd name="connsiteX42" fmla="*/ 9907 w 2147054"/>
                  <a:gd name="connsiteY42" fmla="*/ 1521969 h 4330639"/>
                  <a:gd name="connsiteX43" fmla="*/ 0 w 2147054"/>
                  <a:gd name="connsiteY43" fmla="*/ 2778708 h 4330639"/>
                  <a:gd name="connsiteX44" fmla="*/ 95870 w 2147054"/>
                  <a:gd name="connsiteY44" fmla="*/ 3178922 h 4330639"/>
                  <a:gd name="connsiteX45" fmla="*/ 94635 w 2147054"/>
                  <a:gd name="connsiteY45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80415 w 2147054"/>
                  <a:gd name="connsiteY21" fmla="*/ 1068728 h 4330639"/>
                  <a:gd name="connsiteX22" fmla="*/ 1676542 w 2147054"/>
                  <a:gd name="connsiteY22" fmla="*/ 1356169 h 4330639"/>
                  <a:gd name="connsiteX23" fmla="*/ 1633111 w 2147054"/>
                  <a:gd name="connsiteY23" fmla="*/ 1704376 h 4330639"/>
                  <a:gd name="connsiteX24" fmla="*/ 1635524 w 2147054"/>
                  <a:gd name="connsiteY24" fmla="*/ 2591818 h 4330639"/>
                  <a:gd name="connsiteX25" fmla="*/ 1671717 w 2147054"/>
                  <a:gd name="connsiteY25" fmla="*/ 2867480 h 4330639"/>
                  <a:gd name="connsiteX26" fmla="*/ 1672802 w 2147054"/>
                  <a:gd name="connsiteY26" fmla="*/ 3043348 h 4330639"/>
                  <a:gd name="connsiteX27" fmla="*/ 1674130 w 2147054"/>
                  <a:gd name="connsiteY27" fmla="*/ 3213267 h 4330639"/>
                  <a:gd name="connsiteX28" fmla="*/ 1804424 w 2147054"/>
                  <a:gd name="connsiteY28" fmla="*/ 3462334 h 4330639"/>
                  <a:gd name="connsiteX29" fmla="*/ 1801794 w 2147054"/>
                  <a:gd name="connsiteY29" fmla="*/ 3043348 h 4330639"/>
                  <a:gd name="connsiteX30" fmla="*/ 1814077 w 2147054"/>
                  <a:gd name="connsiteY30" fmla="*/ 2969040 h 4330639"/>
                  <a:gd name="connsiteX31" fmla="*/ 1850270 w 2147054"/>
                  <a:gd name="connsiteY31" fmla="*/ 2884406 h 4330639"/>
                  <a:gd name="connsiteX32" fmla="*/ 2115686 w 2147054"/>
                  <a:gd name="connsiteY32" fmla="*/ 2642597 h 4330639"/>
                  <a:gd name="connsiteX33" fmla="*/ 2144641 w 2147054"/>
                  <a:gd name="connsiteY33" fmla="*/ 2550708 h 4330639"/>
                  <a:gd name="connsiteX34" fmla="*/ 2147054 w 2147054"/>
                  <a:gd name="connsiteY34" fmla="*/ 1750319 h 4330639"/>
                  <a:gd name="connsiteX35" fmla="*/ 2106035 w 2147054"/>
                  <a:gd name="connsiteY35" fmla="*/ 1663267 h 4330639"/>
                  <a:gd name="connsiteX36" fmla="*/ 1826140 w 2147054"/>
                  <a:gd name="connsiteY36" fmla="*/ 1385187 h 4330639"/>
                  <a:gd name="connsiteX37" fmla="*/ 1874398 w 2147054"/>
                  <a:gd name="connsiteY37" fmla="*/ 1165140 h 4330639"/>
                  <a:gd name="connsiteX38" fmla="*/ 1879986 w 2147054"/>
                  <a:gd name="connsiteY38" fmla="*/ 1081411 h 4330639"/>
                  <a:gd name="connsiteX39" fmla="*/ 1816630 w 2147054"/>
                  <a:gd name="connsiteY39" fmla="*/ 913332 h 4330639"/>
                  <a:gd name="connsiteX40" fmla="*/ 958163 w 2147054"/>
                  <a:gd name="connsiteY40" fmla="*/ 0 h 4330639"/>
                  <a:gd name="connsiteX41" fmla="*/ 109261 w 2147054"/>
                  <a:gd name="connsiteY41" fmla="*/ 858457 h 4330639"/>
                  <a:gd name="connsiteX42" fmla="*/ 94804 w 2147054"/>
                  <a:gd name="connsiteY42" fmla="*/ 1146972 h 4330639"/>
                  <a:gd name="connsiteX43" fmla="*/ 9907 w 2147054"/>
                  <a:gd name="connsiteY43" fmla="*/ 1521969 h 4330639"/>
                  <a:gd name="connsiteX44" fmla="*/ 0 w 2147054"/>
                  <a:gd name="connsiteY44" fmla="*/ 2778708 h 4330639"/>
                  <a:gd name="connsiteX45" fmla="*/ 95870 w 2147054"/>
                  <a:gd name="connsiteY45" fmla="*/ 3178922 h 4330639"/>
                  <a:gd name="connsiteX46" fmla="*/ 94635 w 2147054"/>
                  <a:gd name="connsiteY46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581097 w 2147054"/>
                  <a:gd name="connsiteY4" fmla="*/ 4076529 h 4330639"/>
                  <a:gd name="connsiteX5" fmla="*/ 243296 w 2147054"/>
                  <a:gd name="connsiteY5" fmla="*/ 3401879 h 4330639"/>
                  <a:gd name="connsiteX6" fmla="*/ 231230 w 2147054"/>
                  <a:gd name="connsiteY6" fmla="*/ 3169743 h 4330639"/>
                  <a:gd name="connsiteX7" fmla="*/ 319367 w 2147054"/>
                  <a:gd name="connsiteY7" fmla="*/ 3160841 h 4330639"/>
                  <a:gd name="connsiteX8" fmla="*/ 323124 w 2147054"/>
                  <a:gd name="connsiteY8" fmla="*/ 3071321 h 4330639"/>
                  <a:gd name="connsiteX9" fmla="*/ 511661 w 2147054"/>
                  <a:gd name="connsiteY9" fmla="*/ 2854845 h 4330639"/>
                  <a:gd name="connsiteX10" fmla="*/ 555371 w 2147054"/>
                  <a:gd name="connsiteY10" fmla="*/ 2747193 h 4330639"/>
                  <a:gd name="connsiteX11" fmla="*/ 556550 w 2147054"/>
                  <a:gd name="connsiteY11" fmla="*/ 1594571 h 4330639"/>
                  <a:gd name="connsiteX12" fmla="*/ 542073 w 2147054"/>
                  <a:gd name="connsiteY12" fmla="*/ 1512297 h 4330639"/>
                  <a:gd name="connsiteX13" fmla="*/ 368764 w 2147054"/>
                  <a:gd name="connsiteY13" fmla="*/ 1302973 h 4330639"/>
                  <a:gd name="connsiteX14" fmla="*/ 329287 w 2147054"/>
                  <a:gd name="connsiteY14" fmla="*/ 1302809 h 4330639"/>
                  <a:gd name="connsiteX15" fmla="*/ 328934 w 2147054"/>
                  <a:gd name="connsiteY15" fmla="*/ 1269031 h 4330639"/>
                  <a:gd name="connsiteX16" fmla="*/ 356286 w 2147054"/>
                  <a:gd name="connsiteY16" fmla="*/ 1268519 h 4330639"/>
                  <a:gd name="connsiteX17" fmla="*/ 353118 w 2147054"/>
                  <a:gd name="connsiteY17" fmla="*/ 1138495 h 4330639"/>
                  <a:gd name="connsiteX18" fmla="*/ 234935 w 2147054"/>
                  <a:gd name="connsiteY18" fmla="*/ 1138830 h 4330639"/>
                  <a:gd name="connsiteX19" fmla="*/ 235339 w 2147054"/>
                  <a:gd name="connsiteY19" fmla="*/ 923254 h 4330639"/>
                  <a:gd name="connsiteX20" fmla="*/ 603374 w 2147054"/>
                  <a:gd name="connsiteY20" fmla="*/ 237848 h 4330639"/>
                  <a:gd name="connsiteX21" fmla="*/ 1676542 w 2147054"/>
                  <a:gd name="connsiteY21" fmla="*/ 1356169 h 4330639"/>
                  <a:gd name="connsiteX22" fmla="*/ 1633111 w 2147054"/>
                  <a:gd name="connsiteY22" fmla="*/ 1704376 h 4330639"/>
                  <a:gd name="connsiteX23" fmla="*/ 1635524 w 2147054"/>
                  <a:gd name="connsiteY23" fmla="*/ 2591818 h 4330639"/>
                  <a:gd name="connsiteX24" fmla="*/ 1671717 w 2147054"/>
                  <a:gd name="connsiteY24" fmla="*/ 2867480 h 4330639"/>
                  <a:gd name="connsiteX25" fmla="*/ 1672802 w 2147054"/>
                  <a:gd name="connsiteY25" fmla="*/ 3043348 h 4330639"/>
                  <a:gd name="connsiteX26" fmla="*/ 1674130 w 2147054"/>
                  <a:gd name="connsiteY26" fmla="*/ 3213267 h 4330639"/>
                  <a:gd name="connsiteX27" fmla="*/ 1804424 w 2147054"/>
                  <a:gd name="connsiteY27" fmla="*/ 3462334 h 4330639"/>
                  <a:gd name="connsiteX28" fmla="*/ 1801794 w 2147054"/>
                  <a:gd name="connsiteY28" fmla="*/ 3043348 h 4330639"/>
                  <a:gd name="connsiteX29" fmla="*/ 1814077 w 2147054"/>
                  <a:gd name="connsiteY29" fmla="*/ 2969040 h 4330639"/>
                  <a:gd name="connsiteX30" fmla="*/ 1850270 w 2147054"/>
                  <a:gd name="connsiteY30" fmla="*/ 2884406 h 4330639"/>
                  <a:gd name="connsiteX31" fmla="*/ 2115686 w 2147054"/>
                  <a:gd name="connsiteY31" fmla="*/ 2642597 h 4330639"/>
                  <a:gd name="connsiteX32" fmla="*/ 2144641 w 2147054"/>
                  <a:gd name="connsiteY32" fmla="*/ 2550708 h 4330639"/>
                  <a:gd name="connsiteX33" fmla="*/ 2147054 w 2147054"/>
                  <a:gd name="connsiteY33" fmla="*/ 1750319 h 4330639"/>
                  <a:gd name="connsiteX34" fmla="*/ 2106035 w 2147054"/>
                  <a:gd name="connsiteY34" fmla="*/ 1663267 h 4330639"/>
                  <a:gd name="connsiteX35" fmla="*/ 1826140 w 2147054"/>
                  <a:gd name="connsiteY35" fmla="*/ 1385187 h 4330639"/>
                  <a:gd name="connsiteX36" fmla="*/ 1874398 w 2147054"/>
                  <a:gd name="connsiteY36" fmla="*/ 1165140 h 4330639"/>
                  <a:gd name="connsiteX37" fmla="*/ 1879986 w 2147054"/>
                  <a:gd name="connsiteY37" fmla="*/ 1081411 h 4330639"/>
                  <a:gd name="connsiteX38" fmla="*/ 1816630 w 2147054"/>
                  <a:gd name="connsiteY38" fmla="*/ 913332 h 4330639"/>
                  <a:gd name="connsiteX39" fmla="*/ 958163 w 2147054"/>
                  <a:gd name="connsiteY39" fmla="*/ 0 h 4330639"/>
                  <a:gd name="connsiteX40" fmla="*/ 109261 w 2147054"/>
                  <a:gd name="connsiteY40" fmla="*/ 858457 h 4330639"/>
                  <a:gd name="connsiteX41" fmla="*/ 94804 w 2147054"/>
                  <a:gd name="connsiteY41" fmla="*/ 1146972 h 4330639"/>
                  <a:gd name="connsiteX42" fmla="*/ 9907 w 2147054"/>
                  <a:gd name="connsiteY42" fmla="*/ 1521969 h 4330639"/>
                  <a:gd name="connsiteX43" fmla="*/ 0 w 2147054"/>
                  <a:gd name="connsiteY43" fmla="*/ 2778708 h 4330639"/>
                  <a:gd name="connsiteX44" fmla="*/ 95870 w 2147054"/>
                  <a:gd name="connsiteY44" fmla="*/ 3178922 h 4330639"/>
                  <a:gd name="connsiteX45" fmla="*/ 94635 w 2147054"/>
                  <a:gd name="connsiteY45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243296 w 2147054"/>
                  <a:gd name="connsiteY4" fmla="*/ 3401879 h 4330639"/>
                  <a:gd name="connsiteX5" fmla="*/ 231230 w 2147054"/>
                  <a:gd name="connsiteY5" fmla="*/ 3169743 h 4330639"/>
                  <a:gd name="connsiteX6" fmla="*/ 319367 w 2147054"/>
                  <a:gd name="connsiteY6" fmla="*/ 3160841 h 4330639"/>
                  <a:gd name="connsiteX7" fmla="*/ 323124 w 2147054"/>
                  <a:gd name="connsiteY7" fmla="*/ 3071321 h 4330639"/>
                  <a:gd name="connsiteX8" fmla="*/ 511661 w 2147054"/>
                  <a:gd name="connsiteY8" fmla="*/ 2854845 h 4330639"/>
                  <a:gd name="connsiteX9" fmla="*/ 555371 w 2147054"/>
                  <a:gd name="connsiteY9" fmla="*/ 2747193 h 4330639"/>
                  <a:gd name="connsiteX10" fmla="*/ 556550 w 2147054"/>
                  <a:gd name="connsiteY10" fmla="*/ 1594571 h 4330639"/>
                  <a:gd name="connsiteX11" fmla="*/ 542073 w 2147054"/>
                  <a:gd name="connsiteY11" fmla="*/ 1512297 h 4330639"/>
                  <a:gd name="connsiteX12" fmla="*/ 368764 w 2147054"/>
                  <a:gd name="connsiteY12" fmla="*/ 1302973 h 4330639"/>
                  <a:gd name="connsiteX13" fmla="*/ 329287 w 2147054"/>
                  <a:gd name="connsiteY13" fmla="*/ 1302809 h 4330639"/>
                  <a:gd name="connsiteX14" fmla="*/ 328934 w 2147054"/>
                  <a:gd name="connsiteY14" fmla="*/ 1269031 h 4330639"/>
                  <a:gd name="connsiteX15" fmla="*/ 356286 w 2147054"/>
                  <a:gd name="connsiteY15" fmla="*/ 1268519 h 4330639"/>
                  <a:gd name="connsiteX16" fmla="*/ 353118 w 2147054"/>
                  <a:gd name="connsiteY16" fmla="*/ 1138495 h 4330639"/>
                  <a:gd name="connsiteX17" fmla="*/ 234935 w 2147054"/>
                  <a:gd name="connsiteY17" fmla="*/ 1138830 h 4330639"/>
                  <a:gd name="connsiteX18" fmla="*/ 235339 w 2147054"/>
                  <a:gd name="connsiteY18" fmla="*/ 923254 h 4330639"/>
                  <a:gd name="connsiteX19" fmla="*/ 603374 w 2147054"/>
                  <a:gd name="connsiteY19" fmla="*/ 237848 h 4330639"/>
                  <a:gd name="connsiteX20" fmla="*/ 1676542 w 2147054"/>
                  <a:gd name="connsiteY20" fmla="*/ 1356169 h 4330639"/>
                  <a:gd name="connsiteX21" fmla="*/ 1633111 w 2147054"/>
                  <a:gd name="connsiteY21" fmla="*/ 1704376 h 4330639"/>
                  <a:gd name="connsiteX22" fmla="*/ 1635524 w 2147054"/>
                  <a:gd name="connsiteY22" fmla="*/ 2591818 h 4330639"/>
                  <a:gd name="connsiteX23" fmla="*/ 1671717 w 2147054"/>
                  <a:gd name="connsiteY23" fmla="*/ 2867480 h 4330639"/>
                  <a:gd name="connsiteX24" fmla="*/ 1672802 w 2147054"/>
                  <a:gd name="connsiteY24" fmla="*/ 3043348 h 4330639"/>
                  <a:gd name="connsiteX25" fmla="*/ 1674130 w 2147054"/>
                  <a:gd name="connsiteY25" fmla="*/ 3213267 h 4330639"/>
                  <a:gd name="connsiteX26" fmla="*/ 1804424 w 2147054"/>
                  <a:gd name="connsiteY26" fmla="*/ 3462334 h 4330639"/>
                  <a:gd name="connsiteX27" fmla="*/ 1801794 w 2147054"/>
                  <a:gd name="connsiteY27" fmla="*/ 3043348 h 4330639"/>
                  <a:gd name="connsiteX28" fmla="*/ 1814077 w 2147054"/>
                  <a:gd name="connsiteY28" fmla="*/ 2969040 h 4330639"/>
                  <a:gd name="connsiteX29" fmla="*/ 1850270 w 2147054"/>
                  <a:gd name="connsiteY29" fmla="*/ 2884406 h 4330639"/>
                  <a:gd name="connsiteX30" fmla="*/ 2115686 w 2147054"/>
                  <a:gd name="connsiteY30" fmla="*/ 2642597 h 4330639"/>
                  <a:gd name="connsiteX31" fmla="*/ 2144641 w 2147054"/>
                  <a:gd name="connsiteY31" fmla="*/ 2550708 h 4330639"/>
                  <a:gd name="connsiteX32" fmla="*/ 2147054 w 2147054"/>
                  <a:gd name="connsiteY32" fmla="*/ 1750319 h 4330639"/>
                  <a:gd name="connsiteX33" fmla="*/ 2106035 w 2147054"/>
                  <a:gd name="connsiteY33" fmla="*/ 1663267 h 4330639"/>
                  <a:gd name="connsiteX34" fmla="*/ 1826140 w 2147054"/>
                  <a:gd name="connsiteY34" fmla="*/ 1385187 h 4330639"/>
                  <a:gd name="connsiteX35" fmla="*/ 1874398 w 2147054"/>
                  <a:gd name="connsiteY35" fmla="*/ 1165140 h 4330639"/>
                  <a:gd name="connsiteX36" fmla="*/ 1879986 w 2147054"/>
                  <a:gd name="connsiteY36" fmla="*/ 1081411 h 4330639"/>
                  <a:gd name="connsiteX37" fmla="*/ 1816630 w 2147054"/>
                  <a:gd name="connsiteY37" fmla="*/ 913332 h 4330639"/>
                  <a:gd name="connsiteX38" fmla="*/ 958163 w 2147054"/>
                  <a:gd name="connsiteY38" fmla="*/ 0 h 4330639"/>
                  <a:gd name="connsiteX39" fmla="*/ 109261 w 2147054"/>
                  <a:gd name="connsiteY39" fmla="*/ 858457 h 4330639"/>
                  <a:gd name="connsiteX40" fmla="*/ 94804 w 2147054"/>
                  <a:gd name="connsiteY40" fmla="*/ 1146972 h 4330639"/>
                  <a:gd name="connsiteX41" fmla="*/ 9907 w 2147054"/>
                  <a:gd name="connsiteY41" fmla="*/ 1521969 h 4330639"/>
                  <a:gd name="connsiteX42" fmla="*/ 0 w 2147054"/>
                  <a:gd name="connsiteY42" fmla="*/ 2778708 h 4330639"/>
                  <a:gd name="connsiteX43" fmla="*/ 95870 w 2147054"/>
                  <a:gd name="connsiteY43" fmla="*/ 3178922 h 4330639"/>
                  <a:gd name="connsiteX44" fmla="*/ 94635 w 2147054"/>
                  <a:gd name="connsiteY44" fmla="*/ 3523641 h 4330639"/>
                  <a:gd name="connsiteX0" fmla="*/ 94635 w 2147054"/>
                  <a:gd name="connsiteY0" fmla="*/ 3523641 h 4330639"/>
                  <a:gd name="connsiteX1" fmla="*/ 938203 w 2147054"/>
                  <a:gd name="connsiteY1" fmla="*/ 4330430 h 4330639"/>
                  <a:gd name="connsiteX2" fmla="*/ 1802011 w 2147054"/>
                  <a:gd name="connsiteY2" fmla="*/ 3474424 h 4330639"/>
                  <a:gd name="connsiteX3" fmla="*/ 1674223 w 2147054"/>
                  <a:gd name="connsiteY3" fmla="*/ 3231052 h 4330639"/>
                  <a:gd name="connsiteX4" fmla="*/ 231230 w 2147054"/>
                  <a:gd name="connsiteY4" fmla="*/ 3169743 h 4330639"/>
                  <a:gd name="connsiteX5" fmla="*/ 319367 w 2147054"/>
                  <a:gd name="connsiteY5" fmla="*/ 3160841 h 4330639"/>
                  <a:gd name="connsiteX6" fmla="*/ 323124 w 2147054"/>
                  <a:gd name="connsiteY6" fmla="*/ 3071321 h 4330639"/>
                  <a:gd name="connsiteX7" fmla="*/ 511661 w 2147054"/>
                  <a:gd name="connsiteY7" fmla="*/ 2854845 h 4330639"/>
                  <a:gd name="connsiteX8" fmla="*/ 555371 w 2147054"/>
                  <a:gd name="connsiteY8" fmla="*/ 2747193 h 4330639"/>
                  <a:gd name="connsiteX9" fmla="*/ 556550 w 2147054"/>
                  <a:gd name="connsiteY9" fmla="*/ 1594571 h 4330639"/>
                  <a:gd name="connsiteX10" fmla="*/ 542073 w 2147054"/>
                  <a:gd name="connsiteY10" fmla="*/ 1512297 h 4330639"/>
                  <a:gd name="connsiteX11" fmla="*/ 368764 w 2147054"/>
                  <a:gd name="connsiteY11" fmla="*/ 1302973 h 4330639"/>
                  <a:gd name="connsiteX12" fmla="*/ 329287 w 2147054"/>
                  <a:gd name="connsiteY12" fmla="*/ 1302809 h 4330639"/>
                  <a:gd name="connsiteX13" fmla="*/ 328934 w 2147054"/>
                  <a:gd name="connsiteY13" fmla="*/ 1269031 h 4330639"/>
                  <a:gd name="connsiteX14" fmla="*/ 356286 w 2147054"/>
                  <a:gd name="connsiteY14" fmla="*/ 1268519 h 4330639"/>
                  <a:gd name="connsiteX15" fmla="*/ 353118 w 2147054"/>
                  <a:gd name="connsiteY15" fmla="*/ 1138495 h 4330639"/>
                  <a:gd name="connsiteX16" fmla="*/ 234935 w 2147054"/>
                  <a:gd name="connsiteY16" fmla="*/ 1138830 h 4330639"/>
                  <a:gd name="connsiteX17" fmla="*/ 235339 w 2147054"/>
                  <a:gd name="connsiteY17" fmla="*/ 923254 h 4330639"/>
                  <a:gd name="connsiteX18" fmla="*/ 603374 w 2147054"/>
                  <a:gd name="connsiteY18" fmla="*/ 237848 h 4330639"/>
                  <a:gd name="connsiteX19" fmla="*/ 1676542 w 2147054"/>
                  <a:gd name="connsiteY19" fmla="*/ 1356169 h 4330639"/>
                  <a:gd name="connsiteX20" fmla="*/ 1633111 w 2147054"/>
                  <a:gd name="connsiteY20" fmla="*/ 1704376 h 4330639"/>
                  <a:gd name="connsiteX21" fmla="*/ 1635524 w 2147054"/>
                  <a:gd name="connsiteY21" fmla="*/ 2591818 h 4330639"/>
                  <a:gd name="connsiteX22" fmla="*/ 1671717 w 2147054"/>
                  <a:gd name="connsiteY22" fmla="*/ 2867480 h 4330639"/>
                  <a:gd name="connsiteX23" fmla="*/ 1672802 w 2147054"/>
                  <a:gd name="connsiteY23" fmla="*/ 3043348 h 4330639"/>
                  <a:gd name="connsiteX24" fmla="*/ 1674130 w 2147054"/>
                  <a:gd name="connsiteY24" fmla="*/ 3213267 h 4330639"/>
                  <a:gd name="connsiteX25" fmla="*/ 1804424 w 2147054"/>
                  <a:gd name="connsiteY25" fmla="*/ 3462334 h 4330639"/>
                  <a:gd name="connsiteX26" fmla="*/ 1801794 w 2147054"/>
                  <a:gd name="connsiteY26" fmla="*/ 3043348 h 4330639"/>
                  <a:gd name="connsiteX27" fmla="*/ 1814077 w 2147054"/>
                  <a:gd name="connsiteY27" fmla="*/ 2969040 h 4330639"/>
                  <a:gd name="connsiteX28" fmla="*/ 1850270 w 2147054"/>
                  <a:gd name="connsiteY28" fmla="*/ 2884406 h 4330639"/>
                  <a:gd name="connsiteX29" fmla="*/ 2115686 w 2147054"/>
                  <a:gd name="connsiteY29" fmla="*/ 2642597 h 4330639"/>
                  <a:gd name="connsiteX30" fmla="*/ 2144641 w 2147054"/>
                  <a:gd name="connsiteY30" fmla="*/ 2550708 h 4330639"/>
                  <a:gd name="connsiteX31" fmla="*/ 2147054 w 2147054"/>
                  <a:gd name="connsiteY31" fmla="*/ 1750319 h 4330639"/>
                  <a:gd name="connsiteX32" fmla="*/ 2106035 w 2147054"/>
                  <a:gd name="connsiteY32" fmla="*/ 1663267 h 4330639"/>
                  <a:gd name="connsiteX33" fmla="*/ 1826140 w 2147054"/>
                  <a:gd name="connsiteY33" fmla="*/ 1385187 h 4330639"/>
                  <a:gd name="connsiteX34" fmla="*/ 1874398 w 2147054"/>
                  <a:gd name="connsiteY34" fmla="*/ 1165140 h 4330639"/>
                  <a:gd name="connsiteX35" fmla="*/ 1879986 w 2147054"/>
                  <a:gd name="connsiteY35" fmla="*/ 1081411 h 4330639"/>
                  <a:gd name="connsiteX36" fmla="*/ 1816630 w 2147054"/>
                  <a:gd name="connsiteY36" fmla="*/ 913332 h 4330639"/>
                  <a:gd name="connsiteX37" fmla="*/ 958163 w 2147054"/>
                  <a:gd name="connsiteY37" fmla="*/ 0 h 4330639"/>
                  <a:gd name="connsiteX38" fmla="*/ 109261 w 2147054"/>
                  <a:gd name="connsiteY38" fmla="*/ 858457 h 4330639"/>
                  <a:gd name="connsiteX39" fmla="*/ 94804 w 2147054"/>
                  <a:gd name="connsiteY39" fmla="*/ 1146972 h 4330639"/>
                  <a:gd name="connsiteX40" fmla="*/ 9907 w 2147054"/>
                  <a:gd name="connsiteY40" fmla="*/ 1521969 h 4330639"/>
                  <a:gd name="connsiteX41" fmla="*/ 0 w 2147054"/>
                  <a:gd name="connsiteY41" fmla="*/ 2778708 h 4330639"/>
                  <a:gd name="connsiteX42" fmla="*/ 95870 w 2147054"/>
                  <a:gd name="connsiteY42" fmla="*/ 3178922 h 4330639"/>
                  <a:gd name="connsiteX43" fmla="*/ 94635 w 2147054"/>
                  <a:gd name="connsiteY43" fmla="*/ 3523641 h 4330639"/>
                  <a:gd name="connsiteX0" fmla="*/ 94635 w 2147054"/>
                  <a:gd name="connsiteY0" fmla="*/ 3523641 h 4335185"/>
                  <a:gd name="connsiteX1" fmla="*/ 938203 w 2147054"/>
                  <a:gd name="connsiteY1" fmla="*/ 4330430 h 4335185"/>
                  <a:gd name="connsiteX2" fmla="*/ 1674223 w 2147054"/>
                  <a:gd name="connsiteY2" fmla="*/ 3231052 h 4335185"/>
                  <a:gd name="connsiteX3" fmla="*/ 231230 w 2147054"/>
                  <a:gd name="connsiteY3" fmla="*/ 3169743 h 4335185"/>
                  <a:gd name="connsiteX4" fmla="*/ 319367 w 2147054"/>
                  <a:gd name="connsiteY4" fmla="*/ 3160841 h 4335185"/>
                  <a:gd name="connsiteX5" fmla="*/ 323124 w 2147054"/>
                  <a:gd name="connsiteY5" fmla="*/ 3071321 h 4335185"/>
                  <a:gd name="connsiteX6" fmla="*/ 511661 w 2147054"/>
                  <a:gd name="connsiteY6" fmla="*/ 2854845 h 4335185"/>
                  <a:gd name="connsiteX7" fmla="*/ 555371 w 2147054"/>
                  <a:gd name="connsiteY7" fmla="*/ 2747193 h 4335185"/>
                  <a:gd name="connsiteX8" fmla="*/ 556550 w 2147054"/>
                  <a:gd name="connsiteY8" fmla="*/ 1594571 h 4335185"/>
                  <a:gd name="connsiteX9" fmla="*/ 542073 w 2147054"/>
                  <a:gd name="connsiteY9" fmla="*/ 1512297 h 4335185"/>
                  <a:gd name="connsiteX10" fmla="*/ 368764 w 2147054"/>
                  <a:gd name="connsiteY10" fmla="*/ 1302973 h 4335185"/>
                  <a:gd name="connsiteX11" fmla="*/ 329287 w 2147054"/>
                  <a:gd name="connsiteY11" fmla="*/ 1302809 h 4335185"/>
                  <a:gd name="connsiteX12" fmla="*/ 328934 w 2147054"/>
                  <a:gd name="connsiteY12" fmla="*/ 1269031 h 4335185"/>
                  <a:gd name="connsiteX13" fmla="*/ 356286 w 2147054"/>
                  <a:gd name="connsiteY13" fmla="*/ 1268519 h 4335185"/>
                  <a:gd name="connsiteX14" fmla="*/ 353118 w 2147054"/>
                  <a:gd name="connsiteY14" fmla="*/ 1138495 h 4335185"/>
                  <a:gd name="connsiteX15" fmla="*/ 234935 w 2147054"/>
                  <a:gd name="connsiteY15" fmla="*/ 1138830 h 4335185"/>
                  <a:gd name="connsiteX16" fmla="*/ 235339 w 2147054"/>
                  <a:gd name="connsiteY16" fmla="*/ 923254 h 4335185"/>
                  <a:gd name="connsiteX17" fmla="*/ 603374 w 2147054"/>
                  <a:gd name="connsiteY17" fmla="*/ 237848 h 4335185"/>
                  <a:gd name="connsiteX18" fmla="*/ 1676542 w 2147054"/>
                  <a:gd name="connsiteY18" fmla="*/ 1356169 h 4335185"/>
                  <a:gd name="connsiteX19" fmla="*/ 1633111 w 2147054"/>
                  <a:gd name="connsiteY19" fmla="*/ 1704376 h 4335185"/>
                  <a:gd name="connsiteX20" fmla="*/ 1635524 w 2147054"/>
                  <a:gd name="connsiteY20" fmla="*/ 2591818 h 4335185"/>
                  <a:gd name="connsiteX21" fmla="*/ 1671717 w 2147054"/>
                  <a:gd name="connsiteY21" fmla="*/ 2867480 h 4335185"/>
                  <a:gd name="connsiteX22" fmla="*/ 1672802 w 2147054"/>
                  <a:gd name="connsiteY22" fmla="*/ 3043348 h 4335185"/>
                  <a:gd name="connsiteX23" fmla="*/ 1674130 w 2147054"/>
                  <a:gd name="connsiteY23" fmla="*/ 3213267 h 4335185"/>
                  <a:gd name="connsiteX24" fmla="*/ 1804424 w 2147054"/>
                  <a:gd name="connsiteY24" fmla="*/ 3462334 h 4335185"/>
                  <a:gd name="connsiteX25" fmla="*/ 1801794 w 2147054"/>
                  <a:gd name="connsiteY25" fmla="*/ 3043348 h 4335185"/>
                  <a:gd name="connsiteX26" fmla="*/ 1814077 w 2147054"/>
                  <a:gd name="connsiteY26" fmla="*/ 2969040 h 4335185"/>
                  <a:gd name="connsiteX27" fmla="*/ 1850270 w 2147054"/>
                  <a:gd name="connsiteY27" fmla="*/ 2884406 h 4335185"/>
                  <a:gd name="connsiteX28" fmla="*/ 2115686 w 2147054"/>
                  <a:gd name="connsiteY28" fmla="*/ 2642597 h 4335185"/>
                  <a:gd name="connsiteX29" fmla="*/ 2144641 w 2147054"/>
                  <a:gd name="connsiteY29" fmla="*/ 2550708 h 4335185"/>
                  <a:gd name="connsiteX30" fmla="*/ 2147054 w 2147054"/>
                  <a:gd name="connsiteY30" fmla="*/ 1750319 h 4335185"/>
                  <a:gd name="connsiteX31" fmla="*/ 2106035 w 2147054"/>
                  <a:gd name="connsiteY31" fmla="*/ 1663267 h 4335185"/>
                  <a:gd name="connsiteX32" fmla="*/ 1826140 w 2147054"/>
                  <a:gd name="connsiteY32" fmla="*/ 1385187 h 4335185"/>
                  <a:gd name="connsiteX33" fmla="*/ 1874398 w 2147054"/>
                  <a:gd name="connsiteY33" fmla="*/ 1165140 h 4335185"/>
                  <a:gd name="connsiteX34" fmla="*/ 1879986 w 2147054"/>
                  <a:gd name="connsiteY34" fmla="*/ 1081411 h 4335185"/>
                  <a:gd name="connsiteX35" fmla="*/ 1816630 w 2147054"/>
                  <a:gd name="connsiteY35" fmla="*/ 913332 h 4335185"/>
                  <a:gd name="connsiteX36" fmla="*/ 958163 w 2147054"/>
                  <a:gd name="connsiteY36" fmla="*/ 0 h 4335185"/>
                  <a:gd name="connsiteX37" fmla="*/ 109261 w 2147054"/>
                  <a:gd name="connsiteY37" fmla="*/ 858457 h 4335185"/>
                  <a:gd name="connsiteX38" fmla="*/ 94804 w 2147054"/>
                  <a:gd name="connsiteY38" fmla="*/ 1146972 h 4335185"/>
                  <a:gd name="connsiteX39" fmla="*/ 9907 w 2147054"/>
                  <a:gd name="connsiteY39" fmla="*/ 1521969 h 4335185"/>
                  <a:gd name="connsiteX40" fmla="*/ 0 w 2147054"/>
                  <a:gd name="connsiteY40" fmla="*/ 2778708 h 4335185"/>
                  <a:gd name="connsiteX41" fmla="*/ 95870 w 2147054"/>
                  <a:gd name="connsiteY41" fmla="*/ 3178922 h 4335185"/>
                  <a:gd name="connsiteX42" fmla="*/ 94635 w 2147054"/>
                  <a:gd name="connsiteY42" fmla="*/ 3523641 h 4335185"/>
                  <a:gd name="connsiteX0" fmla="*/ 94635 w 2147054"/>
                  <a:gd name="connsiteY0" fmla="*/ 3523641 h 4337050"/>
                  <a:gd name="connsiteX1" fmla="*/ 938203 w 2147054"/>
                  <a:gd name="connsiteY1" fmla="*/ 4330430 h 4337050"/>
                  <a:gd name="connsiteX2" fmla="*/ 231230 w 2147054"/>
                  <a:gd name="connsiteY2" fmla="*/ 3169743 h 4337050"/>
                  <a:gd name="connsiteX3" fmla="*/ 319367 w 2147054"/>
                  <a:gd name="connsiteY3" fmla="*/ 3160841 h 4337050"/>
                  <a:gd name="connsiteX4" fmla="*/ 323124 w 2147054"/>
                  <a:gd name="connsiteY4" fmla="*/ 3071321 h 4337050"/>
                  <a:gd name="connsiteX5" fmla="*/ 511661 w 2147054"/>
                  <a:gd name="connsiteY5" fmla="*/ 2854845 h 4337050"/>
                  <a:gd name="connsiteX6" fmla="*/ 555371 w 2147054"/>
                  <a:gd name="connsiteY6" fmla="*/ 2747193 h 4337050"/>
                  <a:gd name="connsiteX7" fmla="*/ 556550 w 2147054"/>
                  <a:gd name="connsiteY7" fmla="*/ 1594571 h 4337050"/>
                  <a:gd name="connsiteX8" fmla="*/ 542073 w 2147054"/>
                  <a:gd name="connsiteY8" fmla="*/ 1512297 h 4337050"/>
                  <a:gd name="connsiteX9" fmla="*/ 368764 w 2147054"/>
                  <a:gd name="connsiteY9" fmla="*/ 1302973 h 4337050"/>
                  <a:gd name="connsiteX10" fmla="*/ 329287 w 2147054"/>
                  <a:gd name="connsiteY10" fmla="*/ 1302809 h 4337050"/>
                  <a:gd name="connsiteX11" fmla="*/ 328934 w 2147054"/>
                  <a:gd name="connsiteY11" fmla="*/ 1269031 h 4337050"/>
                  <a:gd name="connsiteX12" fmla="*/ 356286 w 2147054"/>
                  <a:gd name="connsiteY12" fmla="*/ 1268519 h 4337050"/>
                  <a:gd name="connsiteX13" fmla="*/ 353118 w 2147054"/>
                  <a:gd name="connsiteY13" fmla="*/ 1138495 h 4337050"/>
                  <a:gd name="connsiteX14" fmla="*/ 234935 w 2147054"/>
                  <a:gd name="connsiteY14" fmla="*/ 1138830 h 4337050"/>
                  <a:gd name="connsiteX15" fmla="*/ 235339 w 2147054"/>
                  <a:gd name="connsiteY15" fmla="*/ 923254 h 4337050"/>
                  <a:gd name="connsiteX16" fmla="*/ 603374 w 2147054"/>
                  <a:gd name="connsiteY16" fmla="*/ 237848 h 4337050"/>
                  <a:gd name="connsiteX17" fmla="*/ 1676542 w 2147054"/>
                  <a:gd name="connsiteY17" fmla="*/ 1356169 h 4337050"/>
                  <a:gd name="connsiteX18" fmla="*/ 1633111 w 2147054"/>
                  <a:gd name="connsiteY18" fmla="*/ 1704376 h 4337050"/>
                  <a:gd name="connsiteX19" fmla="*/ 1635524 w 2147054"/>
                  <a:gd name="connsiteY19" fmla="*/ 2591818 h 4337050"/>
                  <a:gd name="connsiteX20" fmla="*/ 1671717 w 2147054"/>
                  <a:gd name="connsiteY20" fmla="*/ 2867480 h 4337050"/>
                  <a:gd name="connsiteX21" fmla="*/ 1672802 w 2147054"/>
                  <a:gd name="connsiteY21" fmla="*/ 3043348 h 4337050"/>
                  <a:gd name="connsiteX22" fmla="*/ 1674130 w 2147054"/>
                  <a:gd name="connsiteY22" fmla="*/ 3213267 h 4337050"/>
                  <a:gd name="connsiteX23" fmla="*/ 1804424 w 2147054"/>
                  <a:gd name="connsiteY23" fmla="*/ 3462334 h 4337050"/>
                  <a:gd name="connsiteX24" fmla="*/ 1801794 w 2147054"/>
                  <a:gd name="connsiteY24" fmla="*/ 3043348 h 4337050"/>
                  <a:gd name="connsiteX25" fmla="*/ 1814077 w 2147054"/>
                  <a:gd name="connsiteY25" fmla="*/ 2969040 h 4337050"/>
                  <a:gd name="connsiteX26" fmla="*/ 1850270 w 2147054"/>
                  <a:gd name="connsiteY26" fmla="*/ 2884406 h 4337050"/>
                  <a:gd name="connsiteX27" fmla="*/ 2115686 w 2147054"/>
                  <a:gd name="connsiteY27" fmla="*/ 2642597 h 4337050"/>
                  <a:gd name="connsiteX28" fmla="*/ 2144641 w 2147054"/>
                  <a:gd name="connsiteY28" fmla="*/ 2550708 h 4337050"/>
                  <a:gd name="connsiteX29" fmla="*/ 2147054 w 2147054"/>
                  <a:gd name="connsiteY29" fmla="*/ 1750319 h 4337050"/>
                  <a:gd name="connsiteX30" fmla="*/ 2106035 w 2147054"/>
                  <a:gd name="connsiteY30" fmla="*/ 1663267 h 4337050"/>
                  <a:gd name="connsiteX31" fmla="*/ 1826140 w 2147054"/>
                  <a:gd name="connsiteY31" fmla="*/ 1385187 h 4337050"/>
                  <a:gd name="connsiteX32" fmla="*/ 1874398 w 2147054"/>
                  <a:gd name="connsiteY32" fmla="*/ 1165140 h 4337050"/>
                  <a:gd name="connsiteX33" fmla="*/ 1879986 w 2147054"/>
                  <a:gd name="connsiteY33" fmla="*/ 1081411 h 4337050"/>
                  <a:gd name="connsiteX34" fmla="*/ 1816630 w 2147054"/>
                  <a:gd name="connsiteY34" fmla="*/ 913332 h 4337050"/>
                  <a:gd name="connsiteX35" fmla="*/ 958163 w 2147054"/>
                  <a:gd name="connsiteY35" fmla="*/ 0 h 4337050"/>
                  <a:gd name="connsiteX36" fmla="*/ 109261 w 2147054"/>
                  <a:gd name="connsiteY36" fmla="*/ 858457 h 4337050"/>
                  <a:gd name="connsiteX37" fmla="*/ 94804 w 2147054"/>
                  <a:gd name="connsiteY37" fmla="*/ 1146972 h 4337050"/>
                  <a:gd name="connsiteX38" fmla="*/ 9907 w 2147054"/>
                  <a:gd name="connsiteY38" fmla="*/ 1521969 h 4337050"/>
                  <a:gd name="connsiteX39" fmla="*/ 0 w 2147054"/>
                  <a:gd name="connsiteY39" fmla="*/ 2778708 h 4337050"/>
                  <a:gd name="connsiteX40" fmla="*/ 95870 w 2147054"/>
                  <a:gd name="connsiteY40" fmla="*/ 3178922 h 4337050"/>
                  <a:gd name="connsiteX41" fmla="*/ 94635 w 2147054"/>
                  <a:gd name="connsiteY41" fmla="*/ 3523641 h 4337050"/>
                  <a:gd name="connsiteX0" fmla="*/ 94635 w 2147054"/>
                  <a:gd name="connsiteY0" fmla="*/ 3523641 h 3523641"/>
                  <a:gd name="connsiteX1" fmla="*/ 231230 w 2147054"/>
                  <a:gd name="connsiteY1" fmla="*/ 3169743 h 3523641"/>
                  <a:gd name="connsiteX2" fmla="*/ 319367 w 2147054"/>
                  <a:gd name="connsiteY2" fmla="*/ 3160841 h 3523641"/>
                  <a:gd name="connsiteX3" fmla="*/ 323124 w 2147054"/>
                  <a:gd name="connsiteY3" fmla="*/ 3071321 h 3523641"/>
                  <a:gd name="connsiteX4" fmla="*/ 511661 w 2147054"/>
                  <a:gd name="connsiteY4" fmla="*/ 2854845 h 3523641"/>
                  <a:gd name="connsiteX5" fmla="*/ 555371 w 2147054"/>
                  <a:gd name="connsiteY5" fmla="*/ 2747193 h 3523641"/>
                  <a:gd name="connsiteX6" fmla="*/ 556550 w 2147054"/>
                  <a:gd name="connsiteY6" fmla="*/ 1594571 h 3523641"/>
                  <a:gd name="connsiteX7" fmla="*/ 542073 w 2147054"/>
                  <a:gd name="connsiteY7" fmla="*/ 1512297 h 3523641"/>
                  <a:gd name="connsiteX8" fmla="*/ 368764 w 2147054"/>
                  <a:gd name="connsiteY8" fmla="*/ 1302973 h 3523641"/>
                  <a:gd name="connsiteX9" fmla="*/ 329287 w 2147054"/>
                  <a:gd name="connsiteY9" fmla="*/ 1302809 h 3523641"/>
                  <a:gd name="connsiteX10" fmla="*/ 328934 w 2147054"/>
                  <a:gd name="connsiteY10" fmla="*/ 1269031 h 3523641"/>
                  <a:gd name="connsiteX11" fmla="*/ 356286 w 2147054"/>
                  <a:gd name="connsiteY11" fmla="*/ 1268519 h 3523641"/>
                  <a:gd name="connsiteX12" fmla="*/ 353118 w 2147054"/>
                  <a:gd name="connsiteY12" fmla="*/ 1138495 h 3523641"/>
                  <a:gd name="connsiteX13" fmla="*/ 234935 w 2147054"/>
                  <a:gd name="connsiteY13" fmla="*/ 1138830 h 3523641"/>
                  <a:gd name="connsiteX14" fmla="*/ 235339 w 2147054"/>
                  <a:gd name="connsiteY14" fmla="*/ 923254 h 3523641"/>
                  <a:gd name="connsiteX15" fmla="*/ 603374 w 2147054"/>
                  <a:gd name="connsiteY15" fmla="*/ 237848 h 3523641"/>
                  <a:gd name="connsiteX16" fmla="*/ 1676542 w 2147054"/>
                  <a:gd name="connsiteY16" fmla="*/ 1356169 h 3523641"/>
                  <a:gd name="connsiteX17" fmla="*/ 1633111 w 2147054"/>
                  <a:gd name="connsiteY17" fmla="*/ 1704376 h 3523641"/>
                  <a:gd name="connsiteX18" fmla="*/ 1635524 w 2147054"/>
                  <a:gd name="connsiteY18" fmla="*/ 2591818 h 3523641"/>
                  <a:gd name="connsiteX19" fmla="*/ 1671717 w 2147054"/>
                  <a:gd name="connsiteY19" fmla="*/ 2867480 h 3523641"/>
                  <a:gd name="connsiteX20" fmla="*/ 1672802 w 2147054"/>
                  <a:gd name="connsiteY20" fmla="*/ 3043348 h 3523641"/>
                  <a:gd name="connsiteX21" fmla="*/ 1674130 w 2147054"/>
                  <a:gd name="connsiteY21" fmla="*/ 3213267 h 3523641"/>
                  <a:gd name="connsiteX22" fmla="*/ 1804424 w 2147054"/>
                  <a:gd name="connsiteY22" fmla="*/ 3462334 h 3523641"/>
                  <a:gd name="connsiteX23" fmla="*/ 1801794 w 2147054"/>
                  <a:gd name="connsiteY23" fmla="*/ 3043348 h 3523641"/>
                  <a:gd name="connsiteX24" fmla="*/ 1814077 w 2147054"/>
                  <a:gd name="connsiteY24" fmla="*/ 2969040 h 3523641"/>
                  <a:gd name="connsiteX25" fmla="*/ 1850270 w 2147054"/>
                  <a:gd name="connsiteY25" fmla="*/ 2884406 h 3523641"/>
                  <a:gd name="connsiteX26" fmla="*/ 2115686 w 2147054"/>
                  <a:gd name="connsiteY26" fmla="*/ 2642597 h 3523641"/>
                  <a:gd name="connsiteX27" fmla="*/ 2144641 w 2147054"/>
                  <a:gd name="connsiteY27" fmla="*/ 2550708 h 3523641"/>
                  <a:gd name="connsiteX28" fmla="*/ 2147054 w 2147054"/>
                  <a:gd name="connsiteY28" fmla="*/ 1750319 h 3523641"/>
                  <a:gd name="connsiteX29" fmla="*/ 2106035 w 2147054"/>
                  <a:gd name="connsiteY29" fmla="*/ 1663267 h 3523641"/>
                  <a:gd name="connsiteX30" fmla="*/ 1826140 w 2147054"/>
                  <a:gd name="connsiteY30" fmla="*/ 1385187 h 3523641"/>
                  <a:gd name="connsiteX31" fmla="*/ 1874398 w 2147054"/>
                  <a:gd name="connsiteY31" fmla="*/ 1165140 h 3523641"/>
                  <a:gd name="connsiteX32" fmla="*/ 1879986 w 2147054"/>
                  <a:gd name="connsiteY32" fmla="*/ 1081411 h 3523641"/>
                  <a:gd name="connsiteX33" fmla="*/ 1816630 w 2147054"/>
                  <a:gd name="connsiteY33" fmla="*/ 913332 h 3523641"/>
                  <a:gd name="connsiteX34" fmla="*/ 958163 w 2147054"/>
                  <a:gd name="connsiteY34" fmla="*/ 0 h 3523641"/>
                  <a:gd name="connsiteX35" fmla="*/ 109261 w 2147054"/>
                  <a:gd name="connsiteY35" fmla="*/ 858457 h 3523641"/>
                  <a:gd name="connsiteX36" fmla="*/ 94804 w 2147054"/>
                  <a:gd name="connsiteY36" fmla="*/ 1146972 h 3523641"/>
                  <a:gd name="connsiteX37" fmla="*/ 9907 w 2147054"/>
                  <a:gd name="connsiteY37" fmla="*/ 1521969 h 3523641"/>
                  <a:gd name="connsiteX38" fmla="*/ 0 w 2147054"/>
                  <a:gd name="connsiteY38" fmla="*/ 2778708 h 3523641"/>
                  <a:gd name="connsiteX39" fmla="*/ 95870 w 2147054"/>
                  <a:gd name="connsiteY39" fmla="*/ 3178922 h 3523641"/>
                  <a:gd name="connsiteX40" fmla="*/ 94635 w 2147054"/>
                  <a:gd name="connsiteY40" fmla="*/ 3523641 h 3523641"/>
                  <a:gd name="connsiteX0" fmla="*/ 95870 w 2147054"/>
                  <a:gd name="connsiteY0" fmla="*/ 3178922 h 3462334"/>
                  <a:gd name="connsiteX1" fmla="*/ 231230 w 2147054"/>
                  <a:gd name="connsiteY1" fmla="*/ 3169743 h 3462334"/>
                  <a:gd name="connsiteX2" fmla="*/ 319367 w 2147054"/>
                  <a:gd name="connsiteY2" fmla="*/ 3160841 h 3462334"/>
                  <a:gd name="connsiteX3" fmla="*/ 323124 w 2147054"/>
                  <a:gd name="connsiteY3" fmla="*/ 3071321 h 3462334"/>
                  <a:gd name="connsiteX4" fmla="*/ 511661 w 2147054"/>
                  <a:gd name="connsiteY4" fmla="*/ 2854845 h 3462334"/>
                  <a:gd name="connsiteX5" fmla="*/ 555371 w 2147054"/>
                  <a:gd name="connsiteY5" fmla="*/ 2747193 h 3462334"/>
                  <a:gd name="connsiteX6" fmla="*/ 556550 w 2147054"/>
                  <a:gd name="connsiteY6" fmla="*/ 1594571 h 3462334"/>
                  <a:gd name="connsiteX7" fmla="*/ 542073 w 2147054"/>
                  <a:gd name="connsiteY7" fmla="*/ 1512297 h 3462334"/>
                  <a:gd name="connsiteX8" fmla="*/ 368764 w 2147054"/>
                  <a:gd name="connsiteY8" fmla="*/ 1302973 h 3462334"/>
                  <a:gd name="connsiteX9" fmla="*/ 329287 w 2147054"/>
                  <a:gd name="connsiteY9" fmla="*/ 1302809 h 3462334"/>
                  <a:gd name="connsiteX10" fmla="*/ 328934 w 2147054"/>
                  <a:gd name="connsiteY10" fmla="*/ 1269031 h 3462334"/>
                  <a:gd name="connsiteX11" fmla="*/ 356286 w 2147054"/>
                  <a:gd name="connsiteY11" fmla="*/ 1268519 h 3462334"/>
                  <a:gd name="connsiteX12" fmla="*/ 353118 w 2147054"/>
                  <a:gd name="connsiteY12" fmla="*/ 1138495 h 3462334"/>
                  <a:gd name="connsiteX13" fmla="*/ 234935 w 2147054"/>
                  <a:gd name="connsiteY13" fmla="*/ 1138830 h 3462334"/>
                  <a:gd name="connsiteX14" fmla="*/ 235339 w 2147054"/>
                  <a:gd name="connsiteY14" fmla="*/ 923254 h 3462334"/>
                  <a:gd name="connsiteX15" fmla="*/ 603374 w 2147054"/>
                  <a:gd name="connsiteY15" fmla="*/ 237848 h 3462334"/>
                  <a:gd name="connsiteX16" fmla="*/ 1676542 w 2147054"/>
                  <a:gd name="connsiteY16" fmla="*/ 1356169 h 3462334"/>
                  <a:gd name="connsiteX17" fmla="*/ 1633111 w 2147054"/>
                  <a:gd name="connsiteY17" fmla="*/ 1704376 h 3462334"/>
                  <a:gd name="connsiteX18" fmla="*/ 1635524 w 2147054"/>
                  <a:gd name="connsiteY18" fmla="*/ 2591818 h 3462334"/>
                  <a:gd name="connsiteX19" fmla="*/ 1671717 w 2147054"/>
                  <a:gd name="connsiteY19" fmla="*/ 2867480 h 3462334"/>
                  <a:gd name="connsiteX20" fmla="*/ 1672802 w 2147054"/>
                  <a:gd name="connsiteY20" fmla="*/ 3043348 h 3462334"/>
                  <a:gd name="connsiteX21" fmla="*/ 1674130 w 2147054"/>
                  <a:gd name="connsiteY21" fmla="*/ 3213267 h 3462334"/>
                  <a:gd name="connsiteX22" fmla="*/ 1804424 w 2147054"/>
                  <a:gd name="connsiteY22" fmla="*/ 3462334 h 3462334"/>
                  <a:gd name="connsiteX23" fmla="*/ 1801794 w 2147054"/>
                  <a:gd name="connsiteY23" fmla="*/ 3043348 h 3462334"/>
                  <a:gd name="connsiteX24" fmla="*/ 1814077 w 2147054"/>
                  <a:gd name="connsiteY24" fmla="*/ 2969040 h 3462334"/>
                  <a:gd name="connsiteX25" fmla="*/ 1850270 w 2147054"/>
                  <a:gd name="connsiteY25" fmla="*/ 2884406 h 3462334"/>
                  <a:gd name="connsiteX26" fmla="*/ 2115686 w 2147054"/>
                  <a:gd name="connsiteY26" fmla="*/ 2642597 h 3462334"/>
                  <a:gd name="connsiteX27" fmla="*/ 2144641 w 2147054"/>
                  <a:gd name="connsiteY27" fmla="*/ 2550708 h 3462334"/>
                  <a:gd name="connsiteX28" fmla="*/ 2147054 w 2147054"/>
                  <a:gd name="connsiteY28" fmla="*/ 1750319 h 3462334"/>
                  <a:gd name="connsiteX29" fmla="*/ 2106035 w 2147054"/>
                  <a:gd name="connsiteY29" fmla="*/ 1663267 h 3462334"/>
                  <a:gd name="connsiteX30" fmla="*/ 1826140 w 2147054"/>
                  <a:gd name="connsiteY30" fmla="*/ 1385187 h 3462334"/>
                  <a:gd name="connsiteX31" fmla="*/ 1874398 w 2147054"/>
                  <a:gd name="connsiteY31" fmla="*/ 1165140 h 3462334"/>
                  <a:gd name="connsiteX32" fmla="*/ 1879986 w 2147054"/>
                  <a:gd name="connsiteY32" fmla="*/ 1081411 h 3462334"/>
                  <a:gd name="connsiteX33" fmla="*/ 1816630 w 2147054"/>
                  <a:gd name="connsiteY33" fmla="*/ 913332 h 3462334"/>
                  <a:gd name="connsiteX34" fmla="*/ 958163 w 2147054"/>
                  <a:gd name="connsiteY34" fmla="*/ 0 h 3462334"/>
                  <a:gd name="connsiteX35" fmla="*/ 109261 w 2147054"/>
                  <a:gd name="connsiteY35" fmla="*/ 858457 h 3462334"/>
                  <a:gd name="connsiteX36" fmla="*/ 94804 w 2147054"/>
                  <a:gd name="connsiteY36" fmla="*/ 1146972 h 3462334"/>
                  <a:gd name="connsiteX37" fmla="*/ 9907 w 2147054"/>
                  <a:gd name="connsiteY37" fmla="*/ 1521969 h 3462334"/>
                  <a:gd name="connsiteX38" fmla="*/ 0 w 2147054"/>
                  <a:gd name="connsiteY38" fmla="*/ 2778708 h 3462334"/>
                  <a:gd name="connsiteX39" fmla="*/ 95870 w 2147054"/>
                  <a:gd name="connsiteY39" fmla="*/ 3178922 h 3462334"/>
                  <a:gd name="connsiteX0" fmla="*/ 0 w 2147054"/>
                  <a:gd name="connsiteY0" fmla="*/ 2778708 h 3462334"/>
                  <a:gd name="connsiteX1" fmla="*/ 231230 w 2147054"/>
                  <a:gd name="connsiteY1" fmla="*/ 3169743 h 3462334"/>
                  <a:gd name="connsiteX2" fmla="*/ 319367 w 2147054"/>
                  <a:gd name="connsiteY2" fmla="*/ 3160841 h 3462334"/>
                  <a:gd name="connsiteX3" fmla="*/ 323124 w 2147054"/>
                  <a:gd name="connsiteY3" fmla="*/ 3071321 h 3462334"/>
                  <a:gd name="connsiteX4" fmla="*/ 511661 w 2147054"/>
                  <a:gd name="connsiteY4" fmla="*/ 2854845 h 3462334"/>
                  <a:gd name="connsiteX5" fmla="*/ 555371 w 2147054"/>
                  <a:gd name="connsiteY5" fmla="*/ 2747193 h 3462334"/>
                  <a:gd name="connsiteX6" fmla="*/ 556550 w 2147054"/>
                  <a:gd name="connsiteY6" fmla="*/ 1594571 h 3462334"/>
                  <a:gd name="connsiteX7" fmla="*/ 542073 w 2147054"/>
                  <a:gd name="connsiteY7" fmla="*/ 1512297 h 3462334"/>
                  <a:gd name="connsiteX8" fmla="*/ 368764 w 2147054"/>
                  <a:gd name="connsiteY8" fmla="*/ 1302973 h 3462334"/>
                  <a:gd name="connsiteX9" fmla="*/ 329287 w 2147054"/>
                  <a:gd name="connsiteY9" fmla="*/ 1302809 h 3462334"/>
                  <a:gd name="connsiteX10" fmla="*/ 328934 w 2147054"/>
                  <a:gd name="connsiteY10" fmla="*/ 1269031 h 3462334"/>
                  <a:gd name="connsiteX11" fmla="*/ 356286 w 2147054"/>
                  <a:gd name="connsiteY11" fmla="*/ 1268519 h 3462334"/>
                  <a:gd name="connsiteX12" fmla="*/ 353118 w 2147054"/>
                  <a:gd name="connsiteY12" fmla="*/ 1138495 h 3462334"/>
                  <a:gd name="connsiteX13" fmla="*/ 234935 w 2147054"/>
                  <a:gd name="connsiteY13" fmla="*/ 1138830 h 3462334"/>
                  <a:gd name="connsiteX14" fmla="*/ 235339 w 2147054"/>
                  <a:gd name="connsiteY14" fmla="*/ 923254 h 3462334"/>
                  <a:gd name="connsiteX15" fmla="*/ 603374 w 2147054"/>
                  <a:gd name="connsiteY15" fmla="*/ 237848 h 3462334"/>
                  <a:gd name="connsiteX16" fmla="*/ 1676542 w 2147054"/>
                  <a:gd name="connsiteY16" fmla="*/ 1356169 h 3462334"/>
                  <a:gd name="connsiteX17" fmla="*/ 1633111 w 2147054"/>
                  <a:gd name="connsiteY17" fmla="*/ 1704376 h 3462334"/>
                  <a:gd name="connsiteX18" fmla="*/ 1635524 w 2147054"/>
                  <a:gd name="connsiteY18" fmla="*/ 2591818 h 3462334"/>
                  <a:gd name="connsiteX19" fmla="*/ 1671717 w 2147054"/>
                  <a:gd name="connsiteY19" fmla="*/ 2867480 h 3462334"/>
                  <a:gd name="connsiteX20" fmla="*/ 1672802 w 2147054"/>
                  <a:gd name="connsiteY20" fmla="*/ 3043348 h 3462334"/>
                  <a:gd name="connsiteX21" fmla="*/ 1674130 w 2147054"/>
                  <a:gd name="connsiteY21" fmla="*/ 3213267 h 3462334"/>
                  <a:gd name="connsiteX22" fmla="*/ 1804424 w 2147054"/>
                  <a:gd name="connsiteY22" fmla="*/ 3462334 h 3462334"/>
                  <a:gd name="connsiteX23" fmla="*/ 1801794 w 2147054"/>
                  <a:gd name="connsiteY23" fmla="*/ 3043348 h 3462334"/>
                  <a:gd name="connsiteX24" fmla="*/ 1814077 w 2147054"/>
                  <a:gd name="connsiteY24" fmla="*/ 2969040 h 3462334"/>
                  <a:gd name="connsiteX25" fmla="*/ 1850270 w 2147054"/>
                  <a:gd name="connsiteY25" fmla="*/ 2884406 h 3462334"/>
                  <a:gd name="connsiteX26" fmla="*/ 2115686 w 2147054"/>
                  <a:gd name="connsiteY26" fmla="*/ 2642597 h 3462334"/>
                  <a:gd name="connsiteX27" fmla="*/ 2144641 w 2147054"/>
                  <a:gd name="connsiteY27" fmla="*/ 2550708 h 3462334"/>
                  <a:gd name="connsiteX28" fmla="*/ 2147054 w 2147054"/>
                  <a:gd name="connsiteY28" fmla="*/ 1750319 h 3462334"/>
                  <a:gd name="connsiteX29" fmla="*/ 2106035 w 2147054"/>
                  <a:gd name="connsiteY29" fmla="*/ 1663267 h 3462334"/>
                  <a:gd name="connsiteX30" fmla="*/ 1826140 w 2147054"/>
                  <a:gd name="connsiteY30" fmla="*/ 1385187 h 3462334"/>
                  <a:gd name="connsiteX31" fmla="*/ 1874398 w 2147054"/>
                  <a:gd name="connsiteY31" fmla="*/ 1165140 h 3462334"/>
                  <a:gd name="connsiteX32" fmla="*/ 1879986 w 2147054"/>
                  <a:gd name="connsiteY32" fmla="*/ 1081411 h 3462334"/>
                  <a:gd name="connsiteX33" fmla="*/ 1816630 w 2147054"/>
                  <a:gd name="connsiteY33" fmla="*/ 913332 h 3462334"/>
                  <a:gd name="connsiteX34" fmla="*/ 958163 w 2147054"/>
                  <a:gd name="connsiteY34" fmla="*/ 0 h 3462334"/>
                  <a:gd name="connsiteX35" fmla="*/ 109261 w 2147054"/>
                  <a:gd name="connsiteY35" fmla="*/ 858457 h 3462334"/>
                  <a:gd name="connsiteX36" fmla="*/ 94804 w 2147054"/>
                  <a:gd name="connsiteY36" fmla="*/ 1146972 h 3462334"/>
                  <a:gd name="connsiteX37" fmla="*/ 9907 w 2147054"/>
                  <a:gd name="connsiteY37" fmla="*/ 1521969 h 3462334"/>
                  <a:gd name="connsiteX38" fmla="*/ 0 w 2147054"/>
                  <a:gd name="connsiteY38" fmla="*/ 2778708 h 3462334"/>
                  <a:gd name="connsiteX0" fmla="*/ 0 w 2147054"/>
                  <a:gd name="connsiteY0" fmla="*/ 2778708 h 3462334"/>
                  <a:gd name="connsiteX1" fmla="*/ 231230 w 2147054"/>
                  <a:gd name="connsiteY1" fmla="*/ 3169743 h 3462334"/>
                  <a:gd name="connsiteX2" fmla="*/ 323124 w 2147054"/>
                  <a:gd name="connsiteY2" fmla="*/ 3071321 h 3462334"/>
                  <a:gd name="connsiteX3" fmla="*/ 511661 w 2147054"/>
                  <a:gd name="connsiteY3" fmla="*/ 2854845 h 3462334"/>
                  <a:gd name="connsiteX4" fmla="*/ 555371 w 2147054"/>
                  <a:gd name="connsiteY4" fmla="*/ 2747193 h 3462334"/>
                  <a:gd name="connsiteX5" fmla="*/ 556550 w 2147054"/>
                  <a:gd name="connsiteY5" fmla="*/ 1594571 h 3462334"/>
                  <a:gd name="connsiteX6" fmla="*/ 542073 w 2147054"/>
                  <a:gd name="connsiteY6" fmla="*/ 1512297 h 3462334"/>
                  <a:gd name="connsiteX7" fmla="*/ 368764 w 2147054"/>
                  <a:gd name="connsiteY7" fmla="*/ 1302973 h 3462334"/>
                  <a:gd name="connsiteX8" fmla="*/ 329287 w 2147054"/>
                  <a:gd name="connsiteY8" fmla="*/ 1302809 h 3462334"/>
                  <a:gd name="connsiteX9" fmla="*/ 328934 w 2147054"/>
                  <a:gd name="connsiteY9" fmla="*/ 1269031 h 3462334"/>
                  <a:gd name="connsiteX10" fmla="*/ 356286 w 2147054"/>
                  <a:gd name="connsiteY10" fmla="*/ 1268519 h 3462334"/>
                  <a:gd name="connsiteX11" fmla="*/ 353118 w 2147054"/>
                  <a:gd name="connsiteY11" fmla="*/ 1138495 h 3462334"/>
                  <a:gd name="connsiteX12" fmla="*/ 234935 w 2147054"/>
                  <a:gd name="connsiteY12" fmla="*/ 1138830 h 3462334"/>
                  <a:gd name="connsiteX13" fmla="*/ 235339 w 2147054"/>
                  <a:gd name="connsiteY13" fmla="*/ 923254 h 3462334"/>
                  <a:gd name="connsiteX14" fmla="*/ 603374 w 2147054"/>
                  <a:gd name="connsiteY14" fmla="*/ 237848 h 3462334"/>
                  <a:gd name="connsiteX15" fmla="*/ 1676542 w 2147054"/>
                  <a:gd name="connsiteY15" fmla="*/ 1356169 h 3462334"/>
                  <a:gd name="connsiteX16" fmla="*/ 1633111 w 2147054"/>
                  <a:gd name="connsiteY16" fmla="*/ 1704376 h 3462334"/>
                  <a:gd name="connsiteX17" fmla="*/ 1635524 w 2147054"/>
                  <a:gd name="connsiteY17" fmla="*/ 2591818 h 3462334"/>
                  <a:gd name="connsiteX18" fmla="*/ 1671717 w 2147054"/>
                  <a:gd name="connsiteY18" fmla="*/ 2867480 h 3462334"/>
                  <a:gd name="connsiteX19" fmla="*/ 1672802 w 2147054"/>
                  <a:gd name="connsiteY19" fmla="*/ 3043348 h 3462334"/>
                  <a:gd name="connsiteX20" fmla="*/ 1674130 w 2147054"/>
                  <a:gd name="connsiteY20" fmla="*/ 3213267 h 3462334"/>
                  <a:gd name="connsiteX21" fmla="*/ 1804424 w 2147054"/>
                  <a:gd name="connsiteY21" fmla="*/ 3462334 h 3462334"/>
                  <a:gd name="connsiteX22" fmla="*/ 1801794 w 2147054"/>
                  <a:gd name="connsiteY22" fmla="*/ 3043348 h 3462334"/>
                  <a:gd name="connsiteX23" fmla="*/ 1814077 w 2147054"/>
                  <a:gd name="connsiteY23" fmla="*/ 2969040 h 3462334"/>
                  <a:gd name="connsiteX24" fmla="*/ 1850270 w 2147054"/>
                  <a:gd name="connsiteY24" fmla="*/ 2884406 h 3462334"/>
                  <a:gd name="connsiteX25" fmla="*/ 2115686 w 2147054"/>
                  <a:gd name="connsiteY25" fmla="*/ 2642597 h 3462334"/>
                  <a:gd name="connsiteX26" fmla="*/ 2144641 w 2147054"/>
                  <a:gd name="connsiteY26" fmla="*/ 2550708 h 3462334"/>
                  <a:gd name="connsiteX27" fmla="*/ 2147054 w 2147054"/>
                  <a:gd name="connsiteY27" fmla="*/ 1750319 h 3462334"/>
                  <a:gd name="connsiteX28" fmla="*/ 2106035 w 2147054"/>
                  <a:gd name="connsiteY28" fmla="*/ 1663267 h 3462334"/>
                  <a:gd name="connsiteX29" fmla="*/ 1826140 w 2147054"/>
                  <a:gd name="connsiteY29" fmla="*/ 1385187 h 3462334"/>
                  <a:gd name="connsiteX30" fmla="*/ 1874398 w 2147054"/>
                  <a:gd name="connsiteY30" fmla="*/ 1165140 h 3462334"/>
                  <a:gd name="connsiteX31" fmla="*/ 1879986 w 2147054"/>
                  <a:gd name="connsiteY31" fmla="*/ 1081411 h 3462334"/>
                  <a:gd name="connsiteX32" fmla="*/ 1816630 w 2147054"/>
                  <a:gd name="connsiteY32" fmla="*/ 913332 h 3462334"/>
                  <a:gd name="connsiteX33" fmla="*/ 958163 w 2147054"/>
                  <a:gd name="connsiteY33" fmla="*/ 0 h 3462334"/>
                  <a:gd name="connsiteX34" fmla="*/ 109261 w 2147054"/>
                  <a:gd name="connsiteY34" fmla="*/ 858457 h 3462334"/>
                  <a:gd name="connsiteX35" fmla="*/ 94804 w 2147054"/>
                  <a:gd name="connsiteY35" fmla="*/ 1146972 h 3462334"/>
                  <a:gd name="connsiteX36" fmla="*/ 9907 w 2147054"/>
                  <a:gd name="connsiteY36" fmla="*/ 1521969 h 3462334"/>
                  <a:gd name="connsiteX37" fmla="*/ 0 w 2147054"/>
                  <a:gd name="connsiteY37" fmla="*/ 2778708 h 3462334"/>
                  <a:gd name="connsiteX0" fmla="*/ 0 w 2147054"/>
                  <a:gd name="connsiteY0" fmla="*/ 2778708 h 3462334"/>
                  <a:gd name="connsiteX1" fmla="*/ 323124 w 2147054"/>
                  <a:gd name="connsiteY1" fmla="*/ 3071321 h 3462334"/>
                  <a:gd name="connsiteX2" fmla="*/ 511661 w 2147054"/>
                  <a:gd name="connsiteY2" fmla="*/ 2854845 h 3462334"/>
                  <a:gd name="connsiteX3" fmla="*/ 555371 w 2147054"/>
                  <a:gd name="connsiteY3" fmla="*/ 2747193 h 3462334"/>
                  <a:gd name="connsiteX4" fmla="*/ 556550 w 2147054"/>
                  <a:gd name="connsiteY4" fmla="*/ 1594571 h 3462334"/>
                  <a:gd name="connsiteX5" fmla="*/ 542073 w 2147054"/>
                  <a:gd name="connsiteY5" fmla="*/ 1512297 h 3462334"/>
                  <a:gd name="connsiteX6" fmla="*/ 368764 w 2147054"/>
                  <a:gd name="connsiteY6" fmla="*/ 1302973 h 3462334"/>
                  <a:gd name="connsiteX7" fmla="*/ 329287 w 2147054"/>
                  <a:gd name="connsiteY7" fmla="*/ 1302809 h 3462334"/>
                  <a:gd name="connsiteX8" fmla="*/ 328934 w 2147054"/>
                  <a:gd name="connsiteY8" fmla="*/ 1269031 h 3462334"/>
                  <a:gd name="connsiteX9" fmla="*/ 356286 w 2147054"/>
                  <a:gd name="connsiteY9" fmla="*/ 1268519 h 3462334"/>
                  <a:gd name="connsiteX10" fmla="*/ 353118 w 2147054"/>
                  <a:gd name="connsiteY10" fmla="*/ 1138495 h 3462334"/>
                  <a:gd name="connsiteX11" fmla="*/ 234935 w 2147054"/>
                  <a:gd name="connsiteY11" fmla="*/ 1138830 h 3462334"/>
                  <a:gd name="connsiteX12" fmla="*/ 235339 w 2147054"/>
                  <a:gd name="connsiteY12" fmla="*/ 923254 h 3462334"/>
                  <a:gd name="connsiteX13" fmla="*/ 603374 w 2147054"/>
                  <a:gd name="connsiteY13" fmla="*/ 237848 h 3462334"/>
                  <a:gd name="connsiteX14" fmla="*/ 1676542 w 2147054"/>
                  <a:gd name="connsiteY14" fmla="*/ 1356169 h 3462334"/>
                  <a:gd name="connsiteX15" fmla="*/ 1633111 w 2147054"/>
                  <a:gd name="connsiteY15" fmla="*/ 1704376 h 3462334"/>
                  <a:gd name="connsiteX16" fmla="*/ 1635524 w 2147054"/>
                  <a:gd name="connsiteY16" fmla="*/ 2591818 h 3462334"/>
                  <a:gd name="connsiteX17" fmla="*/ 1671717 w 2147054"/>
                  <a:gd name="connsiteY17" fmla="*/ 2867480 h 3462334"/>
                  <a:gd name="connsiteX18" fmla="*/ 1672802 w 2147054"/>
                  <a:gd name="connsiteY18" fmla="*/ 3043348 h 3462334"/>
                  <a:gd name="connsiteX19" fmla="*/ 1674130 w 2147054"/>
                  <a:gd name="connsiteY19" fmla="*/ 3213267 h 3462334"/>
                  <a:gd name="connsiteX20" fmla="*/ 1804424 w 2147054"/>
                  <a:gd name="connsiteY20" fmla="*/ 3462334 h 3462334"/>
                  <a:gd name="connsiteX21" fmla="*/ 1801794 w 2147054"/>
                  <a:gd name="connsiteY21" fmla="*/ 3043348 h 3462334"/>
                  <a:gd name="connsiteX22" fmla="*/ 1814077 w 2147054"/>
                  <a:gd name="connsiteY22" fmla="*/ 2969040 h 3462334"/>
                  <a:gd name="connsiteX23" fmla="*/ 1850270 w 2147054"/>
                  <a:gd name="connsiteY23" fmla="*/ 2884406 h 3462334"/>
                  <a:gd name="connsiteX24" fmla="*/ 2115686 w 2147054"/>
                  <a:gd name="connsiteY24" fmla="*/ 2642597 h 3462334"/>
                  <a:gd name="connsiteX25" fmla="*/ 2144641 w 2147054"/>
                  <a:gd name="connsiteY25" fmla="*/ 2550708 h 3462334"/>
                  <a:gd name="connsiteX26" fmla="*/ 2147054 w 2147054"/>
                  <a:gd name="connsiteY26" fmla="*/ 1750319 h 3462334"/>
                  <a:gd name="connsiteX27" fmla="*/ 2106035 w 2147054"/>
                  <a:gd name="connsiteY27" fmla="*/ 1663267 h 3462334"/>
                  <a:gd name="connsiteX28" fmla="*/ 1826140 w 2147054"/>
                  <a:gd name="connsiteY28" fmla="*/ 1385187 h 3462334"/>
                  <a:gd name="connsiteX29" fmla="*/ 1874398 w 2147054"/>
                  <a:gd name="connsiteY29" fmla="*/ 1165140 h 3462334"/>
                  <a:gd name="connsiteX30" fmla="*/ 1879986 w 2147054"/>
                  <a:gd name="connsiteY30" fmla="*/ 1081411 h 3462334"/>
                  <a:gd name="connsiteX31" fmla="*/ 1816630 w 2147054"/>
                  <a:gd name="connsiteY31" fmla="*/ 913332 h 3462334"/>
                  <a:gd name="connsiteX32" fmla="*/ 958163 w 2147054"/>
                  <a:gd name="connsiteY32" fmla="*/ 0 h 3462334"/>
                  <a:gd name="connsiteX33" fmla="*/ 109261 w 2147054"/>
                  <a:gd name="connsiteY33" fmla="*/ 858457 h 3462334"/>
                  <a:gd name="connsiteX34" fmla="*/ 94804 w 2147054"/>
                  <a:gd name="connsiteY34" fmla="*/ 1146972 h 3462334"/>
                  <a:gd name="connsiteX35" fmla="*/ 9907 w 2147054"/>
                  <a:gd name="connsiteY35" fmla="*/ 1521969 h 3462334"/>
                  <a:gd name="connsiteX36" fmla="*/ 0 w 2147054"/>
                  <a:gd name="connsiteY36" fmla="*/ 2778708 h 3462334"/>
                  <a:gd name="connsiteX0" fmla="*/ 0 w 2147054"/>
                  <a:gd name="connsiteY0" fmla="*/ 2778708 h 3462334"/>
                  <a:gd name="connsiteX1" fmla="*/ 511661 w 2147054"/>
                  <a:gd name="connsiteY1" fmla="*/ 2854845 h 3462334"/>
                  <a:gd name="connsiteX2" fmla="*/ 555371 w 2147054"/>
                  <a:gd name="connsiteY2" fmla="*/ 2747193 h 3462334"/>
                  <a:gd name="connsiteX3" fmla="*/ 556550 w 2147054"/>
                  <a:gd name="connsiteY3" fmla="*/ 1594571 h 3462334"/>
                  <a:gd name="connsiteX4" fmla="*/ 542073 w 2147054"/>
                  <a:gd name="connsiteY4" fmla="*/ 1512297 h 3462334"/>
                  <a:gd name="connsiteX5" fmla="*/ 368764 w 2147054"/>
                  <a:gd name="connsiteY5" fmla="*/ 1302973 h 3462334"/>
                  <a:gd name="connsiteX6" fmla="*/ 329287 w 2147054"/>
                  <a:gd name="connsiteY6" fmla="*/ 1302809 h 3462334"/>
                  <a:gd name="connsiteX7" fmla="*/ 328934 w 2147054"/>
                  <a:gd name="connsiteY7" fmla="*/ 1269031 h 3462334"/>
                  <a:gd name="connsiteX8" fmla="*/ 356286 w 2147054"/>
                  <a:gd name="connsiteY8" fmla="*/ 1268519 h 3462334"/>
                  <a:gd name="connsiteX9" fmla="*/ 353118 w 2147054"/>
                  <a:gd name="connsiteY9" fmla="*/ 1138495 h 3462334"/>
                  <a:gd name="connsiteX10" fmla="*/ 234935 w 2147054"/>
                  <a:gd name="connsiteY10" fmla="*/ 1138830 h 3462334"/>
                  <a:gd name="connsiteX11" fmla="*/ 235339 w 2147054"/>
                  <a:gd name="connsiteY11" fmla="*/ 923254 h 3462334"/>
                  <a:gd name="connsiteX12" fmla="*/ 603374 w 2147054"/>
                  <a:gd name="connsiteY12" fmla="*/ 237848 h 3462334"/>
                  <a:gd name="connsiteX13" fmla="*/ 1676542 w 2147054"/>
                  <a:gd name="connsiteY13" fmla="*/ 1356169 h 3462334"/>
                  <a:gd name="connsiteX14" fmla="*/ 1633111 w 2147054"/>
                  <a:gd name="connsiteY14" fmla="*/ 1704376 h 3462334"/>
                  <a:gd name="connsiteX15" fmla="*/ 1635524 w 2147054"/>
                  <a:gd name="connsiteY15" fmla="*/ 2591818 h 3462334"/>
                  <a:gd name="connsiteX16" fmla="*/ 1671717 w 2147054"/>
                  <a:gd name="connsiteY16" fmla="*/ 2867480 h 3462334"/>
                  <a:gd name="connsiteX17" fmla="*/ 1672802 w 2147054"/>
                  <a:gd name="connsiteY17" fmla="*/ 3043348 h 3462334"/>
                  <a:gd name="connsiteX18" fmla="*/ 1674130 w 2147054"/>
                  <a:gd name="connsiteY18" fmla="*/ 3213267 h 3462334"/>
                  <a:gd name="connsiteX19" fmla="*/ 1804424 w 2147054"/>
                  <a:gd name="connsiteY19" fmla="*/ 3462334 h 3462334"/>
                  <a:gd name="connsiteX20" fmla="*/ 1801794 w 2147054"/>
                  <a:gd name="connsiteY20" fmla="*/ 3043348 h 3462334"/>
                  <a:gd name="connsiteX21" fmla="*/ 1814077 w 2147054"/>
                  <a:gd name="connsiteY21" fmla="*/ 2969040 h 3462334"/>
                  <a:gd name="connsiteX22" fmla="*/ 1850270 w 2147054"/>
                  <a:gd name="connsiteY22" fmla="*/ 2884406 h 3462334"/>
                  <a:gd name="connsiteX23" fmla="*/ 2115686 w 2147054"/>
                  <a:gd name="connsiteY23" fmla="*/ 2642597 h 3462334"/>
                  <a:gd name="connsiteX24" fmla="*/ 2144641 w 2147054"/>
                  <a:gd name="connsiteY24" fmla="*/ 2550708 h 3462334"/>
                  <a:gd name="connsiteX25" fmla="*/ 2147054 w 2147054"/>
                  <a:gd name="connsiteY25" fmla="*/ 1750319 h 3462334"/>
                  <a:gd name="connsiteX26" fmla="*/ 2106035 w 2147054"/>
                  <a:gd name="connsiteY26" fmla="*/ 1663267 h 3462334"/>
                  <a:gd name="connsiteX27" fmla="*/ 1826140 w 2147054"/>
                  <a:gd name="connsiteY27" fmla="*/ 1385187 h 3462334"/>
                  <a:gd name="connsiteX28" fmla="*/ 1874398 w 2147054"/>
                  <a:gd name="connsiteY28" fmla="*/ 1165140 h 3462334"/>
                  <a:gd name="connsiteX29" fmla="*/ 1879986 w 2147054"/>
                  <a:gd name="connsiteY29" fmla="*/ 1081411 h 3462334"/>
                  <a:gd name="connsiteX30" fmla="*/ 1816630 w 2147054"/>
                  <a:gd name="connsiteY30" fmla="*/ 913332 h 3462334"/>
                  <a:gd name="connsiteX31" fmla="*/ 958163 w 2147054"/>
                  <a:gd name="connsiteY31" fmla="*/ 0 h 3462334"/>
                  <a:gd name="connsiteX32" fmla="*/ 109261 w 2147054"/>
                  <a:gd name="connsiteY32" fmla="*/ 858457 h 3462334"/>
                  <a:gd name="connsiteX33" fmla="*/ 94804 w 2147054"/>
                  <a:gd name="connsiteY33" fmla="*/ 1146972 h 3462334"/>
                  <a:gd name="connsiteX34" fmla="*/ 9907 w 2147054"/>
                  <a:gd name="connsiteY34" fmla="*/ 1521969 h 3462334"/>
                  <a:gd name="connsiteX35" fmla="*/ 0 w 2147054"/>
                  <a:gd name="connsiteY35" fmla="*/ 2778708 h 3462334"/>
                  <a:gd name="connsiteX0" fmla="*/ 0 w 2147054"/>
                  <a:gd name="connsiteY0" fmla="*/ 2778708 h 3462334"/>
                  <a:gd name="connsiteX1" fmla="*/ 555371 w 2147054"/>
                  <a:gd name="connsiteY1" fmla="*/ 2747193 h 3462334"/>
                  <a:gd name="connsiteX2" fmla="*/ 556550 w 2147054"/>
                  <a:gd name="connsiteY2" fmla="*/ 1594571 h 3462334"/>
                  <a:gd name="connsiteX3" fmla="*/ 542073 w 2147054"/>
                  <a:gd name="connsiteY3" fmla="*/ 1512297 h 3462334"/>
                  <a:gd name="connsiteX4" fmla="*/ 368764 w 2147054"/>
                  <a:gd name="connsiteY4" fmla="*/ 1302973 h 3462334"/>
                  <a:gd name="connsiteX5" fmla="*/ 329287 w 2147054"/>
                  <a:gd name="connsiteY5" fmla="*/ 1302809 h 3462334"/>
                  <a:gd name="connsiteX6" fmla="*/ 328934 w 2147054"/>
                  <a:gd name="connsiteY6" fmla="*/ 1269031 h 3462334"/>
                  <a:gd name="connsiteX7" fmla="*/ 356286 w 2147054"/>
                  <a:gd name="connsiteY7" fmla="*/ 1268519 h 3462334"/>
                  <a:gd name="connsiteX8" fmla="*/ 353118 w 2147054"/>
                  <a:gd name="connsiteY8" fmla="*/ 1138495 h 3462334"/>
                  <a:gd name="connsiteX9" fmla="*/ 234935 w 2147054"/>
                  <a:gd name="connsiteY9" fmla="*/ 1138830 h 3462334"/>
                  <a:gd name="connsiteX10" fmla="*/ 235339 w 2147054"/>
                  <a:gd name="connsiteY10" fmla="*/ 923254 h 3462334"/>
                  <a:gd name="connsiteX11" fmla="*/ 603374 w 2147054"/>
                  <a:gd name="connsiteY11" fmla="*/ 237848 h 3462334"/>
                  <a:gd name="connsiteX12" fmla="*/ 1676542 w 2147054"/>
                  <a:gd name="connsiteY12" fmla="*/ 1356169 h 3462334"/>
                  <a:gd name="connsiteX13" fmla="*/ 1633111 w 2147054"/>
                  <a:gd name="connsiteY13" fmla="*/ 1704376 h 3462334"/>
                  <a:gd name="connsiteX14" fmla="*/ 1635524 w 2147054"/>
                  <a:gd name="connsiteY14" fmla="*/ 2591818 h 3462334"/>
                  <a:gd name="connsiteX15" fmla="*/ 1671717 w 2147054"/>
                  <a:gd name="connsiteY15" fmla="*/ 2867480 h 3462334"/>
                  <a:gd name="connsiteX16" fmla="*/ 1672802 w 2147054"/>
                  <a:gd name="connsiteY16" fmla="*/ 3043348 h 3462334"/>
                  <a:gd name="connsiteX17" fmla="*/ 1674130 w 2147054"/>
                  <a:gd name="connsiteY17" fmla="*/ 3213267 h 3462334"/>
                  <a:gd name="connsiteX18" fmla="*/ 1804424 w 2147054"/>
                  <a:gd name="connsiteY18" fmla="*/ 3462334 h 3462334"/>
                  <a:gd name="connsiteX19" fmla="*/ 1801794 w 2147054"/>
                  <a:gd name="connsiteY19" fmla="*/ 3043348 h 3462334"/>
                  <a:gd name="connsiteX20" fmla="*/ 1814077 w 2147054"/>
                  <a:gd name="connsiteY20" fmla="*/ 2969040 h 3462334"/>
                  <a:gd name="connsiteX21" fmla="*/ 1850270 w 2147054"/>
                  <a:gd name="connsiteY21" fmla="*/ 2884406 h 3462334"/>
                  <a:gd name="connsiteX22" fmla="*/ 2115686 w 2147054"/>
                  <a:gd name="connsiteY22" fmla="*/ 2642597 h 3462334"/>
                  <a:gd name="connsiteX23" fmla="*/ 2144641 w 2147054"/>
                  <a:gd name="connsiteY23" fmla="*/ 2550708 h 3462334"/>
                  <a:gd name="connsiteX24" fmla="*/ 2147054 w 2147054"/>
                  <a:gd name="connsiteY24" fmla="*/ 1750319 h 3462334"/>
                  <a:gd name="connsiteX25" fmla="*/ 2106035 w 2147054"/>
                  <a:gd name="connsiteY25" fmla="*/ 1663267 h 3462334"/>
                  <a:gd name="connsiteX26" fmla="*/ 1826140 w 2147054"/>
                  <a:gd name="connsiteY26" fmla="*/ 1385187 h 3462334"/>
                  <a:gd name="connsiteX27" fmla="*/ 1874398 w 2147054"/>
                  <a:gd name="connsiteY27" fmla="*/ 1165140 h 3462334"/>
                  <a:gd name="connsiteX28" fmla="*/ 1879986 w 2147054"/>
                  <a:gd name="connsiteY28" fmla="*/ 1081411 h 3462334"/>
                  <a:gd name="connsiteX29" fmla="*/ 1816630 w 2147054"/>
                  <a:gd name="connsiteY29" fmla="*/ 913332 h 3462334"/>
                  <a:gd name="connsiteX30" fmla="*/ 958163 w 2147054"/>
                  <a:gd name="connsiteY30" fmla="*/ 0 h 3462334"/>
                  <a:gd name="connsiteX31" fmla="*/ 109261 w 2147054"/>
                  <a:gd name="connsiteY31" fmla="*/ 858457 h 3462334"/>
                  <a:gd name="connsiteX32" fmla="*/ 94804 w 2147054"/>
                  <a:gd name="connsiteY32" fmla="*/ 1146972 h 3462334"/>
                  <a:gd name="connsiteX33" fmla="*/ 9907 w 2147054"/>
                  <a:gd name="connsiteY33" fmla="*/ 1521969 h 3462334"/>
                  <a:gd name="connsiteX34" fmla="*/ 0 w 2147054"/>
                  <a:gd name="connsiteY34" fmla="*/ 2778708 h 3462334"/>
                  <a:gd name="connsiteX0" fmla="*/ 0 w 2147054"/>
                  <a:gd name="connsiteY0" fmla="*/ 2778708 h 3462334"/>
                  <a:gd name="connsiteX1" fmla="*/ 556550 w 2147054"/>
                  <a:gd name="connsiteY1" fmla="*/ 1594571 h 3462334"/>
                  <a:gd name="connsiteX2" fmla="*/ 542073 w 2147054"/>
                  <a:gd name="connsiteY2" fmla="*/ 1512297 h 3462334"/>
                  <a:gd name="connsiteX3" fmla="*/ 368764 w 2147054"/>
                  <a:gd name="connsiteY3" fmla="*/ 1302973 h 3462334"/>
                  <a:gd name="connsiteX4" fmla="*/ 329287 w 2147054"/>
                  <a:gd name="connsiteY4" fmla="*/ 1302809 h 3462334"/>
                  <a:gd name="connsiteX5" fmla="*/ 328934 w 2147054"/>
                  <a:gd name="connsiteY5" fmla="*/ 1269031 h 3462334"/>
                  <a:gd name="connsiteX6" fmla="*/ 356286 w 2147054"/>
                  <a:gd name="connsiteY6" fmla="*/ 1268519 h 3462334"/>
                  <a:gd name="connsiteX7" fmla="*/ 353118 w 2147054"/>
                  <a:gd name="connsiteY7" fmla="*/ 1138495 h 3462334"/>
                  <a:gd name="connsiteX8" fmla="*/ 234935 w 2147054"/>
                  <a:gd name="connsiteY8" fmla="*/ 1138830 h 3462334"/>
                  <a:gd name="connsiteX9" fmla="*/ 235339 w 2147054"/>
                  <a:gd name="connsiteY9" fmla="*/ 923254 h 3462334"/>
                  <a:gd name="connsiteX10" fmla="*/ 603374 w 2147054"/>
                  <a:gd name="connsiteY10" fmla="*/ 237848 h 3462334"/>
                  <a:gd name="connsiteX11" fmla="*/ 1676542 w 2147054"/>
                  <a:gd name="connsiteY11" fmla="*/ 1356169 h 3462334"/>
                  <a:gd name="connsiteX12" fmla="*/ 1633111 w 2147054"/>
                  <a:gd name="connsiteY12" fmla="*/ 1704376 h 3462334"/>
                  <a:gd name="connsiteX13" fmla="*/ 1635524 w 2147054"/>
                  <a:gd name="connsiteY13" fmla="*/ 2591818 h 3462334"/>
                  <a:gd name="connsiteX14" fmla="*/ 1671717 w 2147054"/>
                  <a:gd name="connsiteY14" fmla="*/ 2867480 h 3462334"/>
                  <a:gd name="connsiteX15" fmla="*/ 1672802 w 2147054"/>
                  <a:gd name="connsiteY15" fmla="*/ 3043348 h 3462334"/>
                  <a:gd name="connsiteX16" fmla="*/ 1674130 w 2147054"/>
                  <a:gd name="connsiteY16" fmla="*/ 3213267 h 3462334"/>
                  <a:gd name="connsiteX17" fmla="*/ 1804424 w 2147054"/>
                  <a:gd name="connsiteY17" fmla="*/ 3462334 h 3462334"/>
                  <a:gd name="connsiteX18" fmla="*/ 1801794 w 2147054"/>
                  <a:gd name="connsiteY18" fmla="*/ 3043348 h 3462334"/>
                  <a:gd name="connsiteX19" fmla="*/ 1814077 w 2147054"/>
                  <a:gd name="connsiteY19" fmla="*/ 2969040 h 3462334"/>
                  <a:gd name="connsiteX20" fmla="*/ 1850270 w 2147054"/>
                  <a:gd name="connsiteY20" fmla="*/ 2884406 h 3462334"/>
                  <a:gd name="connsiteX21" fmla="*/ 2115686 w 2147054"/>
                  <a:gd name="connsiteY21" fmla="*/ 2642597 h 3462334"/>
                  <a:gd name="connsiteX22" fmla="*/ 2144641 w 2147054"/>
                  <a:gd name="connsiteY22" fmla="*/ 2550708 h 3462334"/>
                  <a:gd name="connsiteX23" fmla="*/ 2147054 w 2147054"/>
                  <a:gd name="connsiteY23" fmla="*/ 1750319 h 3462334"/>
                  <a:gd name="connsiteX24" fmla="*/ 2106035 w 2147054"/>
                  <a:gd name="connsiteY24" fmla="*/ 1663267 h 3462334"/>
                  <a:gd name="connsiteX25" fmla="*/ 1826140 w 2147054"/>
                  <a:gd name="connsiteY25" fmla="*/ 1385187 h 3462334"/>
                  <a:gd name="connsiteX26" fmla="*/ 1874398 w 2147054"/>
                  <a:gd name="connsiteY26" fmla="*/ 1165140 h 3462334"/>
                  <a:gd name="connsiteX27" fmla="*/ 1879986 w 2147054"/>
                  <a:gd name="connsiteY27" fmla="*/ 1081411 h 3462334"/>
                  <a:gd name="connsiteX28" fmla="*/ 1816630 w 2147054"/>
                  <a:gd name="connsiteY28" fmla="*/ 913332 h 3462334"/>
                  <a:gd name="connsiteX29" fmla="*/ 958163 w 2147054"/>
                  <a:gd name="connsiteY29" fmla="*/ 0 h 3462334"/>
                  <a:gd name="connsiteX30" fmla="*/ 109261 w 2147054"/>
                  <a:gd name="connsiteY30" fmla="*/ 858457 h 3462334"/>
                  <a:gd name="connsiteX31" fmla="*/ 94804 w 2147054"/>
                  <a:gd name="connsiteY31" fmla="*/ 1146972 h 3462334"/>
                  <a:gd name="connsiteX32" fmla="*/ 9907 w 2147054"/>
                  <a:gd name="connsiteY32" fmla="*/ 1521969 h 3462334"/>
                  <a:gd name="connsiteX33" fmla="*/ 0 w 2147054"/>
                  <a:gd name="connsiteY33" fmla="*/ 2778708 h 3462334"/>
                  <a:gd name="connsiteX0" fmla="*/ 0 w 2137147"/>
                  <a:gd name="connsiteY0" fmla="*/ 1521969 h 3462334"/>
                  <a:gd name="connsiteX1" fmla="*/ 546643 w 2137147"/>
                  <a:gd name="connsiteY1" fmla="*/ 1594571 h 3462334"/>
                  <a:gd name="connsiteX2" fmla="*/ 532166 w 2137147"/>
                  <a:gd name="connsiteY2" fmla="*/ 1512297 h 3462334"/>
                  <a:gd name="connsiteX3" fmla="*/ 358857 w 2137147"/>
                  <a:gd name="connsiteY3" fmla="*/ 1302973 h 3462334"/>
                  <a:gd name="connsiteX4" fmla="*/ 319380 w 2137147"/>
                  <a:gd name="connsiteY4" fmla="*/ 1302809 h 3462334"/>
                  <a:gd name="connsiteX5" fmla="*/ 319027 w 2137147"/>
                  <a:gd name="connsiteY5" fmla="*/ 1269031 h 3462334"/>
                  <a:gd name="connsiteX6" fmla="*/ 346379 w 2137147"/>
                  <a:gd name="connsiteY6" fmla="*/ 1268519 h 3462334"/>
                  <a:gd name="connsiteX7" fmla="*/ 343211 w 2137147"/>
                  <a:gd name="connsiteY7" fmla="*/ 1138495 h 3462334"/>
                  <a:gd name="connsiteX8" fmla="*/ 225028 w 2137147"/>
                  <a:gd name="connsiteY8" fmla="*/ 1138830 h 3462334"/>
                  <a:gd name="connsiteX9" fmla="*/ 225432 w 2137147"/>
                  <a:gd name="connsiteY9" fmla="*/ 923254 h 3462334"/>
                  <a:gd name="connsiteX10" fmla="*/ 593467 w 2137147"/>
                  <a:gd name="connsiteY10" fmla="*/ 237848 h 3462334"/>
                  <a:gd name="connsiteX11" fmla="*/ 1666635 w 2137147"/>
                  <a:gd name="connsiteY11" fmla="*/ 1356169 h 3462334"/>
                  <a:gd name="connsiteX12" fmla="*/ 1623204 w 2137147"/>
                  <a:gd name="connsiteY12" fmla="*/ 1704376 h 3462334"/>
                  <a:gd name="connsiteX13" fmla="*/ 1625617 w 2137147"/>
                  <a:gd name="connsiteY13" fmla="*/ 2591818 h 3462334"/>
                  <a:gd name="connsiteX14" fmla="*/ 1661810 w 2137147"/>
                  <a:gd name="connsiteY14" fmla="*/ 2867480 h 3462334"/>
                  <a:gd name="connsiteX15" fmla="*/ 1662895 w 2137147"/>
                  <a:gd name="connsiteY15" fmla="*/ 3043348 h 3462334"/>
                  <a:gd name="connsiteX16" fmla="*/ 1664223 w 2137147"/>
                  <a:gd name="connsiteY16" fmla="*/ 3213267 h 3462334"/>
                  <a:gd name="connsiteX17" fmla="*/ 1794517 w 2137147"/>
                  <a:gd name="connsiteY17" fmla="*/ 3462334 h 3462334"/>
                  <a:gd name="connsiteX18" fmla="*/ 1791887 w 2137147"/>
                  <a:gd name="connsiteY18" fmla="*/ 3043348 h 3462334"/>
                  <a:gd name="connsiteX19" fmla="*/ 1804170 w 2137147"/>
                  <a:gd name="connsiteY19" fmla="*/ 2969040 h 3462334"/>
                  <a:gd name="connsiteX20" fmla="*/ 1840363 w 2137147"/>
                  <a:gd name="connsiteY20" fmla="*/ 2884406 h 3462334"/>
                  <a:gd name="connsiteX21" fmla="*/ 2105779 w 2137147"/>
                  <a:gd name="connsiteY21" fmla="*/ 2642597 h 3462334"/>
                  <a:gd name="connsiteX22" fmla="*/ 2134734 w 2137147"/>
                  <a:gd name="connsiteY22" fmla="*/ 2550708 h 3462334"/>
                  <a:gd name="connsiteX23" fmla="*/ 2137147 w 2137147"/>
                  <a:gd name="connsiteY23" fmla="*/ 1750319 h 3462334"/>
                  <a:gd name="connsiteX24" fmla="*/ 2096128 w 2137147"/>
                  <a:gd name="connsiteY24" fmla="*/ 1663267 h 3462334"/>
                  <a:gd name="connsiteX25" fmla="*/ 1816233 w 2137147"/>
                  <a:gd name="connsiteY25" fmla="*/ 1385187 h 3462334"/>
                  <a:gd name="connsiteX26" fmla="*/ 1864491 w 2137147"/>
                  <a:gd name="connsiteY26" fmla="*/ 1165140 h 3462334"/>
                  <a:gd name="connsiteX27" fmla="*/ 1870079 w 2137147"/>
                  <a:gd name="connsiteY27" fmla="*/ 1081411 h 3462334"/>
                  <a:gd name="connsiteX28" fmla="*/ 1806723 w 2137147"/>
                  <a:gd name="connsiteY28" fmla="*/ 913332 h 3462334"/>
                  <a:gd name="connsiteX29" fmla="*/ 948256 w 2137147"/>
                  <a:gd name="connsiteY29" fmla="*/ 0 h 3462334"/>
                  <a:gd name="connsiteX30" fmla="*/ 99354 w 2137147"/>
                  <a:gd name="connsiteY30" fmla="*/ 858457 h 3462334"/>
                  <a:gd name="connsiteX31" fmla="*/ 84897 w 2137147"/>
                  <a:gd name="connsiteY31" fmla="*/ 1146972 h 3462334"/>
                  <a:gd name="connsiteX32" fmla="*/ 0 w 2137147"/>
                  <a:gd name="connsiteY32" fmla="*/ 1521969 h 3462334"/>
                  <a:gd name="connsiteX0" fmla="*/ 0 w 2137147"/>
                  <a:gd name="connsiteY0" fmla="*/ 1521969 h 3462334"/>
                  <a:gd name="connsiteX1" fmla="*/ 546643 w 2137147"/>
                  <a:gd name="connsiteY1" fmla="*/ 1594571 h 3462334"/>
                  <a:gd name="connsiteX2" fmla="*/ 532166 w 2137147"/>
                  <a:gd name="connsiteY2" fmla="*/ 1512297 h 3462334"/>
                  <a:gd name="connsiteX3" fmla="*/ 358857 w 2137147"/>
                  <a:gd name="connsiteY3" fmla="*/ 1302973 h 3462334"/>
                  <a:gd name="connsiteX4" fmla="*/ 319380 w 2137147"/>
                  <a:gd name="connsiteY4" fmla="*/ 1302809 h 3462334"/>
                  <a:gd name="connsiteX5" fmla="*/ 319027 w 2137147"/>
                  <a:gd name="connsiteY5" fmla="*/ 1269031 h 3462334"/>
                  <a:gd name="connsiteX6" fmla="*/ 346379 w 2137147"/>
                  <a:gd name="connsiteY6" fmla="*/ 1268519 h 3462334"/>
                  <a:gd name="connsiteX7" fmla="*/ 343211 w 2137147"/>
                  <a:gd name="connsiteY7" fmla="*/ 1138495 h 3462334"/>
                  <a:gd name="connsiteX8" fmla="*/ 225028 w 2137147"/>
                  <a:gd name="connsiteY8" fmla="*/ 1138830 h 3462334"/>
                  <a:gd name="connsiteX9" fmla="*/ 225432 w 2137147"/>
                  <a:gd name="connsiteY9" fmla="*/ 923254 h 3462334"/>
                  <a:gd name="connsiteX10" fmla="*/ 593467 w 2137147"/>
                  <a:gd name="connsiteY10" fmla="*/ 237848 h 3462334"/>
                  <a:gd name="connsiteX11" fmla="*/ 1666635 w 2137147"/>
                  <a:gd name="connsiteY11" fmla="*/ 1356169 h 3462334"/>
                  <a:gd name="connsiteX12" fmla="*/ 1623204 w 2137147"/>
                  <a:gd name="connsiteY12" fmla="*/ 1704376 h 3462334"/>
                  <a:gd name="connsiteX13" fmla="*/ 1625617 w 2137147"/>
                  <a:gd name="connsiteY13" fmla="*/ 2591818 h 3462334"/>
                  <a:gd name="connsiteX14" fmla="*/ 1661810 w 2137147"/>
                  <a:gd name="connsiteY14" fmla="*/ 2867480 h 3462334"/>
                  <a:gd name="connsiteX15" fmla="*/ 1662895 w 2137147"/>
                  <a:gd name="connsiteY15" fmla="*/ 3043348 h 3462334"/>
                  <a:gd name="connsiteX16" fmla="*/ 1794517 w 2137147"/>
                  <a:gd name="connsiteY16" fmla="*/ 3462334 h 3462334"/>
                  <a:gd name="connsiteX17" fmla="*/ 1791887 w 2137147"/>
                  <a:gd name="connsiteY17" fmla="*/ 3043348 h 3462334"/>
                  <a:gd name="connsiteX18" fmla="*/ 1804170 w 2137147"/>
                  <a:gd name="connsiteY18" fmla="*/ 2969040 h 3462334"/>
                  <a:gd name="connsiteX19" fmla="*/ 1840363 w 2137147"/>
                  <a:gd name="connsiteY19" fmla="*/ 2884406 h 3462334"/>
                  <a:gd name="connsiteX20" fmla="*/ 2105779 w 2137147"/>
                  <a:gd name="connsiteY20" fmla="*/ 2642597 h 3462334"/>
                  <a:gd name="connsiteX21" fmla="*/ 2134734 w 2137147"/>
                  <a:gd name="connsiteY21" fmla="*/ 2550708 h 3462334"/>
                  <a:gd name="connsiteX22" fmla="*/ 2137147 w 2137147"/>
                  <a:gd name="connsiteY22" fmla="*/ 1750319 h 3462334"/>
                  <a:gd name="connsiteX23" fmla="*/ 2096128 w 2137147"/>
                  <a:gd name="connsiteY23" fmla="*/ 1663267 h 3462334"/>
                  <a:gd name="connsiteX24" fmla="*/ 1816233 w 2137147"/>
                  <a:gd name="connsiteY24" fmla="*/ 1385187 h 3462334"/>
                  <a:gd name="connsiteX25" fmla="*/ 1864491 w 2137147"/>
                  <a:gd name="connsiteY25" fmla="*/ 1165140 h 3462334"/>
                  <a:gd name="connsiteX26" fmla="*/ 1870079 w 2137147"/>
                  <a:gd name="connsiteY26" fmla="*/ 1081411 h 3462334"/>
                  <a:gd name="connsiteX27" fmla="*/ 1806723 w 2137147"/>
                  <a:gd name="connsiteY27" fmla="*/ 913332 h 3462334"/>
                  <a:gd name="connsiteX28" fmla="*/ 948256 w 2137147"/>
                  <a:gd name="connsiteY28" fmla="*/ 0 h 3462334"/>
                  <a:gd name="connsiteX29" fmla="*/ 99354 w 2137147"/>
                  <a:gd name="connsiteY29" fmla="*/ 858457 h 3462334"/>
                  <a:gd name="connsiteX30" fmla="*/ 84897 w 2137147"/>
                  <a:gd name="connsiteY30" fmla="*/ 1146972 h 3462334"/>
                  <a:gd name="connsiteX31" fmla="*/ 0 w 2137147"/>
                  <a:gd name="connsiteY31" fmla="*/ 1521969 h 3462334"/>
                  <a:gd name="connsiteX0" fmla="*/ 0 w 2137147"/>
                  <a:gd name="connsiteY0" fmla="*/ 1521969 h 3059583"/>
                  <a:gd name="connsiteX1" fmla="*/ 546643 w 2137147"/>
                  <a:gd name="connsiteY1" fmla="*/ 1594571 h 3059583"/>
                  <a:gd name="connsiteX2" fmla="*/ 532166 w 2137147"/>
                  <a:gd name="connsiteY2" fmla="*/ 1512297 h 3059583"/>
                  <a:gd name="connsiteX3" fmla="*/ 358857 w 2137147"/>
                  <a:gd name="connsiteY3" fmla="*/ 1302973 h 3059583"/>
                  <a:gd name="connsiteX4" fmla="*/ 319380 w 2137147"/>
                  <a:gd name="connsiteY4" fmla="*/ 1302809 h 3059583"/>
                  <a:gd name="connsiteX5" fmla="*/ 319027 w 2137147"/>
                  <a:gd name="connsiteY5" fmla="*/ 1269031 h 3059583"/>
                  <a:gd name="connsiteX6" fmla="*/ 346379 w 2137147"/>
                  <a:gd name="connsiteY6" fmla="*/ 1268519 h 3059583"/>
                  <a:gd name="connsiteX7" fmla="*/ 343211 w 2137147"/>
                  <a:gd name="connsiteY7" fmla="*/ 1138495 h 3059583"/>
                  <a:gd name="connsiteX8" fmla="*/ 225028 w 2137147"/>
                  <a:gd name="connsiteY8" fmla="*/ 1138830 h 3059583"/>
                  <a:gd name="connsiteX9" fmla="*/ 225432 w 2137147"/>
                  <a:gd name="connsiteY9" fmla="*/ 923254 h 3059583"/>
                  <a:gd name="connsiteX10" fmla="*/ 593467 w 2137147"/>
                  <a:gd name="connsiteY10" fmla="*/ 237848 h 3059583"/>
                  <a:gd name="connsiteX11" fmla="*/ 1666635 w 2137147"/>
                  <a:gd name="connsiteY11" fmla="*/ 1356169 h 3059583"/>
                  <a:gd name="connsiteX12" fmla="*/ 1623204 w 2137147"/>
                  <a:gd name="connsiteY12" fmla="*/ 1704376 h 3059583"/>
                  <a:gd name="connsiteX13" fmla="*/ 1625617 w 2137147"/>
                  <a:gd name="connsiteY13" fmla="*/ 2591818 h 3059583"/>
                  <a:gd name="connsiteX14" fmla="*/ 1661810 w 2137147"/>
                  <a:gd name="connsiteY14" fmla="*/ 2867480 h 3059583"/>
                  <a:gd name="connsiteX15" fmla="*/ 1662895 w 2137147"/>
                  <a:gd name="connsiteY15" fmla="*/ 3043348 h 3059583"/>
                  <a:gd name="connsiteX16" fmla="*/ 1791887 w 2137147"/>
                  <a:gd name="connsiteY16" fmla="*/ 3043348 h 3059583"/>
                  <a:gd name="connsiteX17" fmla="*/ 1804170 w 2137147"/>
                  <a:gd name="connsiteY17" fmla="*/ 2969040 h 3059583"/>
                  <a:gd name="connsiteX18" fmla="*/ 1840363 w 2137147"/>
                  <a:gd name="connsiteY18" fmla="*/ 2884406 h 3059583"/>
                  <a:gd name="connsiteX19" fmla="*/ 2105779 w 2137147"/>
                  <a:gd name="connsiteY19" fmla="*/ 2642597 h 3059583"/>
                  <a:gd name="connsiteX20" fmla="*/ 2134734 w 2137147"/>
                  <a:gd name="connsiteY20" fmla="*/ 2550708 h 3059583"/>
                  <a:gd name="connsiteX21" fmla="*/ 2137147 w 2137147"/>
                  <a:gd name="connsiteY21" fmla="*/ 1750319 h 3059583"/>
                  <a:gd name="connsiteX22" fmla="*/ 2096128 w 2137147"/>
                  <a:gd name="connsiteY22" fmla="*/ 1663267 h 3059583"/>
                  <a:gd name="connsiteX23" fmla="*/ 1816233 w 2137147"/>
                  <a:gd name="connsiteY23" fmla="*/ 1385187 h 3059583"/>
                  <a:gd name="connsiteX24" fmla="*/ 1864491 w 2137147"/>
                  <a:gd name="connsiteY24" fmla="*/ 1165140 h 3059583"/>
                  <a:gd name="connsiteX25" fmla="*/ 1870079 w 2137147"/>
                  <a:gd name="connsiteY25" fmla="*/ 1081411 h 3059583"/>
                  <a:gd name="connsiteX26" fmla="*/ 1806723 w 2137147"/>
                  <a:gd name="connsiteY26" fmla="*/ 913332 h 3059583"/>
                  <a:gd name="connsiteX27" fmla="*/ 948256 w 2137147"/>
                  <a:gd name="connsiteY27" fmla="*/ 0 h 3059583"/>
                  <a:gd name="connsiteX28" fmla="*/ 99354 w 2137147"/>
                  <a:gd name="connsiteY28" fmla="*/ 858457 h 3059583"/>
                  <a:gd name="connsiteX29" fmla="*/ 84897 w 2137147"/>
                  <a:gd name="connsiteY29" fmla="*/ 1146972 h 3059583"/>
                  <a:gd name="connsiteX30" fmla="*/ 0 w 2137147"/>
                  <a:gd name="connsiteY30" fmla="*/ 1521969 h 3059583"/>
                  <a:gd name="connsiteX0" fmla="*/ 0 w 2137147"/>
                  <a:gd name="connsiteY0" fmla="*/ 1521969 h 3059583"/>
                  <a:gd name="connsiteX1" fmla="*/ 532166 w 2137147"/>
                  <a:gd name="connsiteY1" fmla="*/ 1512297 h 3059583"/>
                  <a:gd name="connsiteX2" fmla="*/ 358857 w 2137147"/>
                  <a:gd name="connsiteY2" fmla="*/ 1302973 h 3059583"/>
                  <a:gd name="connsiteX3" fmla="*/ 319380 w 2137147"/>
                  <a:gd name="connsiteY3" fmla="*/ 1302809 h 3059583"/>
                  <a:gd name="connsiteX4" fmla="*/ 319027 w 2137147"/>
                  <a:gd name="connsiteY4" fmla="*/ 1269031 h 3059583"/>
                  <a:gd name="connsiteX5" fmla="*/ 346379 w 2137147"/>
                  <a:gd name="connsiteY5" fmla="*/ 1268519 h 3059583"/>
                  <a:gd name="connsiteX6" fmla="*/ 343211 w 2137147"/>
                  <a:gd name="connsiteY6" fmla="*/ 1138495 h 3059583"/>
                  <a:gd name="connsiteX7" fmla="*/ 225028 w 2137147"/>
                  <a:gd name="connsiteY7" fmla="*/ 1138830 h 3059583"/>
                  <a:gd name="connsiteX8" fmla="*/ 225432 w 2137147"/>
                  <a:gd name="connsiteY8" fmla="*/ 923254 h 3059583"/>
                  <a:gd name="connsiteX9" fmla="*/ 593467 w 2137147"/>
                  <a:gd name="connsiteY9" fmla="*/ 237848 h 3059583"/>
                  <a:gd name="connsiteX10" fmla="*/ 1666635 w 2137147"/>
                  <a:gd name="connsiteY10" fmla="*/ 1356169 h 3059583"/>
                  <a:gd name="connsiteX11" fmla="*/ 1623204 w 2137147"/>
                  <a:gd name="connsiteY11" fmla="*/ 1704376 h 3059583"/>
                  <a:gd name="connsiteX12" fmla="*/ 1625617 w 2137147"/>
                  <a:gd name="connsiteY12" fmla="*/ 2591818 h 3059583"/>
                  <a:gd name="connsiteX13" fmla="*/ 1661810 w 2137147"/>
                  <a:gd name="connsiteY13" fmla="*/ 2867480 h 3059583"/>
                  <a:gd name="connsiteX14" fmla="*/ 1662895 w 2137147"/>
                  <a:gd name="connsiteY14" fmla="*/ 3043348 h 3059583"/>
                  <a:gd name="connsiteX15" fmla="*/ 1791887 w 2137147"/>
                  <a:gd name="connsiteY15" fmla="*/ 3043348 h 3059583"/>
                  <a:gd name="connsiteX16" fmla="*/ 1804170 w 2137147"/>
                  <a:gd name="connsiteY16" fmla="*/ 2969040 h 3059583"/>
                  <a:gd name="connsiteX17" fmla="*/ 1840363 w 2137147"/>
                  <a:gd name="connsiteY17" fmla="*/ 2884406 h 3059583"/>
                  <a:gd name="connsiteX18" fmla="*/ 2105779 w 2137147"/>
                  <a:gd name="connsiteY18" fmla="*/ 2642597 h 3059583"/>
                  <a:gd name="connsiteX19" fmla="*/ 2134734 w 2137147"/>
                  <a:gd name="connsiteY19" fmla="*/ 2550708 h 3059583"/>
                  <a:gd name="connsiteX20" fmla="*/ 2137147 w 2137147"/>
                  <a:gd name="connsiteY20" fmla="*/ 1750319 h 3059583"/>
                  <a:gd name="connsiteX21" fmla="*/ 2096128 w 2137147"/>
                  <a:gd name="connsiteY21" fmla="*/ 1663267 h 3059583"/>
                  <a:gd name="connsiteX22" fmla="*/ 1816233 w 2137147"/>
                  <a:gd name="connsiteY22" fmla="*/ 1385187 h 3059583"/>
                  <a:gd name="connsiteX23" fmla="*/ 1864491 w 2137147"/>
                  <a:gd name="connsiteY23" fmla="*/ 1165140 h 3059583"/>
                  <a:gd name="connsiteX24" fmla="*/ 1870079 w 2137147"/>
                  <a:gd name="connsiteY24" fmla="*/ 1081411 h 3059583"/>
                  <a:gd name="connsiteX25" fmla="*/ 1806723 w 2137147"/>
                  <a:gd name="connsiteY25" fmla="*/ 913332 h 3059583"/>
                  <a:gd name="connsiteX26" fmla="*/ 948256 w 2137147"/>
                  <a:gd name="connsiteY26" fmla="*/ 0 h 3059583"/>
                  <a:gd name="connsiteX27" fmla="*/ 99354 w 2137147"/>
                  <a:gd name="connsiteY27" fmla="*/ 858457 h 3059583"/>
                  <a:gd name="connsiteX28" fmla="*/ 84897 w 2137147"/>
                  <a:gd name="connsiteY28" fmla="*/ 1146972 h 3059583"/>
                  <a:gd name="connsiteX29" fmla="*/ 0 w 2137147"/>
                  <a:gd name="connsiteY29" fmla="*/ 1521969 h 3059583"/>
                  <a:gd name="connsiteX0" fmla="*/ 0 w 2137147"/>
                  <a:gd name="connsiteY0" fmla="*/ 1521969 h 3059583"/>
                  <a:gd name="connsiteX1" fmla="*/ 358857 w 2137147"/>
                  <a:gd name="connsiteY1" fmla="*/ 1302973 h 3059583"/>
                  <a:gd name="connsiteX2" fmla="*/ 319380 w 2137147"/>
                  <a:gd name="connsiteY2" fmla="*/ 1302809 h 3059583"/>
                  <a:gd name="connsiteX3" fmla="*/ 319027 w 2137147"/>
                  <a:gd name="connsiteY3" fmla="*/ 1269031 h 3059583"/>
                  <a:gd name="connsiteX4" fmla="*/ 346379 w 2137147"/>
                  <a:gd name="connsiteY4" fmla="*/ 1268519 h 3059583"/>
                  <a:gd name="connsiteX5" fmla="*/ 343211 w 2137147"/>
                  <a:gd name="connsiteY5" fmla="*/ 1138495 h 3059583"/>
                  <a:gd name="connsiteX6" fmla="*/ 225028 w 2137147"/>
                  <a:gd name="connsiteY6" fmla="*/ 1138830 h 3059583"/>
                  <a:gd name="connsiteX7" fmla="*/ 225432 w 2137147"/>
                  <a:gd name="connsiteY7" fmla="*/ 923254 h 3059583"/>
                  <a:gd name="connsiteX8" fmla="*/ 593467 w 2137147"/>
                  <a:gd name="connsiteY8" fmla="*/ 237848 h 3059583"/>
                  <a:gd name="connsiteX9" fmla="*/ 1666635 w 2137147"/>
                  <a:gd name="connsiteY9" fmla="*/ 1356169 h 3059583"/>
                  <a:gd name="connsiteX10" fmla="*/ 1623204 w 2137147"/>
                  <a:gd name="connsiteY10" fmla="*/ 1704376 h 3059583"/>
                  <a:gd name="connsiteX11" fmla="*/ 1625617 w 2137147"/>
                  <a:gd name="connsiteY11" fmla="*/ 2591818 h 3059583"/>
                  <a:gd name="connsiteX12" fmla="*/ 1661810 w 2137147"/>
                  <a:gd name="connsiteY12" fmla="*/ 2867480 h 3059583"/>
                  <a:gd name="connsiteX13" fmla="*/ 1662895 w 2137147"/>
                  <a:gd name="connsiteY13" fmla="*/ 3043348 h 3059583"/>
                  <a:gd name="connsiteX14" fmla="*/ 1791887 w 2137147"/>
                  <a:gd name="connsiteY14" fmla="*/ 3043348 h 3059583"/>
                  <a:gd name="connsiteX15" fmla="*/ 1804170 w 2137147"/>
                  <a:gd name="connsiteY15" fmla="*/ 2969040 h 3059583"/>
                  <a:gd name="connsiteX16" fmla="*/ 1840363 w 2137147"/>
                  <a:gd name="connsiteY16" fmla="*/ 2884406 h 3059583"/>
                  <a:gd name="connsiteX17" fmla="*/ 2105779 w 2137147"/>
                  <a:gd name="connsiteY17" fmla="*/ 2642597 h 3059583"/>
                  <a:gd name="connsiteX18" fmla="*/ 2134734 w 2137147"/>
                  <a:gd name="connsiteY18" fmla="*/ 2550708 h 3059583"/>
                  <a:gd name="connsiteX19" fmla="*/ 2137147 w 2137147"/>
                  <a:gd name="connsiteY19" fmla="*/ 1750319 h 3059583"/>
                  <a:gd name="connsiteX20" fmla="*/ 2096128 w 2137147"/>
                  <a:gd name="connsiteY20" fmla="*/ 1663267 h 3059583"/>
                  <a:gd name="connsiteX21" fmla="*/ 1816233 w 2137147"/>
                  <a:gd name="connsiteY21" fmla="*/ 1385187 h 3059583"/>
                  <a:gd name="connsiteX22" fmla="*/ 1864491 w 2137147"/>
                  <a:gd name="connsiteY22" fmla="*/ 1165140 h 3059583"/>
                  <a:gd name="connsiteX23" fmla="*/ 1870079 w 2137147"/>
                  <a:gd name="connsiteY23" fmla="*/ 1081411 h 3059583"/>
                  <a:gd name="connsiteX24" fmla="*/ 1806723 w 2137147"/>
                  <a:gd name="connsiteY24" fmla="*/ 913332 h 3059583"/>
                  <a:gd name="connsiteX25" fmla="*/ 948256 w 2137147"/>
                  <a:gd name="connsiteY25" fmla="*/ 0 h 3059583"/>
                  <a:gd name="connsiteX26" fmla="*/ 99354 w 2137147"/>
                  <a:gd name="connsiteY26" fmla="*/ 858457 h 3059583"/>
                  <a:gd name="connsiteX27" fmla="*/ 84897 w 2137147"/>
                  <a:gd name="connsiteY27" fmla="*/ 1146972 h 3059583"/>
                  <a:gd name="connsiteX28" fmla="*/ 0 w 2137147"/>
                  <a:gd name="connsiteY28" fmla="*/ 1521969 h 3059583"/>
                  <a:gd name="connsiteX0" fmla="*/ 0 w 2137147"/>
                  <a:gd name="connsiteY0" fmla="*/ 1521969 h 3059583"/>
                  <a:gd name="connsiteX1" fmla="*/ 319380 w 2137147"/>
                  <a:gd name="connsiteY1" fmla="*/ 1302809 h 3059583"/>
                  <a:gd name="connsiteX2" fmla="*/ 319027 w 2137147"/>
                  <a:gd name="connsiteY2" fmla="*/ 1269031 h 3059583"/>
                  <a:gd name="connsiteX3" fmla="*/ 346379 w 2137147"/>
                  <a:gd name="connsiteY3" fmla="*/ 1268519 h 3059583"/>
                  <a:gd name="connsiteX4" fmla="*/ 343211 w 2137147"/>
                  <a:gd name="connsiteY4" fmla="*/ 1138495 h 3059583"/>
                  <a:gd name="connsiteX5" fmla="*/ 225028 w 2137147"/>
                  <a:gd name="connsiteY5" fmla="*/ 1138830 h 3059583"/>
                  <a:gd name="connsiteX6" fmla="*/ 225432 w 2137147"/>
                  <a:gd name="connsiteY6" fmla="*/ 923254 h 3059583"/>
                  <a:gd name="connsiteX7" fmla="*/ 593467 w 2137147"/>
                  <a:gd name="connsiteY7" fmla="*/ 237848 h 3059583"/>
                  <a:gd name="connsiteX8" fmla="*/ 1666635 w 2137147"/>
                  <a:gd name="connsiteY8" fmla="*/ 1356169 h 3059583"/>
                  <a:gd name="connsiteX9" fmla="*/ 1623204 w 2137147"/>
                  <a:gd name="connsiteY9" fmla="*/ 1704376 h 3059583"/>
                  <a:gd name="connsiteX10" fmla="*/ 1625617 w 2137147"/>
                  <a:gd name="connsiteY10" fmla="*/ 2591818 h 3059583"/>
                  <a:gd name="connsiteX11" fmla="*/ 1661810 w 2137147"/>
                  <a:gd name="connsiteY11" fmla="*/ 2867480 h 3059583"/>
                  <a:gd name="connsiteX12" fmla="*/ 1662895 w 2137147"/>
                  <a:gd name="connsiteY12" fmla="*/ 3043348 h 3059583"/>
                  <a:gd name="connsiteX13" fmla="*/ 1791887 w 2137147"/>
                  <a:gd name="connsiteY13" fmla="*/ 3043348 h 3059583"/>
                  <a:gd name="connsiteX14" fmla="*/ 1804170 w 2137147"/>
                  <a:gd name="connsiteY14" fmla="*/ 2969040 h 3059583"/>
                  <a:gd name="connsiteX15" fmla="*/ 1840363 w 2137147"/>
                  <a:gd name="connsiteY15" fmla="*/ 2884406 h 3059583"/>
                  <a:gd name="connsiteX16" fmla="*/ 2105779 w 2137147"/>
                  <a:gd name="connsiteY16" fmla="*/ 2642597 h 3059583"/>
                  <a:gd name="connsiteX17" fmla="*/ 2134734 w 2137147"/>
                  <a:gd name="connsiteY17" fmla="*/ 2550708 h 3059583"/>
                  <a:gd name="connsiteX18" fmla="*/ 2137147 w 2137147"/>
                  <a:gd name="connsiteY18" fmla="*/ 1750319 h 3059583"/>
                  <a:gd name="connsiteX19" fmla="*/ 2096128 w 2137147"/>
                  <a:gd name="connsiteY19" fmla="*/ 1663267 h 3059583"/>
                  <a:gd name="connsiteX20" fmla="*/ 1816233 w 2137147"/>
                  <a:gd name="connsiteY20" fmla="*/ 1385187 h 3059583"/>
                  <a:gd name="connsiteX21" fmla="*/ 1864491 w 2137147"/>
                  <a:gd name="connsiteY21" fmla="*/ 1165140 h 3059583"/>
                  <a:gd name="connsiteX22" fmla="*/ 1870079 w 2137147"/>
                  <a:gd name="connsiteY22" fmla="*/ 1081411 h 3059583"/>
                  <a:gd name="connsiteX23" fmla="*/ 1806723 w 2137147"/>
                  <a:gd name="connsiteY23" fmla="*/ 913332 h 3059583"/>
                  <a:gd name="connsiteX24" fmla="*/ 948256 w 2137147"/>
                  <a:gd name="connsiteY24" fmla="*/ 0 h 3059583"/>
                  <a:gd name="connsiteX25" fmla="*/ 99354 w 2137147"/>
                  <a:gd name="connsiteY25" fmla="*/ 858457 h 3059583"/>
                  <a:gd name="connsiteX26" fmla="*/ 84897 w 2137147"/>
                  <a:gd name="connsiteY26" fmla="*/ 1146972 h 3059583"/>
                  <a:gd name="connsiteX27" fmla="*/ 0 w 2137147"/>
                  <a:gd name="connsiteY27" fmla="*/ 1521969 h 3059583"/>
                  <a:gd name="connsiteX0" fmla="*/ 0 w 2137147"/>
                  <a:gd name="connsiteY0" fmla="*/ 1521969 h 3059583"/>
                  <a:gd name="connsiteX1" fmla="*/ 319027 w 2137147"/>
                  <a:gd name="connsiteY1" fmla="*/ 1269031 h 3059583"/>
                  <a:gd name="connsiteX2" fmla="*/ 346379 w 2137147"/>
                  <a:gd name="connsiteY2" fmla="*/ 1268519 h 3059583"/>
                  <a:gd name="connsiteX3" fmla="*/ 343211 w 2137147"/>
                  <a:gd name="connsiteY3" fmla="*/ 1138495 h 3059583"/>
                  <a:gd name="connsiteX4" fmla="*/ 225028 w 2137147"/>
                  <a:gd name="connsiteY4" fmla="*/ 1138830 h 3059583"/>
                  <a:gd name="connsiteX5" fmla="*/ 225432 w 2137147"/>
                  <a:gd name="connsiteY5" fmla="*/ 923254 h 3059583"/>
                  <a:gd name="connsiteX6" fmla="*/ 593467 w 2137147"/>
                  <a:gd name="connsiteY6" fmla="*/ 237848 h 3059583"/>
                  <a:gd name="connsiteX7" fmla="*/ 1666635 w 2137147"/>
                  <a:gd name="connsiteY7" fmla="*/ 1356169 h 3059583"/>
                  <a:gd name="connsiteX8" fmla="*/ 1623204 w 2137147"/>
                  <a:gd name="connsiteY8" fmla="*/ 1704376 h 3059583"/>
                  <a:gd name="connsiteX9" fmla="*/ 1625617 w 2137147"/>
                  <a:gd name="connsiteY9" fmla="*/ 2591818 h 3059583"/>
                  <a:gd name="connsiteX10" fmla="*/ 1661810 w 2137147"/>
                  <a:gd name="connsiteY10" fmla="*/ 2867480 h 3059583"/>
                  <a:gd name="connsiteX11" fmla="*/ 1662895 w 2137147"/>
                  <a:gd name="connsiteY11" fmla="*/ 3043348 h 3059583"/>
                  <a:gd name="connsiteX12" fmla="*/ 1791887 w 2137147"/>
                  <a:gd name="connsiteY12" fmla="*/ 3043348 h 3059583"/>
                  <a:gd name="connsiteX13" fmla="*/ 1804170 w 2137147"/>
                  <a:gd name="connsiteY13" fmla="*/ 2969040 h 3059583"/>
                  <a:gd name="connsiteX14" fmla="*/ 1840363 w 2137147"/>
                  <a:gd name="connsiteY14" fmla="*/ 2884406 h 3059583"/>
                  <a:gd name="connsiteX15" fmla="*/ 2105779 w 2137147"/>
                  <a:gd name="connsiteY15" fmla="*/ 2642597 h 3059583"/>
                  <a:gd name="connsiteX16" fmla="*/ 2134734 w 2137147"/>
                  <a:gd name="connsiteY16" fmla="*/ 2550708 h 3059583"/>
                  <a:gd name="connsiteX17" fmla="*/ 2137147 w 2137147"/>
                  <a:gd name="connsiteY17" fmla="*/ 1750319 h 3059583"/>
                  <a:gd name="connsiteX18" fmla="*/ 2096128 w 2137147"/>
                  <a:gd name="connsiteY18" fmla="*/ 1663267 h 3059583"/>
                  <a:gd name="connsiteX19" fmla="*/ 1816233 w 2137147"/>
                  <a:gd name="connsiteY19" fmla="*/ 1385187 h 3059583"/>
                  <a:gd name="connsiteX20" fmla="*/ 1864491 w 2137147"/>
                  <a:gd name="connsiteY20" fmla="*/ 1165140 h 3059583"/>
                  <a:gd name="connsiteX21" fmla="*/ 1870079 w 2137147"/>
                  <a:gd name="connsiteY21" fmla="*/ 1081411 h 3059583"/>
                  <a:gd name="connsiteX22" fmla="*/ 1806723 w 2137147"/>
                  <a:gd name="connsiteY22" fmla="*/ 913332 h 3059583"/>
                  <a:gd name="connsiteX23" fmla="*/ 948256 w 2137147"/>
                  <a:gd name="connsiteY23" fmla="*/ 0 h 3059583"/>
                  <a:gd name="connsiteX24" fmla="*/ 99354 w 2137147"/>
                  <a:gd name="connsiteY24" fmla="*/ 858457 h 3059583"/>
                  <a:gd name="connsiteX25" fmla="*/ 84897 w 2137147"/>
                  <a:gd name="connsiteY25" fmla="*/ 1146972 h 3059583"/>
                  <a:gd name="connsiteX26" fmla="*/ 0 w 2137147"/>
                  <a:gd name="connsiteY26" fmla="*/ 1521969 h 3059583"/>
                  <a:gd name="connsiteX0" fmla="*/ 0 w 2137147"/>
                  <a:gd name="connsiteY0" fmla="*/ 1521969 h 3059583"/>
                  <a:gd name="connsiteX1" fmla="*/ 319027 w 2137147"/>
                  <a:gd name="connsiteY1" fmla="*/ 1269031 h 3059583"/>
                  <a:gd name="connsiteX2" fmla="*/ 343211 w 2137147"/>
                  <a:gd name="connsiteY2" fmla="*/ 1138495 h 3059583"/>
                  <a:gd name="connsiteX3" fmla="*/ 225028 w 2137147"/>
                  <a:gd name="connsiteY3" fmla="*/ 1138830 h 3059583"/>
                  <a:gd name="connsiteX4" fmla="*/ 225432 w 2137147"/>
                  <a:gd name="connsiteY4" fmla="*/ 923254 h 3059583"/>
                  <a:gd name="connsiteX5" fmla="*/ 593467 w 2137147"/>
                  <a:gd name="connsiteY5" fmla="*/ 237848 h 3059583"/>
                  <a:gd name="connsiteX6" fmla="*/ 1666635 w 2137147"/>
                  <a:gd name="connsiteY6" fmla="*/ 1356169 h 3059583"/>
                  <a:gd name="connsiteX7" fmla="*/ 1623204 w 2137147"/>
                  <a:gd name="connsiteY7" fmla="*/ 1704376 h 3059583"/>
                  <a:gd name="connsiteX8" fmla="*/ 1625617 w 2137147"/>
                  <a:gd name="connsiteY8" fmla="*/ 2591818 h 3059583"/>
                  <a:gd name="connsiteX9" fmla="*/ 1661810 w 2137147"/>
                  <a:gd name="connsiteY9" fmla="*/ 2867480 h 3059583"/>
                  <a:gd name="connsiteX10" fmla="*/ 1662895 w 2137147"/>
                  <a:gd name="connsiteY10" fmla="*/ 3043348 h 3059583"/>
                  <a:gd name="connsiteX11" fmla="*/ 1791887 w 2137147"/>
                  <a:gd name="connsiteY11" fmla="*/ 3043348 h 3059583"/>
                  <a:gd name="connsiteX12" fmla="*/ 1804170 w 2137147"/>
                  <a:gd name="connsiteY12" fmla="*/ 2969040 h 3059583"/>
                  <a:gd name="connsiteX13" fmla="*/ 1840363 w 2137147"/>
                  <a:gd name="connsiteY13" fmla="*/ 2884406 h 3059583"/>
                  <a:gd name="connsiteX14" fmla="*/ 2105779 w 2137147"/>
                  <a:gd name="connsiteY14" fmla="*/ 2642597 h 3059583"/>
                  <a:gd name="connsiteX15" fmla="*/ 2134734 w 2137147"/>
                  <a:gd name="connsiteY15" fmla="*/ 2550708 h 3059583"/>
                  <a:gd name="connsiteX16" fmla="*/ 2137147 w 2137147"/>
                  <a:gd name="connsiteY16" fmla="*/ 1750319 h 3059583"/>
                  <a:gd name="connsiteX17" fmla="*/ 2096128 w 2137147"/>
                  <a:gd name="connsiteY17" fmla="*/ 1663267 h 3059583"/>
                  <a:gd name="connsiteX18" fmla="*/ 1816233 w 2137147"/>
                  <a:gd name="connsiteY18" fmla="*/ 1385187 h 3059583"/>
                  <a:gd name="connsiteX19" fmla="*/ 1864491 w 2137147"/>
                  <a:gd name="connsiteY19" fmla="*/ 1165140 h 3059583"/>
                  <a:gd name="connsiteX20" fmla="*/ 1870079 w 2137147"/>
                  <a:gd name="connsiteY20" fmla="*/ 1081411 h 3059583"/>
                  <a:gd name="connsiteX21" fmla="*/ 1806723 w 2137147"/>
                  <a:gd name="connsiteY21" fmla="*/ 913332 h 3059583"/>
                  <a:gd name="connsiteX22" fmla="*/ 948256 w 2137147"/>
                  <a:gd name="connsiteY22" fmla="*/ 0 h 3059583"/>
                  <a:gd name="connsiteX23" fmla="*/ 99354 w 2137147"/>
                  <a:gd name="connsiteY23" fmla="*/ 858457 h 3059583"/>
                  <a:gd name="connsiteX24" fmla="*/ 84897 w 2137147"/>
                  <a:gd name="connsiteY24" fmla="*/ 1146972 h 3059583"/>
                  <a:gd name="connsiteX25" fmla="*/ 0 w 2137147"/>
                  <a:gd name="connsiteY25" fmla="*/ 1521969 h 3059583"/>
                  <a:gd name="connsiteX0" fmla="*/ 0 w 2137147"/>
                  <a:gd name="connsiteY0" fmla="*/ 1521969 h 3059583"/>
                  <a:gd name="connsiteX1" fmla="*/ 343211 w 2137147"/>
                  <a:gd name="connsiteY1" fmla="*/ 1138495 h 3059583"/>
                  <a:gd name="connsiteX2" fmla="*/ 225028 w 2137147"/>
                  <a:gd name="connsiteY2" fmla="*/ 1138830 h 3059583"/>
                  <a:gd name="connsiteX3" fmla="*/ 225432 w 2137147"/>
                  <a:gd name="connsiteY3" fmla="*/ 923254 h 3059583"/>
                  <a:gd name="connsiteX4" fmla="*/ 593467 w 2137147"/>
                  <a:gd name="connsiteY4" fmla="*/ 237848 h 3059583"/>
                  <a:gd name="connsiteX5" fmla="*/ 1666635 w 2137147"/>
                  <a:gd name="connsiteY5" fmla="*/ 1356169 h 3059583"/>
                  <a:gd name="connsiteX6" fmla="*/ 1623204 w 2137147"/>
                  <a:gd name="connsiteY6" fmla="*/ 1704376 h 3059583"/>
                  <a:gd name="connsiteX7" fmla="*/ 1625617 w 2137147"/>
                  <a:gd name="connsiteY7" fmla="*/ 2591818 h 3059583"/>
                  <a:gd name="connsiteX8" fmla="*/ 1661810 w 2137147"/>
                  <a:gd name="connsiteY8" fmla="*/ 2867480 h 3059583"/>
                  <a:gd name="connsiteX9" fmla="*/ 1662895 w 2137147"/>
                  <a:gd name="connsiteY9" fmla="*/ 3043348 h 3059583"/>
                  <a:gd name="connsiteX10" fmla="*/ 1791887 w 2137147"/>
                  <a:gd name="connsiteY10" fmla="*/ 3043348 h 3059583"/>
                  <a:gd name="connsiteX11" fmla="*/ 1804170 w 2137147"/>
                  <a:gd name="connsiteY11" fmla="*/ 2969040 h 3059583"/>
                  <a:gd name="connsiteX12" fmla="*/ 1840363 w 2137147"/>
                  <a:gd name="connsiteY12" fmla="*/ 2884406 h 3059583"/>
                  <a:gd name="connsiteX13" fmla="*/ 2105779 w 2137147"/>
                  <a:gd name="connsiteY13" fmla="*/ 2642597 h 3059583"/>
                  <a:gd name="connsiteX14" fmla="*/ 2134734 w 2137147"/>
                  <a:gd name="connsiteY14" fmla="*/ 2550708 h 3059583"/>
                  <a:gd name="connsiteX15" fmla="*/ 2137147 w 2137147"/>
                  <a:gd name="connsiteY15" fmla="*/ 1750319 h 3059583"/>
                  <a:gd name="connsiteX16" fmla="*/ 2096128 w 2137147"/>
                  <a:gd name="connsiteY16" fmla="*/ 1663267 h 3059583"/>
                  <a:gd name="connsiteX17" fmla="*/ 1816233 w 2137147"/>
                  <a:gd name="connsiteY17" fmla="*/ 1385187 h 3059583"/>
                  <a:gd name="connsiteX18" fmla="*/ 1864491 w 2137147"/>
                  <a:gd name="connsiteY18" fmla="*/ 1165140 h 3059583"/>
                  <a:gd name="connsiteX19" fmla="*/ 1870079 w 2137147"/>
                  <a:gd name="connsiteY19" fmla="*/ 1081411 h 3059583"/>
                  <a:gd name="connsiteX20" fmla="*/ 1806723 w 2137147"/>
                  <a:gd name="connsiteY20" fmla="*/ 913332 h 3059583"/>
                  <a:gd name="connsiteX21" fmla="*/ 948256 w 2137147"/>
                  <a:gd name="connsiteY21" fmla="*/ 0 h 3059583"/>
                  <a:gd name="connsiteX22" fmla="*/ 99354 w 2137147"/>
                  <a:gd name="connsiteY22" fmla="*/ 858457 h 3059583"/>
                  <a:gd name="connsiteX23" fmla="*/ 84897 w 2137147"/>
                  <a:gd name="connsiteY23" fmla="*/ 1146972 h 3059583"/>
                  <a:gd name="connsiteX24" fmla="*/ 0 w 2137147"/>
                  <a:gd name="connsiteY24" fmla="*/ 1521969 h 3059583"/>
                  <a:gd name="connsiteX0" fmla="*/ 0 w 2137147"/>
                  <a:gd name="connsiteY0" fmla="*/ 1521969 h 3059583"/>
                  <a:gd name="connsiteX1" fmla="*/ 225028 w 2137147"/>
                  <a:gd name="connsiteY1" fmla="*/ 1138830 h 3059583"/>
                  <a:gd name="connsiteX2" fmla="*/ 225432 w 2137147"/>
                  <a:gd name="connsiteY2" fmla="*/ 923254 h 3059583"/>
                  <a:gd name="connsiteX3" fmla="*/ 593467 w 2137147"/>
                  <a:gd name="connsiteY3" fmla="*/ 237848 h 3059583"/>
                  <a:gd name="connsiteX4" fmla="*/ 1666635 w 2137147"/>
                  <a:gd name="connsiteY4" fmla="*/ 1356169 h 3059583"/>
                  <a:gd name="connsiteX5" fmla="*/ 1623204 w 2137147"/>
                  <a:gd name="connsiteY5" fmla="*/ 1704376 h 3059583"/>
                  <a:gd name="connsiteX6" fmla="*/ 1625617 w 2137147"/>
                  <a:gd name="connsiteY6" fmla="*/ 2591818 h 3059583"/>
                  <a:gd name="connsiteX7" fmla="*/ 1661810 w 2137147"/>
                  <a:gd name="connsiteY7" fmla="*/ 2867480 h 3059583"/>
                  <a:gd name="connsiteX8" fmla="*/ 1662895 w 2137147"/>
                  <a:gd name="connsiteY8" fmla="*/ 3043348 h 3059583"/>
                  <a:gd name="connsiteX9" fmla="*/ 1791887 w 2137147"/>
                  <a:gd name="connsiteY9" fmla="*/ 3043348 h 3059583"/>
                  <a:gd name="connsiteX10" fmla="*/ 1804170 w 2137147"/>
                  <a:gd name="connsiteY10" fmla="*/ 2969040 h 3059583"/>
                  <a:gd name="connsiteX11" fmla="*/ 1840363 w 2137147"/>
                  <a:gd name="connsiteY11" fmla="*/ 2884406 h 3059583"/>
                  <a:gd name="connsiteX12" fmla="*/ 2105779 w 2137147"/>
                  <a:gd name="connsiteY12" fmla="*/ 2642597 h 3059583"/>
                  <a:gd name="connsiteX13" fmla="*/ 2134734 w 2137147"/>
                  <a:gd name="connsiteY13" fmla="*/ 2550708 h 3059583"/>
                  <a:gd name="connsiteX14" fmla="*/ 2137147 w 2137147"/>
                  <a:gd name="connsiteY14" fmla="*/ 1750319 h 3059583"/>
                  <a:gd name="connsiteX15" fmla="*/ 2096128 w 2137147"/>
                  <a:gd name="connsiteY15" fmla="*/ 1663267 h 3059583"/>
                  <a:gd name="connsiteX16" fmla="*/ 1816233 w 2137147"/>
                  <a:gd name="connsiteY16" fmla="*/ 1385187 h 3059583"/>
                  <a:gd name="connsiteX17" fmla="*/ 1864491 w 2137147"/>
                  <a:gd name="connsiteY17" fmla="*/ 1165140 h 3059583"/>
                  <a:gd name="connsiteX18" fmla="*/ 1870079 w 2137147"/>
                  <a:gd name="connsiteY18" fmla="*/ 1081411 h 3059583"/>
                  <a:gd name="connsiteX19" fmla="*/ 1806723 w 2137147"/>
                  <a:gd name="connsiteY19" fmla="*/ 913332 h 3059583"/>
                  <a:gd name="connsiteX20" fmla="*/ 948256 w 2137147"/>
                  <a:gd name="connsiteY20" fmla="*/ 0 h 3059583"/>
                  <a:gd name="connsiteX21" fmla="*/ 99354 w 2137147"/>
                  <a:gd name="connsiteY21" fmla="*/ 858457 h 3059583"/>
                  <a:gd name="connsiteX22" fmla="*/ 84897 w 2137147"/>
                  <a:gd name="connsiteY22" fmla="*/ 1146972 h 3059583"/>
                  <a:gd name="connsiteX23" fmla="*/ 0 w 2137147"/>
                  <a:gd name="connsiteY23" fmla="*/ 1521969 h 3059583"/>
                  <a:gd name="connsiteX0" fmla="*/ 0 w 2137147"/>
                  <a:gd name="connsiteY0" fmla="*/ 1521969 h 3059583"/>
                  <a:gd name="connsiteX1" fmla="*/ 225432 w 2137147"/>
                  <a:gd name="connsiteY1" fmla="*/ 923254 h 3059583"/>
                  <a:gd name="connsiteX2" fmla="*/ 593467 w 2137147"/>
                  <a:gd name="connsiteY2" fmla="*/ 237848 h 3059583"/>
                  <a:gd name="connsiteX3" fmla="*/ 1666635 w 2137147"/>
                  <a:gd name="connsiteY3" fmla="*/ 1356169 h 3059583"/>
                  <a:gd name="connsiteX4" fmla="*/ 1623204 w 2137147"/>
                  <a:gd name="connsiteY4" fmla="*/ 1704376 h 3059583"/>
                  <a:gd name="connsiteX5" fmla="*/ 1625617 w 2137147"/>
                  <a:gd name="connsiteY5" fmla="*/ 2591818 h 3059583"/>
                  <a:gd name="connsiteX6" fmla="*/ 1661810 w 2137147"/>
                  <a:gd name="connsiteY6" fmla="*/ 2867480 h 3059583"/>
                  <a:gd name="connsiteX7" fmla="*/ 1662895 w 2137147"/>
                  <a:gd name="connsiteY7" fmla="*/ 3043348 h 3059583"/>
                  <a:gd name="connsiteX8" fmla="*/ 1791887 w 2137147"/>
                  <a:gd name="connsiteY8" fmla="*/ 3043348 h 3059583"/>
                  <a:gd name="connsiteX9" fmla="*/ 1804170 w 2137147"/>
                  <a:gd name="connsiteY9" fmla="*/ 2969040 h 3059583"/>
                  <a:gd name="connsiteX10" fmla="*/ 1840363 w 2137147"/>
                  <a:gd name="connsiteY10" fmla="*/ 2884406 h 3059583"/>
                  <a:gd name="connsiteX11" fmla="*/ 2105779 w 2137147"/>
                  <a:gd name="connsiteY11" fmla="*/ 2642597 h 3059583"/>
                  <a:gd name="connsiteX12" fmla="*/ 2134734 w 2137147"/>
                  <a:gd name="connsiteY12" fmla="*/ 2550708 h 3059583"/>
                  <a:gd name="connsiteX13" fmla="*/ 2137147 w 2137147"/>
                  <a:gd name="connsiteY13" fmla="*/ 1750319 h 3059583"/>
                  <a:gd name="connsiteX14" fmla="*/ 2096128 w 2137147"/>
                  <a:gd name="connsiteY14" fmla="*/ 1663267 h 3059583"/>
                  <a:gd name="connsiteX15" fmla="*/ 1816233 w 2137147"/>
                  <a:gd name="connsiteY15" fmla="*/ 1385187 h 3059583"/>
                  <a:gd name="connsiteX16" fmla="*/ 1864491 w 2137147"/>
                  <a:gd name="connsiteY16" fmla="*/ 1165140 h 3059583"/>
                  <a:gd name="connsiteX17" fmla="*/ 1870079 w 2137147"/>
                  <a:gd name="connsiteY17" fmla="*/ 1081411 h 3059583"/>
                  <a:gd name="connsiteX18" fmla="*/ 1806723 w 2137147"/>
                  <a:gd name="connsiteY18" fmla="*/ 913332 h 3059583"/>
                  <a:gd name="connsiteX19" fmla="*/ 948256 w 2137147"/>
                  <a:gd name="connsiteY19" fmla="*/ 0 h 3059583"/>
                  <a:gd name="connsiteX20" fmla="*/ 99354 w 2137147"/>
                  <a:gd name="connsiteY20" fmla="*/ 858457 h 3059583"/>
                  <a:gd name="connsiteX21" fmla="*/ 84897 w 2137147"/>
                  <a:gd name="connsiteY21" fmla="*/ 1146972 h 3059583"/>
                  <a:gd name="connsiteX22" fmla="*/ 0 w 2137147"/>
                  <a:gd name="connsiteY22" fmla="*/ 1521969 h 3059583"/>
                  <a:gd name="connsiteX0" fmla="*/ 0 w 2137147"/>
                  <a:gd name="connsiteY0" fmla="*/ 1521969 h 3059583"/>
                  <a:gd name="connsiteX1" fmla="*/ 593467 w 2137147"/>
                  <a:gd name="connsiteY1" fmla="*/ 237848 h 3059583"/>
                  <a:gd name="connsiteX2" fmla="*/ 1666635 w 2137147"/>
                  <a:gd name="connsiteY2" fmla="*/ 1356169 h 3059583"/>
                  <a:gd name="connsiteX3" fmla="*/ 1623204 w 2137147"/>
                  <a:gd name="connsiteY3" fmla="*/ 1704376 h 3059583"/>
                  <a:gd name="connsiteX4" fmla="*/ 1625617 w 2137147"/>
                  <a:gd name="connsiteY4" fmla="*/ 2591818 h 3059583"/>
                  <a:gd name="connsiteX5" fmla="*/ 1661810 w 2137147"/>
                  <a:gd name="connsiteY5" fmla="*/ 2867480 h 3059583"/>
                  <a:gd name="connsiteX6" fmla="*/ 1662895 w 2137147"/>
                  <a:gd name="connsiteY6" fmla="*/ 3043348 h 3059583"/>
                  <a:gd name="connsiteX7" fmla="*/ 1791887 w 2137147"/>
                  <a:gd name="connsiteY7" fmla="*/ 3043348 h 3059583"/>
                  <a:gd name="connsiteX8" fmla="*/ 1804170 w 2137147"/>
                  <a:gd name="connsiteY8" fmla="*/ 2969040 h 3059583"/>
                  <a:gd name="connsiteX9" fmla="*/ 1840363 w 2137147"/>
                  <a:gd name="connsiteY9" fmla="*/ 2884406 h 3059583"/>
                  <a:gd name="connsiteX10" fmla="*/ 2105779 w 2137147"/>
                  <a:gd name="connsiteY10" fmla="*/ 2642597 h 3059583"/>
                  <a:gd name="connsiteX11" fmla="*/ 2134734 w 2137147"/>
                  <a:gd name="connsiteY11" fmla="*/ 2550708 h 3059583"/>
                  <a:gd name="connsiteX12" fmla="*/ 2137147 w 2137147"/>
                  <a:gd name="connsiteY12" fmla="*/ 1750319 h 3059583"/>
                  <a:gd name="connsiteX13" fmla="*/ 2096128 w 2137147"/>
                  <a:gd name="connsiteY13" fmla="*/ 1663267 h 3059583"/>
                  <a:gd name="connsiteX14" fmla="*/ 1816233 w 2137147"/>
                  <a:gd name="connsiteY14" fmla="*/ 1385187 h 3059583"/>
                  <a:gd name="connsiteX15" fmla="*/ 1864491 w 2137147"/>
                  <a:gd name="connsiteY15" fmla="*/ 1165140 h 3059583"/>
                  <a:gd name="connsiteX16" fmla="*/ 1870079 w 2137147"/>
                  <a:gd name="connsiteY16" fmla="*/ 1081411 h 3059583"/>
                  <a:gd name="connsiteX17" fmla="*/ 1806723 w 2137147"/>
                  <a:gd name="connsiteY17" fmla="*/ 913332 h 3059583"/>
                  <a:gd name="connsiteX18" fmla="*/ 948256 w 2137147"/>
                  <a:gd name="connsiteY18" fmla="*/ 0 h 3059583"/>
                  <a:gd name="connsiteX19" fmla="*/ 99354 w 2137147"/>
                  <a:gd name="connsiteY19" fmla="*/ 858457 h 3059583"/>
                  <a:gd name="connsiteX20" fmla="*/ 84897 w 2137147"/>
                  <a:gd name="connsiteY20" fmla="*/ 1146972 h 3059583"/>
                  <a:gd name="connsiteX21" fmla="*/ 0 w 2137147"/>
                  <a:gd name="connsiteY21" fmla="*/ 1521969 h 3059583"/>
                  <a:gd name="connsiteX0" fmla="*/ 0 w 2137147"/>
                  <a:gd name="connsiteY0" fmla="*/ 1521969 h 3059583"/>
                  <a:gd name="connsiteX1" fmla="*/ 593467 w 2137147"/>
                  <a:gd name="connsiteY1" fmla="*/ 237848 h 3059583"/>
                  <a:gd name="connsiteX2" fmla="*/ 1666635 w 2137147"/>
                  <a:gd name="connsiteY2" fmla="*/ 1356169 h 3059583"/>
                  <a:gd name="connsiteX3" fmla="*/ 1623204 w 2137147"/>
                  <a:gd name="connsiteY3" fmla="*/ 1704376 h 3059583"/>
                  <a:gd name="connsiteX4" fmla="*/ 1625617 w 2137147"/>
                  <a:gd name="connsiteY4" fmla="*/ 2591818 h 3059583"/>
                  <a:gd name="connsiteX5" fmla="*/ 1661810 w 2137147"/>
                  <a:gd name="connsiteY5" fmla="*/ 2867480 h 3059583"/>
                  <a:gd name="connsiteX6" fmla="*/ 1662895 w 2137147"/>
                  <a:gd name="connsiteY6" fmla="*/ 3043348 h 3059583"/>
                  <a:gd name="connsiteX7" fmla="*/ 1791887 w 2137147"/>
                  <a:gd name="connsiteY7" fmla="*/ 3043348 h 3059583"/>
                  <a:gd name="connsiteX8" fmla="*/ 1804170 w 2137147"/>
                  <a:gd name="connsiteY8" fmla="*/ 2969040 h 3059583"/>
                  <a:gd name="connsiteX9" fmla="*/ 1840363 w 2137147"/>
                  <a:gd name="connsiteY9" fmla="*/ 2884406 h 3059583"/>
                  <a:gd name="connsiteX10" fmla="*/ 2105779 w 2137147"/>
                  <a:gd name="connsiteY10" fmla="*/ 2642597 h 3059583"/>
                  <a:gd name="connsiteX11" fmla="*/ 2134734 w 2137147"/>
                  <a:gd name="connsiteY11" fmla="*/ 2550708 h 3059583"/>
                  <a:gd name="connsiteX12" fmla="*/ 2137147 w 2137147"/>
                  <a:gd name="connsiteY12" fmla="*/ 1750319 h 3059583"/>
                  <a:gd name="connsiteX13" fmla="*/ 2096128 w 2137147"/>
                  <a:gd name="connsiteY13" fmla="*/ 1663267 h 3059583"/>
                  <a:gd name="connsiteX14" fmla="*/ 1816233 w 2137147"/>
                  <a:gd name="connsiteY14" fmla="*/ 1385187 h 3059583"/>
                  <a:gd name="connsiteX15" fmla="*/ 1864491 w 2137147"/>
                  <a:gd name="connsiteY15" fmla="*/ 1165140 h 3059583"/>
                  <a:gd name="connsiteX16" fmla="*/ 1870079 w 2137147"/>
                  <a:gd name="connsiteY16" fmla="*/ 1081411 h 3059583"/>
                  <a:gd name="connsiteX17" fmla="*/ 1806723 w 2137147"/>
                  <a:gd name="connsiteY17" fmla="*/ 913332 h 3059583"/>
                  <a:gd name="connsiteX18" fmla="*/ 948256 w 2137147"/>
                  <a:gd name="connsiteY18" fmla="*/ 0 h 3059583"/>
                  <a:gd name="connsiteX19" fmla="*/ 99354 w 2137147"/>
                  <a:gd name="connsiteY19" fmla="*/ 858457 h 3059583"/>
                  <a:gd name="connsiteX20" fmla="*/ 0 w 2137147"/>
                  <a:gd name="connsiteY20" fmla="*/ 1521969 h 3059583"/>
                  <a:gd name="connsiteX0" fmla="*/ 0 w 2037793"/>
                  <a:gd name="connsiteY0" fmla="*/ 858457 h 3059583"/>
                  <a:gd name="connsiteX1" fmla="*/ 494113 w 2037793"/>
                  <a:gd name="connsiteY1" fmla="*/ 237848 h 3059583"/>
                  <a:gd name="connsiteX2" fmla="*/ 1567281 w 2037793"/>
                  <a:gd name="connsiteY2" fmla="*/ 1356169 h 3059583"/>
                  <a:gd name="connsiteX3" fmla="*/ 1523850 w 2037793"/>
                  <a:gd name="connsiteY3" fmla="*/ 1704376 h 3059583"/>
                  <a:gd name="connsiteX4" fmla="*/ 1526263 w 2037793"/>
                  <a:gd name="connsiteY4" fmla="*/ 2591818 h 3059583"/>
                  <a:gd name="connsiteX5" fmla="*/ 1562456 w 2037793"/>
                  <a:gd name="connsiteY5" fmla="*/ 2867480 h 3059583"/>
                  <a:gd name="connsiteX6" fmla="*/ 1563541 w 2037793"/>
                  <a:gd name="connsiteY6" fmla="*/ 3043348 h 3059583"/>
                  <a:gd name="connsiteX7" fmla="*/ 1692533 w 2037793"/>
                  <a:gd name="connsiteY7" fmla="*/ 3043348 h 3059583"/>
                  <a:gd name="connsiteX8" fmla="*/ 1704816 w 2037793"/>
                  <a:gd name="connsiteY8" fmla="*/ 2969040 h 3059583"/>
                  <a:gd name="connsiteX9" fmla="*/ 1741009 w 2037793"/>
                  <a:gd name="connsiteY9" fmla="*/ 2884406 h 3059583"/>
                  <a:gd name="connsiteX10" fmla="*/ 2006425 w 2037793"/>
                  <a:gd name="connsiteY10" fmla="*/ 2642597 h 3059583"/>
                  <a:gd name="connsiteX11" fmla="*/ 2035380 w 2037793"/>
                  <a:gd name="connsiteY11" fmla="*/ 2550708 h 3059583"/>
                  <a:gd name="connsiteX12" fmla="*/ 2037793 w 2037793"/>
                  <a:gd name="connsiteY12" fmla="*/ 1750319 h 3059583"/>
                  <a:gd name="connsiteX13" fmla="*/ 1996774 w 2037793"/>
                  <a:gd name="connsiteY13" fmla="*/ 1663267 h 3059583"/>
                  <a:gd name="connsiteX14" fmla="*/ 1716879 w 2037793"/>
                  <a:gd name="connsiteY14" fmla="*/ 1385187 h 3059583"/>
                  <a:gd name="connsiteX15" fmla="*/ 1765137 w 2037793"/>
                  <a:gd name="connsiteY15" fmla="*/ 1165140 h 3059583"/>
                  <a:gd name="connsiteX16" fmla="*/ 1770725 w 2037793"/>
                  <a:gd name="connsiteY16" fmla="*/ 1081411 h 3059583"/>
                  <a:gd name="connsiteX17" fmla="*/ 1707369 w 2037793"/>
                  <a:gd name="connsiteY17" fmla="*/ 913332 h 3059583"/>
                  <a:gd name="connsiteX18" fmla="*/ 848902 w 2037793"/>
                  <a:gd name="connsiteY18" fmla="*/ 0 h 3059583"/>
                  <a:gd name="connsiteX19" fmla="*/ 0 w 2037793"/>
                  <a:gd name="connsiteY19" fmla="*/ 858457 h 3059583"/>
                  <a:gd name="connsiteX0" fmla="*/ 384133 w 1573024"/>
                  <a:gd name="connsiteY0" fmla="*/ 42140 h 3101723"/>
                  <a:gd name="connsiteX1" fmla="*/ 29344 w 1573024"/>
                  <a:gd name="connsiteY1" fmla="*/ 279988 h 3101723"/>
                  <a:gd name="connsiteX2" fmla="*/ 1102512 w 1573024"/>
                  <a:gd name="connsiteY2" fmla="*/ 1398309 h 3101723"/>
                  <a:gd name="connsiteX3" fmla="*/ 1059081 w 1573024"/>
                  <a:gd name="connsiteY3" fmla="*/ 1746516 h 3101723"/>
                  <a:gd name="connsiteX4" fmla="*/ 1061494 w 1573024"/>
                  <a:gd name="connsiteY4" fmla="*/ 2633958 h 3101723"/>
                  <a:gd name="connsiteX5" fmla="*/ 1097687 w 1573024"/>
                  <a:gd name="connsiteY5" fmla="*/ 2909620 h 3101723"/>
                  <a:gd name="connsiteX6" fmla="*/ 1098772 w 1573024"/>
                  <a:gd name="connsiteY6" fmla="*/ 3085488 h 3101723"/>
                  <a:gd name="connsiteX7" fmla="*/ 1227764 w 1573024"/>
                  <a:gd name="connsiteY7" fmla="*/ 3085488 h 3101723"/>
                  <a:gd name="connsiteX8" fmla="*/ 1240047 w 1573024"/>
                  <a:gd name="connsiteY8" fmla="*/ 3011180 h 3101723"/>
                  <a:gd name="connsiteX9" fmla="*/ 1276240 w 1573024"/>
                  <a:gd name="connsiteY9" fmla="*/ 2926546 h 3101723"/>
                  <a:gd name="connsiteX10" fmla="*/ 1541656 w 1573024"/>
                  <a:gd name="connsiteY10" fmla="*/ 2684737 h 3101723"/>
                  <a:gd name="connsiteX11" fmla="*/ 1570611 w 1573024"/>
                  <a:gd name="connsiteY11" fmla="*/ 2592848 h 3101723"/>
                  <a:gd name="connsiteX12" fmla="*/ 1573024 w 1573024"/>
                  <a:gd name="connsiteY12" fmla="*/ 1792459 h 3101723"/>
                  <a:gd name="connsiteX13" fmla="*/ 1532005 w 1573024"/>
                  <a:gd name="connsiteY13" fmla="*/ 1705407 h 3101723"/>
                  <a:gd name="connsiteX14" fmla="*/ 1252110 w 1573024"/>
                  <a:gd name="connsiteY14" fmla="*/ 1427327 h 3101723"/>
                  <a:gd name="connsiteX15" fmla="*/ 1300368 w 1573024"/>
                  <a:gd name="connsiteY15" fmla="*/ 1207280 h 3101723"/>
                  <a:gd name="connsiteX16" fmla="*/ 1305956 w 1573024"/>
                  <a:gd name="connsiteY16" fmla="*/ 1123551 h 3101723"/>
                  <a:gd name="connsiteX17" fmla="*/ 1242600 w 1573024"/>
                  <a:gd name="connsiteY17" fmla="*/ 955472 h 3101723"/>
                  <a:gd name="connsiteX18" fmla="*/ 384133 w 1573024"/>
                  <a:gd name="connsiteY18" fmla="*/ 42140 h 3101723"/>
                  <a:gd name="connsiteX0" fmla="*/ 1213256 w 1543680"/>
                  <a:gd name="connsiteY0" fmla="*/ 681666 h 2827917"/>
                  <a:gd name="connsiteX1" fmla="*/ 0 w 1543680"/>
                  <a:gd name="connsiteY1" fmla="*/ 6182 h 2827917"/>
                  <a:gd name="connsiteX2" fmla="*/ 1073168 w 1543680"/>
                  <a:gd name="connsiteY2" fmla="*/ 1124503 h 2827917"/>
                  <a:gd name="connsiteX3" fmla="*/ 1029737 w 1543680"/>
                  <a:gd name="connsiteY3" fmla="*/ 1472710 h 2827917"/>
                  <a:gd name="connsiteX4" fmla="*/ 1032150 w 1543680"/>
                  <a:gd name="connsiteY4" fmla="*/ 2360152 h 2827917"/>
                  <a:gd name="connsiteX5" fmla="*/ 1068343 w 1543680"/>
                  <a:gd name="connsiteY5" fmla="*/ 2635814 h 2827917"/>
                  <a:gd name="connsiteX6" fmla="*/ 1069428 w 1543680"/>
                  <a:gd name="connsiteY6" fmla="*/ 2811682 h 2827917"/>
                  <a:gd name="connsiteX7" fmla="*/ 1198420 w 1543680"/>
                  <a:gd name="connsiteY7" fmla="*/ 2811682 h 2827917"/>
                  <a:gd name="connsiteX8" fmla="*/ 1210703 w 1543680"/>
                  <a:gd name="connsiteY8" fmla="*/ 2737374 h 2827917"/>
                  <a:gd name="connsiteX9" fmla="*/ 1246896 w 1543680"/>
                  <a:gd name="connsiteY9" fmla="*/ 2652740 h 2827917"/>
                  <a:gd name="connsiteX10" fmla="*/ 1512312 w 1543680"/>
                  <a:gd name="connsiteY10" fmla="*/ 2410931 h 2827917"/>
                  <a:gd name="connsiteX11" fmla="*/ 1541267 w 1543680"/>
                  <a:gd name="connsiteY11" fmla="*/ 2319042 h 2827917"/>
                  <a:gd name="connsiteX12" fmla="*/ 1543680 w 1543680"/>
                  <a:gd name="connsiteY12" fmla="*/ 1518653 h 2827917"/>
                  <a:gd name="connsiteX13" fmla="*/ 1502661 w 1543680"/>
                  <a:gd name="connsiteY13" fmla="*/ 1431601 h 2827917"/>
                  <a:gd name="connsiteX14" fmla="*/ 1222766 w 1543680"/>
                  <a:gd name="connsiteY14" fmla="*/ 1153521 h 2827917"/>
                  <a:gd name="connsiteX15" fmla="*/ 1271024 w 1543680"/>
                  <a:gd name="connsiteY15" fmla="*/ 933474 h 2827917"/>
                  <a:gd name="connsiteX16" fmla="*/ 1276612 w 1543680"/>
                  <a:gd name="connsiteY16" fmla="*/ 849745 h 2827917"/>
                  <a:gd name="connsiteX17" fmla="*/ 1213256 w 1543680"/>
                  <a:gd name="connsiteY17" fmla="*/ 681666 h 2827917"/>
                  <a:gd name="connsiteX0" fmla="*/ 183519 w 513943"/>
                  <a:gd name="connsiteY0" fmla="*/ 0 h 2146251"/>
                  <a:gd name="connsiteX1" fmla="*/ 43431 w 513943"/>
                  <a:gd name="connsiteY1" fmla="*/ 442837 h 2146251"/>
                  <a:gd name="connsiteX2" fmla="*/ 0 w 513943"/>
                  <a:gd name="connsiteY2" fmla="*/ 791044 h 2146251"/>
                  <a:gd name="connsiteX3" fmla="*/ 2413 w 513943"/>
                  <a:gd name="connsiteY3" fmla="*/ 1678486 h 2146251"/>
                  <a:gd name="connsiteX4" fmla="*/ 38606 w 513943"/>
                  <a:gd name="connsiteY4" fmla="*/ 1954148 h 2146251"/>
                  <a:gd name="connsiteX5" fmla="*/ 39691 w 513943"/>
                  <a:gd name="connsiteY5" fmla="*/ 2130016 h 2146251"/>
                  <a:gd name="connsiteX6" fmla="*/ 168683 w 513943"/>
                  <a:gd name="connsiteY6" fmla="*/ 2130016 h 2146251"/>
                  <a:gd name="connsiteX7" fmla="*/ 180966 w 513943"/>
                  <a:gd name="connsiteY7" fmla="*/ 2055708 h 2146251"/>
                  <a:gd name="connsiteX8" fmla="*/ 217159 w 513943"/>
                  <a:gd name="connsiteY8" fmla="*/ 1971074 h 2146251"/>
                  <a:gd name="connsiteX9" fmla="*/ 482575 w 513943"/>
                  <a:gd name="connsiteY9" fmla="*/ 1729265 h 2146251"/>
                  <a:gd name="connsiteX10" fmla="*/ 511530 w 513943"/>
                  <a:gd name="connsiteY10" fmla="*/ 1637376 h 2146251"/>
                  <a:gd name="connsiteX11" fmla="*/ 513943 w 513943"/>
                  <a:gd name="connsiteY11" fmla="*/ 836987 h 2146251"/>
                  <a:gd name="connsiteX12" fmla="*/ 472924 w 513943"/>
                  <a:gd name="connsiteY12" fmla="*/ 749935 h 2146251"/>
                  <a:gd name="connsiteX13" fmla="*/ 193029 w 513943"/>
                  <a:gd name="connsiteY13" fmla="*/ 471855 h 2146251"/>
                  <a:gd name="connsiteX14" fmla="*/ 241287 w 513943"/>
                  <a:gd name="connsiteY14" fmla="*/ 251808 h 2146251"/>
                  <a:gd name="connsiteX15" fmla="*/ 246875 w 513943"/>
                  <a:gd name="connsiteY15" fmla="*/ 168079 h 2146251"/>
                  <a:gd name="connsiteX16" fmla="*/ 183519 w 513943"/>
                  <a:gd name="connsiteY16" fmla="*/ 0 h 2146251"/>
                  <a:gd name="connsiteX0" fmla="*/ 183519 w 513943"/>
                  <a:gd name="connsiteY0" fmla="*/ 0 h 2146251"/>
                  <a:gd name="connsiteX1" fmla="*/ 43431 w 513943"/>
                  <a:gd name="connsiteY1" fmla="*/ 442837 h 2146251"/>
                  <a:gd name="connsiteX2" fmla="*/ 0 w 513943"/>
                  <a:gd name="connsiteY2" fmla="*/ 791044 h 2146251"/>
                  <a:gd name="connsiteX3" fmla="*/ 2413 w 513943"/>
                  <a:gd name="connsiteY3" fmla="*/ 1678486 h 2146251"/>
                  <a:gd name="connsiteX4" fmla="*/ 38606 w 513943"/>
                  <a:gd name="connsiteY4" fmla="*/ 1954148 h 2146251"/>
                  <a:gd name="connsiteX5" fmla="*/ 39691 w 513943"/>
                  <a:gd name="connsiteY5" fmla="*/ 2130016 h 2146251"/>
                  <a:gd name="connsiteX6" fmla="*/ 168683 w 513943"/>
                  <a:gd name="connsiteY6" fmla="*/ 2130016 h 2146251"/>
                  <a:gd name="connsiteX7" fmla="*/ 180966 w 513943"/>
                  <a:gd name="connsiteY7" fmla="*/ 2055708 h 2146251"/>
                  <a:gd name="connsiteX8" fmla="*/ 217159 w 513943"/>
                  <a:gd name="connsiteY8" fmla="*/ 1971074 h 2146251"/>
                  <a:gd name="connsiteX9" fmla="*/ 482575 w 513943"/>
                  <a:gd name="connsiteY9" fmla="*/ 1729265 h 2146251"/>
                  <a:gd name="connsiteX10" fmla="*/ 511530 w 513943"/>
                  <a:gd name="connsiteY10" fmla="*/ 1637376 h 2146251"/>
                  <a:gd name="connsiteX11" fmla="*/ 513943 w 513943"/>
                  <a:gd name="connsiteY11" fmla="*/ 836987 h 2146251"/>
                  <a:gd name="connsiteX12" fmla="*/ 472924 w 513943"/>
                  <a:gd name="connsiteY12" fmla="*/ 749935 h 2146251"/>
                  <a:gd name="connsiteX13" fmla="*/ 193029 w 513943"/>
                  <a:gd name="connsiteY13" fmla="*/ 471855 h 2146251"/>
                  <a:gd name="connsiteX14" fmla="*/ 241287 w 513943"/>
                  <a:gd name="connsiteY14" fmla="*/ 251808 h 2146251"/>
                  <a:gd name="connsiteX15" fmla="*/ 246875 w 513943"/>
                  <a:gd name="connsiteY15" fmla="*/ 168079 h 2146251"/>
                  <a:gd name="connsiteX16" fmla="*/ 193385 w 513943"/>
                  <a:gd name="connsiteY16" fmla="*/ 27369 h 2146251"/>
                  <a:gd name="connsiteX17" fmla="*/ 183519 w 513943"/>
                  <a:gd name="connsiteY17" fmla="*/ 0 h 2146251"/>
                  <a:gd name="connsiteX0" fmla="*/ 183519 w 513943"/>
                  <a:gd name="connsiteY0" fmla="*/ 0 h 2146251"/>
                  <a:gd name="connsiteX1" fmla="*/ 43431 w 513943"/>
                  <a:gd name="connsiteY1" fmla="*/ 442837 h 2146251"/>
                  <a:gd name="connsiteX2" fmla="*/ 0 w 513943"/>
                  <a:gd name="connsiteY2" fmla="*/ 791044 h 2146251"/>
                  <a:gd name="connsiteX3" fmla="*/ 2413 w 513943"/>
                  <a:gd name="connsiteY3" fmla="*/ 1678486 h 2146251"/>
                  <a:gd name="connsiteX4" fmla="*/ 38606 w 513943"/>
                  <a:gd name="connsiteY4" fmla="*/ 1954148 h 2146251"/>
                  <a:gd name="connsiteX5" fmla="*/ 39691 w 513943"/>
                  <a:gd name="connsiteY5" fmla="*/ 2130016 h 2146251"/>
                  <a:gd name="connsiteX6" fmla="*/ 168683 w 513943"/>
                  <a:gd name="connsiteY6" fmla="*/ 2130016 h 2146251"/>
                  <a:gd name="connsiteX7" fmla="*/ 180966 w 513943"/>
                  <a:gd name="connsiteY7" fmla="*/ 2055708 h 2146251"/>
                  <a:gd name="connsiteX8" fmla="*/ 217159 w 513943"/>
                  <a:gd name="connsiteY8" fmla="*/ 1971074 h 2146251"/>
                  <a:gd name="connsiteX9" fmla="*/ 482575 w 513943"/>
                  <a:gd name="connsiteY9" fmla="*/ 1729265 h 2146251"/>
                  <a:gd name="connsiteX10" fmla="*/ 511530 w 513943"/>
                  <a:gd name="connsiteY10" fmla="*/ 1637376 h 2146251"/>
                  <a:gd name="connsiteX11" fmla="*/ 513943 w 513943"/>
                  <a:gd name="connsiteY11" fmla="*/ 836987 h 2146251"/>
                  <a:gd name="connsiteX12" fmla="*/ 472924 w 513943"/>
                  <a:gd name="connsiteY12" fmla="*/ 749935 h 2146251"/>
                  <a:gd name="connsiteX13" fmla="*/ 193029 w 513943"/>
                  <a:gd name="connsiteY13" fmla="*/ 471855 h 2146251"/>
                  <a:gd name="connsiteX14" fmla="*/ 241287 w 513943"/>
                  <a:gd name="connsiteY14" fmla="*/ 251808 h 2146251"/>
                  <a:gd name="connsiteX15" fmla="*/ 193385 w 513943"/>
                  <a:gd name="connsiteY15" fmla="*/ 27369 h 2146251"/>
                  <a:gd name="connsiteX16" fmla="*/ 183519 w 513943"/>
                  <a:gd name="connsiteY16" fmla="*/ 0 h 2146251"/>
                  <a:gd name="connsiteX0" fmla="*/ 193385 w 513943"/>
                  <a:gd name="connsiteY0" fmla="*/ 0 h 2118882"/>
                  <a:gd name="connsiteX1" fmla="*/ 43431 w 513943"/>
                  <a:gd name="connsiteY1" fmla="*/ 415468 h 2118882"/>
                  <a:gd name="connsiteX2" fmla="*/ 0 w 513943"/>
                  <a:gd name="connsiteY2" fmla="*/ 763675 h 2118882"/>
                  <a:gd name="connsiteX3" fmla="*/ 2413 w 513943"/>
                  <a:gd name="connsiteY3" fmla="*/ 1651117 h 2118882"/>
                  <a:gd name="connsiteX4" fmla="*/ 38606 w 513943"/>
                  <a:gd name="connsiteY4" fmla="*/ 1926779 h 2118882"/>
                  <a:gd name="connsiteX5" fmla="*/ 39691 w 513943"/>
                  <a:gd name="connsiteY5" fmla="*/ 2102647 h 2118882"/>
                  <a:gd name="connsiteX6" fmla="*/ 168683 w 513943"/>
                  <a:gd name="connsiteY6" fmla="*/ 2102647 h 2118882"/>
                  <a:gd name="connsiteX7" fmla="*/ 180966 w 513943"/>
                  <a:gd name="connsiteY7" fmla="*/ 2028339 h 2118882"/>
                  <a:gd name="connsiteX8" fmla="*/ 217159 w 513943"/>
                  <a:gd name="connsiteY8" fmla="*/ 1943705 h 2118882"/>
                  <a:gd name="connsiteX9" fmla="*/ 482575 w 513943"/>
                  <a:gd name="connsiteY9" fmla="*/ 1701896 h 2118882"/>
                  <a:gd name="connsiteX10" fmla="*/ 511530 w 513943"/>
                  <a:gd name="connsiteY10" fmla="*/ 1610007 h 2118882"/>
                  <a:gd name="connsiteX11" fmla="*/ 513943 w 513943"/>
                  <a:gd name="connsiteY11" fmla="*/ 809618 h 2118882"/>
                  <a:gd name="connsiteX12" fmla="*/ 472924 w 513943"/>
                  <a:gd name="connsiteY12" fmla="*/ 722566 h 2118882"/>
                  <a:gd name="connsiteX13" fmla="*/ 193029 w 513943"/>
                  <a:gd name="connsiteY13" fmla="*/ 444486 h 2118882"/>
                  <a:gd name="connsiteX14" fmla="*/ 241287 w 513943"/>
                  <a:gd name="connsiteY14" fmla="*/ 224439 h 2118882"/>
                  <a:gd name="connsiteX15" fmla="*/ 193385 w 513943"/>
                  <a:gd name="connsiteY15" fmla="*/ 0 h 2118882"/>
                  <a:gd name="connsiteX0" fmla="*/ 241287 w 513943"/>
                  <a:gd name="connsiteY0" fmla="*/ 160 h 1894603"/>
                  <a:gd name="connsiteX1" fmla="*/ 43431 w 513943"/>
                  <a:gd name="connsiteY1" fmla="*/ 191189 h 1894603"/>
                  <a:gd name="connsiteX2" fmla="*/ 0 w 513943"/>
                  <a:gd name="connsiteY2" fmla="*/ 539396 h 1894603"/>
                  <a:gd name="connsiteX3" fmla="*/ 2413 w 513943"/>
                  <a:gd name="connsiteY3" fmla="*/ 1426838 h 1894603"/>
                  <a:gd name="connsiteX4" fmla="*/ 38606 w 513943"/>
                  <a:gd name="connsiteY4" fmla="*/ 1702500 h 1894603"/>
                  <a:gd name="connsiteX5" fmla="*/ 39691 w 513943"/>
                  <a:gd name="connsiteY5" fmla="*/ 1878368 h 1894603"/>
                  <a:gd name="connsiteX6" fmla="*/ 168683 w 513943"/>
                  <a:gd name="connsiteY6" fmla="*/ 1878368 h 1894603"/>
                  <a:gd name="connsiteX7" fmla="*/ 180966 w 513943"/>
                  <a:gd name="connsiteY7" fmla="*/ 1804060 h 1894603"/>
                  <a:gd name="connsiteX8" fmla="*/ 217159 w 513943"/>
                  <a:gd name="connsiteY8" fmla="*/ 1719426 h 1894603"/>
                  <a:gd name="connsiteX9" fmla="*/ 482575 w 513943"/>
                  <a:gd name="connsiteY9" fmla="*/ 1477617 h 1894603"/>
                  <a:gd name="connsiteX10" fmla="*/ 511530 w 513943"/>
                  <a:gd name="connsiteY10" fmla="*/ 1385728 h 1894603"/>
                  <a:gd name="connsiteX11" fmla="*/ 513943 w 513943"/>
                  <a:gd name="connsiteY11" fmla="*/ 585339 h 1894603"/>
                  <a:gd name="connsiteX12" fmla="*/ 472924 w 513943"/>
                  <a:gd name="connsiteY12" fmla="*/ 498287 h 1894603"/>
                  <a:gd name="connsiteX13" fmla="*/ 193029 w 513943"/>
                  <a:gd name="connsiteY13" fmla="*/ 220207 h 1894603"/>
                  <a:gd name="connsiteX14" fmla="*/ 241287 w 513943"/>
                  <a:gd name="connsiteY14" fmla="*/ 160 h 1894603"/>
                  <a:gd name="connsiteX0" fmla="*/ 241287 w 513943"/>
                  <a:gd name="connsiteY0" fmla="*/ 160 h 1884895"/>
                  <a:gd name="connsiteX1" fmla="*/ 43431 w 513943"/>
                  <a:gd name="connsiteY1" fmla="*/ 191189 h 1884895"/>
                  <a:gd name="connsiteX2" fmla="*/ 0 w 513943"/>
                  <a:gd name="connsiteY2" fmla="*/ 539396 h 1884895"/>
                  <a:gd name="connsiteX3" fmla="*/ 2413 w 513943"/>
                  <a:gd name="connsiteY3" fmla="*/ 1426838 h 1884895"/>
                  <a:gd name="connsiteX4" fmla="*/ 38606 w 513943"/>
                  <a:gd name="connsiteY4" fmla="*/ 1702500 h 1884895"/>
                  <a:gd name="connsiteX5" fmla="*/ 39691 w 513943"/>
                  <a:gd name="connsiteY5" fmla="*/ 1878368 h 1884895"/>
                  <a:gd name="connsiteX6" fmla="*/ 168683 w 513943"/>
                  <a:gd name="connsiteY6" fmla="*/ 1878368 h 1884895"/>
                  <a:gd name="connsiteX7" fmla="*/ 180966 w 513943"/>
                  <a:gd name="connsiteY7" fmla="*/ 1804060 h 1884895"/>
                  <a:gd name="connsiteX8" fmla="*/ 217159 w 513943"/>
                  <a:gd name="connsiteY8" fmla="*/ 1719426 h 1884895"/>
                  <a:gd name="connsiteX9" fmla="*/ 482575 w 513943"/>
                  <a:gd name="connsiteY9" fmla="*/ 1477617 h 1884895"/>
                  <a:gd name="connsiteX10" fmla="*/ 511530 w 513943"/>
                  <a:gd name="connsiteY10" fmla="*/ 1385728 h 1884895"/>
                  <a:gd name="connsiteX11" fmla="*/ 513943 w 513943"/>
                  <a:gd name="connsiteY11" fmla="*/ 585339 h 1884895"/>
                  <a:gd name="connsiteX12" fmla="*/ 472924 w 513943"/>
                  <a:gd name="connsiteY12" fmla="*/ 498287 h 1884895"/>
                  <a:gd name="connsiteX13" fmla="*/ 193029 w 513943"/>
                  <a:gd name="connsiteY13" fmla="*/ 220207 h 1884895"/>
                  <a:gd name="connsiteX14" fmla="*/ 241287 w 513943"/>
                  <a:gd name="connsiteY14" fmla="*/ 160 h 1884895"/>
                  <a:gd name="connsiteX0" fmla="*/ 241287 w 513943"/>
                  <a:gd name="connsiteY0" fmla="*/ 160 h 1879730"/>
                  <a:gd name="connsiteX1" fmla="*/ 43431 w 513943"/>
                  <a:gd name="connsiteY1" fmla="*/ 191189 h 1879730"/>
                  <a:gd name="connsiteX2" fmla="*/ 0 w 513943"/>
                  <a:gd name="connsiteY2" fmla="*/ 539396 h 1879730"/>
                  <a:gd name="connsiteX3" fmla="*/ 2413 w 513943"/>
                  <a:gd name="connsiteY3" fmla="*/ 1426838 h 1879730"/>
                  <a:gd name="connsiteX4" fmla="*/ 38606 w 513943"/>
                  <a:gd name="connsiteY4" fmla="*/ 1702500 h 1879730"/>
                  <a:gd name="connsiteX5" fmla="*/ 42107 w 513943"/>
                  <a:gd name="connsiteY5" fmla="*/ 1810662 h 1879730"/>
                  <a:gd name="connsiteX6" fmla="*/ 168683 w 513943"/>
                  <a:gd name="connsiteY6" fmla="*/ 1878368 h 1879730"/>
                  <a:gd name="connsiteX7" fmla="*/ 180966 w 513943"/>
                  <a:gd name="connsiteY7" fmla="*/ 1804060 h 1879730"/>
                  <a:gd name="connsiteX8" fmla="*/ 217159 w 513943"/>
                  <a:gd name="connsiteY8" fmla="*/ 1719426 h 1879730"/>
                  <a:gd name="connsiteX9" fmla="*/ 482575 w 513943"/>
                  <a:gd name="connsiteY9" fmla="*/ 1477617 h 1879730"/>
                  <a:gd name="connsiteX10" fmla="*/ 511530 w 513943"/>
                  <a:gd name="connsiteY10" fmla="*/ 1385728 h 1879730"/>
                  <a:gd name="connsiteX11" fmla="*/ 513943 w 513943"/>
                  <a:gd name="connsiteY11" fmla="*/ 585339 h 1879730"/>
                  <a:gd name="connsiteX12" fmla="*/ 472924 w 513943"/>
                  <a:gd name="connsiteY12" fmla="*/ 498287 h 1879730"/>
                  <a:gd name="connsiteX13" fmla="*/ 193029 w 513943"/>
                  <a:gd name="connsiteY13" fmla="*/ 220207 h 1879730"/>
                  <a:gd name="connsiteX14" fmla="*/ 241287 w 513943"/>
                  <a:gd name="connsiteY14" fmla="*/ 160 h 1879730"/>
                  <a:gd name="connsiteX0" fmla="*/ 241287 w 513943"/>
                  <a:gd name="connsiteY0" fmla="*/ 160 h 1820034"/>
                  <a:gd name="connsiteX1" fmla="*/ 43431 w 513943"/>
                  <a:gd name="connsiteY1" fmla="*/ 191189 h 1820034"/>
                  <a:gd name="connsiteX2" fmla="*/ 0 w 513943"/>
                  <a:gd name="connsiteY2" fmla="*/ 539396 h 1820034"/>
                  <a:gd name="connsiteX3" fmla="*/ 2413 w 513943"/>
                  <a:gd name="connsiteY3" fmla="*/ 1426838 h 1820034"/>
                  <a:gd name="connsiteX4" fmla="*/ 38606 w 513943"/>
                  <a:gd name="connsiteY4" fmla="*/ 1702500 h 1820034"/>
                  <a:gd name="connsiteX5" fmla="*/ 42107 w 513943"/>
                  <a:gd name="connsiteY5" fmla="*/ 1810662 h 1820034"/>
                  <a:gd name="connsiteX6" fmla="*/ 180966 w 513943"/>
                  <a:gd name="connsiteY6" fmla="*/ 1804060 h 1820034"/>
                  <a:gd name="connsiteX7" fmla="*/ 217159 w 513943"/>
                  <a:gd name="connsiteY7" fmla="*/ 1719426 h 1820034"/>
                  <a:gd name="connsiteX8" fmla="*/ 482575 w 513943"/>
                  <a:gd name="connsiteY8" fmla="*/ 1477617 h 1820034"/>
                  <a:gd name="connsiteX9" fmla="*/ 511530 w 513943"/>
                  <a:gd name="connsiteY9" fmla="*/ 1385728 h 1820034"/>
                  <a:gd name="connsiteX10" fmla="*/ 513943 w 513943"/>
                  <a:gd name="connsiteY10" fmla="*/ 585339 h 1820034"/>
                  <a:gd name="connsiteX11" fmla="*/ 472924 w 513943"/>
                  <a:gd name="connsiteY11" fmla="*/ 498287 h 1820034"/>
                  <a:gd name="connsiteX12" fmla="*/ 193029 w 513943"/>
                  <a:gd name="connsiteY12" fmla="*/ 220207 h 1820034"/>
                  <a:gd name="connsiteX13" fmla="*/ 241287 w 513943"/>
                  <a:gd name="connsiteY13" fmla="*/ 160 h 1820034"/>
                  <a:gd name="connsiteX0" fmla="*/ 241287 w 513943"/>
                  <a:gd name="connsiteY0" fmla="*/ 160 h 1813613"/>
                  <a:gd name="connsiteX1" fmla="*/ 43431 w 513943"/>
                  <a:gd name="connsiteY1" fmla="*/ 191189 h 1813613"/>
                  <a:gd name="connsiteX2" fmla="*/ 0 w 513943"/>
                  <a:gd name="connsiteY2" fmla="*/ 539396 h 1813613"/>
                  <a:gd name="connsiteX3" fmla="*/ 2413 w 513943"/>
                  <a:gd name="connsiteY3" fmla="*/ 1426838 h 1813613"/>
                  <a:gd name="connsiteX4" fmla="*/ 38606 w 513943"/>
                  <a:gd name="connsiteY4" fmla="*/ 1702500 h 1813613"/>
                  <a:gd name="connsiteX5" fmla="*/ 42107 w 513943"/>
                  <a:gd name="connsiteY5" fmla="*/ 1798571 h 1813613"/>
                  <a:gd name="connsiteX6" fmla="*/ 180966 w 513943"/>
                  <a:gd name="connsiteY6" fmla="*/ 1804060 h 1813613"/>
                  <a:gd name="connsiteX7" fmla="*/ 217159 w 513943"/>
                  <a:gd name="connsiteY7" fmla="*/ 1719426 h 1813613"/>
                  <a:gd name="connsiteX8" fmla="*/ 482575 w 513943"/>
                  <a:gd name="connsiteY8" fmla="*/ 1477617 h 1813613"/>
                  <a:gd name="connsiteX9" fmla="*/ 511530 w 513943"/>
                  <a:gd name="connsiteY9" fmla="*/ 1385728 h 1813613"/>
                  <a:gd name="connsiteX10" fmla="*/ 513943 w 513943"/>
                  <a:gd name="connsiteY10" fmla="*/ 585339 h 1813613"/>
                  <a:gd name="connsiteX11" fmla="*/ 472924 w 513943"/>
                  <a:gd name="connsiteY11" fmla="*/ 498287 h 1813613"/>
                  <a:gd name="connsiteX12" fmla="*/ 193029 w 513943"/>
                  <a:gd name="connsiteY12" fmla="*/ 220207 h 1813613"/>
                  <a:gd name="connsiteX13" fmla="*/ 241287 w 513943"/>
                  <a:gd name="connsiteY13" fmla="*/ 160 h 1813613"/>
                  <a:gd name="connsiteX0" fmla="*/ 241287 w 513943"/>
                  <a:gd name="connsiteY0" fmla="*/ 160 h 1810045"/>
                  <a:gd name="connsiteX1" fmla="*/ 43431 w 513943"/>
                  <a:gd name="connsiteY1" fmla="*/ 191189 h 1810045"/>
                  <a:gd name="connsiteX2" fmla="*/ 0 w 513943"/>
                  <a:gd name="connsiteY2" fmla="*/ 539396 h 1810045"/>
                  <a:gd name="connsiteX3" fmla="*/ 2413 w 513943"/>
                  <a:gd name="connsiteY3" fmla="*/ 1426838 h 1810045"/>
                  <a:gd name="connsiteX4" fmla="*/ 38606 w 513943"/>
                  <a:gd name="connsiteY4" fmla="*/ 1702500 h 1810045"/>
                  <a:gd name="connsiteX5" fmla="*/ 42107 w 513943"/>
                  <a:gd name="connsiteY5" fmla="*/ 1798571 h 1810045"/>
                  <a:gd name="connsiteX6" fmla="*/ 180966 w 513943"/>
                  <a:gd name="connsiteY6" fmla="*/ 1804060 h 1810045"/>
                  <a:gd name="connsiteX7" fmla="*/ 217159 w 513943"/>
                  <a:gd name="connsiteY7" fmla="*/ 1719426 h 1810045"/>
                  <a:gd name="connsiteX8" fmla="*/ 482575 w 513943"/>
                  <a:gd name="connsiteY8" fmla="*/ 1477617 h 1810045"/>
                  <a:gd name="connsiteX9" fmla="*/ 511530 w 513943"/>
                  <a:gd name="connsiteY9" fmla="*/ 1385728 h 1810045"/>
                  <a:gd name="connsiteX10" fmla="*/ 513943 w 513943"/>
                  <a:gd name="connsiteY10" fmla="*/ 585339 h 1810045"/>
                  <a:gd name="connsiteX11" fmla="*/ 472924 w 513943"/>
                  <a:gd name="connsiteY11" fmla="*/ 498287 h 1810045"/>
                  <a:gd name="connsiteX12" fmla="*/ 193029 w 513943"/>
                  <a:gd name="connsiteY12" fmla="*/ 220207 h 1810045"/>
                  <a:gd name="connsiteX13" fmla="*/ 241287 w 513943"/>
                  <a:gd name="connsiteY13" fmla="*/ 160 h 1810045"/>
                  <a:gd name="connsiteX0" fmla="*/ 241287 w 513943"/>
                  <a:gd name="connsiteY0" fmla="*/ 160 h 1804060"/>
                  <a:gd name="connsiteX1" fmla="*/ 43431 w 513943"/>
                  <a:gd name="connsiteY1" fmla="*/ 191189 h 1804060"/>
                  <a:gd name="connsiteX2" fmla="*/ 0 w 513943"/>
                  <a:gd name="connsiteY2" fmla="*/ 539396 h 1804060"/>
                  <a:gd name="connsiteX3" fmla="*/ 2413 w 513943"/>
                  <a:gd name="connsiteY3" fmla="*/ 1426838 h 1804060"/>
                  <a:gd name="connsiteX4" fmla="*/ 38606 w 513943"/>
                  <a:gd name="connsiteY4" fmla="*/ 1702500 h 1804060"/>
                  <a:gd name="connsiteX5" fmla="*/ 42107 w 513943"/>
                  <a:gd name="connsiteY5" fmla="*/ 1798571 h 1804060"/>
                  <a:gd name="connsiteX6" fmla="*/ 180966 w 513943"/>
                  <a:gd name="connsiteY6" fmla="*/ 1804060 h 1804060"/>
                  <a:gd name="connsiteX7" fmla="*/ 217159 w 513943"/>
                  <a:gd name="connsiteY7" fmla="*/ 1719426 h 1804060"/>
                  <a:gd name="connsiteX8" fmla="*/ 482575 w 513943"/>
                  <a:gd name="connsiteY8" fmla="*/ 1477617 h 1804060"/>
                  <a:gd name="connsiteX9" fmla="*/ 511530 w 513943"/>
                  <a:gd name="connsiteY9" fmla="*/ 1385728 h 1804060"/>
                  <a:gd name="connsiteX10" fmla="*/ 513943 w 513943"/>
                  <a:gd name="connsiteY10" fmla="*/ 585339 h 1804060"/>
                  <a:gd name="connsiteX11" fmla="*/ 472924 w 513943"/>
                  <a:gd name="connsiteY11" fmla="*/ 498287 h 1804060"/>
                  <a:gd name="connsiteX12" fmla="*/ 193029 w 513943"/>
                  <a:gd name="connsiteY12" fmla="*/ 220207 h 1804060"/>
                  <a:gd name="connsiteX13" fmla="*/ 241287 w 513943"/>
                  <a:gd name="connsiteY13" fmla="*/ 160 h 1804060"/>
                  <a:gd name="connsiteX0" fmla="*/ 241287 w 513943"/>
                  <a:gd name="connsiteY0" fmla="*/ 160 h 1806275"/>
                  <a:gd name="connsiteX1" fmla="*/ 43431 w 513943"/>
                  <a:gd name="connsiteY1" fmla="*/ 191189 h 1806275"/>
                  <a:gd name="connsiteX2" fmla="*/ 0 w 513943"/>
                  <a:gd name="connsiteY2" fmla="*/ 539396 h 1806275"/>
                  <a:gd name="connsiteX3" fmla="*/ 2413 w 513943"/>
                  <a:gd name="connsiteY3" fmla="*/ 1426838 h 1806275"/>
                  <a:gd name="connsiteX4" fmla="*/ 38606 w 513943"/>
                  <a:gd name="connsiteY4" fmla="*/ 1702500 h 1806275"/>
                  <a:gd name="connsiteX5" fmla="*/ 42107 w 513943"/>
                  <a:gd name="connsiteY5" fmla="*/ 1805826 h 1806275"/>
                  <a:gd name="connsiteX6" fmla="*/ 180966 w 513943"/>
                  <a:gd name="connsiteY6" fmla="*/ 1804060 h 1806275"/>
                  <a:gd name="connsiteX7" fmla="*/ 217159 w 513943"/>
                  <a:gd name="connsiteY7" fmla="*/ 1719426 h 1806275"/>
                  <a:gd name="connsiteX8" fmla="*/ 482575 w 513943"/>
                  <a:gd name="connsiteY8" fmla="*/ 1477617 h 1806275"/>
                  <a:gd name="connsiteX9" fmla="*/ 511530 w 513943"/>
                  <a:gd name="connsiteY9" fmla="*/ 1385728 h 1806275"/>
                  <a:gd name="connsiteX10" fmla="*/ 513943 w 513943"/>
                  <a:gd name="connsiteY10" fmla="*/ 585339 h 1806275"/>
                  <a:gd name="connsiteX11" fmla="*/ 472924 w 513943"/>
                  <a:gd name="connsiteY11" fmla="*/ 498287 h 1806275"/>
                  <a:gd name="connsiteX12" fmla="*/ 193029 w 513943"/>
                  <a:gd name="connsiteY12" fmla="*/ 220207 h 1806275"/>
                  <a:gd name="connsiteX13" fmla="*/ 241287 w 513943"/>
                  <a:gd name="connsiteY13" fmla="*/ 160 h 1806275"/>
                  <a:gd name="connsiteX0" fmla="*/ 241287 w 513943"/>
                  <a:gd name="connsiteY0" fmla="*/ 160 h 1806275"/>
                  <a:gd name="connsiteX1" fmla="*/ 43431 w 513943"/>
                  <a:gd name="connsiteY1" fmla="*/ 191189 h 1806275"/>
                  <a:gd name="connsiteX2" fmla="*/ 0 w 513943"/>
                  <a:gd name="connsiteY2" fmla="*/ 539396 h 1806275"/>
                  <a:gd name="connsiteX3" fmla="*/ 2413 w 513943"/>
                  <a:gd name="connsiteY3" fmla="*/ 1426838 h 1806275"/>
                  <a:gd name="connsiteX4" fmla="*/ 38606 w 513943"/>
                  <a:gd name="connsiteY4" fmla="*/ 1702500 h 1806275"/>
                  <a:gd name="connsiteX5" fmla="*/ 42107 w 513943"/>
                  <a:gd name="connsiteY5" fmla="*/ 1805826 h 1806275"/>
                  <a:gd name="connsiteX6" fmla="*/ 180966 w 513943"/>
                  <a:gd name="connsiteY6" fmla="*/ 1804060 h 1806275"/>
                  <a:gd name="connsiteX7" fmla="*/ 217159 w 513943"/>
                  <a:gd name="connsiteY7" fmla="*/ 1719426 h 1806275"/>
                  <a:gd name="connsiteX8" fmla="*/ 482575 w 513943"/>
                  <a:gd name="connsiteY8" fmla="*/ 1477617 h 1806275"/>
                  <a:gd name="connsiteX9" fmla="*/ 511530 w 513943"/>
                  <a:gd name="connsiteY9" fmla="*/ 1385728 h 1806275"/>
                  <a:gd name="connsiteX10" fmla="*/ 513943 w 513943"/>
                  <a:gd name="connsiteY10" fmla="*/ 585339 h 1806275"/>
                  <a:gd name="connsiteX11" fmla="*/ 472924 w 513943"/>
                  <a:gd name="connsiteY11" fmla="*/ 498287 h 1806275"/>
                  <a:gd name="connsiteX12" fmla="*/ 193029 w 513943"/>
                  <a:gd name="connsiteY12" fmla="*/ 220207 h 1806275"/>
                  <a:gd name="connsiteX13" fmla="*/ 241287 w 513943"/>
                  <a:gd name="connsiteY13" fmla="*/ 160 h 1806275"/>
                  <a:gd name="connsiteX0" fmla="*/ 241287 w 513943"/>
                  <a:gd name="connsiteY0" fmla="*/ 160 h 1806275"/>
                  <a:gd name="connsiteX1" fmla="*/ 43431 w 513943"/>
                  <a:gd name="connsiteY1" fmla="*/ 191189 h 1806275"/>
                  <a:gd name="connsiteX2" fmla="*/ 0 w 513943"/>
                  <a:gd name="connsiteY2" fmla="*/ 539396 h 1806275"/>
                  <a:gd name="connsiteX3" fmla="*/ 2413 w 513943"/>
                  <a:gd name="connsiteY3" fmla="*/ 1426838 h 1806275"/>
                  <a:gd name="connsiteX4" fmla="*/ 38606 w 513943"/>
                  <a:gd name="connsiteY4" fmla="*/ 1702500 h 1806275"/>
                  <a:gd name="connsiteX5" fmla="*/ 42107 w 513943"/>
                  <a:gd name="connsiteY5" fmla="*/ 1805826 h 1806275"/>
                  <a:gd name="connsiteX6" fmla="*/ 180966 w 513943"/>
                  <a:gd name="connsiteY6" fmla="*/ 1804060 h 1806275"/>
                  <a:gd name="connsiteX7" fmla="*/ 217159 w 513943"/>
                  <a:gd name="connsiteY7" fmla="*/ 1719426 h 1806275"/>
                  <a:gd name="connsiteX8" fmla="*/ 482575 w 513943"/>
                  <a:gd name="connsiteY8" fmla="*/ 1477617 h 1806275"/>
                  <a:gd name="connsiteX9" fmla="*/ 511530 w 513943"/>
                  <a:gd name="connsiteY9" fmla="*/ 1385728 h 1806275"/>
                  <a:gd name="connsiteX10" fmla="*/ 513943 w 513943"/>
                  <a:gd name="connsiteY10" fmla="*/ 585339 h 1806275"/>
                  <a:gd name="connsiteX11" fmla="*/ 472924 w 513943"/>
                  <a:gd name="connsiteY11" fmla="*/ 498287 h 1806275"/>
                  <a:gd name="connsiteX12" fmla="*/ 193029 w 513943"/>
                  <a:gd name="connsiteY12" fmla="*/ 220207 h 1806275"/>
                  <a:gd name="connsiteX13" fmla="*/ 241287 w 513943"/>
                  <a:gd name="connsiteY13" fmla="*/ 160 h 1806275"/>
                  <a:gd name="connsiteX0" fmla="*/ 241287 w 513943"/>
                  <a:gd name="connsiteY0" fmla="*/ 160 h 1806275"/>
                  <a:gd name="connsiteX1" fmla="*/ 43431 w 513943"/>
                  <a:gd name="connsiteY1" fmla="*/ 191189 h 1806275"/>
                  <a:gd name="connsiteX2" fmla="*/ 0 w 513943"/>
                  <a:gd name="connsiteY2" fmla="*/ 539396 h 1806275"/>
                  <a:gd name="connsiteX3" fmla="*/ 2413 w 513943"/>
                  <a:gd name="connsiteY3" fmla="*/ 1426838 h 1806275"/>
                  <a:gd name="connsiteX4" fmla="*/ 38606 w 513943"/>
                  <a:gd name="connsiteY4" fmla="*/ 1702500 h 1806275"/>
                  <a:gd name="connsiteX5" fmla="*/ 42107 w 513943"/>
                  <a:gd name="connsiteY5" fmla="*/ 1805826 h 1806275"/>
                  <a:gd name="connsiteX6" fmla="*/ 180966 w 513943"/>
                  <a:gd name="connsiteY6" fmla="*/ 1804060 h 1806275"/>
                  <a:gd name="connsiteX7" fmla="*/ 217159 w 513943"/>
                  <a:gd name="connsiteY7" fmla="*/ 1719426 h 1806275"/>
                  <a:gd name="connsiteX8" fmla="*/ 482575 w 513943"/>
                  <a:gd name="connsiteY8" fmla="*/ 1477617 h 1806275"/>
                  <a:gd name="connsiteX9" fmla="*/ 511530 w 513943"/>
                  <a:gd name="connsiteY9" fmla="*/ 1385728 h 1806275"/>
                  <a:gd name="connsiteX10" fmla="*/ 513943 w 513943"/>
                  <a:gd name="connsiteY10" fmla="*/ 585339 h 1806275"/>
                  <a:gd name="connsiteX11" fmla="*/ 472924 w 513943"/>
                  <a:gd name="connsiteY11" fmla="*/ 498287 h 1806275"/>
                  <a:gd name="connsiteX12" fmla="*/ 193029 w 513943"/>
                  <a:gd name="connsiteY12" fmla="*/ 220207 h 1806275"/>
                  <a:gd name="connsiteX13" fmla="*/ 241287 w 513943"/>
                  <a:gd name="connsiteY13" fmla="*/ 160 h 1806275"/>
                  <a:gd name="connsiteX0" fmla="*/ 241287 w 513943"/>
                  <a:gd name="connsiteY0" fmla="*/ 160 h 1804060"/>
                  <a:gd name="connsiteX1" fmla="*/ 43431 w 513943"/>
                  <a:gd name="connsiteY1" fmla="*/ 191189 h 1804060"/>
                  <a:gd name="connsiteX2" fmla="*/ 0 w 513943"/>
                  <a:gd name="connsiteY2" fmla="*/ 539396 h 1804060"/>
                  <a:gd name="connsiteX3" fmla="*/ 2413 w 513943"/>
                  <a:gd name="connsiteY3" fmla="*/ 1426838 h 1804060"/>
                  <a:gd name="connsiteX4" fmla="*/ 38606 w 513943"/>
                  <a:gd name="connsiteY4" fmla="*/ 1702500 h 1804060"/>
                  <a:gd name="connsiteX5" fmla="*/ 37276 w 513943"/>
                  <a:gd name="connsiteY5" fmla="*/ 1796154 h 1804060"/>
                  <a:gd name="connsiteX6" fmla="*/ 180966 w 513943"/>
                  <a:gd name="connsiteY6" fmla="*/ 1804060 h 1804060"/>
                  <a:gd name="connsiteX7" fmla="*/ 217159 w 513943"/>
                  <a:gd name="connsiteY7" fmla="*/ 1719426 h 1804060"/>
                  <a:gd name="connsiteX8" fmla="*/ 482575 w 513943"/>
                  <a:gd name="connsiteY8" fmla="*/ 1477617 h 1804060"/>
                  <a:gd name="connsiteX9" fmla="*/ 511530 w 513943"/>
                  <a:gd name="connsiteY9" fmla="*/ 1385728 h 1804060"/>
                  <a:gd name="connsiteX10" fmla="*/ 513943 w 513943"/>
                  <a:gd name="connsiteY10" fmla="*/ 585339 h 1804060"/>
                  <a:gd name="connsiteX11" fmla="*/ 472924 w 513943"/>
                  <a:gd name="connsiteY11" fmla="*/ 498287 h 1804060"/>
                  <a:gd name="connsiteX12" fmla="*/ 193029 w 513943"/>
                  <a:gd name="connsiteY12" fmla="*/ 220207 h 1804060"/>
                  <a:gd name="connsiteX13" fmla="*/ 241287 w 513943"/>
                  <a:gd name="connsiteY13" fmla="*/ 160 h 1804060"/>
                  <a:gd name="connsiteX0" fmla="*/ 241287 w 513943"/>
                  <a:gd name="connsiteY0" fmla="*/ 160 h 1804060"/>
                  <a:gd name="connsiteX1" fmla="*/ 43431 w 513943"/>
                  <a:gd name="connsiteY1" fmla="*/ 191189 h 1804060"/>
                  <a:gd name="connsiteX2" fmla="*/ 0 w 513943"/>
                  <a:gd name="connsiteY2" fmla="*/ 539396 h 1804060"/>
                  <a:gd name="connsiteX3" fmla="*/ 2413 w 513943"/>
                  <a:gd name="connsiteY3" fmla="*/ 1426838 h 1804060"/>
                  <a:gd name="connsiteX4" fmla="*/ 38606 w 513943"/>
                  <a:gd name="connsiteY4" fmla="*/ 1702500 h 1804060"/>
                  <a:gd name="connsiteX5" fmla="*/ 39692 w 513943"/>
                  <a:gd name="connsiteY5" fmla="*/ 1803409 h 1804060"/>
                  <a:gd name="connsiteX6" fmla="*/ 180966 w 513943"/>
                  <a:gd name="connsiteY6" fmla="*/ 1804060 h 1804060"/>
                  <a:gd name="connsiteX7" fmla="*/ 217159 w 513943"/>
                  <a:gd name="connsiteY7" fmla="*/ 1719426 h 1804060"/>
                  <a:gd name="connsiteX8" fmla="*/ 482575 w 513943"/>
                  <a:gd name="connsiteY8" fmla="*/ 1477617 h 1804060"/>
                  <a:gd name="connsiteX9" fmla="*/ 511530 w 513943"/>
                  <a:gd name="connsiteY9" fmla="*/ 1385728 h 1804060"/>
                  <a:gd name="connsiteX10" fmla="*/ 513943 w 513943"/>
                  <a:gd name="connsiteY10" fmla="*/ 585339 h 1804060"/>
                  <a:gd name="connsiteX11" fmla="*/ 472924 w 513943"/>
                  <a:gd name="connsiteY11" fmla="*/ 498287 h 1804060"/>
                  <a:gd name="connsiteX12" fmla="*/ 193029 w 513943"/>
                  <a:gd name="connsiteY12" fmla="*/ 220207 h 1804060"/>
                  <a:gd name="connsiteX13" fmla="*/ 241287 w 513943"/>
                  <a:gd name="connsiteY13" fmla="*/ 160 h 1804060"/>
                  <a:gd name="connsiteX0" fmla="*/ 209882 w 513943"/>
                  <a:gd name="connsiteY0" fmla="*/ 20253 h 1664558"/>
                  <a:gd name="connsiteX1" fmla="*/ 43431 w 513943"/>
                  <a:gd name="connsiteY1" fmla="*/ 51687 h 1664558"/>
                  <a:gd name="connsiteX2" fmla="*/ 0 w 513943"/>
                  <a:gd name="connsiteY2" fmla="*/ 399894 h 1664558"/>
                  <a:gd name="connsiteX3" fmla="*/ 2413 w 513943"/>
                  <a:gd name="connsiteY3" fmla="*/ 1287336 h 1664558"/>
                  <a:gd name="connsiteX4" fmla="*/ 38606 w 513943"/>
                  <a:gd name="connsiteY4" fmla="*/ 1562998 h 1664558"/>
                  <a:gd name="connsiteX5" fmla="*/ 39692 w 513943"/>
                  <a:gd name="connsiteY5" fmla="*/ 1663907 h 1664558"/>
                  <a:gd name="connsiteX6" fmla="*/ 180966 w 513943"/>
                  <a:gd name="connsiteY6" fmla="*/ 1664558 h 1664558"/>
                  <a:gd name="connsiteX7" fmla="*/ 217159 w 513943"/>
                  <a:gd name="connsiteY7" fmla="*/ 1579924 h 1664558"/>
                  <a:gd name="connsiteX8" fmla="*/ 482575 w 513943"/>
                  <a:gd name="connsiteY8" fmla="*/ 1338115 h 1664558"/>
                  <a:gd name="connsiteX9" fmla="*/ 511530 w 513943"/>
                  <a:gd name="connsiteY9" fmla="*/ 1246226 h 1664558"/>
                  <a:gd name="connsiteX10" fmla="*/ 513943 w 513943"/>
                  <a:gd name="connsiteY10" fmla="*/ 445837 h 1664558"/>
                  <a:gd name="connsiteX11" fmla="*/ 472924 w 513943"/>
                  <a:gd name="connsiteY11" fmla="*/ 358785 h 1664558"/>
                  <a:gd name="connsiteX12" fmla="*/ 193029 w 513943"/>
                  <a:gd name="connsiteY12" fmla="*/ 80705 h 1664558"/>
                  <a:gd name="connsiteX13" fmla="*/ 209882 w 513943"/>
                  <a:gd name="connsiteY13" fmla="*/ 20253 h 1664558"/>
                  <a:gd name="connsiteX0" fmla="*/ 209882 w 513943"/>
                  <a:gd name="connsiteY0" fmla="*/ 15688 h 1659993"/>
                  <a:gd name="connsiteX1" fmla="*/ 43431 w 513943"/>
                  <a:gd name="connsiteY1" fmla="*/ 47122 h 1659993"/>
                  <a:gd name="connsiteX2" fmla="*/ 0 w 513943"/>
                  <a:gd name="connsiteY2" fmla="*/ 395329 h 1659993"/>
                  <a:gd name="connsiteX3" fmla="*/ 2413 w 513943"/>
                  <a:gd name="connsiteY3" fmla="*/ 1282771 h 1659993"/>
                  <a:gd name="connsiteX4" fmla="*/ 38606 w 513943"/>
                  <a:gd name="connsiteY4" fmla="*/ 1558433 h 1659993"/>
                  <a:gd name="connsiteX5" fmla="*/ 39692 w 513943"/>
                  <a:gd name="connsiteY5" fmla="*/ 1659342 h 1659993"/>
                  <a:gd name="connsiteX6" fmla="*/ 180966 w 513943"/>
                  <a:gd name="connsiteY6" fmla="*/ 1659993 h 1659993"/>
                  <a:gd name="connsiteX7" fmla="*/ 217159 w 513943"/>
                  <a:gd name="connsiteY7" fmla="*/ 1575359 h 1659993"/>
                  <a:gd name="connsiteX8" fmla="*/ 482575 w 513943"/>
                  <a:gd name="connsiteY8" fmla="*/ 1333550 h 1659993"/>
                  <a:gd name="connsiteX9" fmla="*/ 511530 w 513943"/>
                  <a:gd name="connsiteY9" fmla="*/ 1241661 h 1659993"/>
                  <a:gd name="connsiteX10" fmla="*/ 513943 w 513943"/>
                  <a:gd name="connsiteY10" fmla="*/ 441272 h 1659993"/>
                  <a:gd name="connsiteX11" fmla="*/ 472924 w 513943"/>
                  <a:gd name="connsiteY11" fmla="*/ 354220 h 1659993"/>
                  <a:gd name="connsiteX12" fmla="*/ 193029 w 513943"/>
                  <a:gd name="connsiteY12" fmla="*/ 76140 h 1659993"/>
                  <a:gd name="connsiteX13" fmla="*/ 209882 w 513943"/>
                  <a:gd name="connsiteY13" fmla="*/ 15688 h 1659993"/>
                  <a:gd name="connsiteX0" fmla="*/ 209882 w 513943"/>
                  <a:gd name="connsiteY0" fmla="*/ 25425 h 1669730"/>
                  <a:gd name="connsiteX1" fmla="*/ 45846 w 513943"/>
                  <a:gd name="connsiteY1" fmla="*/ 42351 h 1669730"/>
                  <a:gd name="connsiteX2" fmla="*/ 0 w 513943"/>
                  <a:gd name="connsiteY2" fmla="*/ 405066 h 1669730"/>
                  <a:gd name="connsiteX3" fmla="*/ 2413 w 513943"/>
                  <a:gd name="connsiteY3" fmla="*/ 1292508 h 1669730"/>
                  <a:gd name="connsiteX4" fmla="*/ 38606 w 513943"/>
                  <a:gd name="connsiteY4" fmla="*/ 1568170 h 1669730"/>
                  <a:gd name="connsiteX5" fmla="*/ 39692 w 513943"/>
                  <a:gd name="connsiteY5" fmla="*/ 1669079 h 1669730"/>
                  <a:gd name="connsiteX6" fmla="*/ 180966 w 513943"/>
                  <a:gd name="connsiteY6" fmla="*/ 1669730 h 1669730"/>
                  <a:gd name="connsiteX7" fmla="*/ 217159 w 513943"/>
                  <a:gd name="connsiteY7" fmla="*/ 1585096 h 1669730"/>
                  <a:gd name="connsiteX8" fmla="*/ 482575 w 513943"/>
                  <a:gd name="connsiteY8" fmla="*/ 1343287 h 1669730"/>
                  <a:gd name="connsiteX9" fmla="*/ 511530 w 513943"/>
                  <a:gd name="connsiteY9" fmla="*/ 1251398 h 1669730"/>
                  <a:gd name="connsiteX10" fmla="*/ 513943 w 513943"/>
                  <a:gd name="connsiteY10" fmla="*/ 451009 h 1669730"/>
                  <a:gd name="connsiteX11" fmla="*/ 472924 w 513943"/>
                  <a:gd name="connsiteY11" fmla="*/ 363957 h 1669730"/>
                  <a:gd name="connsiteX12" fmla="*/ 193029 w 513943"/>
                  <a:gd name="connsiteY12" fmla="*/ 85877 h 1669730"/>
                  <a:gd name="connsiteX13" fmla="*/ 209882 w 513943"/>
                  <a:gd name="connsiteY13" fmla="*/ 25425 h 1669730"/>
                  <a:gd name="connsiteX0" fmla="*/ 209882 w 513943"/>
                  <a:gd name="connsiteY0" fmla="*/ 0 h 1644305"/>
                  <a:gd name="connsiteX1" fmla="*/ 45846 w 513943"/>
                  <a:gd name="connsiteY1" fmla="*/ 16926 h 1644305"/>
                  <a:gd name="connsiteX2" fmla="*/ 0 w 513943"/>
                  <a:gd name="connsiteY2" fmla="*/ 379641 h 1644305"/>
                  <a:gd name="connsiteX3" fmla="*/ 2413 w 513943"/>
                  <a:gd name="connsiteY3" fmla="*/ 1267083 h 1644305"/>
                  <a:gd name="connsiteX4" fmla="*/ 38606 w 513943"/>
                  <a:gd name="connsiteY4" fmla="*/ 1542745 h 1644305"/>
                  <a:gd name="connsiteX5" fmla="*/ 39692 w 513943"/>
                  <a:gd name="connsiteY5" fmla="*/ 1643654 h 1644305"/>
                  <a:gd name="connsiteX6" fmla="*/ 180966 w 513943"/>
                  <a:gd name="connsiteY6" fmla="*/ 1644305 h 1644305"/>
                  <a:gd name="connsiteX7" fmla="*/ 217159 w 513943"/>
                  <a:gd name="connsiteY7" fmla="*/ 1559671 h 1644305"/>
                  <a:gd name="connsiteX8" fmla="*/ 482575 w 513943"/>
                  <a:gd name="connsiteY8" fmla="*/ 1317862 h 1644305"/>
                  <a:gd name="connsiteX9" fmla="*/ 511530 w 513943"/>
                  <a:gd name="connsiteY9" fmla="*/ 1225973 h 1644305"/>
                  <a:gd name="connsiteX10" fmla="*/ 513943 w 513943"/>
                  <a:gd name="connsiteY10" fmla="*/ 425584 h 1644305"/>
                  <a:gd name="connsiteX11" fmla="*/ 472924 w 513943"/>
                  <a:gd name="connsiteY11" fmla="*/ 338532 h 1644305"/>
                  <a:gd name="connsiteX12" fmla="*/ 193029 w 513943"/>
                  <a:gd name="connsiteY12" fmla="*/ 60452 h 1644305"/>
                  <a:gd name="connsiteX13" fmla="*/ 209882 w 513943"/>
                  <a:gd name="connsiteY13" fmla="*/ 0 h 1644305"/>
                  <a:gd name="connsiteX0" fmla="*/ 209882 w 513943"/>
                  <a:gd name="connsiteY0" fmla="*/ 0 h 1644305"/>
                  <a:gd name="connsiteX1" fmla="*/ 45846 w 513943"/>
                  <a:gd name="connsiteY1" fmla="*/ 7254 h 1644305"/>
                  <a:gd name="connsiteX2" fmla="*/ 0 w 513943"/>
                  <a:gd name="connsiteY2" fmla="*/ 379641 h 1644305"/>
                  <a:gd name="connsiteX3" fmla="*/ 2413 w 513943"/>
                  <a:gd name="connsiteY3" fmla="*/ 1267083 h 1644305"/>
                  <a:gd name="connsiteX4" fmla="*/ 38606 w 513943"/>
                  <a:gd name="connsiteY4" fmla="*/ 1542745 h 1644305"/>
                  <a:gd name="connsiteX5" fmla="*/ 39692 w 513943"/>
                  <a:gd name="connsiteY5" fmla="*/ 1643654 h 1644305"/>
                  <a:gd name="connsiteX6" fmla="*/ 180966 w 513943"/>
                  <a:gd name="connsiteY6" fmla="*/ 1644305 h 1644305"/>
                  <a:gd name="connsiteX7" fmla="*/ 217159 w 513943"/>
                  <a:gd name="connsiteY7" fmla="*/ 1559671 h 1644305"/>
                  <a:gd name="connsiteX8" fmla="*/ 482575 w 513943"/>
                  <a:gd name="connsiteY8" fmla="*/ 1317862 h 1644305"/>
                  <a:gd name="connsiteX9" fmla="*/ 511530 w 513943"/>
                  <a:gd name="connsiteY9" fmla="*/ 1225973 h 1644305"/>
                  <a:gd name="connsiteX10" fmla="*/ 513943 w 513943"/>
                  <a:gd name="connsiteY10" fmla="*/ 425584 h 1644305"/>
                  <a:gd name="connsiteX11" fmla="*/ 472924 w 513943"/>
                  <a:gd name="connsiteY11" fmla="*/ 338532 h 1644305"/>
                  <a:gd name="connsiteX12" fmla="*/ 193029 w 513943"/>
                  <a:gd name="connsiteY12" fmla="*/ 60452 h 1644305"/>
                  <a:gd name="connsiteX13" fmla="*/ 209882 w 513943"/>
                  <a:gd name="connsiteY13" fmla="*/ 0 h 1644305"/>
                  <a:gd name="connsiteX0" fmla="*/ 205050 w 513943"/>
                  <a:gd name="connsiteY0" fmla="*/ 0 h 1639468"/>
                  <a:gd name="connsiteX1" fmla="*/ 45846 w 513943"/>
                  <a:gd name="connsiteY1" fmla="*/ 2417 h 1639468"/>
                  <a:gd name="connsiteX2" fmla="*/ 0 w 513943"/>
                  <a:gd name="connsiteY2" fmla="*/ 374804 h 1639468"/>
                  <a:gd name="connsiteX3" fmla="*/ 2413 w 513943"/>
                  <a:gd name="connsiteY3" fmla="*/ 1262246 h 1639468"/>
                  <a:gd name="connsiteX4" fmla="*/ 38606 w 513943"/>
                  <a:gd name="connsiteY4" fmla="*/ 1537908 h 1639468"/>
                  <a:gd name="connsiteX5" fmla="*/ 39692 w 513943"/>
                  <a:gd name="connsiteY5" fmla="*/ 1638817 h 1639468"/>
                  <a:gd name="connsiteX6" fmla="*/ 180966 w 513943"/>
                  <a:gd name="connsiteY6" fmla="*/ 1639468 h 1639468"/>
                  <a:gd name="connsiteX7" fmla="*/ 217159 w 513943"/>
                  <a:gd name="connsiteY7" fmla="*/ 1554834 h 1639468"/>
                  <a:gd name="connsiteX8" fmla="*/ 482575 w 513943"/>
                  <a:gd name="connsiteY8" fmla="*/ 1313025 h 1639468"/>
                  <a:gd name="connsiteX9" fmla="*/ 511530 w 513943"/>
                  <a:gd name="connsiteY9" fmla="*/ 1221136 h 1639468"/>
                  <a:gd name="connsiteX10" fmla="*/ 513943 w 513943"/>
                  <a:gd name="connsiteY10" fmla="*/ 420747 h 1639468"/>
                  <a:gd name="connsiteX11" fmla="*/ 472924 w 513943"/>
                  <a:gd name="connsiteY11" fmla="*/ 333695 h 1639468"/>
                  <a:gd name="connsiteX12" fmla="*/ 193029 w 513943"/>
                  <a:gd name="connsiteY12" fmla="*/ 55615 h 1639468"/>
                  <a:gd name="connsiteX13" fmla="*/ 205050 w 513943"/>
                  <a:gd name="connsiteY13" fmla="*/ 0 h 1639468"/>
                  <a:gd name="connsiteX0" fmla="*/ 205050 w 513943"/>
                  <a:gd name="connsiteY0" fmla="*/ 19 h 1639487"/>
                  <a:gd name="connsiteX1" fmla="*/ 45846 w 513943"/>
                  <a:gd name="connsiteY1" fmla="*/ 2436 h 1639487"/>
                  <a:gd name="connsiteX2" fmla="*/ 0 w 513943"/>
                  <a:gd name="connsiteY2" fmla="*/ 374823 h 1639487"/>
                  <a:gd name="connsiteX3" fmla="*/ 2413 w 513943"/>
                  <a:gd name="connsiteY3" fmla="*/ 1262265 h 1639487"/>
                  <a:gd name="connsiteX4" fmla="*/ 38606 w 513943"/>
                  <a:gd name="connsiteY4" fmla="*/ 1537927 h 1639487"/>
                  <a:gd name="connsiteX5" fmla="*/ 39692 w 513943"/>
                  <a:gd name="connsiteY5" fmla="*/ 1638836 h 1639487"/>
                  <a:gd name="connsiteX6" fmla="*/ 180966 w 513943"/>
                  <a:gd name="connsiteY6" fmla="*/ 1639487 h 1639487"/>
                  <a:gd name="connsiteX7" fmla="*/ 217159 w 513943"/>
                  <a:gd name="connsiteY7" fmla="*/ 1554853 h 1639487"/>
                  <a:gd name="connsiteX8" fmla="*/ 482575 w 513943"/>
                  <a:gd name="connsiteY8" fmla="*/ 1313044 h 1639487"/>
                  <a:gd name="connsiteX9" fmla="*/ 511530 w 513943"/>
                  <a:gd name="connsiteY9" fmla="*/ 1221155 h 1639487"/>
                  <a:gd name="connsiteX10" fmla="*/ 513943 w 513943"/>
                  <a:gd name="connsiteY10" fmla="*/ 420766 h 1639487"/>
                  <a:gd name="connsiteX11" fmla="*/ 472924 w 513943"/>
                  <a:gd name="connsiteY11" fmla="*/ 333714 h 1639487"/>
                  <a:gd name="connsiteX12" fmla="*/ 193029 w 513943"/>
                  <a:gd name="connsiteY12" fmla="*/ 55634 h 1639487"/>
                  <a:gd name="connsiteX13" fmla="*/ 205050 w 513943"/>
                  <a:gd name="connsiteY13" fmla="*/ 19 h 16394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513943" h="1639487">
                    <a:moveTo>
                      <a:pt x="205050" y="19"/>
                    </a:moveTo>
                    <a:cubicBezTo>
                      <a:pt x="168039" y="20"/>
                      <a:pt x="129542" y="-386"/>
                      <a:pt x="45846" y="2436"/>
                    </a:cubicBezTo>
                    <a:lnTo>
                      <a:pt x="0" y="374823"/>
                    </a:lnTo>
                    <a:cubicBezTo>
                      <a:pt x="804" y="670637"/>
                      <a:pt x="1609" y="966451"/>
                      <a:pt x="2413" y="1262265"/>
                    </a:cubicBezTo>
                    <a:lnTo>
                      <a:pt x="38606" y="1537927"/>
                    </a:lnTo>
                    <a:cubicBezTo>
                      <a:pt x="44819" y="1613182"/>
                      <a:pt x="42171" y="1597435"/>
                      <a:pt x="39692" y="1638836"/>
                    </a:cubicBezTo>
                    <a:cubicBezTo>
                      <a:pt x="97238" y="1641255"/>
                      <a:pt x="144544" y="1635349"/>
                      <a:pt x="180966" y="1639487"/>
                    </a:cubicBezTo>
                    <a:cubicBezTo>
                      <a:pt x="193030" y="1582259"/>
                      <a:pt x="205095" y="1583064"/>
                      <a:pt x="217159" y="1554853"/>
                    </a:cubicBezTo>
                    <a:lnTo>
                      <a:pt x="482575" y="1313044"/>
                    </a:lnTo>
                    <a:cubicBezTo>
                      <a:pt x="513944" y="1267906"/>
                      <a:pt x="511529" y="1261457"/>
                      <a:pt x="511530" y="1221155"/>
                    </a:cubicBezTo>
                    <a:cubicBezTo>
                      <a:pt x="512334" y="957583"/>
                      <a:pt x="513139" y="684338"/>
                      <a:pt x="513943" y="420766"/>
                    </a:cubicBezTo>
                    <a:cubicBezTo>
                      <a:pt x="507509" y="357897"/>
                      <a:pt x="505900" y="360313"/>
                      <a:pt x="472924" y="333714"/>
                    </a:cubicBezTo>
                    <a:lnTo>
                      <a:pt x="193029" y="55634"/>
                    </a:lnTo>
                    <a:lnTo>
                      <a:pt x="205050" y="19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de-DE" sz="600" dirty="0">
                  <a:solidFill>
                    <a:sysClr val="windowText" lastClr="000000"/>
                  </a:solidFill>
                </a:endParaRPr>
              </a:p>
            </p:txBody>
          </p:sp>
        </p:grpSp>
        <p:sp>
          <p:nvSpPr>
            <p:cNvPr id="52" name="Text_G120">
              <a:extLst>
                <a:ext uri="{FF2B5EF4-FFF2-40B4-BE49-F238E27FC236}">
                  <a16:creationId xmlns:a16="http://schemas.microsoft.com/office/drawing/2014/main" id="{0FDA9D21-D13F-4090-8B32-D66CCCB1BEB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704116" y="6169992"/>
              <a:ext cx="23561" cy="24530"/>
            </a:xfrm>
            <a:prstGeom prst="ellipse">
              <a:avLst/>
            </a:prstGeom>
            <a:solidFill>
              <a:srgbClr val="FF9933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de-DE" dirty="0"/>
            </a:p>
          </p:txBody>
        </p:sp>
        <p:grpSp>
          <p:nvGrpSpPr>
            <p:cNvPr id="53" name="G050/G006C/G017.2/G006/G006A/G006B/T103S">
              <a:extLst>
                <a:ext uri="{FF2B5EF4-FFF2-40B4-BE49-F238E27FC236}">
                  <a16:creationId xmlns:a16="http://schemas.microsoft.com/office/drawing/2014/main" id="{441ADACB-D4D1-4C91-941B-53125E7D8C4A}"/>
                </a:ext>
              </a:extLst>
            </p:cNvPr>
            <p:cNvGrpSpPr/>
            <p:nvPr/>
          </p:nvGrpSpPr>
          <p:grpSpPr>
            <a:xfrm>
              <a:off x="5890233" y="6355026"/>
              <a:ext cx="1370474" cy="1557266"/>
              <a:chOff x="0" y="0"/>
              <a:chExt cx="951200" cy="1174679"/>
            </a:xfrm>
            <a:solidFill>
              <a:srgbClr val="FFFF00"/>
            </a:solidFill>
          </p:grpSpPr>
          <p:sp>
            <p:nvSpPr>
              <p:cNvPr id="99" name="G006A">
                <a:extLst>
                  <a:ext uri="{FF2B5EF4-FFF2-40B4-BE49-F238E27FC236}">
                    <a16:creationId xmlns:a16="http://schemas.microsoft.com/office/drawing/2014/main" id="{B1143BF8-32CC-4264-93C3-7119140D6203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88080" y="364280"/>
                <a:ext cx="342831" cy="532710"/>
              </a:xfrm>
              <a:custGeom>
                <a:avLst/>
                <a:gdLst>
                  <a:gd name="connsiteX0" fmla="*/ 157655 w 861848"/>
                  <a:gd name="connsiteY0" fmla="*/ 1508234 h 1508234"/>
                  <a:gd name="connsiteX1" fmla="*/ 436179 w 861848"/>
                  <a:gd name="connsiteY1" fmla="*/ 1255986 h 1508234"/>
                  <a:gd name="connsiteX2" fmla="*/ 420413 w 861848"/>
                  <a:gd name="connsiteY2" fmla="*/ 1234965 h 1508234"/>
                  <a:gd name="connsiteX3" fmla="*/ 541282 w 861848"/>
                  <a:gd name="connsiteY3" fmla="*/ 1119351 h 1508234"/>
                  <a:gd name="connsiteX4" fmla="*/ 578069 w 861848"/>
                  <a:gd name="connsiteY4" fmla="*/ 1150882 h 1508234"/>
                  <a:gd name="connsiteX5" fmla="*/ 861848 w 861848"/>
                  <a:gd name="connsiteY5" fmla="*/ 903889 h 1508234"/>
                  <a:gd name="connsiteX6" fmla="*/ 315310 w 861848"/>
                  <a:gd name="connsiteY6" fmla="*/ 126124 h 1508234"/>
                  <a:gd name="connsiteX7" fmla="*/ 31531 w 861848"/>
                  <a:gd name="connsiteY7" fmla="*/ 0 h 1508234"/>
                  <a:gd name="connsiteX8" fmla="*/ 5255 w 861848"/>
                  <a:gd name="connsiteY8" fmla="*/ 162910 h 1508234"/>
                  <a:gd name="connsiteX9" fmla="*/ 210207 w 861848"/>
                  <a:gd name="connsiteY9" fmla="*/ 630620 h 1508234"/>
                  <a:gd name="connsiteX10" fmla="*/ 0 w 861848"/>
                  <a:gd name="connsiteY10" fmla="*/ 1271751 h 1508234"/>
                  <a:gd name="connsiteX11" fmla="*/ 157655 w 861848"/>
                  <a:gd name="connsiteY11" fmla="*/ 1508234 h 1508234"/>
                  <a:gd name="connsiteX0" fmla="*/ 157655 w 861848"/>
                  <a:gd name="connsiteY0" fmla="*/ 1508234 h 1508234"/>
                  <a:gd name="connsiteX1" fmla="*/ 436179 w 861848"/>
                  <a:gd name="connsiteY1" fmla="*/ 1255986 h 1508234"/>
                  <a:gd name="connsiteX2" fmla="*/ 420413 w 861848"/>
                  <a:gd name="connsiteY2" fmla="*/ 1234965 h 1508234"/>
                  <a:gd name="connsiteX3" fmla="*/ 541282 w 861848"/>
                  <a:gd name="connsiteY3" fmla="*/ 1119351 h 1508234"/>
                  <a:gd name="connsiteX4" fmla="*/ 578069 w 861848"/>
                  <a:gd name="connsiteY4" fmla="*/ 1150882 h 1508234"/>
                  <a:gd name="connsiteX5" fmla="*/ 861848 w 861848"/>
                  <a:gd name="connsiteY5" fmla="*/ 903889 h 1508234"/>
                  <a:gd name="connsiteX6" fmla="*/ 315310 w 861848"/>
                  <a:gd name="connsiteY6" fmla="*/ 126124 h 1508234"/>
                  <a:gd name="connsiteX7" fmla="*/ 31531 w 861848"/>
                  <a:gd name="connsiteY7" fmla="*/ 0 h 1508234"/>
                  <a:gd name="connsiteX8" fmla="*/ 5255 w 861848"/>
                  <a:gd name="connsiteY8" fmla="*/ 162910 h 1508234"/>
                  <a:gd name="connsiteX9" fmla="*/ 210207 w 861848"/>
                  <a:gd name="connsiteY9" fmla="*/ 630620 h 1508234"/>
                  <a:gd name="connsiteX10" fmla="*/ 157655 w 861848"/>
                  <a:gd name="connsiteY10" fmla="*/ 788275 h 1508234"/>
                  <a:gd name="connsiteX11" fmla="*/ 0 w 861848"/>
                  <a:gd name="connsiteY11" fmla="*/ 1271751 h 1508234"/>
                  <a:gd name="connsiteX12" fmla="*/ 157655 w 861848"/>
                  <a:gd name="connsiteY12" fmla="*/ 1508234 h 1508234"/>
                  <a:gd name="connsiteX0" fmla="*/ 157655 w 861848"/>
                  <a:gd name="connsiteY0" fmla="*/ 1508234 h 1508234"/>
                  <a:gd name="connsiteX1" fmla="*/ 436179 w 861848"/>
                  <a:gd name="connsiteY1" fmla="*/ 1255986 h 1508234"/>
                  <a:gd name="connsiteX2" fmla="*/ 420413 w 861848"/>
                  <a:gd name="connsiteY2" fmla="*/ 1234965 h 1508234"/>
                  <a:gd name="connsiteX3" fmla="*/ 541282 w 861848"/>
                  <a:gd name="connsiteY3" fmla="*/ 1119351 h 1508234"/>
                  <a:gd name="connsiteX4" fmla="*/ 578069 w 861848"/>
                  <a:gd name="connsiteY4" fmla="*/ 1150882 h 1508234"/>
                  <a:gd name="connsiteX5" fmla="*/ 861848 w 861848"/>
                  <a:gd name="connsiteY5" fmla="*/ 903889 h 1508234"/>
                  <a:gd name="connsiteX6" fmla="*/ 315310 w 861848"/>
                  <a:gd name="connsiteY6" fmla="*/ 126124 h 1508234"/>
                  <a:gd name="connsiteX7" fmla="*/ 31531 w 861848"/>
                  <a:gd name="connsiteY7" fmla="*/ 0 h 1508234"/>
                  <a:gd name="connsiteX8" fmla="*/ 5255 w 861848"/>
                  <a:gd name="connsiteY8" fmla="*/ 162910 h 1508234"/>
                  <a:gd name="connsiteX9" fmla="*/ 126124 w 861848"/>
                  <a:gd name="connsiteY9" fmla="*/ 436179 h 1508234"/>
                  <a:gd name="connsiteX10" fmla="*/ 210207 w 861848"/>
                  <a:gd name="connsiteY10" fmla="*/ 630620 h 1508234"/>
                  <a:gd name="connsiteX11" fmla="*/ 157655 w 861848"/>
                  <a:gd name="connsiteY11" fmla="*/ 788275 h 1508234"/>
                  <a:gd name="connsiteX12" fmla="*/ 0 w 861848"/>
                  <a:gd name="connsiteY12" fmla="*/ 1271751 h 1508234"/>
                  <a:gd name="connsiteX13" fmla="*/ 157655 w 861848"/>
                  <a:gd name="connsiteY13" fmla="*/ 1508234 h 1508234"/>
                  <a:gd name="connsiteX0" fmla="*/ 157655 w 861848"/>
                  <a:gd name="connsiteY0" fmla="*/ 1508234 h 1508234"/>
                  <a:gd name="connsiteX1" fmla="*/ 436179 w 861848"/>
                  <a:gd name="connsiteY1" fmla="*/ 1255986 h 1508234"/>
                  <a:gd name="connsiteX2" fmla="*/ 420413 w 861848"/>
                  <a:gd name="connsiteY2" fmla="*/ 1234965 h 1508234"/>
                  <a:gd name="connsiteX3" fmla="*/ 541282 w 861848"/>
                  <a:gd name="connsiteY3" fmla="*/ 1119351 h 1508234"/>
                  <a:gd name="connsiteX4" fmla="*/ 578069 w 861848"/>
                  <a:gd name="connsiteY4" fmla="*/ 1150882 h 1508234"/>
                  <a:gd name="connsiteX5" fmla="*/ 861848 w 861848"/>
                  <a:gd name="connsiteY5" fmla="*/ 903889 h 1508234"/>
                  <a:gd name="connsiteX6" fmla="*/ 315310 w 861848"/>
                  <a:gd name="connsiteY6" fmla="*/ 126124 h 1508234"/>
                  <a:gd name="connsiteX7" fmla="*/ 31531 w 861848"/>
                  <a:gd name="connsiteY7" fmla="*/ 0 h 1508234"/>
                  <a:gd name="connsiteX8" fmla="*/ 5255 w 861848"/>
                  <a:gd name="connsiteY8" fmla="*/ 162910 h 1508234"/>
                  <a:gd name="connsiteX9" fmla="*/ 126124 w 861848"/>
                  <a:gd name="connsiteY9" fmla="*/ 436179 h 1508234"/>
                  <a:gd name="connsiteX10" fmla="*/ 294290 w 861848"/>
                  <a:gd name="connsiteY10" fmla="*/ 641131 h 1508234"/>
                  <a:gd name="connsiteX11" fmla="*/ 157655 w 861848"/>
                  <a:gd name="connsiteY11" fmla="*/ 788275 h 1508234"/>
                  <a:gd name="connsiteX12" fmla="*/ 0 w 861848"/>
                  <a:gd name="connsiteY12" fmla="*/ 1271751 h 1508234"/>
                  <a:gd name="connsiteX13" fmla="*/ 157655 w 861848"/>
                  <a:gd name="connsiteY13" fmla="*/ 1508234 h 1508234"/>
                  <a:gd name="connsiteX0" fmla="*/ 157655 w 861848"/>
                  <a:gd name="connsiteY0" fmla="*/ 1508234 h 1508234"/>
                  <a:gd name="connsiteX1" fmla="*/ 436179 w 861848"/>
                  <a:gd name="connsiteY1" fmla="*/ 1255986 h 1508234"/>
                  <a:gd name="connsiteX2" fmla="*/ 420413 w 861848"/>
                  <a:gd name="connsiteY2" fmla="*/ 1234965 h 1508234"/>
                  <a:gd name="connsiteX3" fmla="*/ 541282 w 861848"/>
                  <a:gd name="connsiteY3" fmla="*/ 1119351 h 1508234"/>
                  <a:gd name="connsiteX4" fmla="*/ 578069 w 861848"/>
                  <a:gd name="connsiteY4" fmla="*/ 1150882 h 1508234"/>
                  <a:gd name="connsiteX5" fmla="*/ 861848 w 861848"/>
                  <a:gd name="connsiteY5" fmla="*/ 903889 h 1508234"/>
                  <a:gd name="connsiteX6" fmla="*/ 315310 w 861848"/>
                  <a:gd name="connsiteY6" fmla="*/ 126124 h 1508234"/>
                  <a:gd name="connsiteX7" fmla="*/ 31531 w 861848"/>
                  <a:gd name="connsiteY7" fmla="*/ 0 h 1508234"/>
                  <a:gd name="connsiteX8" fmla="*/ 5255 w 861848"/>
                  <a:gd name="connsiteY8" fmla="*/ 162910 h 1508234"/>
                  <a:gd name="connsiteX9" fmla="*/ 126124 w 861848"/>
                  <a:gd name="connsiteY9" fmla="*/ 436179 h 1508234"/>
                  <a:gd name="connsiteX10" fmla="*/ 204952 w 861848"/>
                  <a:gd name="connsiteY10" fmla="*/ 620110 h 1508234"/>
                  <a:gd name="connsiteX11" fmla="*/ 157655 w 861848"/>
                  <a:gd name="connsiteY11" fmla="*/ 788275 h 1508234"/>
                  <a:gd name="connsiteX12" fmla="*/ 0 w 861848"/>
                  <a:gd name="connsiteY12" fmla="*/ 1271751 h 1508234"/>
                  <a:gd name="connsiteX13" fmla="*/ 157655 w 861848"/>
                  <a:gd name="connsiteY13" fmla="*/ 1508234 h 1508234"/>
                  <a:gd name="connsiteX0" fmla="*/ 157655 w 861848"/>
                  <a:gd name="connsiteY0" fmla="*/ 1508234 h 1508234"/>
                  <a:gd name="connsiteX1" fmla="*/ 436179 w 861848"/>
                  <a:gd name="connsiteY1" fmla="*/ 1255986 h 1508234"/>
                  <a:gd name="connsiteX2" fmla="*/ 420413 w 861848"/>
                  <a:gd name="connsiteY2" fmla="*/ 1234965 h 1508234"/>
                  <a:gd name="connsiteX3" fmla="*/ 541282 w 861848"/>
                  <a:gd name="connsiteY3" fmla="*/ 1119351 h 1508234"/>
                  <a:gd name="connsiteX4" fmla="*/ 578069 w 861848"/>
                  <a:gd name="connsiteY4" fmla="*/ 1150882 h 1508234"/>
                  <a:gd name="connsiteX5" fmla="*/ 861848 w 861848"/>
                  <a:gd name="connsiteY5" fmla="*/ 903889 h 1508234"/>
                  <a:gd name="connsiteX6" fmla="*/ 315310 w 861848"/>
                  <a:gd name="connsiteY6" fmla="*/ 126124 h 1508234"/>
                  <a:gd name="connsiteX7" fmla="*/ 31531 w 861848"/>
                  <a:gd name="connsiteY7" fmla="*/ 0 h 1508234"/>
                  <a:gd name="connsiteX8" fmla="*/ 5255 w 861848"/>
                  <a:gd name="connsiteY8" fmla="*/ 162910 h 1508234"/>
                  <a:gd name="connsiteX9" fmla="*/ 126124 w 861848"/>
                  <a:gd name="connsiteY9" fmla="*/ 436179 h 1508234"/>
                  <a:gd name="connsiteX10" fmla="*/ 204952 w 861848"/>
                  <a:gd name="connsiteY10" fmla="*/ 620110 h 1508234"/>
                  <a:gd name="connsiteX11" fmla="*/ 136634 w 861848"/>
                  <a:gd name="connsiteY11" fmla="*/ 903889 h 1508234"/>
                  <a:gd name="connsiteX12" fmla="*/ 0 w 861848"/>
                  <a:gd name="connsiteY12" fmla="*/ 1271751 h 1508234"/>
                  <a:gd name="connsiteX13" fmla="*/ 157655 w 861848"/>
                  <a:gd name="connsiteY13" fmla="*/ 1508234 h 1508234"/>
                  <a:gd name="connsiteX0" fmla="*/ 157655 w 861848"/>
                  <a:gd name="connsiteY0" fmla="*/ 1508234 h 1508234"/>
                  <a:gd name="connsiteX1" fmla="*/ 436179 w 861848"/>
                  <a:gd name="connsiteY1" fmla="*/ 1255986 h 1508234"/>
                  <a:gd name="connsiteX2" fmla="*/ 420413 w 861848"/>
                  <a:gd name="connsiteY2" fmla="*/ 1234965 h 1508234"/>
                  <a:gd name="connsiteX3" fmla="*/ 541282 w 861848"/>
                  <a:gd name="connsiteY3" fmla="*/ 1119351 h 1508234"/>
                  <a:gd name="connsiteX4" fmla="*/ 578069 w 861848"/>
                  <a:gd name="connsiteY4" fmla="*/ 1150882 h 1508234"/>
                  <a:gd name="connsiteX5" fmla="*/ 861848 w 861848"/>
                  <a:gd name="connsiteY5" fmla="*/ 903889 h 1508234"/>
                  <a:gd name="connsiteX6" fmla="*/ 315310 w 861848"/>
                  <a:gd name="connsiteY6" fmla="*/ 126124 h 1508234"/>
                  <a:gd name="connsiteX7" fmla="*/ 31531 w 861848"/>
                  <a:gd name="connsiteY7" fmla="*/ 0 h 1508234"/>
                  <a:gd name="connsiteX8" fmla="*/ 5255 w 861848"/>
                  <a:gd name="connsiteY8" fmla="*/ 162910 h 1508234"/>
                  <a:gd name="connsiteX9" fmla="*/ 126124 w 861848"/>
                  <a:gd name="connsiteY9" fmla="*/ 436179 h 1508234"/>
                  <a:gd name="connsiteX10" fmla="*/ 204952 w 861848"/>
                  <a:gd name="connsiteY10" fmla="*/ 620110 h 1508234"/>
                  <a:gd name="connsiteX11" fmla="*/ 115613 w 861848"/>
                  <a:gd name="connsiteY11" fmla="*/ 903889 h 1508234"/>
                  <a:gd name="connsiteX12" fmla="*/ 0 w 861848"/>
                  <a:gd name="connsiteY12" fmla="*/ 1271751 h 1508234"/>
                  <a:gd name="connsiteX13" fmla="*/ 157655 w 861848"/>
                  <a:gd name="connsiteY13" fmla="*/ 1508234 h 1508234"/>
                  <a:gd name="connsiteX0" fmla="*/ 157655 w 861848"/>
                  <a:gd name="connsiteY0" fmla="*/ 1508234 h 1508234"/>
                  <a:gd name="connsiteX1" fmla="*/ 436179 w 861848"/>
                  <a:gd name="connsiteY1" fmla="*/ 1255986 h 1508234"/>
                  <a:gd name="connsiteX2" fmla="*/ 420413 w 861848"/>
                  <a:gd name="connsiteY2" fmla="*/ 1234965 h 1508234"/>
                  <a:gd name="connsiteX3" fmla="*/ 541282 w 861848"/>
                  <a:gd name="connsiteY3" fmla="*/ 1119351 h 1508234"/>
                  <a:gd name="connsiteX4" fmla="*/ 578069 w 861848"/>
                  <a:gd name="connsiteY4" fmla="*/ 1150882 h 1508234"/>
                  <a:gd name="connsiteX5" fmla="*/ 861848 w 861848"/>
                  <a:gd name="connsiteY5" fmla="*/ 903889 h 1508234"/>
                  <a:gd name="connsiteX6" fmla="*/ 315310 w 861848"/>
                  <a:gd name="connsiteY6" fmla="*/ 126124 h 1508234"/>
                  <a:gd name="connsiteX7" fmla="*/ 31531 w 861848"/>
                  <a:gd name="connsiteY7" fmla="*/ 0 h 1508234"/>
                  <a:gd name="connsiteX8" fmla="*/ 5255 w 861848"/>
                  <a:gd name="connsiteY8" fmla="*/ 162910 h 1508234"/>
                  <a:gd name="connsiteX9" fmla="*/ 126124 w 861848"/>
                  <a:gd name="connsiteY9" fmla="*/ 436179 h 1508234"/>
                  <a:gd name="connsiteX10" fmla="*/ 199696 w 861848"/>
                  <a:gd name="connsiteY10" fmla="*/ 635875 h 1508234"/>
                  <a:gd name="connsiteX11" fmla="*/ 115613 w 861848"/>
                  <a:gd name="connsiteY11" fmla="*/ 903889 h 1508234"/>
                  <a:gd name="connsiteX12" fmla="*/ 0 w 861848"/>
                  <a:gd name="connsiteY12" fmla="*/ 1271751 h 1508234"/>
                  <a:gd name="connsiteX13" fmla="*/ 157655 w 861848"/>
                  <a:gd name="connsiteY13" fmla="*/ 1508234 h 1508234"/>
                  <a:gd name="connsiteX0" fmla="*/ 157655 w 861848"/>
                  <a:gd name="connsiteY0" fmla="*/ 1508234 h 1508234"/>
                  <a:gd name="connsiteX1" fmla="*/ 436179 w 861848"/>
                  <a:gd name="connsiteY1" fmla="*/ 1255986 h 1508234"/>
                  <a:gd name="connsiteX2" fmla="*/ 420413 w 861848"/>
                  <a:gd name="connsiteY2" fmla="*/ 1234965 h 1508234"/>
                  <a:gd name="connsiteX3" fmla="*/ 541282 w 861848"/>
                  <a:gd name="connsiteY3" fmla="*/ 1119351 h 1508234"/>
                  <a:gd name="connsiteX4" fmla="*/ 578069 w 861848"/>
                  <a:gd name="connsiteY4" fmla="*/ 1150882 h 1508234"/>
                  <a:gd name="connsiteX5" fmla="*/ 861848 w 861848"/>
                  <a:gd name="connsiteY5" fmla="*/ 903889 h 1508234"/>
                  <a:gd name="connsiteX6" fmla="*/ 315310 w 861848"/>
                  <a:gd name="connsiteY6" fmla="*/ 126124 h 1508234"/>
                  <a:gd name="connsiteX7" fmla="*/ 31531 w 861848"/>
                  <a:gd name="connsiteY7" fmla="*/ 0 h 1508234"/>
                  <a:gd name="connsiteX8" fmla="*/ 5255 w 861848"/>
                  <a:gd name="connsiteY8" fmla="*/ 162910 h 1508234"/>
                  <a:gd name="connsiteX9" fmla="*/ 63062 w 861848"/>
                  <a:gd name="connsiteY9" fmla="*/ 310055 h 1508234"/>
                  <a:gd name="connsiteX10" fmla="*/ 126124 w 861848"/>
                  <a:gd name="connsiteY10" fmla="*/ 436179 h 1508234"/>
                  <a:gd name="connsiteX11" fmla="*/ 199696 w 861848"/>
                  <a:gd name="connsiteY11" fmla="*/ 635875 h 1508234"/>
                  <a:gd name="connsiteX12" fmla="*/ 115613 w 861848"/>
                  <a:gd name="connsiteY12" fmla="*/ 903889 h 1508234"/>
                  <a:gd name="connsiteX13" fmla="*/ 0 w 861848"/>
                  <a:gd name="connsiteY13" fmla="*/ 1271751 h 1508234"/>
                  <a:gd name="connsiteX14" fmla="*/ 157655 w 861848"/>
                  <a:gd name="connsiteY14" fmla="*/ 1508234 h 1508234"/>
                  <a:gd name="connsiteX0" fmla="*/ 157655 w 861848"/>
                  <a:gd name="connsiteY0" fmla="*/ 1508234 h 1508234"/>
                  <a:gd name="connsiteX1" fmla="*/ 436179 w 861848"/>
                  <a:gd name="connsiteY1" fmla="*/ 1255986 h 1508234"/>
                  <a:gd name="connsiteX2" fmla="*/ 420413 w 861848"/>
                  <a:gd name="connsiteY2" fmla="*/ 1234965 h 1508234"/>
                  <a:gd name="connsiteX3" fmla="*/ 541282 w 861848"/>
                  <a:gd name="connsiteY3" fmla="*/ 1119351 h 1508234"/>
                  <a:gd name="connsiteX4" fmla="*/ 578069 w 861848"/>
                  <a:gd name="connsiteY4" fmla="*/ 1150882 h 1508234"/>
                  <a:gd name="connsiteX5" fmla="*/ 861848 w 861848"/>
                  <a:gd name="connsiteY5" fmla="*/ 903889 h 1508234"/>
                  <a:gd name="connsiteX6" fmla="*/ 315310 w 861848"/>
                  <a:gd name="connsiteY6" fmla="*/ 126124 h 1508234"/>
                  <a:gd name="connsiteX7" fmla="*/ 31531 w 861848"/>
                  <a:gd name="connsiteY7" fmla="*/ 0 h 1508234"/>
                  <a:gd name="connsiteX8" fmla="*/ 5255 w 861848"/>
                  <a:gd name="connsiteY8" fmla="*/ 162910 h 1508234"/>
                  <a:gd name="connsiteX9" fmla="*/ 68317 w 861848"/>
                  <a:gd name="connsiteY9" fmla="*/ 310055 h 1508234"/>
                  <a:gd name="connsiteX10" fmla="*/ 126124 w 861848"/>
                  <a:gd name="connsiteY10" fmla="*/ 436179 h 1508234"/>
                  <a:gd name="connsiteX11" fmla="*/ 199696 w 861848"/>
                  <a:gd name="connsiteY11" fmla="*/ 635875 h 1508234"/>
                  <a:gd name="connsiteX12" fmla="*/ 115613 w 861848"/>
                  <a:gd name="connsiteY12" fmla="*/ 903889 h 1508234"/>
                  <a:gd name="connsiteX13" fmla="*/ 0 w 861848"/>
                  <a:gd name="connsiteY13" fmla="*/ 1271751 h 1508234"/>
                  <a:gd name="connsiteX14" fmla="*/ 157655 w 861848"/>
                  <a:gd name="connsiteY14" fmla="*/ 1508234 h 1508234"/>
                  <a:gd name="connsiteX0" fmla="*/ 157655 w 861848"/>
                  <a:gd name="connsiteY0" fmla="*/ 1508234 h 1508234"/>
                  <a:gd name="connsiteX1" fmla="*/ 436179 w 861848"/>
                  <a:gd name="connsiteY1" fmla="*/ 1255986 h 1508234"/>
                  <a:gd name="connsiteX2" fmla="*/ 420413 w 861848"/>
                  <a:gd name="connsiteY2" fmla="*/ 1234965 h 1508234"/>
                  <a:gd name="connsiteX3" fmla="*/ 541282 w 861848"/>
                  <a:gd name="connsiteY3" fmla="*/ 1119351 h 1508234"/>
                  <a:gd name="connsiteX4" fmla="*/ 578069 w 861848"/>
                  <a:gd name="connsiteY4" fmla="*/ 1150882 h 1508234"/>
                  <a:gd name="connsiteX5" fmla="*/ 861848 w 861848"/>
                  <a:gd name="connsiteY5" fmla="*/ 903889 h 1508234"/>
                  <a:gd name="connsiteX6" fmla="*/ 315310 w 861848"/>
                  <a:gd name="connsiteY6" fmla="*/ 126124 h 1508234"/>
                  <a:gd name="connsiteX7" fmla="*/ 31531 w 861848"/>
                  <a:gd name="connsiteY7" fmla="*/ 0 h 1508234"/>
                  <a:gd name="connsiteX8" fmla="*/ 0 w 861848"/>
                  <a:gd name="connsiteY8" fmla="*/ 136634 h 1508234"/>
                  <a:gd name="connsiteX9" fmla="*/ 68317 w 861848"/>
                  <a:gd name="connsiteY9" fmla="*/ 310055 h 1508234"/>
                  <a:gd name="connsiteX10" fmla="*/ 126124 w 861848"/>
                  <a:gd name="connsiteY10" fmla="*/ 436179 h 1508234"/>
                  <a:gd name="connsiteX11" fmla="*/ 199696 w 861848"/>
                  <a:gd name="connsiteY11" fmla="*/ 635875 h 1508234"/>
                  <a:gd name="connsiteX12" fmla="*/ 115613 w 861848"/>
                  <a:gd name="connsiteY12" fmla="*/ 903889 h 1508234"/>
                  <a:gd name="connsiteX13" fmla="*/ 0 w 861848"/>
                  <a:gd name="connsiteY13" fmla="*/ 1271751 h 1508234"/>
                  <a:gd name="connsiteX14" fmla="*/ 157655 w 861848"/>
                  <a:gd name="connsiteY14" fmla="*/ 1508234 h 1508234"/>
                  <a:gd name="connsiteX0" fmla="*/ 157655 w 861848"/>
                  <a:gd name="connsiteY0" fmla="*/ 1508234 h 1508234"/>
                  <a:gd name="connsiteX1" fmla="*/ 436179 w 861848"/>
                  <a:gd name="connsiteY1" fmla="*/ 1255986 h 1508234"/>
                  <a:gd name="connsiteX2" fmla="*/ 420413 w 861848"/>
                  <a:gd name="connsiteY2" fmla="*/ 1234965 h 1508234"/>
                  <a:gd name="connsiteX3" fmla="*/ 541282 w 861848"/>
                  <a:gd name="connsiteY3" fmla="*/ 1119351 h 1508234"/>
                  <a:gd name="connsiteX4" fmla="*/ 578069 w 861848"/>
                  <a:gd name="connsiteY4" fmla="*/ 1150882 h 1508234"/>
                  <a:gd name="connsiteX5" fmla="*/ 861848 w 861848"/>
                  <a:gd name="connsiteY5" fmla="*/ 903889 h 1508234"/>
                  <a:gd name="connsiteX6" fmla="*/ 315310 w 861848"/>
                  <a:gd name="connsiteY6" fmla="*/ 126124 h 1508234"/>
                  <a:gd name="connsiteX7" fmla="*/ 31531 w 861848"/>
                  <a:gd name="connsiteY7" fmla="*/ 0 h 1508234"/>
                  <a:gd name="connsiteX8" fmla="*/ 0 w 861848"/>
                  <a:gd name="connsiteY8" fmla="*/ 136634 h 1508234"/>
                  <a:gd name="connsiteX9" fmla="*/ 42041 w 861848"/>
                  <a:gd name="connsiteY9" fmla="*/ 310055 h 1508234"/>
                  <a:gd name="connsiteX10" fmla="*/ 126124 w 861848"/>
                  <a:gd name="connsiteY10" fmla="*/ 436179 h 1508234"/>
                  <a:gd name="connsiteX11" fmla="*/ 199696 w 861848"/>
                  <a:gd name="connsiteY11" fmla="*/ 635875 h 1508234"/>
                  <a:gd name="connsiteX12" fmla="*/ 115613 w 861848"/>
                  <a:gd name="connsiteY12" fmla="*/ 903889 h 1508234"/>
                  <a:gd name="connsiteX13" fmla="*/ 0 w 861848"/>
                  <a:gd name="connsiteY13" fmla="*/ 1271751 h 1508234"/>
                  <a:gd name="connsiteX14" fmla="*/ 157655 w 861848"/>
                  <a:gd name="connsiteY14" fmla="*/ 1508234 h 1508234"/>
                  <a:gd name="connsiteX0" fmla="*/ 157655 w 861848"/>
                  <a:gd name="connsiteY0" fmla="*/ 1508234 h 1508234"/>
                  <a:gd name="connsiteX1" fmla="*/ 436179 w 861848"/>
                  <a:gd name="connsiteY1" fmla="*/ 1255986 h 1508234"/>
                  <a:gd name="connsiteX2" fmla="*/ 420413 w 861848"/>
                  <a:gd name="connsiteY2" fmla="*/ 1234965 h 1508234"/>
                  <a:gd name="connsiteX3" fmla="*/ 541282 w 861848"/>
                  <a:gd name="connsiteY3" fmla="*/ 1119351 h 1508234"/>
                  <a:gd name="connsiteX4" fmla="*/ 578069 w 861848"/>
                  <a:gd name="connsiteY4" fmla="*/ 1150882 h 1508234"/>
                  <a:gd name="connsiteX5" fmla="*/ 861848 w 861848"/>
                  <a:gd name="connsiteY5" fmla="*/ 903889 h 1508234"/>
                  <a:gd name="connsiteX6" fmla="*/ 315310 w 861848"/>
                  <a:gd name="connsiteY6" fmla="*/ 126124 h 1508234"/>
                  <a:gd name="connsiteX7" fmla="*/ 31531 w 861848"/>
                  <a:gd name="connsiteY7" fmla="*/ 0 h 1508234"/>
                  <a:gd name="connsiteX8" fmla="*/ 0 w 861848"/>
                  <a:gd name="connsiteY8" fmla="*/ 136634 h 1508234"/>
                  <a:gd name="connsiteX9" fmla="*/ 42041 w 861848"/>
                  <a:gd name="connsiteY9" fmla="*/ 310055 h 1508234"/>
                  <a:gd name="connsiteX10" fmla="*/ 126124 w 861848"/>
                  <a:gd name="connsiteY10" fmla="*/ 436179 h 1508234"/>
                  <a:gd name="connsiteX11" fmla="*/ 168165 w 861848"/>
                  <a:gd name="connsiteY11" fmla="*/ 620109 h 1508234"/>
                  <a:gd name="connsiteX12" fmla="*/ 115613 w 861848"/>
                  <a:gd name="connsiteY12" fmla="*/ 903889 h 1508234"/>
                  <a:gd name="connsiteX13" fmla="*/ 0 w 861848"/>
                  <a:gd name="connsiteY13" fmla="*/ 1271751 h 1508234"/>
                  <a:gd name="connsiteX14" fmla="*/ 157655 w 861848"/>
                  <a:gd name="connsiteY14" fmla="*/ 1508234 h 1508234"/>
                  <a:gd name="connsiteX0" fmla="*/ 157655 w 861848"/>
                  <a:gd name="connsiteY0" fmla="*/ 1508234 h 1508234"/>
                  <a:gd name="connsiteX1" fmla="*/ 436179 w 861848"/>
                  <a:gd name="connsiteY1" fmla="*/ 1255986 h 1508234"/>
                  <a:gd name="connsiteX2" fmla="*/ 420413 w 861848"/>
                  <a:gd name="connsiteY2" fmla="*/ 1234965 h 1508234"/>
                  <a:gd name="connsiteX3" fmla="*/ 541282 w 861848"/>
                  <a:gd name="connsiteY3" fmla="*/ 1119351 h 1508234"/>
                  <a:gd name="connsiteX4" fmla="*/ 578069 w 861848"/>
                  <a:gd name="connsiteY4" fmla="*/ 1150882 h 1508234"/>
                  <a:gd name="connsiteX5" fmla="*/ 861848 w 861848"/>
                  <a:gd name="connsiteY5" fmla="*/ 903889 h 1508234"/>
                  <a:gd name="connsiteX6" fmla="*/ 315310 w 861848"/>
                  <a:gd name="connsiteY6" fmla="*/ 126124 h 1508234"/>
                  <a:gd name="connsiteX7" fmla="*/ 31531 w 861848"/>
                  <a:gd name="connsiteY7" fmla="*/ 0 h 1508234"/>
                  <a:gd name="connsiteX8" fmla="*/ 0 w 861848"/>
                  <a:gd name="connsiteY8" fmla="*/ 136634 h 1508234"/>
                  <a:gd name="connsiteX9" fmla="*/ 42041 w 861848"/>
                  <a:gd name="connsiteY9" fmla="*/ 310055 h 1508234"/>
                  <a:gd name="connsiteX10" fmla="*/ 126124 w 861848"/>
                  <a:gd name="connsiteY10" fmla="*/ 436179 h 1508234"/>
                  <a:gd name="connsiteX11" fmla="*/ 168165 w 861848"/>
                  <a:gd name="connsiteY11" fmla="*/ 620109 h 1508234"/>
                  <a:gd name="connsiteX12" fmla="*/ 120869 w 861848"/>
                  <a:gd name="connsiteY12" fmla="*/ 903889 h 1508234"/>
                  <a:gd name="connsiteX13" fmla="*/ 0 w 861848"/>
                  <a:gd name="connsiteY13" fmla="*/ 1271751 h 1508234"/>
                  <a:gd name="connsiteX14" fmla="*/ 157655 w 861848"/>
                  <a:gd name="connsiteY14" fmla="*/ 1508234 h 1508234"/>
                  <a:gd name="connsiteX0" fmla="*/ 157655 w 861848"/>
                  <a:gd name="connsiteY0" fmla="*/ 1508234 h 1508234"/>
                  <a:gd name="connsiteX1" fmla="*/ 436179 w 861848"/>
                  <a:gd name="connsiteY1" fmla="*/ 1255986 h 1508234"/>
                  <a:gd name="connsiteX2" fmla="*/ 420413 w 861848"/>
                  <a:gd name="connsiteY2" fmla="*/ 1234965 h 1508234"/>
                  <a:gd name="connsiteX3" fmla="*/ 541282 w 861848"/>
                  <a:gd name="connsiteY3" fmla="*/ 1119351 h 1508234"/>
                  <a:gd name="connsiteX4" fmla="*/ 578069 w 861848"/>
                  <a:gd name="connsiteY4" fmla="*/ 1150882 h 1508234"/>
                  <a:gd name="connsiteX5" fmla="*/ 861848 w 861848"/>
                  <a:gd name="connsiteY5" fmla="*/ 903889 h 1508234"/>
                  <a:gd name="connsiteX6" fmla="*/ 315310 w 861848"/>
                  <a:gd name="connsiteY6" fmla="*/ 126124 h 1508234"/>
                  <a:gd name="connsiteX7" fmla="*/ 31531 w 861848"/>
                  <a:gd name="connsiteY7" fmla="*/ 0 h 1508234"/>
                  <a:gd name="connsiteX8" fmla="*/ 0 w 861848"/>
                  <a:gd name="connsiteY8" fmla="*/ 136634 h 1508234"/>
                  <a:gd name="connsiteX9" fmla="*/ 42041 w 861848"/>
                  <a:gd name="connsiteY9" fmla="*/ 310055 h 1508234"/>
                  <a:gd name="connsiteX10" fmla="*/ 126124 w 861848"/>
                  <a:gd name="connsiteY10" fmla="*/ 436179 h 1508234"/>
                  <a:gd name="connsiteX11" fmla="*/ 173420 w 861848"/>
                  <a:gd name="connsiteY11" fmla="*/ 630619 h 1508234"/>
                  <a:gd name="connsiteX12" fmla="*/ 120869 w 861848"/>
                  <a:gd name="connsiteY12" fmla="*/ 903889 h 1508234"/>
                  <a:gd name="connsiteX13" fmla="*/ 0 w 861848"/>
                  <a:gd name="connsiteY13" fmla="*/ 1271751 h 1508234"/>
                  <a:gd name="connsiteX14" fmla="*/ 157655 w 861848"/>
                  <a:gd name="connsiteY14" fmla="*/ 1508234 h 1508234"/>
                  <a:gd name="connsiteX0" fmla="*/ 157655 w 861848"/>
                  <a:gd name="connsiteY0" fmla="*/ 1508234 h 1508234"/>
                  <a:gd name="connsiteX1" fmla="*/ 436179 w 861848"/>
                  <a:gd name="connsiteY1" fmla="*/ 1255986 h 1508234"/>
                  <a:gd name="connsiteX2" fmla="*/ 420413 w 861848"/>
                  <a:gd name="connsiteY2" fmla="*/ 1234965 h 1508234"/>
                  <a:gd name="connsiteX3" fmla="*/ 541282 w 861848"/>
                  <a:gd name="connsiteY3" fmla="*/ 1119351 h 1508234"/>
                  <a:gd name="connsiteX4" fmla="*/ 578069 w 861848"/>
                  <a:gd name="connsiteY4" fmla="*/ 1150882 h 1508234"/>
                  <a:gd name="connsiteX5" fmla="*/ 861848 w 861848"/>
                  <a:gd name="connsiteY5" fmla="*/ 903889 h 1508234"/>
                  <a:gd name="connsiteX6" fmla="*/ 315310 w 861848"/>
                  <a:gd name="connsiteY6" fmla="*/ 126124 h 1508234"/>
                  <a:gd name="connsiteX7" fmla="*/ 31531 w 861848"/>
                  <a:gd name="connsiteY7" fmla="*/ 0 h 1508234"/>
                  <a:gd name="connsiteX8" fmla="*/ 0 w 861848"/>
                  <a:gd name="connsiteY8" fmla="*/ 136634 h 1508234"/>
                  <a:gd name="connsiteX9" fmla="*/ 42041 w 861848"/>
                  <a:gd name="connsiteY9" fmla="*/ 310055 h 1508234"/>
                  <a:gd name="connsiteX10" fmla="*/ 126124 w 861848"/>
                  <a:gd name="connsiteY10" fmla="*/ 436179 h 1508234"/>
                  <a:gd name="connsiteX11" fmla="*/ 173420 w 861848"/>
                  <a:gd name="connsiteY11" fmla="*/ 630619 h 1508234"/>
                  <a:gd name="connsiteX12" fmla="*/ 120869 w 861848"/>
                  <a:gd name="connsiteY12" fmla="*/ 903889 h 1508234"/>
                  <a:gd name="connsiteX13" fmla="*/ 0 w 861848"/>
                  <a:gd name="connsiteY13" fmla="*/ 1271751 h 1508234"/>
                  <a:gd name="connsiteX14" fmla="*/ 157655 w 861848"/>
                  <a:gd name="connsiteY14" fmla="*/ 1508234 h 1508234"/>
                  <a:gd name="connsiteX0" fmla="*/ 157655 w 861848"/>
                  <a:gd name="connsiteY0" fmla="*/ 1508234 h 1508234"/>
                  <a:gd name="connsiteX1" fmla="*/ 436179 w 861848"/>
                  <a:gd name="connsiteY1" fmla="*/ 1255986 h 1508234"/>
                  <a:gd name="connsiteX2" fmla="*/ 420413 w 861848"/>
                  <a:gd name="connsiteY2" fmla="*/ 1234965 h 1508234"/>
                  <a:gd name="connsiteX3" fmla="*/ 541282 w 861848"/>
                  <a:gd name="connsiteY3" fmla="*/ 1119351 h 1508234"/>
                  <a:gd name="connsiteX4" fmla="*/ 578069 w 861848"/>
                  <a:gd name="connsiteY4" fmla="*/ 1150882 h 1508234"/>
                  <a:gd name="connsiteX5" fmla="*/ 861848 w 861848"/>
                  <a:gd name="connsiteY5" fmla="*/ 903889 h 1508234"/>
                  <a:gd name="connsiteX6" fmla="*/ 315310 w 861848"/>
                  <a:gd name="connsiteY6" fmla="*/ 126124 h 1508234"/>
                  <a:gd name="connsiteX7" fmla="*/ 31531 w 861848"/>
                  <a:gd name="connsiteY7" fmla="*/ 0 h 1508234"/>
                  <a:gd name="connsiteX8" fmla="*/ 0 w 861848"/>
                  <a:gd name="connsiteY8" fmla="*/ 136634 h 1508234"/>
                  <a:gd name="connsiteX9" fmla="*/ 42041 w 861848"/>
                  <a:gd name="connsiteY9" fmla="*/ 310055 h 1508234"/>
                  <a:gd name="connsiteX10" fmla="*/ 110358 w 861848"/>
                  <a:gd name="connsiteY10" fmla="*/ 436179 h 1508234"/>
                  <a:gd name="connsiteX11" fmla="*/ 173420 w 861848"/>
                  <a:gd name="connsiteY11" fmla="*/ 630619 h 1508234"/>
                  <a:gd name="connsiteX12" fmla="*/ 120869 w 861848"/>
                  <a:gd name="connsiteY12" fmla="*/ 903889 h 1508234"/>
                  <a:gd name="connsiteX13" fmla="*/ 0 w 861848"/>
                  <a:gd name="connsiteY13" fmla="*/ 1271751 h 1508234"/>
                  <a:gd name="connsiteX14" fmla="*/ 157655 w 861848"/>
                  <a:gd name="connsiteY14" fmla="*/ 1508234 h 1508234"/>
                  <a:gd name="connsiteX0" fmla="*/ 157655 w 861848"/>
                  <a:gd name="connsiteY0" fmla="*/ 1508234 h 1508234"/>
                  <a:gd name="connsiteX1" fmla="*/ 436179 w 861848"/>
                  <a:gd name="connsiteY1" fmla="*/ 1255986 h 1508234"/>
                  <a:gd name="connsiteX2" fmla="*/ 420413 w 861848"/>
                  <a:gd name="connsiteY2" fmla="*/ 1234965 h 1508234"/>
                  <a:gd name="connsiteX3" fmla="*/ 541282 w 861848"/>
                  <a:gd name="connsiteY3" fmla="*/ 1119351 h 1508234"/>
                  <a:gd name="connsiteX4" fmla="*/ 578069 w 861848"/>
                  <a:gd name="connsiteY4" fmla="*/ 1150882 h 1508234"/>
                  <a:gd name="connsiteX5" fmla="*/ 861848 w 861848"/>
                  <a:gd name="connsiteY5" fmla="*/ 903889 h 1508234"/>
                  <a:gd name="connsiteX6" fmla="*/ 315310 w 861848"/>
                  <a:gd name="connsiteY6" fmla="*/ 126124 h 1508234"/>
                  <a:gd name="connsiteX7" fmla="*/ 31531 w 861848"/>
                  <a:gd name="connsiteY7" fmla="*/ 0 h 1508234"/>
                  <a:gd name="connsiteX8" fmla="*/ 0 w 861848"/>
                  <a:gd name="connsiteY8" fmla="*/ 136634 h 1508234"/>
                  <a:gd name="connsiteX9" fmla="*/ 21021 w 861848"/>
                  <a:gd name="connsiteY9" fmla="*/ 299545 h 1508234"/>
                  <a:gd name="connsiteX10" fmla="*/ 110358 w 861848"/>
                  <a:gd name="connsiteY10" fmla="*/ 436179 h 1508234"/>
                  <a:gd name="connsiteX11" fmla="*/ 173420 w 861848"/>
                  <a:gd name="connsiteY11" fmla="*/ 630619 h 1508234"/>
                  <a:gd name="connsiteX12" fmla="*/ 120869 w 861848"/>
                  <a:gd name="connsiteY12" fmla="*/ 903889 h 1508234"/>
                  <a:gd name="connsiteX13" fmla="*/ 0 w 861848"/>
                  <a:gd name="connsiteY13" fmla="*/ 1271751 h 1508234"/>
                  <a:gd name="connsiteX14" fmla="*/ 157655 w 861848"/>
                  <a:gd name="connsiteY14" fmla="*/ 1508234 h 1508234"/>
                  <a:gd name="connsiteX0" fmla="*/ 162910 w 867103"/>
                  <a:gd name="connsiteY0" fmla="*/ 1508234 h 1508234"/>
                  <a:gd name="connsiteX1" fmla="*/ 441434 w 867103"/>
                  <a:gd name="connsiteY1" fmla="*/ 1255986 h 1508234"/>
                  <a:gd name="connsiteX2" fmla="*/ 425668 w 867103"/>
                  <a:gd name="connsiteY2" fmla="*/ 1234965 h 1508234"/>
                  <a:gd name="connsiteX3" fmla="*/ 546537 w 867103"/>
                  <a:gd name="connsiteY3" fmla="*/ 1119351 h 1508234"/>
                  <a:gd name="connsiteX4" fmla="*/ 583324 w 867103"/>
                  <a:gd name="connsiteY4" fmla="*/ 1150882 h 1508234"/>
                  <a:gd name="connsiteX5" fmla="*/ 867103 w 867103"/>
                  <a:gd name="connsiteY5" fmla="*/ 903889 h 1508234"/>
                  <a:gd name="connsiteX6" fmla="*/ 320565 w 867103"/>
                  <a:gd name="connsiteY6" fmla="*/ 126124 h 1508234"/>
                  <a:gd name="connsiteX7" fmla="*/ 36786 w 867103"/>
                  <a:gd name="connsiteY7" fmla="*/ 0 h 1508234"/>
                  <a:gd name="connsiteX8" fmla="*/ 0 w 867103"/>
                  <a:gd name="connsiteY8" fmla="*/ 120869 h 1508234"/>
                  <a:gd name="connsiteX9" fmla="*/ 26276 w 867103"/>
                  <a:gd name="connsiteY9" fmla="*/ 299545 h 1508234"/>
                  <a:gd name="connsiteX10" fmla="*/ 115613 w 867103"/>
                  <a:gd name="connsiteY10" fmla="*/ 436179 h 1508234"/>
                  <a:gd name="connsiteX11" fmla="*/ 178675 w 867103"/>
                  <a:gd name="connsiteY11" fmla="*/ 630619 h 1508234"/>
                  <a:gd name="connsiteX12" fmla="*/ 126124 w 867103"/>
                  <a:gd name="connsiteY12" fmla="*/ 903889 h 1508234"/>
                  <a:gd name="connsiteX13" fmla="*/ 5255 w 867103"/>
                  <a:gd name="connsiteY13" fmla="*/ 1271751 h 1508234"/>
                  <a:gd name="connsiteX14" fmla="*/ 162910 w 867103"/>
                  <a:gd name="connsiteY14" fmla="*/ 1508234 h 1508234"/>
                  <a:gd name="connsiteX0" fmla="*/ 162910 w 867103"/>
                  <a:gd name="connsiteY0" fmla="*/ 1508234 h 1508234"/>
                  <a:gd name="connsiteX1" fmla="*/ 441434 w 867103"/>
                  <a:gd name="connsiteY1" fmla="*/ 1255986 h 1508234"/>
                  <a:gd name="connsiteX2" fmla="*/ 425668 w 867103"/>
                  <a:gd name="connsiteY2" fmla="*/ 1234965 h 1508234"/>
                  <a:gd name="connsiteX3" fmla="*/ 546537 w 867103"/>
                  <a:gd name="connsiteY3" fmla="*/ 1119351 h 1508234"/>
                  <a:gd name="connsiteX4" fmla="*/ 583324 w 867103"/>
                  <a:gd name="connsiteY4" fmla="*/ 1150882 h 1508234"/>
                  <a:gd name="connsiteX5" fmla="*/ 867103 w 867103"/>
                  <a:gd name="connsiteY5" fmla="*/ 903889 h 1508234"/>
                  <a:gd name="connsiteX6" fmla="*/ 320565 w 867103"/>
                  <a:gd name="connsiteY6" fmla="*/ 126124 h 1508234"/>
                  <a:gd name="connsiteX7" fmla="*/ 36786 w 867103"/>
                  <a:gd name="connsiteY7" fmla="*/ 0 h 1508234"/>
                  <a:gd name="connsiteX8" fmla="*/ 0 w 867103"/>
                  <a:gd name="connsiteY8" fmla="*/ 120869 h 1508234"/>
                  <a:gd name="connsiteX9" fmla="*/ 26276 w 867103"/>
                  <a:gd name="connsiteY9" fmla="*/ 299545 h 1508234"/>
                  <a:gd name="connsiteX10" fmla="*/ 115613 w 867103"/>
                  <a:gd name="connsiteY10" fmla="*/ 436179 h 1508234"/>
                  <a:gd name="connsiteX11" fmla="*/ 194440 w 867103"/>
                  <a:gd name="connsiteY11" fmla="*/ 630619 h 1508234"/>
                  <a:gd name="connsiteX12" fmla="*/ 126124 w 867103"/>
                  <a:gd name="connsiteY12" fmla="*/ 903889 h 1508234"/>
                  <a:gd name="connsiteX13" fmla="*/ 5255 w 867103"/>
                  <a:gd name="connsiteY13" fmla="*/ 1271751 h 1508234"/>
                  <a:gd name="connsiteX14" fmla="*/ 162910 w 867103"/>
                  <a:gd name="connsiteY14" fmla="*/ 1508234 h 1508234"/>
                  <a:gd name="connsiteX0" fmla="*/ 162910 w 867103"/>
                  <a:gd name="connsiteY0" fmla="*/ 1508234 h 1508234"/>
                  <a:gd name="connsiteX1" fmla="*/ 441434 w 867103"/>
                  <a:gd name="connsiteY1" fmla="*/ 1255986 h 1508234"/>
                  <a:gd name="connsiteX2" fmla="*/ 425668 w 867103"/>
                  <a:gd name="connsiteY2" fmla="*/ 1234965 h 1508234"/>
                  <a:gd name="connsiteX3" fmla="*/ 546537 w 867103"/>
                  <a:gd name="connsiteY3" fmla="*/ 1119351 h 1508234"/>
                  <a:gd name="connsiteX4" fmla="*/ 583324 w 867103"/>
                  <a:gd name="connsiteY4" fmla="*/ 1150882 h 1508234"/>
                  <a:gd name="connsiteX5" fmla="*/ 867103 w 867103"/>
                  <a:gd name="connsiteY5" fmla="*/ 903889 h 1508234"/>
                  <a:gd name="connsiteX6" fmla="*/ 320565 w 867103"/>
                  <a:gd name="connsiteY6" fmla="*/ 126124 h 1508234"/>
                  <a:gd name="connsiteX7" fmla="*/ 36786 w 867103"/>
                  <a:gd name="connsiteY7" fmla="*/ 0 h 1508234"/>
                  <a:gd name="connsiteX8" fmla="*/ 0 w 867103"/>
                  <a:gd name="connsiteY8" fmla="*/ 120869 h 1508234"/>
                  <a:gd name="connsiteX9" fmla="*/ 42042 w 867103"/>
                  <a:gd name="connsiteY9" fmla="*/ 278524 h 1508234"/>
                  <a:gd name="connsiteX10" fmla="*/ 115613 w 867103"/>
                  <a:gd name="connsiteY10" fmla="*/ 436179 h 1508234"/>
                  <a:gd name="connsiteX11" fmla="*/ 194440 w 867103"/>
                  <a:gd name="connsiteY11" fmla="*/ 630619 h 1508234"/>
                  <a:gd name="connsiteX12" fmla="*/ 126124 w 867103"/>
                  <a:gd name="connsiteY12" fmla="*/ 903889 h 1508234"/>
                  <a:gd name="connsiteX13" fmla="*/ 5255 w 867103"/>
                  <a:gd name="connsiteY13" fmla="*/ 1271751 h 1508234"/>
                  <a:gd name="connsiteX14" fmla="*/ 162910 w 867103"/>
                  <a:gd name="connsiteY14" fmla="*/ 1508234 h 1508234"/>
                  <a:gd name="connsiteX0" fmla="*/ 162910 w 867103"/>
                  <a:gd name="connsiteY0" fmla="*/ 1508234 h 1508234"/>
                  <a:gd name="connsiteX1" fmla="*/ 441434 w 867103"/>
                  <a:gd name="connsiteY1" fmla="*/ 1255986 h 1508234"/>
                  <a:gd name="connsiteX2" fmla="*/ 425668 w 867103"/>
                  <a:gd name="connsiteY2" fmla="*/ 1234965 h 1508234"/>
                  <a:gd name="connsiteX3" fmla="*/ 546537 w 867103"/>
                  <a:gd name="connsiteY3" fmla="*/ 1119351 h 1508234"/>
                  <a:gd name="connsiteX4" fmla="*/ 583324 w 867103"/>
                  <a:gd name="connsiteY4" fmla="*/ 1150882 h 1508234"/>
                  <a:gd name="connsiteX5" fmla="*/ 867103 w 867103"/>
                  <a:gd name="connsiteY5" fmla="*/ 903889 h 1508234"/>
                  <a:gd name="connsiteX6" fmla="*/ 320565 w 867103"/>
                  <a:gd name="connsiteY6" fmla="*/ 126124 h 1508234"/>
                  <a:gd name="connsiteX7" fmla="*/ 36786 w 867103"/>
                  <a:gd name="connsiteY7" fmla="*/ 0 h 1508234"/>
                  <a:gd name="connsiteX8" fmla="*/ 0 w 867103"/>
                  <a:gd name="connsiteY8" fmla="*/ 120869 h 1508234"/>
                  <a:gd name="connsiteX9" fmla="*/ 63063 w 867103"/>
                  <a:gd name="connsiteY9" fmla="*/ 278524 h 1508234"/>
                  <a:gd name="connsiteX10" fmla="*/ 115613 w 867103"/>
                  <a:gd name="connsiteY10" fmla="*/ 436179 h 1508234"/>
                  <a:gd name="connsiteX11" fmla="*/ 194440 w 867103"/>
                  <a:gd name="connsiteY11" fmla="*/ 630619 h 1508234"/>
                  <a:gd name="connsiteX12" fmla="*/ 126124 w 867103"/>
                  <a:gd name="connsiteY12" fmla="*/ 903889 h 1508234"/>
                  <a:gd name="connsiteX13" fmla="*/ 5255 w 867103"/>
                  <a:gd name="connsiteY13" fmla="*/ 1271751 h 1508234"/>
                  <a:gd name="connsiteX14" fmla="*/ 162910 w 867103"/>
                  <a:gd name="connsiteY14" fmla="*/ 1508234 h 1508234"/>
                  <a:gd name="connsiteX0" fmla="*/ 162910 w 867103"/>
                  <a:gd name="connsiteY0" fmla="*/ 1508234 h 1508234"/>
                  <a:gd name="connsiteX1" fmla="*/ 441434 w 867103"/>
                  <a:gd name="connsiteY1" fmla="*/ 1255986 h 1508234"/>
                  <a:gd name="connsiteX2" fmla="*/ 425668 w 867103"/>
                  <a:gd name="connsiteY2" fmla="*/ 1234965 h 1508234"/>
                  <a:gd name="connsiteX3" fmla="*/ 546537 w 867103"/>
                  <a:gd name="connsiteY3" fmla="*/ 1119351 h 1508234"/>
                  <a:gd name="connsiteX4" fmla="*/ 583324 w 867103"/>
                  <a:gd name="connsiteY4" fmla="*/ 1150882 h 1508234"/>
                  <a:gd name="connsiteX5" fmla="*/ 867103 w 867103"/>
                  <a:gd name="connsiteY5" fmla="*/ 903889 h 1508234"/>
                  <a:gd name="connsiteX6" fmla="*/ 320565 w 867103"/>
                  <a:gd name="connsiteY6" fmla="*/ 126124 h 1508234"/>
                  <a:gd name="connsiteX7" fmla="*/ 36786 w 867103"/>
                  <a:gd name="connsiteY7" fmla="*/ 0 h 1508234"/>
                  <a:gd name="connsiteX8" fmla="*/ 0 w 867103"/>
                  <a:gd name="connsiteY8" fmla="*/ 120869 h 1508234"/>
                  <a:gd name="connsiteX9" fmla="*/ 47297 w 867103"/>
                  <a:gd name="connsiteY9" fmla="*/ 273269 h 1508234"/>
                  <a:gd name="connsiteX10" fmla="*/ 115613 w 867103"/>
                  <a:gd name="connsiteY10" fmla="*/ 436179 h 1508234"/>
                  <a:gd name="connsiteX11" fmla="*/ 194440 w 867103"/>
                  <a:gd name="connsiteY11" fmla="*/ 630619 h 1508234"/>
                  <a:gd name="connsiteX12" fmla="*/ 126124 w 867103"/>
                  <a:gd name="connsiteY12" fmla="*/ 903889 h 1508234"/>
                  <a:gd name="connsiteX13" fmla="*/ 5255 w 867103"/>
                  <a:gd name="connsiteY13" fmla="*/ 1271751 h 1508234"/>
                  <a:gd name="connsiteX14" fmla="*/ 162910 w 867103"/>
                  <a:gd name="connsiteY14" fmla="*/ 1508234 h 1508234"/>
                  <a:gd name="connsiteX0" fmla="*/ 162910 w 867103"/>
                  <a:gd name="connsiteY0" fmla="*/ 1508234 h 1508234"/>
                  <a:gd name="connsiteX1" fmla="*/ 441434 w 867103"/>
                  <a:gd name="connsiteY1" fmla="*/ 1255986 h 1508234"/>
                  <a:gd name="connsiteX2" fmla="*/ 425668 w 867103"/>
                  <a:gd name="connsiteY2" fmla="*/ 1234965 h 1508234"/>
                  <a:gd name="connsiteX3" fmla="*/ 546537 w 867103"/>
                  <a:gd name="connsiteY3" fmla="*/ 1119351 h 1508234"/>
                  <a:gd name="connsiteX4" fmla="*/ 583324 w 867103"/>
                  <a:gd name="connsiteY4" fmla="*/ 1150882 h 1508234"/>
                  <a:gd name="connsiteX5" fmla="*/ 867103 w 867103"/>
                  <a:gd name="connsiteY5" fmla="*/ 903889 h 1508234"/>
                  <a:gd name="connsiteX6" fmla="*/ 320565 w 867103"/>
                  <a:gd name="connsiteY6" fmla="*/ 126124 h 1508234"/>
                  <a:gd name="connsiteX7" fmla="*/ 36786 w 867103"/>
                  <a:gd name="connsiteY7" fmla="*/ 0 h 1508234"/>
                  <a:gd name="connsiteX8" fmla="*/ 0 w 867103"/>
                  <a:gd name="connsiteY8" fmla="*/ 120869 h 1508234"/>
                  <a:gd name="connsiteX9" fmla="*/ 47297 w 867103"/>
                  <a:gd name="connsiteY9" fmla="*/ 273269 h 1508234"/>
                  <a:gd name="connsiteX10" fmla="*/ 131379 w 867103"/>
                  <a:gd name="connsiteY10" fmla="*/ 441434 h 1508234"/>
                  <a:gd name="connsiteX11" fmla="*/ 194440 w 867103"/>
                  <a:gd name="connsiteY11" fmla="*/ 630619 h 1508234"/>
                  <a:gd name="connsiteX12" fmla="*/ 126124 w 867103"/>
                  <a:gd name="connsiteY12" fmla="*/ 903889 h 1508234"/>
                  <a:gd name="connsiteX13" fmla="*/ 5255 w 867103"/>
                  <a:gd name="connsiteY13" fmla="*/ 1271751 h 1508234"/>
                  <a:gd name="connsiteX14" fmla="*/ 162910 w 867103"/>
                  <a:gd name="connsiteY14" fmla="*/ 1508234 h 1508234"/>
                  <a:gd name="connsiteX0" fmla="*/ 162910 w 867103"/>
                  <a:gd name="connsiteY0" fmla="*/ 1508234 h 1508234"/>
                  <a:gd name="connsiteX1" fmla="*/ 441434 w 867103"/>
                  <a:gd name="connsiteY1" fmla="*/ 1255986 h 1508234"/>
                  <a:gd name="connsiteX2" fmla="*/ 425668 w 867103"/>
                  <a:gd name="connsiteY2" fmla="*/ 1234965 h 1508234"/>
                  <a:gd name="connsiteX3" fmla="*/ 546537 w 867103"/>
                  <a:gd name="connsiteY3" fmla="*/ 1119351 h 1508234"/>
                  <a:gd name="connsiteX4" fmla="*/ 583324 w 867103"/>
                  <a:gd name="connsiteY4" fmla="*/ 1150882 h 1508234"/>
                  <a:gd name="connsiteX5" fmla="*/ 867103 w 867103"/>
                  <a:gd name="connsiteY5" fmla="*/ 903889 h 1508234"/>
                  <a:gd name="connsiteX6" fmla="*/ 320565 w 867103"/>
                  <a:gd name="connsiteY6" fmla="*/ 126124 h 1508234"/>
                  <a:gd name="connsiteX7" fmla="*/ 36786 w 867103"/>
                  <a:gd name="connsiteY7" fmla="*/ 0 h 1508234"/>
                  <a:gd name="connsiteX8" fmla="*/ 0 w 867103"/>
                  <a:gd name="connsiteY8" fmla="*/ 120869 h 1508234"/>
                  <a:gd name="connsiteX9" fmla="*/ 47297 w 867103"/>
                  <a:gd name="connsiteY9" fmla="*/ 273269 h 1508234"/>
                  <a:gd name="connsiteX10" fmla="*/ 136635 w 867103"/>
                  <a:gd name="connsiteY10" fmla="*/ 420413 h 1508234"/>
                  <a:gd name="connsiteX11" fmla="*/ 194440 w 867103"/>
                  <a:gd name="connsiteY11" fmla="*/ 630619 h 1508234"/>
                  <a:gd name="connsiteX12" fmla="*/ 126124 w 867103"/>
                  <a:gd name="connsiteY12" fmla="*/ 903889 h 1508234"/>
                  <a:gd name="connsiteX13" fmla="*/ 5255 w 867103"/>
                  <a:gd name="connsiteY13" fmla="*/ 1271751 h 1508234"/>
                  <a:gd name="connsiteX14" fmla="*/ 162910 w 867103"/>
                  <a:gd name="connsiteY14" fmla="*/ 1508234 h 1508234"/>
                  <a:gd name="connsiteX0" fmla="*/ 162910 w 867103"/>
                  <a:gd name="connsiteY0" fmla="*/ 1508234 h 1508234"/>
                  <a:gd name="connsiteX1" fmla="*/ 441434 w 867103"/>
                  <a:gd name="connsiteY1" fmla="*/ 1255986 h 1508234"/>
                  <a:gd name="connsiteX2" fmla="*/ 425668 w 867103"/>
                  <a:gd name="connsiteY2" fmla="*/ 1234965 h 1508234"/>
                  <a:gd name="connsiteX3" fmla="*/ 546537 w 867103"/>
                  <a:gd name="connsiteY3" fmla="*/ 1119351 h 1508234"/>
                  <a:gd name="connsiteX4" fmla="*/ 583324 w 867103"/>
                  <a:gd name="connsiteY4" fmla="*/ 1150882 h 1508234"/>
                  <a:gd name="connsiteX5" fmla="*/ 867103 w 867103"/>
                  <a:gd name="connsiteY5" fmla="*/ 903889 h 1508234"/>
                  <a:gd name="connsiteX6" fmla="*/ 320565 w 867103"/>
                  <a:gd name="connsiteY6" fmla="*/ 126124 h 1508234"/>
                  <a:gd name="connsiteX7" fmla="*/ 241738 w 867103"/>
                  <a:gd name="connsiteY7" fmla="*/ 89337 h 1508234"/>
                  <a:gd name="connsiteX8" fmla="*/ 36786 w 867103"/>
                  <a:gd name="connsiteY8" fmla="*/ 0 h 1508234"/>
                  <a:gd name="connsiteX9" fmla="*/ 0 w 867103"/>
                  <a:gd name="connsiteY9" fmla="*/ 120869 h 1508234"/>
                  <a:gd name="connsiteX10" fmla="*/ 47297 w 867103"/>
                  <a:gd name="connsiteY10" fmla="*/ 273269 h 1508234"/>
                  <a:gd name="connsiteX11" fmla="*/ 136635 w 867103"/>
                  <a:gd name="connsiteY11" fmla="*/ 420413 h 1508234"/>
                  <a:gd name="connsiteX12" fmla="*/ 194440 w 867103"/>
                  <a:gd name="connsiteY12" fmla="*/ 630619 h 1508234"/>
                  <a:gd name="connsiteX13" fmla="*/ 126124 w 867103"/>
                  <a:gd name="connsiteY13" fmla="*/ 903889 h 1508234"/>
                  <a:gd name="connsiteX14" fmla="*/ 5255 w 867103"/>
                  <a:gd name="connsiteY14" fmla="*/ 1271751 h 1508234"/>
                  <a:gd name="connsiteX15" fmla="*/ 162910 w 867103"/>
                  <a:gd name="connsiteY15" fmla="*/ 1508234 h 1508234"/>
                  <a:gd name="connsiteX0" fmla="*/ 162910 w 867103"/>
                  <a:gd name="connsiteY0" fmla="*/ 1508234 h 1508234"/>
                  <a:gd name="connsiteX1" fmla="*/ 441434 w 867103"/>
                  <a:gd name="connsiteY1" fmla="*/ 1255986 h 1508234"/>
                  <a:gd name="connsiteX2" fmla="*/ 425668 w 867103"/>
                  <a:gd name="connsiteY2" fmla="*/ 1234965 h 1508234"/>
                  <a:gd name="connsiteX3" fmla="*/ 546537 w 867103"/>
                  <a:gd name="connsiteY3" fmla="*/ 1119351 h 1508234"/>
                  <a:gd name="connsiteX4" fmla="*/ 583324 w 867103"/>
                  <a:gd name="connsiteY4" fmla="*/ 1150882 h 1508234"/>
                  <a:gd name="connsiteX5" fmla="*/ 867103 w 867103"/>
                  <a:gd name="connsiteY5" fmla="*/ 903889 h 1508234"/>
                  <a:gd name="connsiteX6" fmla="*/ 320565 w 867103"/>
                  <a:gd name="connsiteY6" fmla="*/ 126124 h 1508234"/>
                  <a:gd name="connsiteX7" fmla="*/ 194442 w 867103"/>
                  <a:gd name="connsiteY7" fmla="*/ 84082 h 1508234"/>
                  <a:gd name="connsiteX8" fmla="*/ 36786 w 867103"/>
                  <a:gd name="connsiteY8" fmla="*/ 0 h 1508234"/>
                  <a:gd name="connsiteX9" fmla="*/ 0 w 867103"/>
                  <a:gd name="connsiteY9" fmla="*/ 120869 h 1508234"/>
                  <a:gd name="connsiteX10" fmla="*/ 47297 w 867103"/>
                  <a:gd name="connsiteY10" fmla="*/ 273269 h 1508234"/>
                  <a:gd name="connsiteX11" fmla="*/ 136635 w 867103"/>
                  <a:gd name="connsiteY11" fmla="*/ 420413 h 1508234"/>
                  <a:gd name="connsiteX12" fmla="*/ 194440 w 867103"/>
                  <a:gd name="connsiteY12" fmla="*/ 630619 h 1508234"/>
                  <a:gd name="connsiteX13" fmla="*/ 126124 w 867103"/>
                  <a:gd name="connsiteY13" fmla="*/ 903889 h 1508234"/>
                  <a:gd name="connsiteX14" fmla="*/ 5255 w 867103"/>
                  <a:gd name="connsiteY14" fmla="*/ 1271751 h 1508234"/>
                  <a:gd name="connsiteX15" fmla="*/ 162910 w 867103"/>
                  <a:gd name="connsiteY15" fmla="*/ 1508234 h 1508234"/>
                  <a:gd name="connsiteX0" fmla="*/ 162910 w 867103"/>
                  <a:gd name="connsiteY0" fmla="*/ 1508234 h 1508234"/>
                  <a:gd name="connsiteX1" fmla="*/ 441434 w 867103"/>
                  <a:gd name="connsiteY1" fmla="*/ 1255986 h 1508234"/>
                  <a:gd name="connsiteX2" fmla="*/ 425668 w 867103"/>
                  <a:gd name="connsiteY2" fmla="*/ 1234965 h 1508234"/>
                  <a:gd name="connsiteX3" fmla="*/ 546537 w 867103"/>
                  <a:gd name="connsiteY3" fmla="*/ 1119351 h 1508234"/>
                  <a:gd name="connsiteX4" fmla="*/ 583324 w 867103"/>
                  <a:gd name="connsiteY4" fmla="*/ 1150882 h 1508234"/>
                  <a:gd name="connsiteX5" fmla="*/ 867103 w 867103"/>
                  <a:gd name="connsiteY5" fmla="*/ 903889 h 1508234"/>
                  <a:gd name="connsiteX6" fmla="*/ 320565 w 867103"/>
                  <a:gd name="connsiteY6" fmla="*/ 126124 h 1508234"/>
                  <a:gd name="connsiteX7" fmla="*/ 194442 w 867103"/>
                  <a:gd name="connsiteY7" fmla="*/ 84082 h 1508234"/>
                  <a:gd name="connsiteX8" fmla="*/ 36786 w 867103"/>
                  <a:gd name="connsiteY8" fmla="*/ 0 h 1508234"/>
                  <a:gd name="connsiteX9" fmla="*/ 0 w 867103"/>
                  <a:gd name="connsiteY9" fmla="*/ 120869 h 1508234"/>
                  <a:gd name="connsiteX10" fmla="*/ 47297 w 867103"/>
                  <a:gd name="connsiteY10" fmla="*/ 273269 h 1508234"/>
                  <a:gd name="connsiteX11" fmla="*/ 136635 w 867103"/>
                  <a:gd name="connsiteY11" fmla="*/ 420413 h 1508234"/>
                  <a:gd name="connsiteX12" fmla="*/ 194440 w 867103"/>
                  <a:gd name="connsiteY12" fmla="*/ 630619 h 1508234"/>
                  <a:gd name="connsiteX13" fmla="*/ 126124 w 867103"/>
                  <a:gd name="connsiteY13" fmla="*/ 903889 h 1508234"/>
                  <a:gd name="connsiteX14" fmla="*/ 5255 w 867103"/>
                  <a:gd name="connsiteY14" fmla="*/ 1271751 h 1508234"/>
                  <a:gd name="connsiteX15" fmla="*/ 162910 w 867103"/>
                  <a:gd name="connsiteY15" fmla="*/ 1508234 h 1508234"/>
                  <a:gd name="connsiteX0" fmla="*/ 162910 w 867103"/>
                  <a:gd name="connsiteY0" fmla="*/ 1508234 h 1508234"/>
                  <a:gd name="connsiteX1" fmla="*/ 441434 w 867103"/>
                  <a:gd name="connsiteY1" fmla="*/ 1255986 h 1508234"/>
                  <a:gd name="connsiteX2" fmla="*/ 425668 w 867103"/>
                  <a:gd name="connsiteY2" fmla="*/ 1234965 h 1508234"/>
                  <a:gd name="connsiteX3" fmla="*/ 546537 w 867103"/>
                  <a:gd name="connsiteY3" fmla="*/ 1119351 h 1508234"/>
                  <a:gd name="connsiteX4" fmla="*/ 583324 w 867103"/>
                  <a:gd name="connsiteY4" fmla="*/ 1150882 h 1508234"/>
                  <a:gd name="connsiteX5" fmla="*/ 867103 w 867103"/>
                  <a:gd name="connsiteY5" fmla="*/ 903889 h 1508234"/>
                  <a:gd name="connsiteX6" fmla="*/ 320565 w 867103"/>
                  <a:gd name="connsiteY6" fmla="*/ 126124 h 1508234"/>
                  <a:gd name="connsiteX7" fmla="*/ 162911 w 867103"/>
                  <a:gd name="connsiteY7" fmla="*/ 78827 h 1508234"/>
                  <a:gd name="connsiteX8" fmla="*/ 36786 w 867103"/>
                  <a:gd name="connsiteY8" fmla="*/ 0 h 1508234"/>
                  <a:gd name="connsiteX9" fmla="*/ 0 w 867103"/>
                  <a:gd name="connsiteY9" fmla="*/ 120869 h 1508234"/>
                  <a:gd name="connsiteX10" fmla="*/ 47297 w 867103"/>
                  <a:gd name="connsiteY10" fmla="*/ 273269 h 1508234"/>
                  <a:gd name="connsiteX11" fmla="*/ 136635 w 867103"/>
                  <a:gd name="connsiteY11" fmla="*/ 420413 h 1508234"/>
                  <a:gd name="connsiteX12" fmla="*/ 194440 w 867103"/>
                  <a:gd name="connsiteY12" fmla="*/ 630619 h 1508234"/>
                  <a:gd name="connsiteX13" fmla="*/ 126124 w 867103"/>
                  <a:gd name="connsiteY13" fmla="*/ 903889 h 1508234"/>
                  <a:gd name="connsiteX14" fmla="*/ 5255 w 867103"/>
                  <a:gd name="connsiteY14" fmla="*/ 1271751 h 1508234"/>
                  <a:gd name="connsiteX15" fmla="*/ 162910 w 867103"/>
                  <a:gd name="connsiteY15" fmla="*/ 1508234 h 1508234"/>
                  <a:gd name="connsiteX0" fmla="*/ 162910 w 867103"/>
                  <a:gd name="connsiteY0" fmla="*/ 1508234 h 1508234"/>
                  <a:gd name="connsiteX1" fmla="*/ 441434 w 867103"/>
                  <a:gd name="connsiteY1" fmla="*/ 1255986 h 1508234"/>
                  <a:gd name="connsiteX2" fmla="*/ 425668 w 867103"/>
                  <a:gd name="connsiteY2" fmla="*/ 1234965 h 1508234"/>
                  <a:gd name="connsiteX3" fmla="*/ 546537 w 867103"/>
                  <a:gd name="connsiteY3" fmla="*/ 1119351 h 1508234"/>
                  <a:gd name="connsiteX4" fmla="*/ 583324 w 867103"/>
                  <a:gd name="connsiteY4" fmla="*/ 1150882 h 1508234"/>
                  <a:gd name="connsiteX5" fmla="*/ 867103 w 867103"/>
                  <a:gd name="connsiteY5" fmla="*/ 903889 h 1508234"/>
                  <a:gd name="connsiteX6" fmla="*/ 320565 w 867103"/>
                  <a:gd name="connsiteY6" fmla="*/ 126124 h 1508234"/>
                  <a:gd name="connsiteX7" fmla="*/ 189187 w 867103"/>
                  <a:gd name="connsiteY7" fmla="*/ 63061 h 1508234"/>
                  <a:gd name="connsiteX8" fmla="*/ 36786 w 867103"/>
                  <a:gd name="connsiteY8" fmla="*/ 0 h 1508234"/>
                  <a:gd name="connsiteX9" fmla="*/ 0 w 867103"/>
                  <a:gd name="connsiteY9" fmla="*/ 120869 h 1508234"/>
                  <a:gd name="connsiteX10" fmla="*/ 47297 w 867103"/>
                  <a:gd name="connsiteY10" fmla="*/ 273269 h 1508234"/>
                  <a:gd name="connsiteX11" fmla="*/ 136635 w 867103"/>
                  <a:gd name="connsiteY11" fmla="*/ 420413 h 1508234"/>
                  <a:gd name="connsiteX12" fmla="*/ 194440 w 867103"/>
                  <a:gd name="connsiteY12" fmla="*/ 630619 h 1508234"/>
                  <a:gd name="connsiteX13" fmla="*/ 126124 w 867103"/>
                  <a:gd name="connsiteY13" fmla="*/ 903889 h 1508234"/>
                  <a:gd name="connsiteX14" fmla="*/ 5255 w 867103"/>
                  <a:gd name="connsiteY14" fmla="*/ 1271751 h 1508234"/>
                  <a:gd name="connsiteX15" fmla="*/ 162910 w 867103"/>
                  <a:gd name="connsiteY15" fmla="*/ 1508234 h 1508234"/>
                  <a:gd name="connsiteX0" fmla="*/ 330034 w 1034227"/>
                  <a:gd name="connsiteY0" fmla="*/ 1673911 h 1673911"/>
                  <a:gd name="connsiteX1" fmla="*/ 608558 w 1034227"/>
                  <a:gd name="connsiteY1" fmla="*/ 1421663 h 1673911"/>
                  <a:gd name="connsiteX2" fmla="*/ 592792 w 1034227"/>
                  <a:gd name="connsiteY2" fmla="*/ 1400642 h 1673911"/>
                  <a:gd name="connsiteX3" fmla="*/ 713661 w 1034227"/>
                  <a:gd name="connsiteY3" fmla="*/ 1285028 h 1673911"/>
                  <a:gd name="connsiteX4" fmla="*/ 750448 w 1034227"/>
                  <a:gd name="connsiteY4" fmla="*/ 1316559 h 1673911"/>
                  <a:gd name="connsiteX5" fmla="*/ 1034227 w 1034227"/>
                  <a:gd name="connsiteY5" fmla="*/ 1069566 h 1673911"/>
                  <a:gd name="connsiteX6" fmla="*/ 487689 w 1034227"/>
                  <a:gd name="connsiteY6" fmla="*/ 291801 h 1673911"/>
                  <a:gd name="connsiteX7" fmla="*/ 356311 w 1034227"/>
                  <a:gd name="connsiteY7" fmla="*/ 228738 h 1673911"/>
                  <a:gd name="connsiteX8" fmla="*/ 0 w 1034227"/>
                  <a:gd name="connsiteY8" fmla="*/ 0 h 1673911"/>
                  <a:gd name="connsiteX9" fmla="*/ 167124 w 1034227"/>
                  <a:gd name="connsiteY9" fmla="*/ 286546 h 1673911"/>
                  <a:gd name="connsiteX10" fmla="*/ 214421 w 1034227"/>
                  <a:gd name="connsiteY10" fmla="*/ 438946 h 1673911"/>
                  <a:gd name="connsiteX11" fmla="*/ 303759 w 1034227"/>
                  <a:gd name="connsiteY11" fmla="*/ 586090 h 1673911"/>
                  <a:gd name="connsiteX12" fmla="*/ 361564 w 1034227"/>
                  <a:gd name="connsiteY12" fmla="*/ 796296 h 1673911"/>
                  <a:gd name="connsiteX13" fmla="*/ 293248 w 1034227"/>
                  <a:gd name="connsiteY13" fmla="*/ 1069566 h 1673911"/>
                  <a:gd name="connsiteX14" fmla="*/ 172379 w 1034227"/>
                  <a:gd name="connsiteY14" fmla="*/ 1437428 h 1673911"/>
                  <a:gd name="connsiteX15" fmla="*/ 330034 w 1034227"/>
                  <a:gd name="connsiteY15" fmla="*/ 1673911 h 1673911"/>
                  <a:gd name="connsiteX0" fmla="*/ 330034 w 1034227"/>
                  <a:gd name="connsiteY0" fmla="*/ 1673911 h 1673911"/>
                  <a:gd name="connsiteX1" fmla="*/ 608558 w 1034227"/>
                  <a:gd name="connsiteY1" fmla="*/ 1421663 h 1673911"/>
                  <a:gd name="connsiteX2" fmla="*/ 592792 w 1034227"/>
                  <a:gd name="connsiteY2" fmla="*/ 1400642 h 1673911"/>
                  <a:gd name="connsiteX3" fmla="*/ 713661 w 1034227"/>
                  <a:gd name="connsiteY3" fmla="*/ 1285028 h 1673911"/>
                  <a:gd name="connsiteX4" fmla="*/ 750448 w 1034227"/>
                  <a:gd name="connsiteY4" fmla="*/ 1316559 h 1673911"/>
                  <a:gd name="connsiteX5" fmla="*/ 1034227 w 1034227"/>
                  <a:gd name="connsiteY5" fmla="*/ 1069566 h 1673911"/>
                  <a:gd name="connsiteX6" fmla="*/ 487689 w 1034227"/>
                  <a:gd name="connsiteY6" fmla="*/ 291801 h 1673911"/>
                  <a:gd name="connsiteX7" fmla="*/ 356311 w 1034227"/>
                  <a:gd name="connsiteY7" fmla="*/ 228738 h 1673911"/>
                  <a:gd name="connsiteX8" fmla="*/ 0 w 1034227"/>
                  <a:gd name="connsiteY8" fmla="*/ 0 h 1673911"/>
                  <a:gd name="connsiteX9" fmla="*/ 167124 w 1034227"/>
                  <a:gd name="connsiteY9" fmla="*/ 286546 h 1673911"/>
                  <a:gd name="connsiteX10" fmla="*/ 214421 w 1034227"/>
                  <a:gd name="connsiteY10" fmla="*/ 438946 h 1673911"/>
                  <a:gd name="connsiteX11" fmla="*/ 303759 w 1034227"/>
                  <a:gd name="connsiteY11" fmla="*/ 586090 h 1673911"/>
                  <a:gd name="connsiteX12" fmla="*/ 361564 w 1034227"/>
                  <a:gd name="connsiteY12" fmla="*/ 796296 h 1673911"/>
                  <a:gd name="connsiteX13" fmla="*/ 293248 w 1034227"/>
                  <a:gd name="connsiteY13" fmla="*/ 1069566 h 1673911"/>
                  <a:gd name="connsiteX14" fmla="*/ 172379 w 1034227"/>
                  <a:gd name="connsiteY14" fmla="*/ 1437428 h 1673911"/>
                  <a:gd name="connsiteX15" fmla="*/ 330034 w 1034227"/>
                  <a:gd name="connsiteY15" fmla="*/ 1673911 h 1673911"/>
                  <a:gd name="connsiteX0" fmla="*/ 330034 w 1034227"/>
                  <a:gd name="connsiteY0" fmla="*/ 1673911 h 1673911"/>
                  <a:gd name="connsiteX1" fmla="*/ 608558 w 1034227"/>
                  <a:gd name="connsiteY1" fmla="*/ 1421663 h 1673911"/>
                  <a:gd name="connsiteX2" fmla="*/ 592792 w 1034227"/>
                  <a:gd name="connsiteY2" fmla="*/ 1400642 h 1673911"/>
                  <a:gd name="connsiteX3" fmla="*/ 713661 w 1034227"/>
                  <a:gd name="connsiteY3" fmla="*/ 1285028 h 1673911"/>
                  <a:gd name="connsiteX4" fmla="*/ 750448 w 1034227"/>
                  <a:gd name="connsiteY4" fmla="*/ 1316559 h 1673911"/>
                  <a:gd name="connsiteX5" fmla="*/ 1034227 w 1034227"/>
                  <a:gd name="connsiteY5" fmla="*/ 1069566 h 1673911"/>
                  <a:gd name="connsiteX6" fmla="*/ 487689 w 1034227"/>
                  <a:gd name="connsiteY6" fmla="*/ 291801 h 1673911"/>
                  <a:gd name="connsiteX7" fmla="*/ 356311 w 1034227"/>
                  <a:gd name="connsiteY7" fmla="*/ 228738 h 1673911"/>
                  <a:gd name="connsiteX8" fmla="*/ 0 w 1034227"/>
                  <a:gd name="connsiteY8" fmla="*/ 0 h 1673911"/>
                  <a:gd name="connsiteX9" fmla="*/ 167124 w 1034227"/>
                  <a:gd name="connsiteY9" fmla="*/ 286546 h 1673911"/>
                  <a:gd name="connsiteX10" fmla="*/ 214421 w 1034227"/>
                  <a:gd name="connsiteY10" fmla="*/ 438946 h 1673911"/>
                  <a:gd name="connsiteX11" fmla="*/ 303759 w 1034227"/>
                  <a:gd name="connsiteY11" fmla="*/ 586090 h 1673911"/>
                  <a:gd name="connsiteX12" fmla="*/ 361564 w 1034227"/>
                  <a:gd name="connsiteY12" fmla="*/ 796296 h 1673911"/>
                  <a:gd name="connsiteX13" fmla="*/ 293248 w 1034227"/>
                  <a:gd name="connsiteY13" fmla="*/ 1069566 h 1673911"/>
                  <a:gd name="connsiteX14" fmla="*/ 172379 w 1034227"/>
                  <a:gd name="connsiteY14" fmla="*/ 1437428 h 1673911"/>
                  <a:gd name="connsiteX15" fmla="*/ 330034 w 1034227"/>
                  <a:gd name="connsiteY15" fmla="*/ 1673911 h 1673911"/>
                  <a:gd name="connsiteX0" fmla="*/ 330062 w 1034255"/>
                  <a:gd name="connsiteY0" fmla="*/ 1692256 h 1692256"/>
                  <a:gd name="connsiteX1" fmla="*/ 608586 w 1034255"/>
                  <a:gd name="connsiteY1" fmla="*/ 1440008 h 1692256"/>
                  <a:gd name="connsiteX2" fmla="*/ 592820 w 1034255"/>
                  <a:gd name="connsiteY2" fmla="*/ 1418987 h 1692256"/>
                  <a:gd name="connsiteX3" fmla="*/ 713689 w 1034255"/>
                  <a:gd name="connsiteY3" fmla="*/ 1303373 h 1692256"/>
                  <a:gd name="connsiteX4" fmla="*/ 750476 w 1034255"/>
                  <a:gd name="connsiteY4" fmla="*/ 1334904 h 1692256"/>
                  <a:gd name="connsiteX5" fmla="*/ 1034255 w 1034255"/>
                  <a:gd name="connsiteY5" fmla="*/ 1087911 h 1692256"/>
                  <a:gd name="connsiteX6" fmla="*/ 487717 w 1034255"/>
                  <a:gd name="connsiteY6" fmla="*/ 310146 h 1692256"/>
                  <a:gd name="connsiteX7" fmla="*/ 356339 w 1034255"/>
                  <a:gd name="connsiteY7" fmla="*/ 247083 h 1692256"/>
                  <a:gd name="connsiteX8" fmla="*/ 155570 w 1034255"/>
                  <a:gd name="connsiteY8" fmla="*/ 52670 h 1692256"/>
                  <a:gd name="connsiteX9" fmla="*/ 28 w 1034255"/>
                  <a:gd name="connsiteY9" fmla="*/ 18345 h 1692256"/>
                  <a:gd name="connsiteX10" fmla="*/ 167152 w 1034255"/>
                  <a:gd name="connsiteY10" fmla="*/ 304891 h 1692256"/>
                  <a:gd name="connsiteX11" fmla="*/ 214449 w 1034255"/>
                  <a:gd name="connsiteY11" fmla="*/ 457291 h 1692256"/>
                  <a:gd name="connsiteX12" fmla="*/ 303787 w 1034255"/>
                  <a:gd name="connsiteY12" fmla="*/ 604435 h 1692256"/>
                  <a:gd name="connsiteX13" fmla="*/ 361592 w 1034255"/>
                  <a:gd name="connsiteY13" fmla="*/ 814641 h 1692256"/>
                  <a:gd name="connsiteX14" fmla="*/ 293276 w 1034255"/>
                  <a:gd name="connsiteY14" fmla="*/ 1087911 h 1692256"/>
                  <a:gd name="connsiteX15" fmla="*/ 172407 w 1034255"/>
                  <a:gd name="connsiteY15" fmla="*/ 1455773 h 1692256"/>
                  <a:gd name="connsiteX16" fmla="*/ 330062 w 1034255"/>
                  <a:gd name="connsiteY16" fmla="*/ 1692256 h 1692256"/>
                  <a:gd name="connsiteX0" fmla="*/ 330055 w 1034248"/>
                  <a:gd name="connsiteY0" fmla="*/ 1692256 h 1692256"/>
                  <a:gd name="connsiteX1" fmla="*/ 608579 w 1034248"/>
                  <a:gd name="connsiteY1" fmla="*/ 1440008 h 1692256"/>
                  <a:gd name="connsiteX2" fmla="*/ 592813 w 1034248"/>
                  <a:gd name="connsiteY2" fmla="*/ 1418987 h 1692256"/>
                  <a:gd name="connsiteX3" fmla="*/ 713682 w 1034248"/>
                  <a:gd name="connsiteY3" fmla="*/ 1303373 h 1692256"/>
                  <a:gd name="connsiteX4" fmla="*/ 750469 w 1034248"/>
                  <a:gd name="connsiteY4" fmla="*/ 1334904 h 1692256"/>
                  <a:gd name="connsiteX5" fmla="*/ 1034248 w 1034248"/>
                  <a:gd name="connsiteY5" fmla="*/ 1087911 h 1692256"/>
                  <a:gd name="connsiteX6" fmla="*/ 487710 w 1034248"/>
                  <a:gd name="connsiteY6" fmla="*/ 310146 h 1692256"/>
                  <a:gd name="connsiteX7" fmla="*/ 356332 w 1034248"/>
                  <a:gd name="connsiteY7" fmla="*/ 247083 h 1692256"/>
                  <a:gd name="connsiteX8" fmla="*/ 194403 w 1034248"/>
                  <a:gd name="connsiteY8" fmla="*/ 52670 h 1692256"/>
                  <a:gd name="connsiteX9" fmla="*/ 21 w 1034248"/>
                  <a:gd name="connsiteY9" fmla="*/ 18345 h 1692256"/>
                  <a:gd name="connsiteX10" fmla="*/ 167145 w 1034248"/>
                  <a:gd name="connsiteY10" fmla="*/ 304891 h 1692256"/>
                  <a:gd name="connsiteX11" fmla="*/ 214442 w 1034248"/>
                  <a:gd name="connsiteY11" fmla="*/ 457291 h 1692256"/>
                  <a:gd name="connsiteX12" fmla="*/ 303780 w 1034248"/>
                  <a:gd name="connsiteY12" fmla="*/ 604435 h 1692256"/>
                  <a:gd name="connsiteX13" fmla="*/ 361585 w 1034248"/>
                  <a:gd name="connsiteY13" fmla="*/ 814641 h 1692256"/>
                  <a:gd name="connsiteX14" fmla="*/ 293269 w 1034248"/>
                  <a:gd name="connsiteY14" fmla="*/ 1087911 h 1692256"/>
                  <a:gd name="connsiteX15" fmla="*/ 172400 w 1034248"/>
                  <a:gd name="connsiteY15" fmla="*/ 1455773 h 1692256"/>
                  <a:gd name="connsiteX16" fmla="*/ 330055 w 1034248"/>
                  <a:gd name="connsiteY16" fmla="*/ 1692256 h 1692256"/>
                  <a:gd name="connsiteX0" fmla="*/ 330055 w 1034248"/>
                  <a:gd name="connsiteY0" fmla="*/ 1692256 h 1692256"/>
                  <a:gd name="connsiteX1" fmla="*/ 608579 w 1034248"/>
                  <a:gd name="connsiteY1" fmla="*/ 1440008 h 1692256"/>
                  <a:gd name="connsiteX2" fmla="*/ 592813 w 1034248"/>
                  <a:gd name="connsiteY2" fmla="*/ 1418987 h 1692256"/>
                  <a:gd name="connsiteX3" fmla="*/ 713682 w 1034248"/>
                  <a:gd name="connsiteY3" fmla="*/ 1303373 h 1692256"/>
                  <a:gd name="connsiteX4" fmla="*/ 750469 w 1034248"/>
                  <a:gd name="connsiteY4" fmla="*/ 1334904 h 1692256"/>
                  <a:gd name="connsiteX5" fmla="*/ 1034248 w 1034248"/>
                  <a:gd name="connsiteY5" fmla="*/ 1087911 h 1692256"/>
                  <a:gd name="connsiteX6" fmla="*/ 487710 w 1034248"/>
                  <a:gd name="connsiteY6" fmla="*/ 310146 h 1692256"/>
                  <a:gd name="connsiteX7" fmla="*/ 356332 w 1034248"/>
                  <a:gd name="connsiteY7" fmla="*/ 247083 h 1692256"/>
                  <a:gd name="connsiteX8" fmla="*/ 194403 w 1034248"/>
                  <a:gd name="connsiteY8" fmla="*/ 52670 h 1692256"/>
                  <a:gd name="connsiteX9" fmla="*/ 21 w 1034248"/>
                  <a:gd name="connsiteY9" fmla="*/ 18345 h 1692256"/>
                  <a:gd name="connsiteX10" fmla="*/ 167145 w 1034248"/>
                  <a:gd name="connsiteY10" fmla="*/ 304891 h 1692256"/>
                  <a:gd name="connsiteX11" fmla="*/ 214442 w 1034248"/>
                  <a:gd name="connsiteY11" fmla="*/ 457291 h 1692256"/>
                  <a:gd name="connsiteX12" fmla="*/ 303780 w 1034248"/>
                  <a:gd name="connsiteY12" fmla="*/ 604435 h 1692256"/>
                  <a:gd name="connsiteX13" fmla="*/ 361585 w 1034248"/>
                  <a:gd name="connsiteY13" fmla="*/ 814641 h 1692256"/>
                  <a:gd name="connsiteX14" fmla="*/ 293269 w 1034248"/>
                  <a:gd name="connsiteY14" fmla="*/ 1087911 h 1692256"/>
                  <a:gd name="connsiteX15" fmla="*/ 172400 w 1034248"/>
                  <a:gd name="connsiteY15" fmla="*/ 1455773 h 1692256"/>
                  <a:gd name="connsiteX16" fmla="*/ 330055 w 1034248"/>
                  <a:gd name="connsiteY16" fmla="*/ 1692256 h 1692256"/>
                  <a:gd name="connsiteX0" fmla="*/ 330044 w 1034237"/>
                  <a:gd name="connsiteY0" fmla="*/ 1755876 h 1755876"/>
                  <a:gd name="connsiteX1" fmla="*/ 608568 w 1034237"/>
                  <a:gd name="connsiteY1" fmla="*/ 1503628 h 1755876"/>
                  <a:gd name="connsiteX2" fmla="*/ 592802 w 1034237"/>
                  <a:gd name="connsiteY2" fmla="*/ 1482607 h 1755876"/>
                  <a:gd name="connsiteX3" fmla="*/ 713671 w 1034237"/>
                  <a:gd name="connsiteY3" fmla="*/ 1366993 h 1755876"/>
                  <a:gd name="connsiteX4" fmla="*/ 750458 w 1034237"/>
                  <a:gd name="connsiteY4" fmla="*/ 1398524 h 1755876"/>
                  <a:gd name="connsiteX5" fmla="*/ 1034237 w 1034237"/>
                  <a:gd name="connsiteY5" fmla="*/ 1151531 h 1755876"/>
                  <a:gd name="connsiteX6" fmla="*/ 487699 w 1034237"/>
                  <a:gd name="connsiteY6" fmla="*/ 373766 h 1755876"/>
                  <a:gd name="connsiteX7" fmla="*/ 356321 w 1034237"/>
                  <a:gd name="connsiteY7" fmla="*/ 310703 h 1755876"/>
                  <a:gd name="connsiteX8" fmla="*/ 194392 w 1034237"/>
                  <a:gd name="connsiteY8" fmla="*/ 116290 h 1755876"/>
                  <a:gd name="connsiteX9" fmla="*/ 10 w 1034237"/>
                  <a:gd name="connsiteY9" fmla="*/ 81965 h 1755876"/>
                  <a:gd name="connsiteX10" fmla="*/ 167134 w 1034237"/>
                  <a:gd name="connsiteY10" fmla="*/ 368511 h 1755876"/>
                  <a:gd name="connsiteX11" fmla="*/ 214431 w 1034237"/>
                  <a:gd name="connsiteY11" fmla="*/ 520911 h 1755876"/>
                  <a:gd name="connsiteX12" fmla="*/ 303769 w 1034237"/>
                  <a:gd name="connsiteY12" fmla="*/ 668055 h 1755876"/>
                  <a:gd name="connsiteX13" fmla="*/ 361574 w 1034237"/>
                  <a:gd name="connsiteY13" fmla="*/ 878261 h 1755876"/>
                  <a:gd name="connsiteX14" fmla="*/ 293258 w 1034237"/>
                  <a:gd name="connsiteY14" fmla="*/ 1151531 h 1755876"/>
                  <a:gd name="connsiteX15" fmla="*/ 172389 w 1034237"/>
                  <a:gd name="connsiteY15" fmla="*/ 1519393 h 1755876"/>
                  <a:gd name="connsiteX16" fmla="*/ 330044 w 1034237"/>
                  <a:gd name="connsiteY16" fmla="*/ 1755876 h 1755876"/>
                  <a:gd name="connsiteX0" fmla="*/ 330044 w 1034237"/>
                  <a:gd name="connsiteY0" fmla="*/ 1755876 h 1755876"/>
                  <a:gd name="connsiteX1" fmla="*/ 608568 w 1034237"/>
                  <a:gd name="connsiteY1" fmla="*/ 1503628 h 1755876"/>
                  <a:gd name="connsiteX2" fmla="*/ 592802 w 1034237"/>
                  <a:gd name="connsiteY2" fmla="*/ 1482607 h 1755876"/>
                  <a:gd name="connsiteX3" fmla="*/ 713671 w 1034237"/>
                  <a:gd name="connsiteY3" fmla="*/ 1366993 h 1755876"/>
                  <a:gd name="connsiteX4" fmla="*/ 750458 w 1034237"/>
                  <a:gd name="connsiteY4" fmla="*/ 1398524 h 1755876"/>
                  <a:gd name="connsiteX5" fmla="*/ 1034237 w 1034237"/>
                  <a:gd name="connsiteY5" fmla="*/ 1151531 h 1755876"/>
                  <a:gd name="connsiteX6" fmla="*/ 487699 w 1034237"/>
                  <a:gd name="connsiteY6" fmla="*/ 373766 h 1755876"/>
                  <a:gd name="connsiteX7" fmla="*/ 356321 w 1034237"/>
                  <a:gd name="connsiteY7" fmla="*/ 310703 h 1755876"/>
                  <a:gd name="connsiteX8" fmla="*/ 194392 w 1034237"/>
                  <a:gd name="connsiteY8" fmla="*/ 116290 h 1755876"/>
                  <a:gd name="connsiteX9" fmla="*/ 10 w 1034237"/>
                  <a:gd name="connsiteY9" fmla="*/ 81965 h 1755876"/>
                  <a:gd name="connsiteX10" fmla="*/ 167134 w 1034237"/>
                  <a:gd name="connsiteY10" fmla="*/ 368511 h 1755876"/>
                  <a:gd name="connsiteX11" fmla="*/ 214431 w 1034237"/>
                  <a:gd name="connsiteY11" fmla="*/ 520911 h 1755876"/>
                  <a:gd name="connsiteX12" fmla="*/ 303769 w 1034237"/>
                  <a:gd name="connsiteY12" fmla="*/ 668055 h 1755876"/>
                  <a:gd name="connsiteX13" fmla="*/ 361574 w 1034237"/>
                  <a:gd name="connsiteY13" fmla="*/ 878261 h 1755876"/>
                  <a:gd name="connsiteX14" fmla="*/ 293258 w 1034237"/>
                  <a:gd name="connsiteY14" fmla="*/ 1151531 h 1755876"/>
                  <a:gd name="connsiteX15" fmla="*/ 172389 w 1034237"/>
                  <a:gd name="connsiteY15" fmla="*/ 1519393 h 1755876"/>
                  <a:gd name="connsiteX16" fmla="*/ 330044 w 1034237"/>
                  <a:gd name="connsiteY16" fmla="*/ 1755876 h 1755876"/>
                  <a:gd name="connsiteX0" fmla="*/ 331227 w 1035420"/>
                  <a:gd name="connsiteY0" fmla="*/ 1733345 h 1733345"/>
                  <a:gd name="connsiteX1" fmla="*/ 609751 w 1035420"/>
                  <a:gd name="connsiteY1" fmla="*/ 1481097 h 1733345"/>
                  <a:gd name="connsiteX2" fmla="*/ 593985 w 1035420"/>
                  <a:gd name="connsiteY2" fmla="*/ 1460076 h 1733345"/>
                  <a:gd name="connsiteX3" fmla="*/ 714854 w 1035420"/>
                  <a:gd name="connsiteY3" fmla="*/ 1344462 h 1733345"/>
                  <a:gd name="connsiteX4" fmla="*/ 751641 w 1035420"/>
                  <a:gd name="connsiteY4" fmla="*/ 1375993 h 1733345"/>
                  <a:gd name="connsiteX5" fmla="*/ 1035420 w 1035420"/>
                  <a:gd name="connsiteY5" fmla="*/ 1129000 h 1733345"/>
                  <a:gd name="connsiteX6" fmla="*/ 488882 w 1035420"/>
                  <a:gd name="connsiteY6" fmla="*/ 351235 h 1733345"/>
                  <a:gd name="connsiteX7" fmla="*/ 357504 w 1035420"/>
                  <a:gd name="connsiteY7" fmla="*/ 288172 h 1733345"/>
                  <a:gd name="connsiteX8" fmla="*/ 195575 w 1035420"/>
                  <a:gd name="connsiteY8" fmla="*/ 93759 h 1733345"/>
                  <a:gd name="connsiteX9" fmla="*/ 98474 w 1035420"/>
                  <a:gd name="connsiteY9" fmla="*/ 1716 h 1733345"/>
                  <a:gd name="connsiteX10" fmla="*/ 1193 w 1035420"/>
                  <a:gd name="connsiteY10" fmla="*/ 59434 h 1733345"/>
                  <a:gd name="connsiteX11" fmla="*/ 168317 w 1035420"/>
                  <a:gd name="connsiteY11" fmla="*/ 345980 h 1733345"/>
                  <a:gd name="connsiteX12" fmla="*/ 215614 w 1035420"/>
                  <a:gd name="connsiteY12" fmla="*/ 498380 h 1733345"/>
                  <a:gd name="connsiteX13" fmla="*/ 304952 w 1035420"/>
                  <a:gd name="connsiteY13" fmla="*/ 645524 h 1733345"/>
                  <a:gd name="connsiteX14" fmla="*/ 362757 w 1035420"/>
                  <a:gd name="connsiteY14" fmla="*/ 855730 h 1733345"/>
                  <a:gd name="connsiteX15" fmla="*/ 294441 w 1035420"/>
                  <a:gd name="connsiteY15" fmla="*/ 1129000 h 1733345"/>
                  <a:gd name="connsiteX16" fmla="*/ 173572 w 1035420"/>
                  <a:gd name="connsiteY16" fmla="*/ 1496862 h 1733345"/>
                  <a:gd name="connsiteX17" fmla="*/ 331227 w 1035420"/>
                  <a:gd name="connsiteY17" fmla="*/ 1733345 h 1733345"/>
                  <a:gd name="connsiteX0" fmla="*/ 330476 w 1034669"/>
                  <a:gd name="connsiteY0" fmla="*/ 1952638 h 1952638"/>
                  <a:gd name="connsiteX1" fmla="*/ 609000 w 1034669"/>
                  <a:gd name="connsiteY1" fmla="*/ 1700390 h 1952638"/>
                  <a:gd name="connsiteX2" fmla="*/ 593234 w 1034669"/>
                  <a:gd name="connsiteY2" fmla="*/ 1679369 h 1952638"/>
                  <a:gd name="connsiteX3" fmla="*/ 714103 w 1034669"/>
                  <a:gd name="connsiteY3" fmla="*/ 1563755 h 1952638"/>
                  <a:gd name="connsiteX4" fmla="*/ 750890 w 1034669"/>
                  <a:gd name="connsiteY4" fmla="*/ 1595286 h 1952638"/>
                  <a:gd name="connsiteX5" fmla="*/ 1034669 w 1034669"/>
                  <a:gd name="connsiteY5" fmla="*/ 1348293 h 1952638"/>
                  <a:gd name="connsiteX6" fmla="*/ 488131 w 1034669"/>
                  <a:gd name="connsiteY6" fmla="*/ 570528 h 1952638"/>
                  <a:gd name="connsiteX7" fmla="*/ 356753 w 1034669"/>
                  <a:gd name="connsiteY7" fmla="*/ 507465 h 1952638"/>
                  <a:gd name="connsiteX8" fmla="*/ 194824 w 1034669"/>
                  <a:gd name="connsiteY8" fmla="*/ 313052 h 1952638"/>
                  <a:gd name="connsiteX9" fmla="*/ 243373 w 1034669"/>
                  <a:gd name="connsiteY9" fmla="*/ 106 h 1952638"/>
                  <a:gd name="connsiteX10" fmla="*/ 442 w 1034669"/>
                  <a:gd name="connsiteY10" fmla="*/ 278727 h 1952638"/>
                  <a:gd name="connsiteX11" fmla="*/ 167566 w 1034669"/>
                  <a:gd name="connsiteY11" fmla="*/ 565273 h 1952638"/>
                  <a:gd name="connsiteX12" fmla="*/ 214863 w 1034669"/>
                  <a:gd name="connsiteY12" fmla="*/ 717673 h 1952638"/>
                  <a:gd name="connsiteX13" fmla="*/ 304201 w 1034669"/>
                  <a:gd name="connsiteY13" fmla="*/ 864817 h 1952638"/>
                  <a:gd name="connsiteX14" fmla="*/ 362006 w 1034669"/>
                  <a:gd name="connsiteY14" fmla="*/ 1075023 h 1952638"/>
                  <a:gd name="connsiteX15" fmla="*/ 293690 w 1034669"/>
                  <a:gd name="connsiteY15" fmla="*/ 1348293 h 1952638"/>
                  <a:gd name="connsiteX16" fmla="*/ 172821 w 1034669"/>
                  <a:gd name="connsiteY16" fmla="*/ 1716155 h 1952638"/>
                  <a:gd name="connsiteX17" fmla="*/ 330476 w 1034669"/>
                  <a:gd name="connsiteY17" fmla="*/ 1952638 h 1952638"/>
                  <a:gd name="connsiteX0" fmla="*/ 330344 w 1034537"/>
                  <a:gd name="connsiteY0" fmla="*/ 2219505 h 2219505"/>
                  <a:gd name="connsiteX1" fmla="*/ 608868 w 1034537"/>
                  <a:gd name="connsiteY1" fmla="*/ 1967257 h 2219505"/>
                  <a:gd name="connsiteX2" fmla="*/ 593102 w 1034537"/>
                  <a:gd name="connsiteY2" fmla="*/ 1946236 h 2219505"/>
                  <a:gd name="connsiteX3" fmla="*/ 713971 w 1034537"/>
                  <a:gd name="connsiteY3" fmla="*/ 1830622 h 2219505"/>
                  <a:gd name="connsiteX4" fmla="*/ 750758 w 1034537"/>
                  <a:gd name="connsiteY4" fmla="*/ 1862153 h 2219505"/>
                  <a:gd name="connsiteX5" fmla="*/ 1034537 w 1034537"/>
                  <a:gd name="connsiteY5" fmla="*/ 1615160 h 2219505"/>
                  <a:gd name="connsiteX6" fmla="*/ 487999 w 1034537"/>
                  <a:gd name="connsiteY6" fmla="*/ 837395 h 2219505"/>
                  <a:gd name="connsiteX7" fmla="*/ 356621 w 1034537"/>
                  <a:gd name="connsiteY7" fmla="*/ 774332 h 2219505"/>
                  <a:gd name="connsiteX8" fmla="*/ 194692 w 1034537"/>
                  <a:gd name="connsiteY8" fmla="*/ 579919 h 2219505"/>
                  <a:gd name="connsiteX9" fmla="*/ 340341 w 1034537"/>
                  <a:gd name="connsiteY9" fmla="*/ 49 h 2219505"/>
                  <a:gd name="connsiteX10" fmla="*/ 310 w 1034537"/>
                  <a:gd name="connsiteY10" fmla="*/ 545594 h 2219505"/>
                  <a:gd name="connsiteX11" fmla="*/ 167434 w 1034537"/>
                  <a:gd name="connsiteY11" fmla="*/ 832140 h 2219505"/>
                  <a:gd name="connsiteX12" fmla="*/ 214731 w 1034537"/>
                  <a:gd name="connsiteY12" fmla="*/ 984540 h 2219505"/>
                  <a:gd name="connsiteX13" fmla="*/ 304069 w 1034537"/>
                  <a:gd name="connsiteY13" fmla="*/ 1131684 h 2219505"/>
                  <a:gd name="connsiteX14" fmla="*/ 361874 w 1034537"/>
                  <a:gd name="connsiteY14" fmla="*/ 1341890 h 2219505"/>
                  <a:gd name="connsiteX15" fmla="*/ 293558 w 1034537"/>
                  <a:gd name="connsiteY15" fmla="*/ 1615160 h 2219505"/>
                  <a:gd name="connsiteX16" fmla="*/ 172689 w 1034537"/>
                  <a:gd name="connsiteY16" fmla="*/ 1983022 h 2219505"/>
                  <a:gd name="connsiteX17" fmla="*/ 330344 w 1034537"/>
                  <a:gd name="connsiteY17" fmla="*/ 2219505 h 2219505"/>
                  <a:gd name="connsiteX0" fmla="*/ 330034 w 1034227"/>
                  <a:gd name="connsiteY0" fmla="*/ 2219511 h 2219511"/>
                  <a:gd name="connsiteX1" fmla="*/ 608558 w 1034227"/>
                  <a:gd name="connsiteY1" fmla="*/ 1967263 h 2219511"/>
                  <a:gd name="connsiteX2" fmla="*/ 592792 w 1034227"/>
                  <a:gd name="connsiteY2" fmla="*/ 1946242 h 2219511"/>
                  <a:gd name="connsiteX3" fmla="*/ 713661 w 1034227"/>
                  <a:gd name="connsiteY3" fmla="*/ 1830628 h 2219511"/>
                  <a:gd name="connsiteX4" fmla="*/ 750448 w 1034227"/>
                  <a:gd name="connsiteY4" fmla="*/ 1862159 h 2219511"/>
                  <a:gd name="connsiteX5" fmla="*/ 1034227 w 1034227"/>
                  <a:gd name="connsiteY5" fmla="*/ 1615166 h 2219511"/>
                  <a:gd name="connsiteX6" fmla="*/ 487689 w 1034227"/>
                  <a:gd name="connsiteY6" fmla="*/ 837401 h 2219511"/>
                  <a:gd name="connsiteX7" fmla="*/ 356311 w 1034227"/>
                  <a:gd name="connsiteY7" fmla="*/ 774338 h 2219511"/>
                  <a:gd name="connsiteX8" fmla="*/ 194382 w 1034227"/>
                  <a:gd name="connsiteY8" fmla="*/ 579925 h 2219511"/>
                  <a:gd name="connsiteX9" fmla="*/ 340031 w 1034227"/>
                  <a:gd name="connsiteY9" fmla="*/ 55 h 2219511"/>
                  <a:gd name="connsiteX10" fmla="*/ 0 w 1034227"/>
                  <a:gd name="connsiteY10" fmla="*/ 545600 h 2219511"/>
                  <a:gd name="connsiteX11" fmla="*/ 58439 w 1034227"/>
                  <a:gd name="connsiteY11" fmla="*/ 671968 h 2219511"/>
                  <a:gd name="connsiteX12" fmla="*/ 167124 w 1034227"/>
                  <a:gd name="connsiteY12" fmla="*/ 832146 h 2219511"/>
                  <a:gd name="connsiteX13" fmla="*/ 214421 w 1034227"/>
                  <a:gd name="connsiteY13" fmla="*/ 984546 h 2219511"/>
                  <a:gd name="connsiteX14" fmla="*/ 303759 w 1034227"/>
                  <a:gd name="connsiteY14" fmla="*/ 1131690 h 2219511"/>
                  <a:gd name="connsiteX15" fmla="*/ 361564 w 1034227"/>
                  <a:gd name="connsiteY15" fmla="*/ 1341896 h 2219511"/>
                  <a:gd name="connsiteX16" fmla="*/ 293248 w 1034227"/>
                  <a:gd name="connsiteY16" fmla="*/ 1615166 h 2219511"/>
                  <a:gd name="connsiteX17" fmla="*/ 172379 w 1034227"/>
                  <a:gd name="connsiteY17" fmla="*/ 1983028 h 2219511"/>
                  <a:gd name="connsiteX18" fmla="*/ 330034 w 1034227"/>
                  <a:gd name="connsiteY18" fmla="*/ 2219511 h 2219511"/>
                  <a:gd name="connsiteX0" fmla="*/ 330034 w 1034227"/>
                  <a:gd name="connsiteY0" fmla="*/ 2219511 h 2219511"/>
                  <a:gd name="connsiteX1" fmla="*/ 608558 w 1034227"/>
                  <a:gd name="connsiteY1" fmla="*/ 1967263 h 2219511"/>
                  <a:gd name="connsiteX2" fmla="*/ 592792 w 1034227"/>
                  <a:gd name="connsiteY2" fmla="*/ 1946242 h 2219511"/>
                  <a:gd name="connsiteX3" fmla="*/ 713661 w 1034227"/>
                  <a:gd name="connsiteY3" fmla="*/ 1830628 h 2219511"/>
                  <a:gd name="connsiteX4" fmla="*/ 750448 w 1034227"/>
                  <a:gd name="connsiteY4" fmla="*/ 1862159 h 2219511"/>
                  <a:gd name="connsiteX5" fmla="*/ 1034227 w 1034227"/>
                  <a:gd name="connsiteY5" fmla="*/ 1615166 h 2219511"/>
                  <a:gd name="connsiteX6" fmla="*/ 487689 w 1034227"/>
                  <a:gd name="connsiteY6" fmla="*/ 837401 h 2219511"/>
                  <a:gd name="connsiteX7" fmla="*/ 356311 w 1034227"/>
                  <a:gd name="connsiteY7" fmla="*/ 774338 h 2219511"/>
                  <a:gd name="connsiteX8" fmla="*/ 194382 w 1034227"/>
                  <a:gd name="connsiteY8" fmla="*/ 579925 h 2219511"/>
                  <a:gd name="connsiteX9" fmla="*/ 340031 w 1034227"/>
                  <a:gd name="connsiteY9" fmla="*/ 55 h 2219511"/>
                  <a:gd name="connsiteX10" fmla="*/ 0 w 1034227"/>
                  <a:gd name="connsiteY10" fmla="*/ 545600 h 2219511"/>
                  <a:gd name="connsiteX11" fmla="*/ 179 w 1034227"/>
                  <a:gd name="connsiteY11" fmla="*/ 699581 h 2219511"/>
                  <a:gd name="connsiteX12" fmla="*/ 167124 w 1034227"/>
                  <a:gd name="connsiteY12" fmla="*/ 832146 h 2219511"/>
                  <a:gd name="connsiteX13" fmla="*/ 214421 w 1034227"/>
                  <a:gd name="connsiteY13" fmla="*/ 984546 h 2219511"/>
                  <a:gd name="connsiteX14" fmla="*/ 303759 w 1034227"/>
                  <a:gd name="connsiteY14" fmla="*/ 1131690 h 2219511"/>
                  <a:gd name="connsiteX15" fmla="*/ 361564 w 1034227"/>
                  <a:gd name="connsiteY15" fmla="*/ 1341896 h 2219511"/>
                  <a:gd name="connsiteX16" fmla="*/ 293248 w 1034227"/>
                  <a:gd name="connsiteY16" fmla="*/ 1615166 h 2219511"/>
                  <a:gd name="connsiteX17" fmla="*/ 172379 w 1034227"/>
                  <a:gd name="connsiteY17" fmla="*/ 1983028 h 2219511"/>
                  <a:gd name="connsiteX18" fmla="*/ 330034 w 1034227"/>
                  <a:gd name="connsiteY18" fmla="*/ 2219511 h 2219511"/>
                  <a:gd name="connsiteX0" fmla="*/ 339744 w 1043937"/>
                  <a:gd name="connsiteY0" fmla="*/ 2219566 h 2219566"/>
                  <a:gd name="connsiteX1" fmla="*/ 618268 w 1043937"/>
                  <a:gd name="connsiteY1" fmla="*/ 1967318 h 2219566"/>
                  <a:gd name="connsiteX2" fmla="*/ 602502 w 1043937"/>
                  <a:gd name="connsiteY2" fmla="*/ 1946297 h 2219566"/>
                  <a:gd name="connsiteX3" fmla="*/ 723371 w 1043937"/>
                  <a:gd name="connsiteY3" fmla="*/ 1830683 h 2219566"/>
                  <a:gd name="connsiteX4" fmla="*/ 760158 w 1043937"/>
                  <a:gd name="connsiteY4" fmla="*/ 1862214 h 2219566"/>
                  <a:gd name="connsiteX5" fmla="*/ 1043937 w 1043937"/>
                  <a:gd name="connsiteY5" fmla="*/ 1615221 h 2219566"/>
                  <a:gd name="connsiteX6" fmla="*/ 497399 w 1043937"/>
                  <a:gd name="connsiteY6" fmla="*/ 837456 h 2219566"/>
                  <a:gd name="connsiteX7" fmla="*/ 366021 w 1043937"/>
                  <a:gd name="connsiteY7" fmla="*/ 774393 h 2219566"/>
                  <a:gd name="connsiteX8" fmla="*/ 204092 w 1043937"/>
                  <a:gd name="connsiteY8" fmla="*/ 579980 h 2219566"/>
                  <a:gd name="connsiteX9" fmla="*/ 349741 w 1043937"/>
                  <a:gd name="connsiteY9" fmla="*/ 110 h 2219566"/>
                  <a:gd name="connsiteX10" fmla="*/ 0 w 1043937"/>
                  <a:gd name="connsiteY10" fmla="*/ 324752 h 2219566"/>
                  <a:gd name="connsiteX11" fmla="*/ 9889 w 1043937"/>
                  <a:gd name="connsiteY11" fmla="*/ 699636 h 2219566"/>
                  <a:gd name="connsiteX12" fmla="*/ 176834 w 1043937"/>
                  <a:gd name="connsiteY12" fmla="*/ 832201 h 2219566"/>
                  <a:gd name="connsiteX13" fmla="*/ 224131 w 1043937"/>
                  <a:gd name="connsiteY13" fmla="*/ 984601 h 2219566"/>
                  <a:gd name="connsiteX14" fmla="*/ 313469 w 1043937"/>
                  <a:gd name="connsiteY14" fmla="*/ 1131745 h 2219566"/>
                  <a:gd name="connsiteX15" fmla="*/ 371274 w 1043937"/>
                  <a:gd name="connsiteY15" fmla="*/ 1341951 h 2219566"/>
                  <a:gd name="connsiteX16" fmla="*/ 302958 w 1043937"/>
                  <a:gd name="connsiteY16" fmla="*/ 1615221 h 2219566"/>
                  <a:gd name="connsiteX17" fmla="*/ 182089 w 1043937"/>
                  <a:gd name="connsiteY17" fmla="*/ 1983083 h 2219566"/>
                  <a:gd name="connsiteX18" fmla="*/ 339744 w 1043937"/>
                  <a:gd name="connsiteY18" fmla="*/ 2219566 h 2219566"/>
                  <a:gd name="connsiteX0" fmla="*/ 339744 w 1043937"/>
                  <a:gd name="connsiteY0" fmla="*/ 2265568 h 2265568"/>
                  <a:gd name="connsiteX1" fmla="*/ 618268 w 1043937"/>
                  <a:gd name="connsiteY1" fmla="*/ 2013320 h 2265568"/>
                  <a:gd name="connsiteX2" fmla="*/ 602502 w 1043937"/>
                  <a:gd name="connsiteY2" fmla="*/ 1992299 h 2265568"/>
                  <a:gd name="connsiteX3" fmla="*/ 723371 w 1043937"/>
                  <a:gd name="connsiteY3" fmla="*/ 1876685 h 2265568"/>
                  <a:gd name="connsiteX4" fmla="*/ 760158 w 1043937"/>
                  <a:gd name="connsiteY4" fmla="*/ 1908216 h 2265568"/>
                  <a:gd name="connsiteX5" fmla="*/ 1043937 w 1043937"/>
                  <a:gd name="connsiteY5" fmla="*/ 1661223 h 2265568"/>
                  <a:gd name="connsiteX6" fmla="*/ 497399 w 1043937"/>
                  <a:gd name="connsiteY6" fmla="*/ 883458 h 2265568"/>
                  <a:gd name="connsiteX7" fmla="*/ 366021 w 1043937"/>
                  <a:gd name="connsiteY7" fmla="*/ 820395 h 2265568"/>
                  <a:gd name="connsiteX8" fmla="*/ 204092 w 1043937"/>
                  <a:gd name="connsiteY8" fmla="*/ 625982 h 2265568"/>
                  <a:gd name="connsiteX9" fmla="*/ 301191 w 1043937"/>
                  <a:gd name="connsiteY9" fmla="*/ 91 h 2265568"/>
                  <a:gd name="connsiteX10" fmla="*/ 0 w 1043937"/>
                  <a:gd name="connsiteY10" fmla="*/ 370754 h 2265568"/>
                  <a:gd name="connsiteX11" fmla="*/ 9889 w 1043937"/>
                  <a:gd name="connsiteY11" fmla="*/ 745638 h 2265568"/>
                  <a:gd name="connsiteX12" fmla="*/ 176834 w 1043937"/>
                  <a:gd name="connsiteY12" fmla="*/ 878203 h 2265568"/>
                  <a:gd name="connsiteX13" fmla="*/ 224131 w 1043937"/>
                  <a:gd name="connsiteY13" fmla="*/ 1030603 h 2265568"/>
                  <a:gd name="connsiteX14" fmla="*/ 313469 w 1043937"/>
                  <a:gd name="connsiteY14" fmla="*/ 1177747 h 2265568"/>
                  <a:gd name="connsiteX15" fmla="*/ 371274 w 1043937"/>
                  <a:gd name="connsiteY15" fmla="*/ 1387953 h 2265568"/>
                  <a:gd name="connsiteX16" fmla="*/ 302958 w 1043937"/>
                  <a:gd name="connsiteY16" fmla="*/ 1661223 h 2265568"/>
                  <a:gd name="connsiteX17" fmla="*/ 182089 w 1043937"/>
                  <a:gd name="connsiteY17" fmla="*/ 2029085 h 2265568"/>
                  <a:gd name="connsiteX18" fmla="*/ 339744 w 1043937"/>
                  <a:gd name="connsiteY18" fmla="*/ 2265568 h 2265568"/>
                  <a:gd name="connsiteX0" fmla="*/ 339744 w 1043937"/>
                  <a:gd name="connsiteY0" fmla="*/ 2270078 h 2270078"/>
                  <a:gd name="connsiteX1" fmla="*/ 618268 w 1043937"/>
                  <a:gd name="connsiteY1" fmla="*/ 2017830 h 2270078"/>
                  <a:gd name="connsiteX2" fmla="*/ 602502 w 1043937"/>
                  <a:gd name="connsiteY2" fmla="*/ 1996809 h 2270078"/>
                  <a:gd name="connsiteX3" fmla="*/ 723371 w 1043937"/>
                  <a:gd name="connsiteY3" fmla="*/ 1881195 h 2270078"/>
                  <a:gd name="connsiteX4" fmla="*/ 760158 w 1043937"/>
                  <a:gd name="connsiteY4" fmla="*/ 1912726 h 2270078"/>
                  <a:gd name="connsiteX5" fmla="*/ 1043937 w 1043937"/>
                  <a:gd name="connsiteY5" fmla="*/ 1665733 h 2270078"/>
                  <a:gd name="connsiteX6" fmla="*/ 497399 w 1043937"/>
                  <a:gd name="connsiteY6" fmla="*/ 887968 h 2270078"/>
                  <a:gd name="connsiteX7" fmla="*/ 366021 w 1043937"/>
                  <a:gd name="connsiteY7" fmla="*/ 824905 h 2270078"/>
                  <a:gd name="connsiteX8" fmla="*/ 204092 w 1043937"/>
                  <a:gd name="connsiteY8" fmla="*/ 630492 h 2270078"/>
                  <a:gd name="connsiteX9" fmla="*/ 262351 w 1043937"/>
                  <a:gd name="connsiteY9" fmla="*/ 197892 h 2270078"/>
                  <a:gd name="connsiteX10" fmla="*/ 301191 w 1043937"/>
                  <a:gd name="connsiteY10" fmla="*/ 4601 h 2270078"/>
                  <a:gd name="connsiteX11" fmla="*/ 0 w 1043937"/>
                  <a:gd name="connsiteY11" fmla="*/ 375264 h 2270078"/>
                  <a:gd name="connsiteX12" fmla="*/ 9889 w 1043937"/>
                  <a:gd name="connsiteY12" fmla="*/ 750148 h 2270078"/>
                  <a:gd name="connsiteX13" fmla="*/ 176834 w 1043937"/>
                  <a:gd name="connsiteY13" fmla="*/ 882713 h 2270078"/>
                  <a:gd name="connsiteX14" fmla="*/ 224131 w 1043937"/>
                  <a:gd name="connsiteY14" fmla="*/ 1035113 h 2270078"/>
                  <a:gd name="connsiteX15" fmla="*/ 313469 w 1043937"/>
                  <a:gd name="connsiteY15" fmla="*/ 1182257 h 2270078"/>
                  <a:gd name="connsiteX16" fmla="*/ 371274 w 1043937"/>
                  <a:gd name="connsiteY16" fmla="*/ 1392463 h 2270078"/>
                  <a:gd name="connsiteX17" fmla="*/ 302958 w 1043937"/>
                  <a:gd name="connsiteY17" fmla="*/ 1665733 h 2270078"/>
                  <a:gd name="connsiteX18" fmla="*/ 182089 w 1043937"/>
                  <a:gd name="connsiteY18" fmla="*/ 2033595 h 2270078"/>
                  <a:gd name="connsiteX19" fmla="*/ 339744 w 1043937"/>
                  <a:gd name="connsiteY19" fmla="*/ 2270078 h 2270078"/>
                  <a:gd name="connsiteX0" fmla="*/ 339744 w 1043937"/>
                  <a:gd name="connsiteY0" fmla="*/ 2338900 h 2338900"/>
                  <a:gd name="connsiteX1" fmla="*/ 618268 w 1043937"/>
                  <a:gd name="connsiteY1" fmla="*/ 2086652 h 2338900"/>
                  <a:gd name="connsiteX2" fmla="*/ 602502 w 1043937"/>
                  <a:gd name="connsiteY2" fmla="*/ 2065631 h 2338900"/>
                  <a:gd name="connsiteX3" fmla="*/ 723371 w 1043937"/>
                  <a:gd name="connsiteY3" fmla="*/ 1950017 h 2338900"/>
                  <a:gd name="connsiteX4" fmla="*/ 760158 w 1043937"/>
                  <a:gd name="connsiteY4" fmla="*/ 1981548 h 2338900"/>
                  <a:gd name="connsiteX5" fmla="*/ 1043937 w 1043937"/>
                  <a:gd name="connsiteY5" fmla="*/ 1734555 h 2338900"/>
                  <a:gd name="connsiteX6" fmla="*/ 497399 w 1043937"/>
                  <a:gd name="connsiteY6" fmla="*/ 956790 h 2338900"/>
                  <a:gd name="connsiteX7" fmla="*/ 366021 w 1043937"/>
                  <a:gd name="connsiteY7" fmla="*/ 893727 h 2338900"/>
                  <a:gd name="connsiteX8" fmla="*/ 204092 w 1043937"/>
                  <a:gd name="connsiteY8" fmla="*/ 699314 h 2338900"/>
                  <a:gd name="connsiteX9" fmla="*/ 602201 w 1043937"/>
                  <a:gd name="connsiteY9" fmla="*/ 45811 h 2338900"/>
                  <a:gd name="connsiteX10" fmla="*/ 301191 w 1043937"/>
                  <a:gd name="connsiteY10" fmla="*/ 73423 h 2338900"/>
                  <a:gd name="connsiteX11" fmla="*/ 0 w 1043937"/>
                  <a:gd name="connsiteY11" fmla="*/ 444086 h 2338900"/>
                  <a:gd name="connsiteX12" fmla="*/ 9889 w 1043937"/>
                  <a:gd name="connsiteY12" fmla="*/ 818970 h 2338900"/>
                  <a:gd name="connsiteX13" fmla="*/ 176834 w 1043937"/>
                  <a:gd name="connsiteY13" fmla="*/ 951535 h 2338900"/>
                  <a:gd name="connsiteX14" fmla="*/ 224131 w 1043937"/>
                  <a:gd name="connsiteY14" fmla="*/ 1103935 h 2338900"/>
                  <a:gd name="connsiteX15" fmla="*/ 313469 w 1043937"/>
                  <a:gd name="connsiteY15" fmla="*/ 1251079 h 2338900"/>
                  <a:gd name="connsiteX16" fmla="*/ 371274 w 1043937"/>
                  <a:gd name="connsiteY16" fmla="*/ 1461285 h 2338900"/>
                  <a:gd name="connsiteX17" fmla="*/ 302958 w 1043937"/>
                  <a:gd name="connsiteY17" fmla="*/ 1734555 h 2338900"/>
                  <a:gd name="connsiteX18" fmla="*/ 182089 w 1043937"/>
                  <a:gd name="connsiteY18" fmla="*/ 2102417 h 2338900"/>
                  <a:gd name="connsiteX19" fmla="*/ 339744 w 1043937"/>
                  <a:gd name="connsiteY19" fmla="*/ 2338900 h 2338900"/>
                  <a:gd name="connsiteX0" fmla="*/ 339744 w 1043937"/>
                  <a:gd name="connsiteY0" fmla="*/ 2280376 h 2280376"/>
                  <a:gd name="connsiteX1" fmla="*/ 618268 w 1043937"/>
                  <a:gd name="connsiteY1" fmla="*/ 2028128 h 2280376"/>
                  <a:gd name="connsiteX2" fmla="*/ 602502 w 1043937"/>
                  <a:gd name="connsiteY2" fmla="*/ 2007107 h 2280376"/>
                  <a:gd name="connsiteX3" fmla="*/ 723371 w 1043937"/>
                  <a:gd name="connsiteY3" fmla="*/ 1891493 h 2280376"/>
                  <a:gd name="connsiteX4" fmla="*/ 760158 w 1043937"/>
                  <a:gd name="connsiteY4" fmla="*/ 1923024 h 2280376"/>
                  <a:gd name="connsiteX5" fmla="*/ 1043937 w 1043937"/>
                  <a:gd name="connsiteY5" fmla="*/ 1676031 h 2280376"/>
                  <a:gd name="connsiteX6" fmla="*/ 497399 w 1043937"/>
                  <a:gd name="connsiteY6" fmla="*/ 898266 h 2280376"/>
                  <a:gd name="connsiteX7" fmla="*/ 366021 w 1043937"/>
                  <a:gd name="connsiteY7" fmla="*/ 835203 h 2280376"/>
                  <a:gd name="connsiteX8" fmla="*/ 204092 w 1043937"/>
                  <a:gd name="connsiteY8" fmla="*/ 640790 h 2280376"/>
                  <a:gd name="connsiteX9" fmla="*/ 534231 w 1043937"/>
                  <a:gd name="connsiteY9" fmla="*/ 97738 h 2280376"/>
                  <a:gd name="connsiteX10" fmla="*/ 301191 w 1043937"/>
                  <a:gd name="connsiteY10" fmla="*/ 14899 h 2280376"/>
                  <a:gd name="connsiteX11" fmla="*/ 0 w 1043937"/>
                  <a:gd name="connsiteY11" fmla="*/ 385562 h 2280376"/>
                  <a:gd name="connsiteX12" fmla="*/ 9889 w 1043937"/>
                  <a:gd name="connsiteY12" fmla="*/ 760446 h 2280376"/>
                  <a:gd name="connsiteX13" fmla="*/ 176834 w 1043937"/>
                  <a:gd name="connsiteY13" fmla="*/ 893011 h 2280376"/>
                  <a:gd name="connsiteX14" fmla="*/ 224131 w 1043937"/>
                  <a:gd name="connsiteY14" fmla="*/ 1045411 h 2280376"/>
                  <a:gd name="connsiteX15" fmla="*/ 313469 w 1043937"/>
                  <a:gd name="connsiteY15" fmla="*/ 1192555 h 2280376"/>
                  <a:gd name="connsiteX16" fmla="*/ 371274 w 1043937"/>
                  <a:gd name="connsiteY16" fmla="*/ 1402761 h 2280376"/>
                  <a:gd name="connsiteX17" fmla="*/ 302958 w 1043937"/>
                  <a:gd name="connsiteY17" fmla="*/ 1676031 h 2280376"/>
                  <a:gd name="connsiteX18" fmla="*/ 182089 w 1043937"/>
                  <a:gd name="connsiteY18" fmla="*/ 2043893 h 2280376"/>
                  <a:gd name="connsiteX19" fmla="*/ 339744 w 1043937"/>
                  <a:gd name="connsiteY19" fmla="*/ 2280376 h 2280376"/>
                  <a:gd name="connsiteX0" fmla="*/ 339744 w 1043937"/>
                  <a:gd name="connsiteY0" fmla="*/ 2292936 h 2292936"/>
                  <a:gd name="connsiteX1" fmla="*/ 618268 w 1043937"/>
                  <a:gd name="connsiteY1" fmla="*/ 2040688 h 2292936"/>
                  <a:gd name="connsiteX2" fmla="*/ 602502 w 1043937"/>
                  <a:gd name="connsiteY2" fmla="*/ 2019667 h 2292936"/>
                  <a:gd name="connsiteX3" fmla="*/ 723371 w 1043937"/>
                  <a:gd name="connsiteY3" fmla="*/ 1904053 h 2292936"/>
                  <a:gd name="connsiteX4" fmla="*/ 760158 w 1043937"/>
                  <a:gd name="connsiteY4" fmla="*/ 1935584 h 2292936"/>
                  <a:gd name="connsiteX5" fmla="*/ 1043937 w 1043937"/>
                  <a:gd name="connsiteY5" fmla="*/ 1688591 h 2292936"/>
                  <a:gd name="connsiteX6" fmla="*/ 497399 w 1043937"/>
                  <a:gd name="connsiteY6" fmla="*/ 910826 h 2292936"/>
                  <a:gd name="connsiteX7" fmla="*/ 366021 w 1043937"/>
                  <a:gd name="connsiteY7" fmla="*/ 847763 h 2292936"/>
                  <a:gd name="connsiteX8" fmla="*/ 204092 w 1043937"/>
                  <a:gd name="connsiteY8" fmla="*/ 653350 h 2292936"/>
                  <a:gd name="connsiteX9" fmla="*/ 534231 w 1043937"/>
                  <a:gd name="connsiteY9" fmla="*/ 110298 h 2292936"/>
                  <a:gd name="connsiteX10" fmla="*/ 466261 w 1043937"/>
                  <a:gd name="connsiteY10" fmla="*/ 36664 h 2292936"/>
                  <a:gd name="connsiteX11" fmla="*/ 301191 w 1043937"/>
                  <a:gd name="connsiteY11" fmla="*/ 27459 h 2292936"/>
                  <a:gd name="connsiteX12" fmla="*/ 0 w 1043937"/>
                  <a:gd name="connsiteY12" fmla="*/ 398122 h 2292936"/>
                  <a:gd name="connsiteX13" fmla="*/ 9889 w 1043937"/>
                  <a:gd name="connsiteY13" fmla="*/ 773006 h 2292936"/>
                  <a:gd name="connsiteX14" fmla="*/ 176834 w 1043937"/>
                  <a:gd name="connsiteY14" fmla="*/ 905571 h 2292936"/>
                  <a:gd name="connsiteX15" fmla="*/ 224131 w 1043937"/>
                  <a:gd name="connsiteY15" fmla="*/ 1057971 h 2292936"/>
                  <a:gd name="connsiteX16" fmla="*/ 313469 w 1043937"/>
                  <a:gd name="connsiteY16" fmla="*/ 1205115 h 2292936"/>
                  <a:gd name="connsiteX17" fmla="*/ 371274 w 1043937"/>
                  <a:gd name="connsiteY17" fmla="*/ 1415321 h 2292936"/>
                  <a:gd name="connsiteX18" fmla="*/ 302958 w 1043937"/>
                  <a:gd name="connsiteY18" fmla="*/ 1688591 h 2292936"/>
                  <a:gd name="connsiteX19" fmla="*/ 182089 w 1043937"/>
                  <a:gd name="connsiteY19" fmla="*/ 2056453 h 2292936"/>
                  <a:gd name="connsiteX20" fmla="*/ 339744 w 1043937"/>
                  <a:gd name="connsiteY20" fmla="*/ 2292936 h 2292936"/>
                  <a:gd name="connsiteX0" fmla="*/ 339744 w 1043937"/>
                  <a:gd name="connsiteY0" fmla="*/ 2307151 h 2307151"/>
                  <a:gd name="connsiteX1" fmla="*/ 618268 w 1043937"/>
                  <a:gd name="connsiteY1" fmla="*/ 2054903 h 2307151"/>
                  <a:gd name="connsiteX2" fmla="*/ 602502 w 1043937"/>
                  <a:gd name="connsiteY2" fmla="*/ 2033882 h 2307151"/>
                  <a:gd name="connsiteX3" fmla="*/ 723371 w 1043937"/>
                  <a:gd name="connsiteY3" fmla="*/ 1918268 h 2307151"/>
                  <a:gd name="connsiteX4" fmla="*/ 760158 w 1043937"/>
                  <a:gd name="connsiteY4" fmla="*/ 1949799 h 2307151"/>
                  <a:gd name="connsiteX5" fmla="*/ 1043937 w 1043937"/>
                  <a:gd name="connsiteY5" fmla="*/ 1702806 h 2307151"/>
                  <a:gd name="connsiteX6" fmla="*/ 497399 w 1043937"/>
                  <a:gd name="connsiteY6" fmla="*/ 925041 h 2307151"/>
                  <a:gd name="connsiteX7" fmla="*/ 366021 w 1043937"/>
                  <a:gd name="connsiteY7" fmla="*/ 861978 h 2307151"/>
                  <a:gd name="connsiteX8" fmla="*/ 204092 w 1043937"/>
                  <a:gd name="connsiteY8" fmla="*/ 667565 h 2307151"/>
                  <a:gd name="connsiteX9" fmla="*/ 534231 w 1043937"/>
                  <a:gd name="connsiteY9" fmla="*/ 124513 h 2307151"/>
                  <a:gd name="connsiteX10" fmla="*/ 611911 w 1043937"/>
                  <a:gd name="connsiteY10" fmla="*/ 14062 h 2307151"/>
                  <a:gd name="connsiteX11" fmla="*/ 301191 w 1043937"/>
                  <a:gd name="connsiteY11" fmla="*/ 41674 h 2307151"/>
                  <a:gd name="connsiteX12" fmla="*/ 0 w 1043937"/>
                  <a:gd name="connsiteY12" fmla="*/ 412337 h 2307151"/>
                  <a:gd name="connsiteX13" fmla="*/ 9889 w 1043937"/>
                  <a:gd name="connsiteY13" fmla="*/ 787221 h 2307151"/>
                  <a:gd name="connsiteX14" fmla="*/ 176834 w 1043937"/>
                  <a:gd name="connsiteY14" fmla="*/ 919786 h 2307151"/>
                  <a:gd name="connsiteX15" fmla="*/ 224131 w 1043937"/>
                  <a:gd name="connsiteY15" fmla="*/ 1072186 h 2307151"/>
                  <a:gd name="connsiteX16" fmla="*/ 313469 w 1043937"/>
                  <a:gd name="connsiteY16" fmla="*/ 1219330 h 2307151"/>
                  <a:gd name="connsiteX17" fmla="*/ 371274 w 1043937"/>
                  <a:gd name="connsiteY17" fmla="*/ 1429536 h 2307151"/>
                  <a:gd name="connsiteX18" fmla="*/ 302958 w 1043937"/>
                  <a:gd name="connsiteY18" fmla="*/ 1702806 h 2307151"/>
                  <a:gd name="connsiteX19" fmla="*/ 182089 w 1043937"/>
                  <a:gd name="connsiteY19" fmla="*/ 2070668 h 2307151"/>
                  <a:gd name="connsiteX20" fmla="*/ 339744 w 1043937"/>
                  <a:gd name="connsiteY20" fmla="*/ 2307151 h 2307151"/>
                  <a:gd name="connsiteX0" fmla="*/ 339744 w 1043937"/>
                  <a:gd name="connsiteY0" fmla="*/ 2298758 h 2298758"/>
                  <a:gd name="connsiteX1" fmla="*/ 618268 w 1043937"/>
                  <a:gd name="connsiteY1" fmla="*/ 2046510 h 2298758"/>
                  <a:gd name="connsiteX2" fmla="*/ 602502 w 1043937"/>
                  <a:gd name="connsiteY2" fmla="*/ 2025489 h 2298758"/>
                  <a:gd name="connsiteX3" fmla="*/ 723371 w 1043937"/>
                  <a:gd name="connsiteY3" fmla="*/ 1909875 h 2298758"/>
                  <a:gd name="connsiteX4" fmla="*/ 760158 w 1043937"/>
                  <a:gd name="connsiteY4" fmla="*/ 1941406 h 2298758"/>
                  <a:gd name="connsiteX5" fmla="*/ 1043937 w 1043937"/>
                  <a:gd name="connsiteY5" fmla="*/ 1694413 h 2298758"/>
                  <a:gd name="connsiteX6" fmla="*/ 497399 w 1043937"/>
                  <a:gd name="connsiteY6" fmla="*/ 916648 h 2298758"/>
                  <a:gd name="connsiteX7" fmla="*/ 366021 w 1043937"/>
                  <a:gd name="connsiteY7" fmla="*/ 853585 h 2298758"/>
                  <a:gd name="connsiteX8" fmla="*/ 204092 w 1043937"/>
                  <a:gd name="connsiteY8" fmla="*/ 659172 h 2298758"/>
                  <a:gd name="connsiteX9" fmla="*/ 534231 w 1043937"/>
                  <a:gd name="connsiteY9" fmla="*/ 116120 h 2298758"/>
                  <a:gd name="connsiteX10" fmla="*/ 592491 w 1043937"/>
                  <a:gd name="connsiteY10" fmla="*/ 24078 h 2298758"/>
                  <a:gd name="connsiteX11" fmla="*/ 301191 w 1043937"/>
                  <a:gd name="connsiteY11" fmla="*/ 33281 h 2298758"/>
                  <a:gd name="connsiteX12" fmla="*/ 0 w 1043937"/>
                  <a:gd name="connsiteY12" fmla="*/ 403944 h 2298758"/>
                  <a:gd name="connsiteX13" fmla="*/ 9889 w 1043937"/>
                  <a:gd name="connsiteY13" fmla="*/ 778828 h 2298758"/>
                  <a:gd name="connsiteX14" fmla="*/ 176834 w 1043937"/>
                  <a:gd name="connsiteY14" fmla="*/ 911393 h 2298758"/>
                  <a:gd name="connsiteX15" fmla="*/ 224131 w 1043937"/>
                  <a:gd name="connsiteY15" fmla="*/ 1063793 h 2298758"/>
                  <a:gd name="connsiteX16" fmla="*/ 313469 w 1043937"/>
                  <a:gd name="connsiteY16" fmla="*/ 1210937 h 2298758"/>
                  <a:gd name="connsiteX17" fmla="*/ 371274 w 1043937"/>
                  <a:gd name="connsiteY17" fmla="*/ 1421143 h 2298758"/>
                  <a:gd name="connsiteX18" fmla="*/ 302958 w 1043937"/>
                  <a:gd name="connsiteY18" fmla="*/ 1694413 h 2298758"/>
                  <a:gd name="connsiteX19" fmla="*/ 182089 w 1043937"/>
                  <a:gd name="connsiteY19" fmla="*/ 2062275 h 2298758"/>
                  <a:gd name="connsiteX20" fmla="*/ 339744 w 1043937"/>
                  <a:gd name="connsiteY20" fmla="*/ 2298758 h 2298758"/>
                  <a:gd name="connsiteX0" fmla="*/ 339744 w 1043937"/>
                  <a:gd name="connsiteY0" fmla="*/ 2298758 h 2298758"/>
                  <a:gd name="connsiteX1" fmla="*/ 618268 w 1043937"/>
                  <a:gd name="connsiteY1" fmla="*/ 2046510 h 2298758"/>
                  <a:gd name="connsiteX2" fmla="*/ 602502 w 1043937"/>
                  <a:gd name="connsiteY2" fmla="*/ 2025489 h 2298758"/>
                  <a:gd name="connsiteX3" fmla="*/ 723371 w 1043937"/>
                  <a:gd name="connsiteY3" fmla="*/ 1909875 h 2298758"/>
                  <a:gd name="connsiteX4" fmla="*/ 760158 w 1043937"/>
                  <a:gd name="connsiteY4" fmla="*/ 1941406 h 2298758"/>
                  <a:gd name="connsiteX5" fmla="*/ 1043937 w 1043937"/>
                  <a:gd name="connsiteY5" fmla="*/ 1694413 h 2298758"/>
                  <a:gd name="connsiteX6" fmla="*/ 497399 w 1043937"/>
                  <a:gd name="connsiteY6" fmla="*/ 916648 h 2298758"/>
                  <a:gd name="connsiteX7" fmla="*/ 366021 w 1043937"/>
                  <a:gd name="connsiteY7" fmla="*/ 853585 h 2298758"/>
                  <a:gd name="connsiteX8" fmla="*/ 204092 w 1043937"/>
                  <a:gd name="connsiteY8" fmla="*/ 659172 h 2298758"/>
                  <a:gd name="connsiteX9" fmla="*/ 514811 w 1043937"/>
                  <a:gd name="connsiteY9" fmla="*/ 180550 h 2298758"/>
                  <a:gd name="connsiteX10" fmla="*/ 592491 w 1043937"/>
                  <a:gd name="connsiteY10" fmla="*/ 24078 h 2298758"/>
                  <a:gd name="connsiteX11" fmla="*/ 301191 w 1043937"/>
                  <a:gd name="connsiteY11" fmla="*/ 33281 h 2298758"/>
                  <a:gd name="connsiteX12" fmla="*/ 0 w 1043937"/>
                  <a:gd name="connsiteY12" fmla="*/ 403944 h 2298758"/>
                  <a:gd name="connsiteX13" fmla="*/ 9889 w 1043937"/>
                  <a:gd name="connsiteY13" fmla="*/ 778828 h 2298758"/>
                  <a:gd name="connsiteX14" fmla="*/ 176834 w 1043937"/>
                  <a:gd name="connsiteY14" fmla="*/ 911393 h 2298758"/>
                  <a:gd name="connsiteX15" fmla="*/ 224131 w 1043937"/>
                  <a:gd name="connsiteY15" fmla="*/ 1063793 h 2298758"/>
                  <a:gd name="connsiteX16" fmla="*/ 313469 w 1043937"/>
                  <a:gd name="connsiteY16" fmla="*/ 1210937 h 2298758"/>
                  <a:gd name="connsiteX17" fmla="*/ 371274 w 1043937"/>
                  <a:gd name="connsiteY17" fmla="*/ 1421143 h 2298758"/>
                  <a:gd name="connsiteX18" fmla="*/ 302958 w 1043937"/>
                  <a:gd name="connsiteY18" fmla="*/ 1694413 h 2298758"/>
                  <a:gd name="connsiteX19" fmla="*/ 182089 w 1043937"/>
                  <a:gd name="connsiteY19" fmla="*/ 2062275 h 2298758"/>
                  <a:gd name="connsiteX20" fmla="*/ 339744 w 1043937"/>
                  <a:gd name="connsiteY20" fmla="*/ 2298758 h 2298758"/>
                  <a:gd name="connsiteX0" fmla="*/ 339744 w 1043937"/>
                  <a:gd name="connsiteY0" fmla="*/ 2298758 h 2298758"/>
                  <a:gd name="connsiteX1" fmla="*/ 618268 w 1043937"/>
                  <a:gd name="connsiteY1" fmla="*/ 2046510 h 2298758"/>
                  <a:gd name="connsiteX2" fmla="*/ 602502 w 1043937"/>
                  <a:gd name="connsiteY2" fmla="*/ 2025489 h 2298758"/>
                  <a:gd name="connsiteX3" fmla="*/ 723371 w 1043937"/>
                  <a:gd name="connsiteY3" fmla="*/ 1909875 h 2298758"/>
                  <a:gd name="connsiteX4" fmla="*/ 760158 w 1043937"/>
                  <a:gd name="connsiteY4" fmla="*/ 1941406 h 2298758"/>
                  <a:gd name="connsiteX5" fmla="*/ 1043937 w 1043937"/>
                  <a:gd name="connsiteY5" fmla="*/ 1694413 h 2298758"/>
                  <a:gd name="connsiteX6" fmla="*/ 497399 w 1043937"/>
                  <a:gd name="connsiteY6" fmla="*/ 916648 h 2298758"/>
                  <a:gd name="connsiteX7" fmla="*/ 366021 w 1043937"/>
                  <a:gd name="connsiteY7" fmla="*/ 853585 h 2298758"/>
                  <a:gd name="connsiteX8" fmla="*/ 204092 w 1043937"/>
                  <a:gd name="connsiteY8" fmla="*/ 659172 h 2298758"/>
                  <a:gd name="connsiteX9" fmla="*/ 369161 w 1043937"/>
                  <a:gd name="connsiteY9" fmla="*/ 392249 h 2298758"/>
                  <a:gd name="connsiteX10" fmla="*/ 514811 w 1043937"/>
                  <a:gd name="connsiteY10" fmla="*/ 180550 h 2298758"/>
                  <a:gd name="connsiteX11" fmla="*/ 592491 w 1043937"/>
                  <a:gd name="connsiteY11" fmla="*/ 24078 h 2298758"/>
                  <a:gd name="connsiteX12" fmla="*/ 301191 w 1043937"/>
                  <a:gd name="connsiteY12" fmla="*/ 33281 h 2298758"/>
                  <a:gd name="connsiteX13" fmla="*/ 0 w 1043937"/>
                  <a:gd name="connsiteY13" fmla="*/ 403944 h 2298758"/>
                  <a:gd name="connsiteX14" fmla="*/ 9889 w 1043937"/>
                  <a:gd name="connsiteY14" fmla="*/ 778828 h 2298758"/>
                  <a:gd name="connsiteX15" fmla="*/ 176834 w 1043937"/>
                  <a:gd name="connsiteY15" fmla="*/ 911393 h 2298758"/>
                  <a:gd name="connsiteX16" fmla="*/ 224131 w 1043937"/>
                  <a:gd name="connsiteY16" fmla="*/ 1063793 h 2298758"/>
                  <a:gd name="connsiteX17" fmla="*/ 313469 w 1043937"/>
                  <a:gd name="connsiteY17" fmla="*/ 1210937 h 2298758"/>
                  <a:gd name="connsiteX18" fmla="*/ 371274 w 1043937"/>
                  <a:gd name="connsiteY18" fmla="*/ 1421143 h 2298758"/>
                  <a:gd name="connsiteX19" fmla="*/ 302958 w 1043937"/>
                  <a:gd name="connsiteY19" fmla="*/ 1694413 h 2298758"/>
                  <a:gd name="connsiteX20" fmla="*/ 182089 w 1043937"/>
                  <a:gd name="connsiteY20" fmla="*/ 2062275 h 2298758"/>
                  <a:gd name="connsiteX21" fmla="*/ 339744 w 1043937"/>
                  <a:gd name="connsiteY21" fmla="*/ 2298758 h 2298758"/>
                  <a:gd name="connsiteX0" fmla="*/ 339744 w 1043937"/>
                  <a:gd name="connsiteY0" fmla="*/ 2298758 h 2298758"/>
                  <a:gd name="connsiteX1" fmla="*/ 618268 w 1043937"/>
                  <a:gd name="connsiteY1" fmla="*/ 2046510 h 2298758"/>
                  <a:gd name="connsiteX2" fmla="*/ 602502 w 1043937"/>
                  <a:gd name="connsiteY2" fmla="*/ 2025489 h 2298758"/>
                  <a:gd name="connsiteX3" fmla="*/ 723371 w 1043937"/>
                  <a:gd name="connsiteY3" fmla="*/ 1909875 h 2298758"/>
                  <a:gd name="connsiteX4" fmla="*/ 760158 w 1043937"/>
                  <a:gd name="connsiteY4" fmla="*/ 1941406 h 2298758"/>
                  <a:gd name="connsiteX5" fmla="*/ 1043937 w 1043937"/>
                  <a:gd name="connsiteY5" fmla="*/ 1694413 h 2298758"/>
                  <a:gd name="connsiteX6" fmla="*/ 497399 w 1043937"/>
                  <a:gd name="connsiteY6" fmla="*/ 916648 h 2298758"/>
                  <a:gd name="connsiteX7" fmla="*/ 366021 w 1043937"/>
                  <a:gd name="connsiteY7" fmla="*/ 853585 h 2298758"/>
                  <a:gd name="connsiteX8" fmla="*/ 204092 w 1043937"/>
                  <a:gd name="connsiteY8" fmla="*/ 659172 h 2298758"/>
                  <a:gd name="connsiteX9" fmla="*/ 320611 w 1043937"/>
                  <a:gd name="connsiteY9" fmla="*/ 383045 h 2298758"/>
                  <a:gd name="connsiteX10" fmla="*/ 514811 w 1043937"/>
                  <a:gd name="connsiteY10" fmla="*/ 180550 h 2298758"/>
                  <a:gd name="connsiteX11" fmla="*/ 592491 w 1043937"/>
                  <a:gd name="connsiteY11" fmla="*/ 24078 h 2298758"/>
                  <a:gd name="connsiteX12" fmla="*/ 301191 w 1043937"/>
                  <a:gd name="connsiteY12" fmla="*/ 33281 h 2298758"/>
                  <a:gd name="connsiteX13" fmla="*/ 0 w 1043937"/>
                  <a:gd name="connsiteY13" fmla="*/ 403944 h 2298758"/>
                  <a:gd name="connsiteX14" fmla="*/ 9889 w 1043937"/>
                  <a:gd name="connsiteY14" fmla="*/ 778828 h 2298758"/>
                  <a:gd name="connsiteX15" fmla="*/ 176834 w 1043937"/>
                  <a:gd name="connsiteY15" fmla="*/ 911393 h 2298758"/>
                  <a:gd name="connsiteX16" fmla="*/ 224131 w 1043937"/>
                  <a:gd name="connsiteY16" fmla="*/ 1063793 h 2298758"/>
                  <a:gd name="connsiteX17" fmla="*/ 313469 w 1043937"/>
                  <a:gd name="connsiteY17" fmla="*/ 1210937 h 2298758"/>
                  <a:gd name="connsiteX18" fmla="*/ 371274 w 1043937"/>
                  <a:gd name="connsiteY18" fmla="*/ 1421143 h 2298758"/>
                  <a:gd name="connsiteX19" fmla="*/ 302958 w 1043937"/>
                  <a:gd name="connsiteY19" fmla="*/ 1694413 h 2298758"/>
                  <a:gd name="connsiteX20" fmla="*/ 182089 w 1043937"/>
                  <a:gd name="connsiteY20" fmla="*/ 2062275 h 2298758"/>
                  <a:gd name="connsiteX21" fmla="*/ 339744 w 1043937"/>
                  <a:gd name="connsiteY21" fmla="*/ 2298758 h 2298758"/>
                  <a:gd name="connsiteX0" fmla="*/ 339744 w 1043937"/>
                  <a:gd name="connsiteY0" fmla="*/ 2298758 h 2298758"/>
                  <a:gd name="connsiteX1" fmla="*/ 618268 w 1043937"/>
                  <a:gd name="connsiteY1" fmla="*/ 2046510 h 2298758"/>
                  <a:gd name="connsiteX2" fmla="*/ 602502 w 1043937"/>
                  <a:gd name="connsiteY2" fmla="*/ 2025489 h 2298758"/>
                  <a:gd name="connsiteX3" fmla="*/ 723371 w 1043937"/>
                  <a:gd name="connsiteY3" fmla="*/ 1909875 h 2298758"/>
                  <a:gd name="connsiteX4" fmla="*/ 760158 w 1043937"/>
                  <a:gd name="connsiteY4" fmla="*/ 1941406 h 2298758"/>
                  <a:gd name="connsiteX5" fmla="*/ 1043937 w 1043937"/>
                  <a:gd name="connsiteY5" fmla="*/ 1694413 h 2298758"/>
                  <a:gd name="connsiteX6" fmla="*/ 497399 w 1043937"/>
                  <a:gd name="connsiteY6" fmla="*/ 916648 h 2298758"/>
                  <a:gd name="connsiteX7" fmla="*/ 366021 w 1043937"/>
                  <a:gd name="connsiteY7" fmla="*/ 853585 h 2298758"/>
                  <a:gd name="connsiteX8" fmla="*/ 252642 w 1043937"/>
                  <a:gd name="connsiteY8" fmla="*/ 659172 h 2298758"/>
                  <a:gd name="connsiteX9" fmla="*/ 320611 w 1043937"/>
                  <a:gd name="connsiteY9" fmla="*/ 383045 h 2298758"/>
                  <a:gd name="connsiteX10" fmla="*/ 514811 w 1043937"/>
                  <a:gd name="connsiteY10" fmla="*/ 180550 h 2298758"/>
                  <a:gd name="connsiteX11" fmla="*/ 592491 w 1043937"/>
                  <a:gd name="connsiteY11" fmla="*/ 24078 h 2298758"/>
                  <a:gd name="connsiteX12" fmla="*/ 301191 w 1043937"/>
                  <a:gd name="connsiteY12" fmla="*/ 33281 h 2298758"/>
                  <a:gd name="connsiteX13" fmla="*/ 0 w 1043937"/>
                  <a:gd name="connsiteY13" fmla="*/ 403944 h 2298758"/>
                  <a:gd name="connsiteX14" fmla="*/ 9889 w 1043937"/>
                  <a:gd name="connsiteY14" fmla="*/ 778828 h 2298758"/>
                  <a:gd name="connsiteX15" fmla="*/ 176834 w 1043937"/>
                  <a:gd name="connsiteY15" fmla="*/ 911393 h 2298758"/>
                  <a:gd name="connsiteX16" fmla="*/ 224131 w 1043937"/>
                  <a:gd name="connsiteY16" fmla="*/ 1063793 h 2298758"/>
                  <a:gd name="connsiteX17" fmla="*/ 313469 w 1043937"/>
                  <a:gd name="connsiteY17" fmla="*/ 1210937 h 2298758"/>
                  <a:gd name="connsiteX18" fmla="*/ 371274 w 1043937"/>
                  <a:gd name="connsiteY18" fmla="*/ 1421143 h 2298758"/>
                  <a:gd name="connsiteX19" fmla="*/ 302958 w 1043937"/>
                  <a:gd name="connsiteY19" fmla="*/ 1694413 h 2298758"/>
                  <a:gd name="connsiteX20" fmla="*/ 182089 w 1043937"/>
                  <a:gd name="connsiteY20" fmla="*/ 2062275 h 2298758"/>
                  <a:gd name="connsiteX21" fmla="*/ 339744 w 1043937"/>
                  <a:gd name="connsiteY21" fmla="*/ 2298758 h 2298758"/>
                  <a:gd name="connsiteX0" fmla="*/ 339744 w 1043937"/>
                  <a:gd name="connsiteY0" fmla="*/ 2298758 h 2298758"/>
                  <a:gd name="connsiteX1" fmla="*/ 618268 w 1043937"/>
                  <a:gd name="connsiteY1" fmla="*/ 2046510 h 2298758"/>
                  <a:gd name="connsiteX2" fmla="*/ 602502 w 1043937"/>
                  <a:gd name="connsiteY2" fmla="*/ 2025489 h 2298758"/>
                  <a:gd name="connsiteX3" fmla="*/ 723371 w 1043937"/>
                  <a:gd name="connsiteY3" fmla="*/ 1909875 h 2298758"/>
                  <a:gd name="connsiteX4" fmla="*/ 760158 w 1043937"/>
                  <a:gd name="connsiteY4" fmla="*/ 1941406 h 2298758"/>
                  <a:gd name="connsiteX5" fmla="*/ 1043937 w 1043937"/>
                  <a:gd name="connsiteY5" fmla="*/ 1694413 h 2298758"/>
                  <a:gd name="connsiteX6" fmla="*/ 497399 w 1043937"/>
                  <a:gd name="connsiteY6" fmla="*/ 916648 h 2298758"/>
                  <a:gd name="connsiteX7" fmla="*/ 366021 w 1043937"/>
                  <a:gd name="connsiteY7" fmla="*/ 853585 h 2298758"/>
                  <a:gd name="connsiteX8" fmla="*/ 252642 w 1043937"/>
                  <a:gd name="connsiteY8" fmla="*/ 659172 h 2298758"/>
                  <a:gd name="connsiteX9" fmla="*/ 320611 w 1043937"/>
                  <a:gd name="connsiteY9" fmla="*/ 392249 h 2298758"/>
                  <a:gd name="connsiteX10" fmla="*/ 514811 w 1043937"/>
                  <a:gd name="connsiteY10" fmla="*/ 180550 h 2298758"/>
                  <a:gd name="connsiteX11" fmla="*/ 592491 w 1043937"/>
                  <a:gd name="connsiteY11" fmla="*/ 24078 h 2298758"/>
                  <a:gd name="connsiteX12" fmla="*/ 301191 w 1043937"/>
                  <a:gd name="connsiteY12" fmla="*/ 33281 h 2298758"/>
                  <a:gd name="connsiteX13" fmla="*/ 0 w 1043937"/>
                  <a:gd name="connsiteY13" fmla="*/ 403944 h 2298758"/>
                  <a:gd name="connsiteX14" fmla="*/ 9889 w 1043937"/>
                  <a:gd name="connsiteY14" fmla="*/ 778828 h 2298758"/>
                  <a:gd name="connsiteX15" fmla="*/ 176834 w 1043937"/>
                  <a:gd name="connsiteY15" fmla="*/ 911393 h 2298758"/>
                  <a:gd name="connsiteX16" fmla="*/ 224131 w 1043937"/>
                  <a:gd name="connsiteY16" fmla="*/ 1063793 h 2298758"/>
                  <a:gd name="connsiteX17" fmla="*/ 313469 w 1043937"/>
                  <a:gd name="connsiteY17" fmla="*/ 1210937 h 2298758"/>
                  <a:gd name="connsiteX18" fmla="*/ 371274 w 1043937"/>
                  <a:gd name="connsiteY18" fmla="*/ 1421143 h 2298758"/>
                  <a:gd name="connsiteX19" fmla="*/ 302958 w 1043937"/>
                  <a:gd name="connsiteY19" fmla="*/ 1694413 h 2298758"/>
                  <a:gd name="connsiteX20" fmla="*/ 182089 w 1043937"/>
                  <a:gd name="connsiteY20" fmla="*/ 2062275 h 2298758"/>
                  <a:gd name="connsiteX21" fmla="*/ 339744 w 1043937"/>
                  <a:gd name="connsiteY21" fmla="*/ 2298758 h 2298758"/>
                  <a:gd name="connsiteX0" fmla="*/ 339744 w 1043937"/>
                  <a:gd name="connsiteY0" fmla="*/ 2298758 h 2298758"/>
                  <a:gd name="connsiteX1" fmla="*/ 618268 w 1043937"/>
                  <a:gd name="connsiteY1" fmla="*/ 2046510 h 2298758"/>
                  <a:gd name="connsiteX2" fmla="*/ 602502 w 1043937"/>
                  <a:gd name="connsiteY2" fmla="*/ 2025489 h 2298758"/>
                  <a:gd name="connsiteX3" fmla="*/ 723371 w 1043937"/>
                  <a:gd name="connsiteY3" fmla="*/ 1909875 h 2298758"/>
                  <a:gd name="connsiteX4" fmla="*/ 760158 w 1043937"/>
                  <a:gd name="connsiteY4" fmla="*/ 1941406 h 2298758"/>
                  <a:gd name="connsiteX5" fmla="*/ 1043937 w 1043937"/>
                  <a:gd name="connsiteY5" fmla="*/ 1694413 h 2298758"/>
                  <a:gd name="connsiteX6" fmla="*/ 497399 w 1043937"/>
                  <a:gd name="connsiteY6" fmla="*/ 916648 h 2298758"/>
                  <a:gd name="connsiteX7" fmla="*/ 366021 w 1043937"/>
                  <a:gd name="connsiteY7" fmla="*/ 853585 h 2298758"/>
                  <a:gd name="connsiteX8" fmla="*/ 252642 w 1043937"/>
                  <a:gd name="connsiteY8" fmla="*/ 659172 h 2298758"/>
                  <a:gd name="connsiteX9" fmla="*/ 320611 w 1043937"/>
                  <a:gd name="connsiteY9" fmla="*/ 392249 h 2298758"/>
                  <a:gd name="connsiteX10" fmla="*/ 485681 w 1043937"/>
                  <a:gd name="connsiteY10" fmla="*/ 162141 h 2298758"/>
                  <a:gd name="connsiteX11" fmla="*/ 592491 w 1043937"/>
                  <a:gd name="connsiteY11" fmla="*/ 24078 h 2298758"/>
                  <a:gd name="connsiteX12" fmla="*/ 301191 w 1043937"/>
                  <a:gd name="connsiteY12" fmla="*/ 33281 h 2298758"/>
                  <a:gd name="connsiteX13" fmla="*/ 0 w 1043937"/>
                  <a:gd name="connsiteY13" fmla="*/ 403944 h 2298758"/>
                  <a:gd name="connsiteX14" fmla="*/ 9889 w 1043937"/>
                  <a:gd name="connsiteY14" fmla="*/ 778828 h 2298758"/>
                  <a:gd name="connsiteX15" fmla="*/ 176834 w 1043937"/>
                  <a:gd name="connsiteY15" fmla="*/ 911393 h 2298758"/>
                  <a:gd name="connsiteX16" fmla="*/ 224131 w 1043937"/>
                  <a:gd name="connsiteY16" fmla="*/ 1063793 h 2298758"/>
                  <a:gd name="connsiteX17" fmla="*/ 313469 w 1043937"/>
                  <a:gd name="connsiteY17" fmla="*/ 1210937 h 2298758"/>
                  <a:gd name="connsiteX18" fmla="*/ 371274 w 1043937"/>
                  <a:gd name="connsiteY18" fmla="*/ 1421143 h 2298758"/>
                  <a:gd name="connsiteX19" fmla="*/ 302958 w 1043937"/>
                  <a:gd name="connsiteY19" fmla="*/ 1694413 h 2298758"/>
                  <a:gd name="connsiteX20" fmla="*/ 182089 w 1043937"/>
                  <a:gd name="connsiteY20" fmla="*/ 2062275 h 2298758"/>
                  <a:gd name="connsiteX21" fmla="*/ 339744 w 1043937"/>
                  <a:gd name="connsiteY21" fmla="*/ 2298758 h 2298758"/>
                  <a:gd name="connsiteX0" fmla="*/ 339744 w 1043937"/>
                  <a:gd name="connsiteY0" fmla="*/ 2298758 h 2298758"/>
                  <a:gd name="connsiteX1" fmla="*/ 618268 w 1043937"/>
                  <a:gd name="connsiteY1" fmla="*/ 2046510 h 2298758"/>
                  <a:gd name="connsiteX2" fmla="*/ 602502 w 1043937"/>
                  <a:gd name="connsiteY2" fmla="*/ 2025489 h 2298758"/>
                  <a:gd name="connsiteX3" fmla="*/ 723371 w 1043937"/>
                  <a:gd name="connsiteY3" fmla="*/ 1909875 h 2298758"/>
                  <a:gd name="connsiteX4" fmla="*/ 760158 w 1043937"/>
                  <a:gd name="connsiteY4" fmla="*/ 1941406 h 2298758"/>
                  <a:gd name="connsiteX5" fmla="*/ 1043937 w 1043937"/>
                  <a:gd name="connsiteY5" fmla="*/ 1694413 h 2298758"/>
                  <a:gd name="connsiteX6" fmla="*/ 497399 w 1043937"/>
                  <a:gd name="connsiteY6" fmla="*/ 916648 h 2298758"/>
                  <a:gd name="connsiteX7" fmla="*/ 366021 w 1043937"/>
                  <a:gd name="connsiteY7" fmla="*/ 853585 h 2298758"/>
                  <a:gd name="connsiteX8" fmla="*/ 252642 w 1043937"/>
                  <a:gd name="connsiteY8" fmla="*/ 659172 h 2298758"/>
                  <a:gd name="connsiteX9" fmla="*/ 320611 w 1043937"/>
                  <a:gd name="connsiteY9" fmla="*/ 392249 h 2298758"/>
                  <a:gd name="connsiteX10" fmla="*/ 534231 w 1043937"/>
                  <a:gd name="connsiteY10" fmla="*/ 189754 h 2298758"/>
                  <a:gd name="connsiteX11" fmla="*/ 592491 w 1043937"/>
                  <a:gd name="connsiteY11" fmla="*/ 24078 h 2298758"/>
                  <a:gd name="connsiteX12" fmla="*/ 301191 w 1043937"/>
                  <a:gd name="connsiteY12" fmla="*/ 33281 h 2298758"/>
                  <a:gd name="connsiteX13" fmla="*/ 0 w 1043937"/>
                  <a:gd name="connsiteY13" fmla="*/ 403944 h 2298758"/>
                  <a:gd name="connsiteX14" fmla="*/ 9889 w 1043937"/>
                  <a:gd name="connsiteY14" fmla="*/ 778828 h 2298758"/>
                  <a:gd name="connsiteX15" fmla="*/ 176834 w 1043937"/>
                  <a:gd name="connsiteY15" fmla="*/ 911393 h 2298758"/>
                  <a:gd name="connsiteX16" fmla="*/ 224131 w 1043937"/>
                  <a:gd name="connsiteY16" fmla="*/ 1063793 h 2298758"/>
                  <a:gd name="connsiteX17" fmla="*/ 313469 w 1043937"/>
                  <a:gd name="connsiteY17" fmla="*/ 1210937 h 2298758"/>
                  <a:gd name="connsiteX18" fmla="*/ 371274 w 1043937"/>
                  <a:gd name="connsiteY18" fmla="*/ 1421143 h 2298758"/>
                  <a:gd name="connsiteX19" fmla="*/ 302958 w 1043937"/>
                  <a:gd name="connsiteY19" fmla="*/ 1694413 h 2298758"/>
                  <a:gd name="connsiteX20" fmla="*/ 182089 w 1043937"/>
                  <a:gd name="connsiteY20" fmla="*/ 2062275 h 2298758"/>
                  <a:gd name="connsiteX21" fmla="*/ 339744 w 1043937"/>
                  <a:gd name="connsiteY21" fmla="*/ 2298758 h 2298758"/>
                  <a:gd name="connsiteX0" fmla="*/ 329856 w 1034049"/>
                  <a:gd name="connsiteY0" fmla="*/ 2298758 h 2298758"/>
                  <a:gd name="connsiteX1" fmla="*/ 608380 w 1034049"/>
                  <a:gd name="connsiteY1" fmla="*/ 2046510 h 2298758"/>
                  <a:gd name="connsiteX2" fmla="*/ 592614 w 1034049"/>
                  <a:gd name="connsiteY2" fmla="*/ 2025489 h 2298758"/>
                  <a:gd name="connsiteX3" fmla="*/ 713483 w 1034049"/>
                  <a:gd name="connsiteY3" fmla="*/ 1909875 h 2298758"/>
                  <a:gd name="connsiteX4" fmla="*/ 750270 w 1034049"/>
                  <a:gd name="connsiteY4" fmla="*/ 1941406 h 2298758"/>
                  <a:gd name="connsiteX5" fmla="*/ 1034049 w 1034049"/>
                  <a:gd name="connsiteY5" fmla="*/ 1694413 h 2298758"/>
                  <a:gd name="connsiteX6" fmla="*/ 487511 w 1034049"/>
                  <a:gd name="connsiteY6" fmla="*/ 916648 h 2298758"/>
                  <a:gd name="connsiteX7" fmla="*/ 356133 w 1034049"/>
                  <a:gd name="connsiteY7" fmla="*/ 853585 h 2298758"/>
                  <a:gd name="connsiteX8" fmla="*/ 242754 w 1034049"/>
                  <a:gd name="connsiteY8" fmla="*/ 659172 h 2298758"/>
                  <a:gd name="connsiteX9" fmla="*/ 310723 w 1034049"/>
                  <a:gd name="connsiteY9" fmla="*/ 392249 h 2298758"/>
                  <a:gd name="connsiteX10" fmla="*/ 524343 w 1034049"/>
                  <a:gd name="connsiteY10" fmla="*/ 189754 h 2298758"/>
                  <a:gd name="connsiteX11" fmla="*/ 582603 w 1034049"/>
                  <a:gd name="connsiteY11" fmla="*/ 24078 h 2298758"/>
                  <a:gd name="connsiteX12" fmla="*/ 291303 w 1034049"/>
                  <a:gd name="connsiteY12" fmla="*/ 33281 h 2298758"/>
                  <a:gd name="connsiteX13" fmla="*/ 106632 w 1034049"/>
                  <a:gd name="connsiteY13" fmla="*/ 403944 h 2298758"/>
                  <a:gd name="connsiteX14" fmla="*/ 1 w 1034049"/>
                  <a:gd name="connsiteY14" fmla="*/ 778828 h 2298758"/>
                  <a:gd name="connsiteX15" fmla="*/ 166946 w 1034049"/>
                  <a:gd name="connsiteY15" fmla="*/ 911393 h 2298758"/>
                  <a:gd name="connsiteX16" fmla="*/ 214243 w 1034049"/>
                  <a:gd name="connsiteY16" fmla="*/ 1063793 h 2298758"/>
                  <a:gd name="connsiteX17" fmla="*/ 303581 w 1034049"/>
                  <a:gd name="connsiteY17" fmla="*/ 1210937 h 2298758"/>
                  <a:gd name="connsiteX18" fmla="*/ 361386 w 1034049"/>
                  <a:gd name="connsiteY18" fmla="*/ 1421143 h 2298758"/>
                  <a:gd name="connsiteX19" fmla="*/ 293070 w 1034049"/>
                  <a:gd name="connsiteY19" fmla="*/ 1694413 h 2298758"/>
                  <a:gd name="connsiteX20" fmla="*/ 172201 w 1034049"/>
                  <a:gd name="connsiteY20" fmla="*/ 2062275 h 2298758"/>
                  <a:gd name="connsiteX21" fmla="*/ 329856 w 1034049"/>
                  <a:gd name="connsiteY21" fmla="*/ 2298758 h 2298758"/>
                  <a:gd name="connsiteX0" fmla="*/ 329856 w 1034049"/>
                  <a:gd name="connsiteY0" fmla="*/ 2283153 h 2283153"/>
                  <a:gd name="connsiteX1" fmla="*/ 608380 w 1034049"/>
                  <a:gd name="connsiteY1" fmla="*/ 2030905 h 2283153"/>
                  <a:gd name="connsiteX2" fmla="*/ 592614 w 1034049"/>
                  <a:gd name="connsiteY2" fmla="*/ 2009884 h 2283153"/>
                  <a:gd name="connsiteX3" fmla="*/ 713483 w 1034049"/>
                  <a:gd name="connsiteY3" fmla="*/ 1894270 h 2283153"/>
                  <a:gd name="connsiteX4" fmla="*/ 750270 w 1034049"/>
                  <a:gd name="connsiteY4" fmla="*/ 1925801 h 2283153"/>
                  <a:gd name="connsiteX5" fmla="*/ 1034049 w 1034049"/>
                  <a:gd name="connsiteY5" fmla="*/ 1678808 h 2283153"/>
                  <a:gd name="connsiteX6" fmla="*/ 487511 w 1034049"/>
                  <a:gd name="connsiteY6" fmla="*/ 901043 h 2283153"/>
                  <a:gd name="connsiteX7" fmla="*/ 356133 w 1034049"/>
                  <a:gd name="connsiteY7" fmla="*/ 837980 h 2283153"/>
                  <a:gd name="connsiteX8" fmla="*/ 242754 w 1034049"/>
                  <a:gd name="connsiteY8" fmla="*/ 643567 h 2283153"/>
                  <a:gd name="connsiteX9" fmla="*/ 310723 w 1034049"/>
                  <a:gd name="connsiteY9" fmla="*/ 376644 h 2283153"/>
                  <a:gd name="connsiteX10" fmla="*/ 524343 w 1034049"/>
                  <a:gd name="connsiteY10" fmla="*/ 174149 h 2283153"/>
                  <a:gd name="connsiteX11" fmla="*/ 582603 w 1034049"/>
                  <a:gd name="connsiteY11" fmla="*/ 8473 h 2283153"/>
                  <a:gd name="connsiteX12" fmla="*/ 291303 w 1034049"/>
                  <a:gd name="connsiteY12" fmla="*/ 17676 h 2283153"/>
                  <a:gd name="connsiteX13" fmla="*/ 203912 w 1034049"/>
                  <a:gd name="connsiteY13" fmla="*/ 128129 h 2283153"/>
                  <a:gd name="connsiteX14" fmla="*/ 106632 w 1034049"/>
                  <a:gd name="connsiteY14" fmla="*/ 388339 h 2283153"/>
                  <a:gd name="connsiteX15" fmla="*/ 1 w 1034049"/>
                  <a:gd name="connsiteY15" fmla="*/ 763223 h 2283153"/>
                  <a:gd name="connsiteX16" fmla="*/ 166946 w 1034049"/>
                  <a:gd name="connsiteY16" fmla="*/ 895788 h 2283153"/>
                  <a:gd name="connsiteX17" fmla="*/ 214243 w 1034049"/>
                  <a:gd name="connsiteY17" fmla="*/ 1048188 h 2283153"/>
                  <a:gd name="connsiteX18" fmla="*/ 303581 w 1034049"/>
                  <a:gd name="connsiteY18" fmla="*/ 1195332 h 2283153"/>
                  <a:gd name="connsiteX19" fmla="*/ 361386 w 1034049"/>
                  <a:gd name="connsiteY19" fmla="*/ 1405538 h 2283153"/>
                  <a:gd name="connsiteX20" fmla="*/ 293070 w 1034049"/>
                  <a:gd name="connsiteY20" fmla="*/ 1678808 h 2283153"/>
                  <a:gd name="connsiteX21" fmla="*/ 172201 w 1034049"/>
                  <a:gd name="connsiteY21" fmla="*/ 2046670 h 2283153"/>
                  <a:gd name="connsiteX22" fmla="*/ 329856 w 1034049"/>
                  <a:gd name="connsiteY22" fmla="*/ 2283153 h 2283153"/>
                  <a:gd name="connsiteX0" fmla="*/ 329856 w 1034049"/>
                  <a:gd name="connsiteY0" fmla="*/ 2283153 h 2283153"/>
                  <a:gd name="connsiteX1" fmla="*/ 608380 w 1034049"/>
                  <a:gd name="connsiteY1" fmla="*/ 2030905 h 2283153"/>
                  <a:gd name="connsiteX2" fmla="*/ 592614 w 1034049"/>
                  <a:gd name="connsiteY2" fmla="*/ 2009884 h 2283153"/>
                  <a:gd name="connsiteX3" fmla="*/ 713483 w 1034049"/>
                  <a:gd name="connsiteY3" fmla="*/ 1894270 h 2283153"/>
                  <a:gd name="connsiteX4" fmla="*/ 750270 w 1034049"/>
                  <a:gd name="connsiteY4" fmla="*/ 1925801 h 2283153"/>
                  <a:gd name="connsiteX5" fmla="*/ 1034049 w 1034049"/>
                  <a:gd name="connsiteY5" fmla="*/ 1678808 h 2283153"/>
                  <a:gd name="connsiteX6" fmla="*/ 487511 w 1034049"/>
                  <a:gd name="connsiteY6" fmla="*/ 901043 h 2283153"/>
                  <a:gd name="connsiteX7" fmla="*/ 356133 w 1034049"/>
                  <a:gd name="connsiteY7" fmla="*/ 837980 h 2283153"/>
                  <a:gd name="connsiteX8" fmla="*/ 242754 w 1034049"/>
                  <a:gd name="connsiteY8" fmla="*/ 643567 h 2283153"/>
                  <a:gd name="connsiteX9" fmla="*/ 310723 w 1034049"/>
                  <a:gd name="connsiteY9" fmla="*/ 376644 h 2283153"/>
                  <a:gd name="connsiteX10" fmla="*/ 524343 w 1034049"/>
                  <a:gd name="connsiteY10" fmla="*/ 174149 h 2283153"/>
                  <a:gd name="connsiteX11" fmla="*/ 582603 w 1034049"/>
                  <a:gd name="connsiteY11" fmla="*/ 8473 h 2283153"/>
                  <a:gd name="connsiteX12" fmla="*/ 291303 w 1034049"/>
                  <a:gd name="connsiteY12" fmla="*/ 17676 h 2283153"/>
                  <a:gd name="connsiteX13" fmla="*/ 281592 w 1034049"/>
                  <a:gd name="connsiteY13" fmla="*/ 137334 h 2283153"/>
                  <a:gd name="connsiteX14" fmla="*/ 106632 w 1034049"/>
                  <a:gd name="connsiteY14" fmla="*/ 388339 h 2283153"/>
                  <a:gd name="connsiteX15" fmla="*/ 1 w 1034049"/>
                  <a:gd name="connsiteY15" fmla="*/ 763223 h 2283153"/>
                  <a:gd name="connsiteX16" fmla="*/ 166946 w 1034049"/>
                  <a:gd name="connsiteY16" fmla="*/ 895788 h 2283153"/>
                  <a:gd name="connsiteX17" fmla="*/ 214243 w 1034049"/>
                  <a:gd name="connsiteY17" fmla="*/ 1048188 h 2283153"/>
                  <a:gd name="connsiteX18" fmla="*/ 303581 w 1034049"/>
                  <a:gd name="connsiteY18" fmla="*/ 1195332 h 2283153"/>
                  <a:gd name="connsiteX19" fmla="*/ 361386 w 1034049"/>
                  <a:gd name="connsiteY19" fmla="*/ 1405538 h 2283153"/>
                  <a:gd name="connsiteX20" fmla="*/ 293070 w 1034049"/>
                  <a:gd name="connsiteY20" fmla="*/ 1678808 h 2283153"/>
                  <a:gd name="connsiteX21" fmla="*/ 172201 w 1034049"/>
                  <a:gd name="connsiteY21" fmla="*/ 2046670 h 2283153"/>
                  <a:gd name="connsiteX22" fmla="*/ 329856 w 1034049"/>
                  <a:gd name="connsiteY22" fmla="*/ 2283153 h 2283153"/>
                  <a:gd name="connsiteX0" fmla="*/ 329856 w 1034049"/>
                  <a:gd name="connsiteY0" fmla="*/ 2314341 h 2314341"/>
                  <a:gd name="connsiteX1" fmla="*/ 608380 w 1034049"/>
                  <a:gd name="connsiteY1" fmla="*/ 2062093 h 2314341"/>
                  <a:gd name="connsiteX2" fmla="*/ 592614 w 1034049"/>
                  <a:gd name="connsiteY2" fmla="*/ 2041072 h 2314341"/>
                  <a:gd name="connsiteX3" fmla="*/ 713483 w 1034049"/>
                  <a:gd name="connsiteY3" fmla="*/ 1925458 h 2314341"/>
                  <a:gd name="connsiteX4" fmla="*/ 750270 w 1034049"/>
                  <a:gd name="connsiteY4" fmla="*/ 1956989 h 2314341"/>
                  <a:gd name="connsiteX5" fmla="*/ 1034049 w 1034049"/>
                  <a:gd name="connsiteY5" fmla="*/ 1709996 h 2314341"/>
                  <a:gd name="connsiteX6" fmla="*/ 487511 w 1034049"/>
                  <a:gd name="connsiteY6" fmla="*/ 932231 h 2314341"/>
                  <a:gd name="connsiteX7" fmla="*/ 356133 w 1034049"/>
                  <a:gd name="connsiteY7" fmla="*/ 869168 h 2314341"/>
                  <a:gd name="connsiteX8" fmla="*/ 242754 w 1034049"/>
                  <a:gd name="connsiteY8" fmla="*/ 674755 h 2314341"/>
                  <a:gd name="connsiteX9" fmla="*/ 310723 w 1034049"/>
                  <a:gd name="connsiteY9" fmla="*/ 407832 h 2314341"/>
                  <a:gd name="connsiteX10" fmla="*/ 524343 w 1034049"/>
                  <a:gd name="connsiteY10" fmla="*/ 205337 h 2314341"/>
                  <a:gd name="connsiteX11" fmla="*/ 582603 w 1034049"/>
                  <a:gd name="connsiteY11" fmla="*/ 2844 h 2314341"/>
                  <a:gd name="connsiteX12" fmla="*/ 291303 w 1034049"/>
                  <a:gd name="connsiteY12" fmla="*/ 48864 h 2314341"/>
                  <a:gd name="connsiteX13" fmla="*/ 281592 w 1034049"/>
                  <a:gd name="connsiteY13" fmla="*/ 168522 h 2314341"/>
                  <a:gd name="connsiteX14" fmla="*/ 106632 w 1034049"/>
                  <a:gd name="connsiteY14" fmla="*/ 419527 h 2314341"/>
                  <a:gd name="connsiteX15" fmla="*/ 1 w 1034049"/>
                  <a:gd name="connsiteY15" fmla="*/ 794411 h 2314341"/>
                  <a:gd name="connsiteX16" fmla="*/ 166946 w 1034049"/>
                  <a:gd name="connsiteY16" fmla="*/ 926976 h 2314341"/>
                  <a:gd name="connsiteX17" fmla="*/ 214243 w 1034049"/>
                  <a:gd name="connsiteY17" fmla="*/ 1079376 h 2314341"/>
                  <a:gd name="connsiteX18" fmla="*/ 303581 w 1034049"/>
                  <a:gd name="connsiteY18" fmla="*/ 1226520 h 2314341"/>
                  <a:gd name="connsiteX19" fmla="*/ 361386 w 1034049"/>
                  <a:gd name="connsiteY19" fmla="*/ 1436726 h 2314341"/>
                  <a:gd name="connsiteX20" fmla="*/ 293070 w 1034049"/>
                  <a:gd name="connsiteY20" fmla="*/ 1709996 h 2314341"/>
                  <a:gd name="connsiteX21" fmla="*/ 172201 w 1034049"/>
                  <a:gd name="connsiteY21" fmla="*/ 2077858 h 2314341"/>
                  <a:gd name="connsiteX22" fmla="*/ 329856 w 1034049"/>
                  <a:gd name="connsiteY22" fmla="*/ 2314341 h 2314341"/>
                  <a:gd name="connsiteX0" fmla="*/ 329856 w 1034049"/>
                  <a:gd name="connsiteY0" fmla="*/ 2314341 h 2314341"/>
                  <a:gd name="connsiteX1" fmla="*/ 608380 w 1034049"/>
                  <a:gd name="connsiteY1" fmla="*/ 2062093 h 2314341"/>
                  <a:gd name="connsiteX2" fmla="*/ 592614 w 1034049"/>
                  <a:gd name="connsiteY2" fmla="*/ 2041072 h 2314341"/>
                  <a:gd name="connsiteX3" fmla="*/ 713483 w 1034049"/>
                  <a:gd name="connsiteY3" fmla="*/ 1925458 h 2314341"/>
                  <a:gd name="connsiteX4" fmla="*/ 750270 w 1034049"/>
                  <a:gd name="connsiteY4" fmla="*/ 1956989 h 2314341"/>
                  <a:gd name="connsiteX5" fmla="*/ 1034049 w 1034049"/>
                  <a:gd name="connsiteY5" fmla="*/ 1709996 h 2314341"/>
                  <a:gd name="connsiteX6" fmla="*/ 487511 w 1034049"/>
                  <a:gd name="connsiteY6" fmla="*/ 932231 h 2314341"/>
                  <a:gd name="connsiteX7" fmla="*/ 356133 w 1034049"/>
                  <a:gd name="connsiteY7" fmla="*/ 869168 h 2314341"/>
                  <a:gd name="connsiteX8" fmla="*/ 242754 w 1034049"/>
                  <a:gd name="connsiteY8" fmla="*/ 674755 h 2314341"/>
                  <a:gd name="connsiteX9" fmla="*/ 310723 w 1034049"/>
                  <a:gd name="connsiteY9" fmla="*/ 407832 h 2314341"/>
                  <a:gd name="connsiteX10" fmla="*/ 524343 w 1034049"/>
                  <a:gd name="connsiteY10" fmla="*/ 205337 h 2314341"/>
                  <a:gd name="connsiteX11" fmla="*/ 582603 w 1034049"/>
                  <a:gd name="connsiteY11" fmla="*/ 2844 h 2314341"/>
                  <a:gd name="connsiteX12" fmla="*/ 291303 w 1034049"/>
                  <a:gd name="connsiteY12" fmla="*/ 48864 h 2314341"/>
                  <a:gd name="connsiteX13" fmla="*/ 281592 w 1034049"/>
                  <a:gd name="connsiteY13" fmla="*/ 168522 h 2314341"/>
                  <a:gd name="connsiteX14" fmla="*/ 28952 w 1034049"/>
                  <a:gd name="connsiteY14" fmla="*/ 382710 h 2314341"/>
                  <a:gd name="connsiteX15" fmla="*/ 1 w 1034049"/>
                  <a:gd name="connsiteY15" fmla="*/ 794411 h 2314341"/>
                  <a:gd name="connsiteX16" fmla="*/ 166946 w 1034049"/>
                  <a:gd name="connsiteY16" fmla="*/ 926976 h 2314341"/>
                  <a:gd name="connsiteX17" fmla="*/ 214243 w 1034049"/>
                  <a:gd name="connsiteY17" fmla="*/ 1079376 h 2314341"/>
                  <a:gd name="connsiteX18" fmla="*/ 303581 w 1034049"/>
                  <a:gd name="connsiteY18" fmla="*/ 1226520 h 2314341"/>
                  <a:gd name="connsiteX19" fmla="*/ 361386 w 1034049"/>
                  <a:gd name="connsiteY19" fmla="*/ 1436726 h 2314341"/>
                  <a:gd name="connsiteX20" fmla="*/ 293070 w 1034049"/>
                  <a:gd name="connsiteY20" fmla="*/ 1709996 h 2314341"/>
                  <a:gd name="connsiteX21" fmla="*/ 172201 w 1034049"/>
                  <a:gd name="connsiteY21" fmla="*/ 2077858 h 2314341"/>
                  <a:gd name="connsiteX22" fmla="*/ 329856 w 1034049"/>
                  <a:gd name="connsiteY22" fmla="*/ 2314341 h 2314341"/>
                  <a:gd name="connsiteX0" fmla="*/ 329856 w 1034049"/>
                  <a:gd name="connsiteY0" fmla="*/ 2314341 h 2314341"/>
                  <a:gd name="connsiteX1" fmla="*/ 608380 w 1034049"/>
                  <a:gd name="connsiteY1" fmla="*/ 2062093 h 2314341"/>
                  <a:gd name="connsiteX2" fmla="*/ 592614 w 1034049"/>
                  <a:gd name="connsiteY2" fmla="*/ 2041072 h 2314341"/>
                  <a:gd name="connsiteX3" fmla="*/ 713483 w 1034049"/>
                  <a:gd name="connsiteY3" fmla="*/ 1925458 h 2314341"/>
                  <a:gd name="connsiteX4" fmla="*/ 750270 w 1034049"/>
                  <a:gd name="connsiteY4" fmla="*/ 1956989 h 2314341"/>
                  <a:gd name="connsiteX5" fmla="*/ 1034049 w 1034049"/>
                  <a:gd name="connsiteY5" fmla="*/ 1709996 h 2314341"/>
                  <a:gd name="connsiteX6" fmla="*/ 487511 w 1034049"/>
                  <a:gd name="connsiteY6" fmla="*/ 932231 h 2314341"/>
                  <a:gd name="connsiteX7" fmla="*/ 356133 w 1034049"/>
                  <a:gd name="connsiteY7" fmla="*/ 869168 h 2314341"/>
                  <a:gd name="connsiteX8" fmla="*/ 242754 w 1034049"/>
                  <a:gd name="connsiteY8" fmla="*/ 674755 h 2314341"/>
                  <a:gd name="connsiteX9" fmla="*/ 310723 w 1034049"/>
                  <a:gd name="connsiteY9" fmla="*/ 407832 h 2314341"/>
                  <a:gd name="connsiteX10" fmla="*/ 524343 w 1034049"/>
                  <a:gd name="connsiteY10" fmla="*/ 205337 h 2314341"/>
                  <a:gd name="connsiteX11" fmla="*/ 582603 w 1034049"/>
                  <a:gd name="connsiteY11" fmla="*/ 2844 h 2314341"/>
                  <a:gd name="connsiteX12" fmla="*/ 291303 w 1034049"/>
                  <a:gd name="connsiteY12" fmla="*/ 48864 h 2314341"/>
                  <a:gd name="connsiteX13" fmla="*/ 213622 w 1034049"/>
                  <a:gd name="connsiteY13" fmla="*/ 140909 h 2314341"/>
                  <a:gd name="connsiteX14" fmla="*/ 28952 w 1034049"/>
                  <a:gd name="connsiteY14" fmla="*/ 382710 h 2314341"/>
                  <a:gd name="connsiteX15" fmla="*/ 1 w 1034049"/>
                  <a:gd name="connsiteY15" fmla="*/ 794411 h 2314341"/>
                  <a:gd name="connsiteX16" fmla="*/ 166946 w 1034049"/>
                  <a:gd name="connsiteY16" fmla="*/ 926976 h 2314341"/>
                  <a:gd name="connsiteX17" fmla="*/ 214243 w 1034049"/>
                  <a:gd name="connsiteY17" fmla="*/ 1079376 h 2314341"/>
                  <a:gd name="connsiteX18" fmla="*/ 303581 w 1034049"/>
                  <a:gd name="connsiteY18" fmla="*/ 1226520 h 2314341"/>
                  <a:gd name="connsiteX19" fmla="*/ 361386 w 1034049"/>
                  <a:gd name="connsiteY19" fmla="*/ 1436726 h 2314341"/>
                  <a:gd name="connsiteX20" fmla="*/ 293070 w 1034049"/>
                  <a:gd name="connsiteY20" fmla="*/ 1709996 h 2314341"/>
                  <a:gd name="connsiteX21" fmla="*/ 172201 w 1034049"/>
                  <a:gd name="connsiteY21" fmla="*/ 2077858 h 2314341"/>
                  <a:gd name="connsiteX22" fmla="*/ 329856 w 1034049"/>
                  <a:gd name="connsiteY22" fmla="*/ 2314341 h 2314341"/>
                  <a:gd name="connsiteX0" fmla="*/ 329856 w 1034049"/>
                  <a:gd name="connsiteY0" fmla="*/ 2314341 h 2314341"/>
                  <a:gd name="connsiteX1" fmla="*/ 608380 w 1034049"/>
                  <a:gd name="connsiteY1" fmla="*/ 2062093 h 2314341"/>
                  <a:gd name="connsiteX2" fmla="*/ 592614 w 1034049"/>
                  <a:gd name="connsiteY2" fmla="*/ 2041072 h 2314341"/>
                  <a:gd name="connsiteX3" fmla="*/ 713483 w 1034049"/>
                  <a:gd name="connsiteY3" fmla="*/ 1925458 h 2314341"/>
                  <a:gd name="connsiteX4" fmla="*/ 750270 w 1034049"/>
                  <a:gd name="connsiteY4" fmla="*/ 1956989 h 2314341"/>
                  <a:gd name="connsiteX5" fmla="*/ 1034049 w 1034049"/>
                  <a:gd name="connsiteY5" fmla="*/ 1709996 h 2314341"/>
                  <a:gd name="connsiteX6" fmla="*/ 487511 w 1034049"/>
                  <a:gd name="connsiteY6" fmla="*/ 932231 h 2314341"/>
                  <a:gd name="connsiteX7" fmla="*/ 356133 w 1034049"/>
                  <a:gd name="connsiteY7" fmla="*/ 869168 h 2314341"/>
                  <a:gd name="connsiteX8" fmla="*/ 242754 w 1034049"/>
                  <a:gd name="connsiteY8" fmla="*/ 674755 h 2314341"/>
                  <a:gd name="connsiteX9" fmla="*/ 310723 w 1034049"/>
                  <a:gd name="connsiteY9" fmla="*/ 407832 h 2314341"/>
                  <a:gd name="connsiteX10" fmla="*/ 524343 w 1034049"/>
                  <a:gd name="connsiteY10" fmla="*/ 205337 h 2314341"/>
                  <a:gd name="connsiteX11" fmla="*/ 582603 w 1034049"/>
                  <a:gd name="connsiteY11" fmla="*/ 2844 h 2314341"/>
                  <a:gd name="connsiteX12" fmla="*/ 291303 w 1034049"/>
                  <a:gd name="connsiteY12" fmla="*/ 48864 h 2314341"/>
                  <a:gd name="connsiteX13" fmla="*/ 291302 w 1034049"/>
                  <a:gd name="connsiteY13" fmla="*/ 159318 h 2314341"/>
                  <a:gd name="connsiteX14" fmla="*/ 28952 w 1034049"/>
                  <a:gd name="connsiteY14" fmla="*/ 382710 h 2314341"/>
                  <a:gd name="connsiteX15" fmla="*/ 1 w 1034049"/>
                  <a:gd name="connsiteY15" fmla="*/ 794411 h 2314341"/>
                  <a:gd name="connsiteX16" fmla="*/ 166946 w 1034049"/>
                  <a:gd name="connsiteY16" fmla="*/ 926976 h 2314341"/>
                  <a:gd name="connsiteX17" fmla="*/ 214243 w 1034049"/>
                  <a:gd name="connsiteY17" fmla="*/ 1079376 h 2314341"/>
                  <a:gd name="connsiteX18" fmla="*/ 303581 w 1034049"/>
                  <a:gd name="connsiteY18" fmla="*/ 1226520 h 2314341"/>
                  <a:gd name="connsiteX19" fmla="*/ 361386 w 1034049"/>
                  <a:gd name="connsiteY19" fmla="*/ 1436726 h 2314341"/>
                  <a:gd name="connsiteX20" fmla="*/ 293070 w 1034049"/>
                  <a:gd name="connsiteY20" fmla="*/ 1709996 h 2314341"/>
                  <a:gd name="connsiteX21" fmla="*/ 172201 w 1034049"/>
                  <a:gd name="connsiteY21" fmla="*/ 2077858 h 2314341"/>
                  <a:gd name="connsiteX22" fmla="*/ 329856 w 1034049"/>
                  <a:gd name="connsiteY22" fmla="*/ 2314341 h 2314341"/>
                  <a:gd name="connsiteX0" fmla="*/ 329856 w 1034049"/>
                  <a:gd name="connsiteY0" fmla="*/ 2314341 h 2314341"/>
                  <a:gd name="connsiteX1" fmla="*/ 608380 w 1034049"/>
                  <a:gd name="connsiteY1" fmla="*/ 2062093 h 2314341"/>
                  <a:gd name="connsiteX2" fmla="*/ 592614 w 1034049"/>
                  <a:gd name="connsiteY2" fmla="*/ 2041072 h 2314341"/>
                  <a:gd name="connsiteX3" fmla="*/ 713483 w 1034049"/>
                  <a:gd name="connsiteY3" fmla="*/ 1925458 h 2314341"/>
                  <a:gd name="connsiteX4" fmla="*/ 750270 w 1034049"/>
                  <a:gd name="connsiteY4" fmla="*/ 1956989 h 2314341"/>
                  <a:gd name="connsiteX5" fmla="*/ 1034049 w 1034049"/>
                  <a:gd name="connsiteY5" fmla="*/ 1709996 h 2314341"/>
                  <a:gd name="connsiteX6" fmla="*/ 487511 w 1034049"/>
                  <a:gd name="connsiteY6" fmla="*/ 932231 h 2314341"/>
                  <a:gd name="connsiteX7" fmla="*/ 356133 w 1034049"/>
                  <a:gd name="connsiteY7" fmla="*/ 869168 h 2314341"/>
                  <a:gd name="connsiteX8" fmla="*/ 242754 w 1034049"/>
                  <a:gd name="connsiteY8" fmla="*/ 674755 h 2314341"/>
                  <a:gd name="connsiteX9" fmla="*/ 310723 w 1034049"/>
                  <a:gd name="connsiteY9" fmla="*/ 407832 h 2314341"/>
                  <a:gd name="connsiteX10" fmla="*/ 524343 w 1034049"/>
                  <a:gd name="connsiteY10" fmla="*/ 205337 h 2314341"/>
                  <a:gd name="connsiteX11" fmla="*/ 582603 w 1034049"/>
                  <a:gd name="connsiteY11" fmla="*/ 2844 h 2314341"/>
                  <a:gd name="connsiteX12" fmla="*/ 291303 w 1034049"/>
                  <a:gd name="connsiteY12" fmla="*/ 48864 h 2314341"/>
                  <a:gd name="connsiteX13" fmla="*/ 291302 w 1034049"/>
                  <a:gd name="connsiteY13" fmla="*/ 159318 h 2314341"/>
                  <a:gd name="connsiteX14" fmla="*/ 116342 w 1034049"/>
                  <a:gd name="connsiteY14" fmla="*/ 410323 h 2314341"/>
                  <a:gd name="connsiteX15" fmla="*/ 1 w 1034049"/>
                  <a:gd name="connsiteY15" fmla="*/ 794411 h 2314341"/>
                  <a:gd name="connsiteX16" fmla="*/ 166946 w 1034049"/>
                  <a:gd name="connsiteY16" fmla="*/ 926976 h 2314341"/>
                  <a:gd name="connsiteX17" fmla="*/ 214243 w 1034049"/>
                  <a:gd name="connsiteY17" fmla="*/ 1079376 h 2314341"/>
                  <a:gd name="connsiteX18" fmla="*/ 303581 w 1034049"/>
                  <a:gd name="connsiteY18" fmla="*/ 1226520 h 2314341"/>
                  <a:gd name="connsiteX19" fmla="*/ 361386 w 1034049"/>
                  <a:gd name="connsiteY19" fmla="*/ 1436726 h 2314341"/>
                  <a:gd name="connsiteX20" fmla="*/ 293070 w 1034049"/>
                  <a:gd name="connsiteY20" fmla="*/ 1709996 h 2314341"/>
                  <a:gd name="connsiteX21" fmla="*/ 172201 w 1034049"/>
                  <a:gd name="connsiteY21" fmla="*/ 2077858 h 2314341"/>
                  <a:gd name="connsiteX22" fmla="*/ 329856 w 1034049"/>
                  <a:gd name="connsiteY22" fmla="*/ 2314341 h 2314341"/>
                  <a:gd name="connsiteX0" fmla="*/ 329856 w 1034049"/>
                  <a:gd name="connsiteY0" fmla="*/ 2314341 h 2314341"/>
                  <a:gd name="connsiteX1" fmla="*/ 608380 w 1034049"/>
                  <a:gd name="connsiteY1" fmla="*/ 2062093 h 2314341"/>
                  <a:gd name="connsiteX2" fmla="*/ 592614 w 1034049"/>
                  <a:gd name="connsiteY2" fmla="*/ 2041072 h 2314341"/>
                  <a:gd name="connsiteX3" fmla="*/ 713483 w 1034049"/>
                  <a:gd name="connsiteY3" fmla="*/ 1925458 h 2314341"/>
                  <a:gd name="connsiteX4" fmla="*/ 750270 w 1034049"/>
                  <a:gd name="connsiteY4" fmla="*/ 1956989 h 2314341"/>
                  <a:gd name="connsiteX5" fmla="*/ 1034049 w 1034049"/>
                  <a:gd name="connsiteY5" fmla="*/ 1709996 h 2314341"/>
                  <a:gd name="connsiteX6" fmla="*/ 487511 w 1034049"/>
                  <a:gd name="connsiteY6" fmla="*/ 932231 h 2314341"/>
                  <a:gd name="connsiteX7" fmla="*/ 356133 w 1034049"/>
                  <a:gd name="connsiteY7" fmla="*/ 869168 h 2314341"/>
                  <a:gd name="connsiteX8" fmla="*/ 242754 w 1034049"/>
                  <a:gd name="connsiteY8" fmla="*/ 674755 h 2314341"/>
                  <a:gd name="connsiteX9" fmla="*/ 310723 w 1034049"/>
                  <a:gd name="connsiteY9" fmla="*/ 407832 h 2314341"/>
                  <a:gd name="connsiteX10" fmla="*/ 524343 w 1034049"/>
                  <a:gd name="connsiteY10" fmla="*/ 205337 h 2314341"/>
                  <a:gd name="connsiteX11" fmla="*/ 621444 w 1034049"/>
                  <a:gd name="connsiteY11" fmla="*/ 2844 h 2314341"/>
                  <a:gd name="connsiteX12" fmla="*/ 291303 w 1034049"/>
                  <a:gd name="connsiteY12" fmla="*/ 48864 h 2314341"/>
                  <a:gd name="connsiteX13" fmla="*/ 291302 w 1034049"/>
                  <a:gd name="connsiteY13" fmla="*/ 159318 h 2314341"/>
                  <a:gd name="connsiteX14" fmla="*/ 116342 w 1034049"/>
                  <a:gd name="connsiteY14" fmla="*/ 410323 h 2314341"/>
                  <a:gd name="connsiteX15" fmla="*/ 1 w 1034049"/>
                  <a:gd name="connsiteY15" fmla="*/ 794411 h 2314341"/>
                  <a:gd name="connsiteX16" fmla="*/ 166946 w 1034049"/>
                  <a:gd name="connsiteY16" fmla="*/ 926976 h 2314341"/>
                  <a:gd name="connsiteX17" fmla="*/ 214243 w 1034049"/>
                  <a:gd name="connsiteY17" fmla="*/ 1079376 h 2314341"/>
                  <a:gd name="connsiteX18" fmla="*/ 303581 w 1034049"/>
                  <a:gd name="connsiteY18" fmla="*/ 1226520 h 2314341"/>
                  <a:gd name="connsiteX19" fmla="*/ 361386 w 1034049"/>
                  <a:gd name="connsiteY19" fmla="*/ 1436726 h 2314341"/>
                  <a:gd name="connsiteX20" fmla="*/ 293070 w 1034049"/>
                  <a:gd name="connsiteY20" fmla="*/ 1709996 h 2314341"/>
                  <a:gd name="connsiteX21" fmla="*/ 172201 w 1034049"/>
                  <a:gd name="connsiteY21" fmla="*/ 2077858 h 2314341"/>
                  <a:gd name="connsiteX22" fmla="*/ 329856 w 1034049"/>
                  <a:gd name="connsiteY22" fmla="*/ 2314341 h 2314341"/>
                  <a:gd name="connsiteX0" fmla="*/ 329856 w 1034049"/>
                  <a:gd name="connsiteY0" fmla="*/ 2314341 h 2314341"/>
                  <a:gd name="connsiteX1" fmla="*/ 608380 w 1034049"/>
                  <a:gd name="connsiteY1" fmla="*/ 2062093 h 2314341"/>
                  <a:gd name="connsiteX2" fmla="*/ 592614 w 1034049"/>
                  <a:gd name="connsiteY2" fmla="*/ 2041072 h 2314341"/>
                  <a:gd name="connsiteX3" fmla="*/ 713483 w 1034049"/>
                  <a:gd name="connsiteY3" fmla="*/ 1925458 h 2314341"/>
                  <a:gd name="connsiteX4" fmla="*/ 750270 w 1034049"/>
                  <a:gd name="connsiteY4" fmla="*/ 1956989 h 2314341"/>
                  <a:gd name="connsiteX5" fmla="*/ 1034049 w 1034049"/>
                  <a:gd name="connsiteY5" fmla="*/ 1709996 h 2314341"/>
                  <a:gd name="connsiteX6" fmla="*/ 487511 w 1034049"/>
                  <a:gd name="connsiteY6" fmla="*/ 932231 h 2314341"/>
                  <a:gd name="connsiteX7" fmla="*/ 356133 w 1034049"/>
                  <a:gd name="connsiteY7" fmla="*/ 869168 h 2314341"/>
                  <a:gd name="connsiteX8" fmla="*/ 242754 w 1034049"/>
                  <a:gd name="connsiteY8" fmla="*/ 674755 h 2314341"/>
                  <a:gd name="connsiteX9" fmla="*/ 339853 w 1034049"/>
                  <a:gd name="connsiteY9" fmla="*/ 407832 h 2314341"/>
                  <a:gd name="connsiteX10" fmla="*/ 524343 w 1034049"/>
                  <a:gd name="connsiteY10" fmla="*/ 205337 h 2314341"/>
                  <a:gd name="connsiteX11" fmla="*/ 621444 w 1034049"/>
                  <a:gd name="connsiteY11" fmla="*/ 2844 h 2314341"/>
                  <a:gd name="connsiteX12" fmla="*/ 291303 w 1034049"/>
                  <a:gd name="connsiteY12" fmla="*/ 48864 h 2314341"/>
                  <a:gd name="connsiteX13" fmla="*/ 291302 w 1034049"/>
                  <a:gd name="connsiteY13" fmla="*/ 159318 h 2314341"/>
                  <a:gd name="connsiteX14" fmla="*/ 116342 w 1034049"/>
                  <a:gd name="connsiteY14" fmla="*/ 410323 h 2314341"/>
                  <a:gd name="connsiteX15" fmla="*/ 1 w 1034049"/>
                  <a:gd name="connsiteY15" fmla="*/ 794411 h 2314341"/>
                  <a:gd name="connsiteX16" fmla="*/ 166946 w 1034049"/>
                  <a:gd name="connsiteY16" fmla="*/ 926976 h 2314341"/>
                  <a:gd name="connsiteX17" fmla="*/ 214243 w 1034049"/>
                  <a:gd name="connsiteY17" fmla="*/ 1079376 h 2314341"/>
                  <a:gd name="connsiteX18" fmla="*/ 303581 w 1034049"/>
                  <a:gd name="connsiteY18" fmla="*/ 1226520 h 2314341"/>
                  <a:gd name="connsiteX19" fmla="*/ 361386 w 1034049"/>
                  <a:gd name="connsiteY19" fmla="*/ 1436726 h 2314341"/>
                  <a:gd name="connsiteX20" fmla="*/ 293070 w 1034049"/>
                  <a:gd name="connsiteY20" fmla="*/ 1709996 h 2314341"/>
                  <a:gd name="connsiteX21" fmla="*/ 172201 w 1034049"/>
                  <a:gd name="connsiteY21" fmla="*/ 2077858 h 2314341"/>
                  <a:gd name="connsiteX22" fmla="*/ 329856 w 1034049"/>
                  <a:gd name="connsiteY22" fmla="*/ 2314341 h 2314341"/>
                  <a:gd name="connsiteX0" fmla="*/ 329856 w 1034049"/>
                  <a:gd name="connsiteY0" fmla="*/ 2311929 h 2311929"/>
                  <a:gd name="connsiteX1" fmla="*/ 608380 w 1034049"/>
                  <a:gd name="connsiteY1" fmla="*/ 2059681 h 2311929"/>
                  <a:gd name="connsiteX2" fmla="*/ 592614 w 1034049"/>
                  <a:gd name="connsiteY2" fmla="*/ 2038660 h 2311929"/>
                  <a:gd name="connsiteX3" fmla="*/ 713483 w 1034049"/>
                  <a:gd name="connsiteY3" fmla="*/ 1923046 h 2311929"/>
                  <a:gd name="connsiteX4" fmla="*/ 750270 w 1034049"/>
                  <a:gd name="connsiteY4" fmla="*/ 1954577 h 2311929"/>
                  <a:gd name="connsiteX5" fmla="*/ 1034049 w 1034049"/>
                  <a:gd name="connsiteY5" fmla="*/ 1707584 h 2311929"/>
                  <a:gd name="connsiteX6" fmla="*/ 487511 w 1034049"/>
                  <a:gd name="connsiteY6" fmla="*/ 929819 h 2311929"/>
                  <a:gd name="connsiteX7" fmla="*/ 356133 w 1034049"/>
                  <a:gd name="connsiteY7" fmla="*/ 866756 h 2311929"/>
                  <a:gd name="connsiteX8" fmla="*/ 242754 w 1034049"/>
                  <a:gd name="connsiteY8" fmla="*/ 672343 h 2311929"/>
                  <a:gd name="connsiteX9" fmla="*/ 339853 w 1034049"/>
                  <a:gd name="connsiteY9" fmla="*/ 405420 h 2311929"/>
                  <a:gd name="connsiteX10" fmla="*/ 524343 w 1034049"/>
                  <a:gd name="connsiteY10" fmla="*/ 202925 h 2311929"/>
                  <a:gd name="connsiteX11" fmla="*/ 621444 w 1034049"/>
                  <a:gd name="connsiteY11" fmla="*/ 432 h 2311929"/>
                  <a:gd name="connsiteX12" fmla="*/ 291302 w 1034049"/>
                  <a:gd name="connsiteY12" fmla="*/ 156906 h 2311929"/>
                  <a:gd name="connsiteX13" fmla="*/ 116342 w 1034049"/>
                  <a:gd name="connsiteY13" fmla="*/ 407911 h 2311929"/>
                  <a:gd name="connsiteX14" fmla="*/ 1 w 1034049"/>
                  <a:gd name="connsiteY14" fmla="*/ 791999 h 2311929"/>
                  <a:gd name="connsiteX15" fmla="*/ 166946 w 1034049"/>
                  <a:gd name="connsiteY15" fmla="*/ 924564 h 2311929"/>
                  <a:gd name="connsiteX16" fmla="*/ 214243 w 1034049"/>
                  <a:gd name="connsiteY16" fmla="*/ 1076964 h 2311929"/>
                  <a:gd name="connsiteX17" fmla="*/ 303581 w 1034049"/>
                  <a:gd name="connsiteY17" fmla="*/ 1224108 h 2311929"/>
                  <a:gd name="connsiteX18" fmla="*/ 361386 w 1034049"/>
                  <a:gd name="connsiteY18" fmla="*/ 1434314 h 2311929"/>
                  <a:gd name="connsiteX19" fmla="*/ 293070 w 1034049"/>
                  <a:gd name="connsiteY19" fmla="*/ 1707584 h 2311929"/>
                  <a:gd name="connsiteX20" fmla="*/ 172201 w 1034049"/>
                  <a:gd name="connsiteY20" fmla="*/ 2075446 h 2311929"/>
                  <a:gd name="connsiteX21" fmla="*/ 329856 w 1034049"/>
                  <a:gd name="connsiteY21" fmla="*/ 2311929 h 2311929"/>
                  <a:gd name="connsiteX0" fmla="*/ 329856 w 1034049"/>
                  <a:gd name="connsiteY0" fmla="*/ 2168130 h 2168130"/>
                  <a:gd name="connsiteX1" fmla="*/ 608380 w 1034049"/>
                  <a:gd name="connsiteY1" fmla="*/ 1915882 h 2168130"/>
                  <a:gd name="connsiteX2" fmla="*/ 592614 w 1034049"/>
                  <a:gd name="connsiteY2" fmla="*/ 1894861 h 2168130"/>
                  <a:gd name="connsiteX3" fmla="*/ 713483 w 1034049"/>
                  <a:gd name="connsiteY3" fmla="*/ 1779247 h 2168130"/>
                  <a:gd name="connsiteX4" fmla="*/ 750270 w 1034049"/>
                  <a:gd name="connsiteY4" fmla="*/ 1810778 h 2168130"/>
                  <a:gd name="connsiteX5" fmla="*/ 1034049 w 1034049"/>
                  <a:gd name="connsiteY5" fmla="*/ 1563785 h 2168130"/>
                  <a:gd name="connsiteX6" fmla="*/ 487511 w 1034049"/>
                  <a:gd name="connsiteY6" fmla="*/ 786020 h 2168130"/>
                  <a:gd name="connsiteX7" fmla="*/ 356133 w 1034049"/>
                  <a:gd name="connsiteY7" fmla="*/ 722957 h 2168130"/>
                  <a:gd name="connsiteX8" fmla="*/ 242754 w 1034049"/>
                  <a:gd name="connsiteY8" fmla="*/ 528544 h 2168130"/>
                  <a:gd name="connsiteX9" fmla="*/ 339853 w 1034049"/>
                  <a:gd name="connsiteY9" fmla="*/ 261621 h 2168130"/>
                  <a:gd name="connsiteX10" fmla="*/ 524343 w 1034049"/>
                  <a:gd name="connsiteY10" fmla="*/ 59126 h 2168130"/>
                  <a:gd name="connsiteX11" fmla="*/ 291302 w 1034049"/>
                  <a:gd name="connsiteY11" fmla="*/ 13107 h 2168130"/>
                  <a:gd name="connsiteX12" fmla="*/ 116342 w 1034049"/>
                  <a:gd name="connsiteY12" fmla="*/ 264112 h 2168130"/>
                  <a:gd name="connsiteX13" fmla="*/ 1 w 1034049"/>
                  <a:gd name="connsiteY13" fmla="*/ 648200 h 2168130"/>
                  <a:gd name="connsiteX14" fmla="*/ 166946 w 1034049"/>
                  <a:gd name="connsiteY14" fmla="*/ 780765 h 2168130"/>
                  <a:gd name="connsiteX15" fmla="*/ 214243 w 1034049"/>
                  <a:gd name="connsiteY15" fmla="*/ 933165 h 2168130"/>
                  <a:gd name="connsiteX16" fmla="*/ 303581 w 1034049"/>
                  <a:gd name="connsiteY16" fmla="*/ 1080309 h 2168130"/>
                  <a:gd name="connsiteX17" fmla="*/ 361386 w 1034049"/>
                  <a:gd name="connsiteY17" fmla="*/ 1290515 h 2168130"/>
                  <a:gd name="connsiteX18" fmla="*/ 293070 w 1034049"/>
                  <a:gd name="connsiteY18" fmla="*/ 1563785 h 2168130"/>
                  <a:gd name="connsiteX19" fmla="*/ 172201 w 1034049"/>
                  <a:gd name="connsiteY19" fmla="*/ 1931647 h 2168130"/>
                  <a:gd name="connsiteX20" fmla="*/ 329856 w 1034049"/>
                  <a:gd name="connsiteY20" fmla="*/ 2168130 h 2168130"/>
                  <a:gd name="connsiteX0" fmla="*/ 329856 w 1034049"/>
                  <a:gd name="connsiteY0" fmla="*/ 2155024 h 2155024"/>
                  <a:gd name="connsiteX1" fmla="*/ 608380 w 1034049"/>
                  <a:gd name="connsiteY1" fmla="*/ 1902776 h 2155024"/>
                  <a:gd name="connsiteX2" fmla="*/ 592614 w 1034049"/>
                  <a:gd name="connsiteY2" fmla="*/ 1881755 h 2155024"/>
                  <a:gd name="connsiteX3" fmla="*/ 713483 w 1034049"/>
                  <a:gd name="connsiteY3" fmla="*/ 1766141 h 2155024"/>
                  <a:gd name="connsiteX4" fmla="*/ 750270 w 1034049"/>
                  <a:gd name="connsiteY4" fmla="*/ 1797672 h 2155024"/>
                  <a:gd name="connsiteX5" fmla="*/ 1034049 w 1034049"/>
                  <a:gd name="connsiteY5" fmla="*/ 1550679 h 2155024"/>
                  <a:gd name="connsiteX6" fmla="*/ 487511 w 1034049"/>
                  <a:gd name="connsiteY6" fmla="*/ 772914 h 2155024"/>
                  <a:gd name="connsiteX7" fmla="*/ 356133 w 1034049"/>
                  <a:gd name="connsiteY7" fmla="*/ 709851 h 2155024"/>
                  <a:gd name="connsiteX8" fmla="*/ 242754 w 1034049"/>
                  <a:gd name="connsiteY8" fmla="*/ 515438 h 2155024"/>
                  <a:gd name="connsiteX9" fmla="*/ 339853 w 1034049"/>
                  <a:gd name="connsiteY9" fmla="*/ 248515 h 2155024"/>
                  <a:gd name="connsiteX10" fmla="*/ 291302 w 1034049"/>
                  <a:gd name="connsiteY10" fmla="*/ 1 h 2155024"/>
                  <a:gd name="connsiteX11" fmla="*/ 116342 w 1034049"/>
                  <a:gd name="connsiteY11" fmla="*/ 251006 h 2155024"/>
                  <a:gd name="connsiteX12" fmla="*/ 1 w 1034049"/>
                  <a:gd name="connsiteY12" fmla="*/ 635094 h 2155024"/>
                  <a:gd name="connsiteX13" fmla="*/ 166946 w 1034049"/>
                  <a:gd name="connsiteY13" fmla="*/ 767659 h 2155024"/>
                  <a:gd name="connsiteX14" fmla="*/ 214243 w 1034049"/>
                  <a:gd name="connsiteY14" fmla="*/ 920059 h 2155024"/>
                  <a:gd name="connsiteX15" fmla="*/ 303581 w 1034049"/>
                  <a:gd name="connsiteY15" fmla="*/ 1067203 h 2155024"/>
                  <a:gd name="connsiteX16" fmla="*/ 361386 w 1034049"/>
                  <a:gd name="connsiteY16" fmla="*/ 1277409 h 2155024"/>
                  <a:gd name="connsiteX17" fmla="*/ 293070 w 1034049"/>
                  <a:gd name="connsiteY17" fmla="*/ 1550679 h 2155024"/>
                  <a:gd name="connsiteX18" fmla="*/ 172201 w 1034049"/>
                  <a:gd name="connsiteY18" fmla="*/ 1918541 h 2155024"/>
                  <a:gd name="connsiteX19" fmla="*/ 329856 w 1034049"/>
                  <a:gd name="connsiteY19" fmla="*/ 2155024 h 2155024"/>
                  <a:gd name="connsiteX0" fmla="*/ 329856 w 1034049"/>
                  <a:gd name="connsiteY0" fmla="*/ 1946154 h 1946154"/>
                  <a:gd name="connsiteX1" fmla="*/ 608380 w 1034049"/>
                  <a:gd name="connsiteY1" fmla="*/ 1693906 h 1946154"/>
                  <a:gd name="connsiteX2" fmla="*/ 592614 w 1034049"/>
                  <a:gd name="connsiteY2" fmla="*/ 1672885 h 1946154"/>
                  <a:gd name="connsiteX3" fmla="*/ 713483 w 1034049"/>
                  <a:gd name="connsiteY3" fmla="*/ 1557271 h 1946154"/>
                  <a:gd name="connsiteX4" fmla="*/ 750270 w 1034049"/>
                  <a:gd name="connsiteY4" fmla="*/ 1588802 h 1946154"/>
                  <a:gd name="connsiteX5" fmla="*/ 1034049 w 1034049"/>
                  <a:gd name="connsiteY5" fmla="*/ 1341809 h 1946154"/>
                  <a:gd name="connsiteX6" fmla="*/ 487511 w 1034049"/>
                  <a:gd name="connsiteY6" fmla="*/ 564044 h 1946154"/>
                  <a:gd name="connsiteX7" fmla="*/ 356133 w 1034049"/>
                  <a:gd name="connsiteY7" fmla="*/ 500981 h 1946154"/>
                  <a:gd name="connsiteX8" fmla="*/ 242754 w 1034049"/>
                  <a:gd name="connsiteY8" fmla="*/ 306568 h 1946154"/>
                  <a:gd name="connsiteX9" fmla="*/ 339853 w 1034049"/>
                  <a:gd name="connsiteY9" fmla="*/ 39645 h 1946154"/>
                  <a:gd name="connsiteX10" fmla="*/ 116342 w 1034049"/>
                  <a:gd name="connsiteY10" fmla="*/ 42136 h 1946154"/>
                  <a:gd name="connsiteX11" fmla="*/ 1 w 1034049"/>
                  <a:gd name="connsiteY11" fmla="*/ 426224 h 1946154"/>
                  <a:gd name="connsiteX12" fmla="*/ 166946 w 1034049"/>
                  <a:gd name="connsiteY12" fmla="*/ 558789 h 1946154"/>
                  <a:gd name="connsiteX13" fmla="*/ 214243 w 1034049"/>
                  <a:gd name="connsiteY13" fmla="*/ 711189 h 1946154"/>
                  <a:gd name="connsiteX14" fmla="*/ 303581 w 1034049"/>
                  <a:gd name="connsiteY14" fmla="*/ 858333 h 1946154"/>
                  <a:gd name="connsiteX15" fmla="*/ 361386 w 1034049"/>
                  <a:gd name="connsiteY15" fmla="*/ 1068539 h 1946154"/>
                  <a:gd name="connsiteX16" fmla="*/ 293070 w 1034049"/>
                  <a:gd name="connsiteY16" fmla="*/ 1341809 h 1946154"/>
                  <a:gd name="connsiteX17" fmla="*/ 172201 w 1034049"/>
                  <a:gd name="connsiteY17" fmla="*/ 1709671 h 1946154"/>
                  <a:gd name="connsiteX18" fmla="*/ 329856 w 1034049"/>
                  <a:gd name="connsiteY18" fmla="*/ 1946154 h 1946154"/>
                  <a:gd name="connsiteX0" fmla="*/ 329856 w 1034049"/>
                  <a:gd name="connsiteY0" fmla="*/ 1905359 h 1905359"/>
                  <a:gd name="connsiteX1" fmla="*/ 608380 w 1034049"/>
                  <a:gd name="connsiteY1" fmla="*/ 1653111 h 1905359"/>
                  <a:gd name="connsiteX2" fmla="*/ 592614 w 1034049"/>
                  <a:gd name="connsiteY2" fmla="*/ 1632090 h 1905359"/>
                  <a:gd name="connsiteX3" fmla="*/ 713483 w 1034049"/>
                  <a:gd name="connsiteY3" fmla="*/ 1516476 h 1905359"/>
                  <a:gd name="connsiteX4" fmla="*/ 750270 w 1034049"/>
                  <a:gd name="connsiteY4" fmla="*/ 1548007 h 1905359"/>
                  <a:gd name="connsiteX5" fmla="*/ 1034049 w 1034049"/>
                  <a:gd name="connsiteY5" fmla="*/ 1301014 h 1905359"/>
                  <a:gd name="connsiteX6" fmla="*/ 487511 w 1034049"/>
                  <a:gd name="connsiteY6" fmla="*/ 523249 h 1905359"/>
                  <a:gd name="connsiteX7" fmla="*/ 356133 w 1034049"/>
                  <a:gd name="connsiteY7" fmla="*/ 460186 h 1905359"/>
                  <a:gd name="connsiteX8" fmla="*/ 242754 w 1034049"/>
                  <a:gd name="connsiteY8" fmla="*/ 265773 h 1905359"/>
                  <a:gd name="connsiteX9" fmla="*/ 116342 w 1034049"/>
                  <a:gd name="connsiteY9" fmla="*/ 1341 h 1905359"/>
                  <a:gd name="connsiteX10" fmla="*/ 1 w 1034049"/>
                  <a:gd name="connsiteY10" fmla="*/ 385429 h 1905359"/>
                  <a:gd name="connsiteX11" fmla="*/ 166946 w 1034049"/>
                  <a:gd name="connsiteY11" fmla="*/ 517994 h 1905359"/>
                  <a:gd name="connsiteX12" fmla="*/ 214243 w 1034049"/>
                  <a:gd name="connsiteY12" fmla="*/ 670394 h 1905359"/>
                  <a:gd name="connsiteX13" fmla="*/ 303581 w 1034049"/>
                  <a:gd name="connsiteY13" fmla="*/ 817538 h 1905359"/>
                  <a:gd name="connsiteX14" fmla="*/ 361386 w 1034049"/>
                  <a:gd name="connsiteY14" fmla="*/ 1027744 h 1905359"/>
                  <a:gd name="connsiteX15" fmla="*/ 293070 w 1034049"/>
                  <a:gd name="connsiteY15" fmla="*/ 1301014 h 1905359"/>
                  <a:gd name="connsiteX16" fmla="*/ 172201 w 1034049"/>
                  <a:gd name="connsiteY16" fmla="*/ 1668876 h 1905359"/>
                  <a:gd name="connsiteX17" fmla="*/ 329856 w 1034049"/>
                  <a:gd name="connsiteY17" fmla="*/ 1905359 h 1905359"/>
                  <a:gd name="connsiteX0" fmla="*/ 329855 w 1034048"/>
                  <a:gd name="connsiteY0" fmla="*/ 1640758 h 1640758"/>
                  <a:gd name="connsiteX1" fmla="*/ 608379 w 1034048"/>
                  <a:gd name="connsiteY1" fmla="*/ 1388510 h 1640758"/>
                  <a:gd name="connsiteX2" fmla="*/ 592613 w 1034048"/>
                  <a:gd name="connsiteY2" fmla="*/ 1367489 h 1640758"/>
                  <a:gd name="connsiteX3" fmla="*/ 713482 w 1034048"/>
                  <a:gd name="connsiteY3" fmla="*/ 1251875 h 1640758"/>
                  <a:gd name="connsiteX4" fmla="*/ 750269 w 1034048"/>
                  <a:gd name="connsiteY4" fmla="*/ 1283406 h 1640758"/>
                  <a:gd name="connsiteX5" fmla="*/ 1034048 w 1034048"/>
                  <a:gd name="connsiteY5" fmla="*/ 1036413 h 1640758"/>
                  <a:gd name="connsiteX6" fmla="*/ 487510 w 1034048"/>
                  <a:gd name="connsiteY6" fmla="*/ 258648 h 1640758"/>
                  <a:gd name="connsiteX7" fmla="*/ 356132 w 1034048"/>
                  <a:gd name="connsiteY7" fmla="*/ 195585 h 1640758"/>
                  <a:gd name="connsiteX8" fmla="*/ 242753 w 1034048"/>
                  <a:gd name="connsiteY8" fmla="*/ 1172 h 1640758"/>
                  <a:gd name="connsiteX9" fmla="*/ 0 w 1034048"/>
                  <a:gd name="connsiteY9" fmla="*/ 120828 h 1640758"/>
                  <a:gd name="connsiteX10" fmla="*/ 166945 w 1034048"/>
                  <a:gd name="connsiteY10" fmla="*/ 253393 h 1640758"/>
                  <a:gd name="connsiteX11" fmla="*/ 214242 w 1034048"/>
                  <a:gd name="connsiteY11" fmla="*/ 405793 h 1640758"/>
                  <a:gd name="connsiteX12" fmla="*/ 303580 w 1034048"/>
                  <a:gd name="connsiteY12" fmla="*/ 552937 h 1640758"/>
                  <a:gd name="connsiteX13" fmla="*/ 361385 w 1034048"/>
                  <a:gd name="connsiteY13" fmla="*/ 763143 h 1640758"/>
                  <a:gd name="connsiteX14" fmla="*/ 293069 w 1034048"/>
                  <a:gd name="connsiteY14" fmla="*/ 1036413 h 1640758"/>
                  <a:gd name="connsiteX15" fmla="*/ 172200 w 1034048"/>
                  <a:gd name="connsiteY15" fmla="*/ 1404275 h 1640758"/>
                  <a:gd name="connsiteX16" fmla="*/ 329855 w 1034048"/>
                  <a:gd name="connsiteY16" fmla="*/ 1640758 h 1640758"/>
                  <a:gd name="connsiteX0" fmla="*/ 162910 w 867103"/>
                  <a:gd name="connsiteY0" fmla="*/ 1639586 h 1639586"/>
                  <a:gd name="connsiteX1" fmla="*/ 441434 w 867103"/>
                  <a:gd name="connsiteY1" fmla="*/ 1387338 h 1639586"/>
                  <a:gd name="connsiteX2" fmla="*/ 425668 w 867103"/>
                  <a:gd name="connsiteY2" fmla="*/ 1366317 h 1639586"/>
                  <a:gd name="connsiteX3" fmla="*/ 546537 w 867103"/>
                  <a:gd name="connsiteY3" fmla="*/ 1250703 h 1639586"/>
                  <a:gd name="connsiteX4" fmla="*/ 583324 w 867103"/>
                  <a:gd name="connsiteY4" fmla="*/ 1282234 h 1639586"/>
                  <a:gd name="connsiteX5" fmla="*/ 867103 w 867103"/>
                  <a:gd name="connsiteY5" fmla="*/ 1035241 h 1639586"/>
                  <a:gd name="connsiteX6" fmla="*/ 320565 w 867103"/>
                  <a:gd name="connsiteY6" fmla="*/ 257476 h 1639586"/>
                  <a:gd name="connsiteX7" fmla="*/ 189187 w 867103"/>
                  <a:gd name="connsiteY7" fmla="*/ 194413 h 1639586"/>
                  <a:gd name="connsiteX8" fmla="*/ 75808 w 867103"/>
                  <a:gd name="connsiteY8" fmla="*/ 0 h 1639586"/>
                  <a:gd name="connsiteX9" fmla="*/ 0 w 867103"/>
                  <a:gd name="connsiteY9" fmla="*/ 252221 h 1639586"/>
                  <a:gd name="connsiteX10" fmla="*/ 47297 w 867103"/>
                  <a:gd name="connsiteY10" fmla="*/ 404621 h 1639586"/>
                  <a:gd name="connsiteX11" fmla="*/ 136635 w 867103"/>
                  <a:gd name="connsiteY11" fmla="*/ 551765 h 1639586"/>
                  <a:gd name="connsiteX12" fmla="*/ 194440 w 867103"/>
                  <a:gd name="connsiteY12" fmla="*/ 761971 h 1639586"/>
                  <a:gd name="connsiteX13" fmla="*/ 126124 w 867103"/>
                  <a:gd name="connsiteY13" fmla="*/ 1035241 h 1639586"/>
                  <a:gd name="connsiteX14" fmla="*/ 5255 w 867103"/>
                  <a:gd name="connsiteY14" fmla="*/ 1403103 h 1639586"/>
                  <a:gd name="connsiteX15" fmla="*/ 162910 w 867103"/>
                  <a:gd name="connsiteY15" fmla="*/ 1639586 h 1639586"/>
                  <a:gd name="connsiteX0" fmla="*/ 157655 w 861848"/>
                  <a:gd name="connsiteY0" fmla="*/ 1639586 h 1639586"/>
                  <a:gd name="connsiteX1" fmla="*/ 436179 w 861848"/>
                  <a:gd name="connsiteY1" fmla="*/ 1387338 h 1639586"/>
                  <a:gd name="connsiteX2" fmla="*/ 420413 w 861848"/>
                  <a:gd name="connsiteY2" fmla="*/ 1366317 h 1639586"/>
                  <a:gd name="connsiteX3" fmla="*/ 541282 w 861848"/>
                  <a:gd name="connsiteY3" fmla="*/ 1250703 h 1639586"/>
                  <a:gd name="connsiteX4" fmla="*/ 578069 w 861848"/>
                  <a:gd name="connsiteY4" fmla="*/ 1282234 h 1639586"/>
                  <a:gd name="connsiteX5" fmla="*/ 861848 w 861848"/>
                  <a:gd name="connsiteY5" fmla="*/ 1035241 h 1639586"/>
                  <a:gd name="connsiteX6" fmla="*/ 315310 w 861848"/>
                  <a:gd name="connsiteY6" fmla="*/ 257476 h 1639586"/>
                  <a:gd name="connsiteX7" fmla="*/ 183932 w 861848"/>
                  <a:gd name="connsiteY7" fmla="*/ 194413 h 1639586"/>
                  <a:gd name="connsiteX8" fmla="*/ 70553 w 861848"/>
                  <a:gd name="connsiteY8" fmla="*/ 0 h 1639586"/>
                  <a:gd name="connsiteX9" fmla="*/ 34500 w 861848"/>
                  <a:gd name="connsiteY9" fmla="*/ 243463 h 1639586"/>
                  <a:gd name="connsiteX10" fmla="*/ 42042 w 861848"/>
                  <a:gd name="connsiteY10" fmla="*/ 404621 h 1639586"/>
                  <a:gd name="connsiteX11" fmla="*/ 131380 w 861848"/>
                  <a:gd name="connsiteY11" fmla="*/ 551765 h 1639586"/>
                  <a:gd name="connsiteX12" fmla="*/ 189185 w 861848"/>
                  <a:gd name="connsiteY12" fmla="*/ 761971 h 1639586"/>
                  <a:gd name="connsiteX13" fmla="*/ 120869 w 861848"/>
                  <a:gd name="connsiteY13" fmla="*/ 1035241 h 1639586"/>
                  <a:gd name="connsiteX14" fmla="*/ 0 w 861848"/>
                  <a:gd name="connsiteY14" fmla="*/ 1403103 h 1639586"/>
                  <a:gd name="connsiteX15" fmla="*/ 157655 w 861848"/>
                  <a:gd name="connsiteY15" fmla="*/ 1639586 h 1639586"/>
                  <a:gd name="connsiteX0" fmla="*/ 157655 w 861848"/>
                  <a:gd name="connsiteY0" fmla="*/ 1578283 h 1578283"/>
                  <a:gd name="connsiteX1" fmla="*/ 436179 w 861848"/>
                  <a:gd name="connsiteY1" fmla="*/ 1326035 h 1578283"/>
                  <a:gd name="connsiteX2" fmla="*/ 420413 w 861848"/>
                  <a:gd name="connsiteY2" fmla="*/ 1305014 h 1578283"/>
                  <a:gd name="connsiteX3" fmla="*/ 541282 w 861848"/>
                  <a:gd name="connsiteY3" fmla="*/ 1189400 h 1578283"/>
                  <a:gd name="connsiteX4" fmla="*/ 578069 w 861848"/>
                  <a:gd name="connsiteY4" fmla="*/ 1220931 h 1578283"/>
                  <a:gd name="connsiteX5" fmla="*/ 861848 w 861848"/>
                  <a:gd name="connsiteY5" fmla="*/ 973938 h 1578283"/>
                  <a:gd name="connsiteX6" fmla="*/ 315310 w 861848"/>
                  <a:gd name="connsiteY6" fmla="*/ 196173 h 1578283"/>
                  <a:gd name="connsiteX7" fmla="*/ 183932 w 861848"/>
                  <a:gd name="connsiteY7" fmla="*/ 133110 h 1578283"/>
                  <a:gd name="connsiteX8" fmla="*/ 97057 w 861848"/>
                  <a:gd name="connsiteY8" fmla="*/ 0 h 1578283"/>
                  <a:gd name="connsiteX9" fmla="*/ 34500 w 861848"/>
                  <a:gd name="connsiteY9" fmla="*/ 182160 h 1578283"/>
                  <a:gd name="connsiteX10" fmla="*/ 42042 w 861848"/>
                  <a:gd name="connsiteY10" fmla="*/ 343318 h 1578283"/>
                  <a:gd name="connsiteX11" fmla="*/ 131380 w 861848"/>
                  <a:gd name="connsiteY11" fmla="*/ 490462 h 1578283"/>
                  <a:gd name="connsiteX12" fmla="*/ 189185 w 861848"/>
                  <a:gd name="connsiteY12" fmla="*/ 700668 h 1578283"/>
                  <a:gd name="connsiteX13" fmla="*/ 120869 w 861848"/>
                  <a:gd name="connsiteY13" fmla="*/ 973938 h 1578283"/>
                  <a:gd name="connsiteX14" fmla="*/ 0 w 861848"/>
                  <a:gd name="connsiteY14" fmla="*/ 1341800 h 1578283"/>
                  <a:gd name="connsiteX15" fmla="*/ 157655 w 861848"/>
                  <a:gd name="connsiteY15" fmla="*/ 1578283 h 1578283"/>
                  <a:gd name="connsiteX0" fmla="*/ 157655 w 861848"/>
                  <a:gd name="connsiteY0" fmla="*/ 1578283 h 1578283"/>
                  <a:gd name="connsiteX1" fmla="*/ 436179 w 861848"/>
                  <a:gd name="connsiteY1" fmla="*/ 1326035 h 1578283"/>
                  <a:gd name="connsiteX2" fmla="*/ 420413 w 861848"/>
                  <a:gd name="connsiteY2" fmla="*/ 1305014 h 1578283"/>
                  <a:gd name="connsiteX3" fmla="*/ 541282 w 861848"/>
                  <a:gd name="connsiteY3" fmla="*/ 1189400 h 1578283"/>
                  <a:gd name="connsiteX4" fmla="*/ 578069 w 861848"/>
                  <a:gd name="connsiteY4" fmla="*/ 1220931 h 1578283"/>
                  <a:gd name="connsiteX5" fmla="*/ 861848 w 861848"/>
                  <a:gd name="connsiteY5" fmla="*/ 973938 h 1578283"/>
                  <a:gd name="connsiteX6" fmla="*/ 315310 w 861848"/>
                  <a:gd name="connsiteY6" fmla="*/ 196173 h 1578283"/>
                  <a:gd name="connsiteX7" fmla="*/ 183932 w 861848"/>
                  <a:gd name="connsiteY7" fmla="*/ 133110 h 1578283"/>
                  <a:gd name="connsiteX8" fmla="*/ 97057 w 861848"/>
                  <a:gd name="connsiteY8" fmla="*/ 0 h 1578283"/>
                  <a:gd name="connsiteX9" fmla="*/ 34500 w 861848"/>
                  <a:gd name="connsiteY9" fmla="*/ 182160 h 1578283"/>
                  <a:gd name="connsiteX10" fmla="*/ 50877 w 861848"/>
                  <a:gd name="connsiteY10" fmla="*/ 255742 h 1578283"/>
                  <a:gd name="connsiteX11" fmla="*/ 131380 w 861848"/>
                  <a:gd name="connsiteY11" fmla="*/ 490462 h 1578283"/>
                  <a:gd name="connsiteX12" fmla="*/ 189185 w 861848"/>
                  <a:gd name="connsiteY12" fmla="*/ 700668 h 1578283"/>
                  <a:gd name="connsiteX13" fmla="*/ 120869 w 861848"/>
                  <a:gd name="connsiteY13" fmla="*/ 973938 h 1578283"/>
                  <a:gd name="connsiteX14" fmla="*/ 0 w 861848"/>
                  <a:gd name="connsiteY14" fmla="*/ 1341800 h 1578283"/>
                  <a:gd name="connsiteX15" fmla="*/ 157655 w 861848"/>
                  <a:gd name="connsiteY15" fmla="*/ 1578283 h 1578283"/>
                  <a:gd name="connsiteX0" fmla="*/ 192993 w 897186"/>
                  <a:gd name="connsiteY0" fmla="*/ 1578283 h 1578283"/>
                  <a:gd name="connsiteX1" fmla="*/ 471517 w 897186"/>
                  <a:gd name="connsiteY1" fmla="*/ 1326035 h 1578283"/>
                  <a:gd name="connsiteX2" fmla="*/ 455751 w 897186"/>
                  <a:gd name="connsiteY2" fmla="*/ 1305014 h 1578283"/>
                  <a:gd name="connsiteX3" fmla="*/ 576620 w 897186"/>
                  <a:gd name="connsiteY3" fmla="*/ 1189400 h 1578283"/>
                  <a:gd name="connsiteX4" fmla="*/ 613407 w 897186"/>
                  <a:gd name="connsiteY4" fmla="*/ 1220931 h 1578283"/>
                  <a:gd name="connsiteX5" fmla="*/ 897186 w 897186"/>
                  <a:gd name="connsiteY5" fmla="*/ 973938 h 1578283"/>
                  <a:gd name="connsiteX6" fmla="*/ 350648 w 897186"/>
                  <a:gd name="connsiteY6" fmla="*/ 196173 h 1578283"/>
                  <a:gd name="connsiteX7" fmla="*/ 219270 w 897186"/>
                  <a:gd name="connsiteY7" fmla="*/ 133110 h 1578283"/>
                  <a:gd name="connsiteX8" fmla="*/ 132395 w 897186"/>
                  <a:gd name="connsiteY8" fmla="*/ 0 h 1578283"/>
                  <a:gd name="connsiteX9" fmla="*/ 69838 w 897186"/>
                  <a:gd name="connsiteY9" fmla="*/ 182160 h 1578283"/>
                  <a:gd name="connsiteX10" fmla="*/ 86215 w 897186"/>
                  <a:gd name="connsiteY10" fmla="*/ 255742 h 1578283"/>
                  <a:gd name="connsiteX11" fmla="*/ 166718 w 897186"/>
                  <a:gd name="connsiteY11" fmla="*/ 490462 h 1578283"/>
                  <a:gd name="connsiteX12" fmla="*/ 224523 w 897186"/>
                  <a:gd name="connsiteY12" fmla="*/ 700668 h 1578283"/>
                  <a:gd name="connsiteX13" fmla="*/ 156207 w 897186"/>
                  <a:gd name="connsiteY13" fmla="*/ 973938 h 1578283"/>
                  <a:gd name="connsiteX14" fmla="*/ 0 w 897186"/>
                  <a:gd name="connsiteY14" fmla="*/ 1306770 h 1578283"/>
                  <a:gd name="connsiteX15" fmla="*/ 192993 w 897186"/>
                  <a:gd name="connsiteY15" fmla="*/ 1578283 h 1578283"/>
                  <a:gd name="connsiteX0" fmla="*/ 192993 w 897186"/>
                  <a:gd name="connsiteY0" fmla="*/ 1578283 h 1578283"/>
                  <a:gd name="connsiteX1" fmla="*/ 471517 w 897186"/>
                  <a:gd name="connsiteY1" fmla="*/ 1326035 h 1578283"/>
                  <a:gd name="connsiteX2" fmla="*/ 455751 w 897186"/>
                  <a:gd name="connsiteY2" fmla="*/ 1305014 h 1578283"/>
                  <a:gd name="connsiteX3" fmla="*/ 576620 w 897186"/>
                  <a:gd name="connsiteY3" fmla="*/ 1189400 h 1578283"/>
                  <a:gd name="connsiteX4" fmla="*/ 613407 w 897186"/>
                  <a:gd name="connsiteY4" fmla="*/ 1220931 h 1578283"/>
                  <a:gd name="connsiteX5" fmla="*/ 897186 w 897186"/>
                  <a:gd name="connsiteY5" fmla="*/ 973938 h 1578283"/>
                  <a:gd name="connsiteX6" fmla="*/ 350648 w 897186"/>
                  <a:gd name="connsiteY6" fmla="*/ 196173 h 1578283"/>
                  <a:gd name="connsiteX7" fmla="*/ 219270 w 897186"/>
                  <a:gd name="connsiteY7" fmla="*/ 133110 h 1578283"/>
                  <a:gd name="connsiteX8" fmla="*/ 132395 w 897186"/>
                  <a:gd name="connsiteY8" fmla="*/ 0 h 1578283"/>
                  <a:gd name="connsiteX9" fmla="*/ 69838 w 897186"/>
                  <a:gd name="connsiteY9" fmla="*/ 182160 h 1578283"/>
                  <a:gd name="connsiteX10" fmla="*/ 86215 w 897186"/>
                  <a:gd name="connsiteY10" fmla="*/ 255742 h 1578283"/>
                  <a:gd name="connsiteX11" fmla="*/ 166718 w 897186"/>
                  <a:gd name="connsiteY11" fmla="*/ 490462 h 1578283"/>
                  <a:gd name="connsiteX12" fmla="*/ 224523 w 897186"/>
                  <a:gd name="connsiteY12" fmla="*/ 700668 h 1578283"/>
                  <a:gd name="connsiteX13" fmla="*/ 134120 w 897186"/>
                  <a:gd name="connsiteY13" fmla="*/ 938907 h 1578283"/>
                  <a:gd name="connsiteX14" fmla="*/ 0 w 897186"/>
                  <a:gd name="connsiteY14" fmla="*/ 1306770 h 1578283"/>
                  <a:gd name="connsiteX15" fmla="*/ 192993 w 897186"/>
                  <a:gd name="connsiteY15" fmla="*/ 1578283 h 1578283"/>
                  <a:gd name="connsiteX0" fmla="*/ 192993 w 897186"/>
                  <a:gd name="connsiteY0" fmla="*/ 1578283 h 1578283"/>
                  <a:gd name="connsiteX1" fmla="*/ 471517 w 897186"/>
                  <a:gd name="connsiteY1" fmla="*/ 1326035 h 1578283"/>
                  <a:gd name="connsiteX2" fmla="*/ 455751 w 897186"/>
                  <a:gd name="connsiteY2" fmla="*/ 1305014 h 1578283"/>
                  <a:gd name="connsiteX3" fmla="*/ 576620 w 897186"/>
                  <a:gd name="connsiteY3" fmla="*/ 1189400 h 1578283"/>
                  <a:gd name="connsiteX4" fmla="*/ 613407 w 897186"/>
                  <a:gd name="connsiteY4" fmla="*/ 1220931 h 1578283"/>
                  <a:gd name="connsiteX5" fmla="*/ 897186 w 897186"/>
                  <a:gd name="connsiteY5" fmla="*/ 973938 h 1578283"/>
                  <a:gd name="connsiteX6" fmla="*/ 350648 w 897186"/>
                  <a:gd name="connsiteY6" fmla="*/ 196173 h 1578283"/>
                  <a:gd name="connsiteX7" fmla="*/ 219270 w 897186"/>
                  <a:gd name="connsiteY7" fmla="*/ 133110 h 1578283"/>
                  <a:gd name="connsiteX8" fmla="*/ 132395 w 897186"/>
                  <a:gd name="connsiteY8" fmla="*/ 0 h 1578283"/>
                  <a:gd name="connsiteX9" fmla="*/ 69838 w 897186"/>
                  <a:gd name="connsiteY9" fmla="*/ 182160 h 1578283"/>
                  <a:gd name="connsiteX10" fmla="*/ 86215 w 897186"/>
                  <a:gd name="connsiteY10" fmla="*/ 255742 h 1578283"/>
                  <a:gd name="connsiteX11" fmla="*/ 166718 w 897186"/>
                  <a:gd name="connsiteY11" fmla="*/ 490462 h 1578283"/>
                  <a:gd name="connsiteX12" fmla="*/ 30167 w 897186"/>
                  <a:gd name="connsiteY12" fmla="*/ 687531 h 1578283"/>
                  <a:gd name="connsiteX13" fmla="*/ 134120 w 897186"/>
                  <a:gd name="connsiteY13" fmla="*/ 938907 h 1578283"/>
                  <a:gd name="connsiteX14" fmla="*/ 0 w 897186"/>
                  <a:gd name="connsiteY14" fmla="*/ 1306770 h 1578283"/>
                  <a:gd name="connsiteX15" fmla="*/ 192993 w 897186"/>
                  <a:gd name="connsiteY15" fmla="*/ 1578283 h 1578283"/>
                  <a:gd name="connsiteX0" fmla="*/ 192993 w 897186"/>
                  <a:gd name="connsiteY0" fmla="*/ 1578283 h 1578283"/>
                  <a:gd name="connsiteX1" fmla="*/ 471517 w 897186"/>
                  <a:gd name="connsiteY1" fmla="*/ 1326035 h 1578283"/>
                  <a:gd name="connsiteX2" fmla="*/ 455751 w 897186"/>
                  <a:gd name="connsiteY2" fmla="*/ 1305014 h 1578283"/>
                  <a:gd name="connsiteX3" fmla="*/ 576620 w 897186"/>
                  <a:gd name="connsiteY3" fmla="*/ 1189400 h 1578283"/>
                  <a:gd name="connsiteX4" fmla="*/ 613407 w 897186"/>
                  <a:gd name="connsiteY4" fmla="*/ 1220931 h 1578283"/>
                  <a:gd name="connsiteX5" fmla="*/ 897186 w 897186"/>
                  <a:gd name="connsiteY5" fmla="*/ 973938 h 1578283"/>
                  <a:gd name="connsiteX6" fmla="*/ 350648 w 897186"/>
                  <a:gd name="connsiteY6" fmla="*/ 196173 h 1578283"/>
                  <a:gd name="connsiteX7" fmla="*/ 219270 w 897186"/>
                  <a:gd name="connsiteY7" fmla="*/ 133110 h 1578283"/>
                  <a:gd name="connsiteX8" fmla="*/ 132395 w 897186"/>
                  <a:gd name="connsiteY8" fmla="*/ 0 h 1578283"/>
                  <a:gd name="connsiteX9" fmla="*/ 69838 w 897186"/>
                  <a:gd name="connsiteY9" fmla="*/ 182160 h 1578283"/>
                  <a:gd name="connsiteX10" fmla="*/ 86215 w 897186"/>
                  <a:gd name="connsiteY10" fmla="*/ 255742 h 1578283"/>
                  <a:gd name="connsiteX11" fmla="*/ 16533 w 897186"/>
                  <a:gd name="connsiteY11" fmla="*/ 258387 h 1578283"/>
                  <a:gd name="connsiteX12" fmla="*/ 30167 w 897186"/>
                  <a:gd name="connsiteY12" fmla="*/ 687531 h 1578283"/>
                  <a:gd name="connsiteX13" fmla="*/ 134120 w 897186"/>
                  <a:gd name="connsiteY13" fmla="*/ 938907 h 1578283"/>
                  <a:gd name="connsiteX14" fmla="*/ 0 w 897186"/>
                  <a:gd name="connsiteY14" fmla="*/ 1306770 h 1578283"/>
                  <a:gd name="connsiteX15" fmla="*/ 192993 w 897186"/>
                  <a:gd name="connsiteY15" fmla="*/ 1578283 h 1578283"/>
                  <a:gd name="connsiteX0" fmla="*/ 192993 w 897186"/>
                  <a:gd name="connsiteY0" fmla="*/ 1578283 h 1578283"/>
                  <a:gd name="connsiteX1" fmla="*/ 471517 w 897186"/>
                  <a:gd name="connsiteY1" fmla="*/ 1326035 h 1578283"/>
                  <a:gd name="connsiteX2" fmla="*/ 455751 w 897186"/>
                  <a:gd name="connsiteY2" fmla="*/ 1305014 h 1578283"/>
                  <a:gd name="connsiteX3" fmla="*/ 613407 w 897186"/>
                  <a:gd name="connsiteY3" fmla="*/ 1220931 h 1578283"/>
                  <a:gd name="connsiteX4" fmla="*/ 897186 w 897186"/>
                  <a:gd name="connsiteY4" fmla="*/ 973938 h 1578283"/>
                  <a:gd name="connsiteX5" fmla="*/ 350648 w 897186"/>
                  <a:gd name="connsiteY5" fmla="*/ 196173 h 1578283"/>
                  <a:gd name="connsiteX6" fmla="*/ 219270 w 897186"/>
                  <a:gd name="connsiteY6" fmla="*/ 133110 h 1578283"/>
                  <a:gd name="connsiteX7" fmla="*/ 132395 w 897186"/>
                  <a:gd name="connsiteY7" fmla="*/ 0 h 1578283"/>
                  <a:gd name="connsiteX8" fmla="*/ 69838 w 897186"/>
                  <a:gd name="connsiteY8" fmla="*/ 182160 h 1578283"/>
                  <a:gd name="connsiteX9" fmla="*/ 86215 w 897186"/>
                  <a:gd name="connsiteY9" fmla="*/ 255742 h 1578283"/>
                  <a:gd name="connsiteX10" fmla="*/ 16533 w 897186"/>
                  <a:gd name="connsiteY10" fmla="*/ 258387 h 1578283"/>
                  <a:gd name="connsiteX11" fmla="*/ 30167 w 897186"/>
                  <a:gd name="connsiteY11" fmla="*/ 687531 h 1578283"/>
                  <a:gd name="connsiteX12" fmla="*/ 134120 w 897186"/>
                  <a:gd name="connsiteY12" fmla="*/ 938907 h 1578283"/>
                  <a:gd name="connsiteX13" fmla="*/ 0 w 897186"/>
                  <a:gd name="connsiteY13" fmla="*/ 1306770 h 1578283"/>
                  <a:gd name="connsiteX14" fmla="*/ 192993 w 897186"/>
                  <a:gd name="connsiteY14" fmla="*/ 1578283 h 1578283"/>
                  <a:gd name="connsiteX0" fmla="*/ 192993 w 897186"/>
                  <a:gd name="connsiteY0" fmla="*/ 1578283 h 1578283"/>
                  <a:gd name="connsiteX1" fmla="*/ 471517 w 897186"/>
                  <a:gd name="connsiteY1" fmla="*/ 1326035 h 1578283"/>
                  <a:gd name="connsiteX2" fmla="*/ 455751 w 897186"/>
                  <a:gd name="connsiteY2" fmla="*/ 1305014 h 1578283"/>
                  <a:gd name="connsiteX3" fmla="*/ 608989 w 897186"/>
                  <a:gd name="connsiteY3" fmla="*/ 1199037 h 1578283"/>
                  <a:gd name="connsiteX4" fmla="*/ 897186 w 897186"/>
                  <a:gd name="connsiteY4" fmla="*/ 973938 h 1578283"/>
                  <a:gd name="connsiteX5" fmla="*/ 350648 w 897186"/>
                  <a:gd name="connsiteY5" fmla="*/ 196173 h 1578283"/>
                  <a:gd name="connsiteX6" fmla="*/ 219270 w 897186"/>
                  <a:gd name="connsiteY6" fmla="*/ 133110 h 1578283"/>
                  <a:gd name="connsiteX7" fmla="*/ 132395 w 897186"/>
                  <a:gd name="connsiteY7" fmla="*/ 0 h 1578283"/>
                  <a:gd name="connsiteX8" fmla="*/ 69838 w 897186"/>
                  <a:gd name="connsiteY8" fmla="*/ 182160 h 1578283"/>
                  <a:gd name="connsiteX9" fmla="*/ 86215 w 897186"/>
                  <a:gd name="connsiteY9" fmla="*/ 255742 h 1578283"/>
                  <a:gd name="connsiteX10" fmla="*/ 16533 w 897186"/>
                  <a:gd name="connsiteY10" fmla="*/ 258387 h 1578283"/>
                  <a:gd name="connsiteX11" fmla="*/ 30167 w 897186"/>
                  <a:gd name="connsiteY11" fmla="*/ 687531 h 1578283"/>
                  <a:gd name="connsiteX12" fmla="*/ 134120 w 897186"/>
                  <a:gd name="connsiteY12" fmla="*/ 938907 h 1578283"/>
                  <a:gd name="connsiteX13" fmla="*/ 0 w 897186"/>
                  <a:gd name="connsiteY13" fmla="*/ 1306770 h 1578283"/>
                  <a:gd name="connsiteX14" fmla="*/ 192993 w 897186"/>
                  <a:gd name="connsiteY14" fmla="*/ 1578283 h 1578283"/>
                  <a:gd name="connsiteX0" fmla="*/ 192993 w 897186"/>
                  <a:gd name="connsiteY0" fmla="*/ 1578283 h 1578283"/>
                  <a:gd name="connsiteX1" fmla="*/ 471517 w 897186"/>
                  <a:gd name="connsiteY1" fmla="*/ 1326035 h 1578283"/>
                  <a:gd name="connsiteX2" fmla="*/ 608989 w 897186"/>
                  <a:gd name="connsiteY2" fmla="*/ 1199037 h 1578283"/>
                  <a:gd name="connsiteX3" fmla="*/ 897186 w 897186"/>
                  <a:gd name="connsiteY3" fmla="*/ 973938 h 1578283"/>
                  <a:gd name="connsiteX4" fmla="*/ 350648 w 897186"/>
                  <a:gd name="connsiteY4" fmla="*/ 196173 h 1578283"/>
                  <a:gd name="connsiteX5" fmla="*/ 219270 w 897186"/>
                  <a:gd name="connsiteY5" fmla="*/ 133110 h 1578283"/>
                  <a:gd name="connsiteX6" fmla="*/ 132395 w 897186"/>
                  <a:gd name="connsiteY6" fmla="*/ 0 h 1578283"/>
                  <a:gd name="connsiteX7" fmla="*/ 69838 w 897186"/>
                  <a:gd name="connsiteY7" fmla="*/ 182160 h 1578283"/>
                  <a:gd name="connsiteX8" fmla="*/ 86215 w 897186"/>
                  <a:gd name="connsiteY8" fmla="*/ 255742 h 1578283"/>
                  <a:gd name="connsiteX9" fmla="*/ 16533 w 897186"/>
                  <a:gd name="connsiteY9" fmla="*/ 258387 h 1578283"/>
                  <a:gd name="connsiteX10" fmla="*/ 30167 w 897186"/>
                  <a:gd name="connsiteY10" fmla="*/ 687531 h 1578283"/>
                  <a:gd name="connsiteX11" fmla="*/ 134120 w 897186"/>
                  <a:gd name="connsiteY11" fmla="*/ 938907 h 1578283"/>
                  <a:gd name="connsiteX12" fmla="*/ 0 w 897186"/>
                  <a:gd name="connsiteY12" fmla="*/ 1306770 h 1578283"/>
                  <a:gd name="connsiteX13" fmla="*/ 192993 w 897186"/>
                  <a:gd name="connsiteY13" fmla="*/ 1578283 h 1578283"/>
                  <a:gd name="connsiteX0" fmla="*/ 162072 w 897186"/>
                  <a:gd name="connsiteY0" fmla="*/ 1547631 h 1547631"/>
                  <a:gd name="connsiteX1" fmla="*/ 471517 w 897186"/>
                  <a:gd name="connsiteY1" fmla="*/ 1326035 h 1547631"/>
                  <a:gd name="connsiteX2" fmla="*/ 608989 w 897186"/>
                  <a:gd name="connsiteY2" fmla="*/ 1199037 h 1547631"/>
                  <a:gd name="connsiteX3" fmla="*/ 897186 w 897186"/>
                  <a:gd name="connsiteY3" fmla="*/ 973938 h 1547631"/>
                  <a:gd name="connsiteX4" fmla="*/ 350648 w 897186"/>
                  <a:gd name="connsiteY4" fmla="*/ 196173 h 1547631"/>
                  <a:gd name="connsiteX5" fmla="*/ 219270 w 897186"/>
                  <a:gd name="connsiteY5" fmla="*/ 133110 h 1547631"/>
                  <a:gd name="connsiteX6" fmla="*/ 132395 w 897186"/>
                  <a:gd name="connsiteY6" fmla="*/ 0 h 1547631"/>
                  <a:gd name="connsiteX7" fmla="*/ 69838 w 897186"/>
                  <a:gd name="connsiteY7" fmla="*/ 182160 h 1547631"/>
                  <a:gd name="connsiteX8" fmla="*/ 86215 w 897186"/>
                  <a:gd name="connsiteY8" fmla="*/ 255742 h 1547631"/>
                  <a:gd name="connsiteX9" fmla="*/ 16533 w 897186"/>
                  <a:gd name="connsiteY9" fmla="*/ 258387 h 1547631"/>
                  <a:gd name="connsiteX10" fmla="*/ 30167 w 897186"/>
                  <a:gd name="connsiteY10" fmla="*/ 687531 h 1547631"/>
                  <a:gd name="connsiteX11" fmla="*/ 134120 w 897186"/>
                  <a:gd name="connsiteY11" fmla="*/ 938907 h 1547631"/>
                  <a:gd name="connsiteX12" fmla="*/ 0 w 897186"/>
                  <a:gd name="connsiteY12" fmla="*/ 1306770 h 1547631"/>
                  <a:gd name="connsiteX13" fmla="*/ 162072 w 897186"/>
                  <a:gd name="connsiteY13" fmla="*/ 1547631 h 1547631"/>
                  <a:gd name="connsiteX0" fmla="*/ 162072 w 897186"/>
                  <a:gd name="connsiteY0" fmla="*/ 1547631 h 1547631"/>
                  <a:gd name="connsiteX1" fmla="*/ 608989 w 897186"/>
                  <a:gd name="connsiteY1" fmla="*/ 1199037 h 1547631"/>
                  <a:gd name="connsiteX2" fmla="*/ 897186 w 897186"/>
                  <a:gd name="connsiteY2" fmla="*/ 973938 h 1547631"/>
                  <a:gd name="connsiteX3" fmla="*/ 350648 w 897186"/>
                  <a:gd name="connsiteY3" fmla="*/ 196173 h 1547631"/>
                  <a:gd name="connsiteX4" fmla="*/ 219270 w 897186"/>
                  <a:gd name="connsiteY4" fmla="*/ 133110 h 1547631"/>
                  <a:gd name="connsiteX5" fmla="*/ 132395 w 897186"/>
                  <a:gd name="connsiteY5" fmla="*/ 0 h 1547631"/>
                  <a:gd name="connsiteX6" fmla="*/ 69838 w 897186"/>
                  <a:gd name="connsiteY6" fmla="*/ 182160 h 1547631"/>
                  <a:gd name="connsiteX7" fmla="*/ 86215 w 897186"/>
                  <a:gd name="connsiteY7" fmla="*/ 255742 h 1547631"/>
                  <a:gd name="connsiteX8" fmla="*/ 16533 w 897186"/>
                  <a:gd name="connsiteY8" fmla="*/ 258387 h 1547631"/>
                  <a:gd name="connsiteX9" fmla="*/ 30167 w 897186"/>
                  <a:gd name="connsiteY9" fmla="*/ 687531 h 1547631"/>
                  <a:gd name="connsiteX10" fmla="*/ 134120 w 897186"/>
                  <a:gd name="connsiteY10" fmla="*/ 938907 h 1547631"/>
                  <a:gd name="connsiteX11" fmla="*/ 0 w 897186"/>
                  <a:gd name="connsiteY11" fmla="*/ 1306770 h 1547631"/>
                  <a:gd name="connsiteX12" fmla="*/ 162072 w 897186"/>
                  <a:gd name="connsiteY12" fmla="*/ 1547631 h 1547631"/>
                  <a:gd name="connsiteX0" fmla="*/ 162072 w 919272"/>
                  <a:gd name="connsiteY0" fmla="*/ 1547631 h 1547631"/>
                  <a:gd name="connsiteX1" fmla="*/ 608989 w 919272"/>
                  <a:gd name="connsiteY1" fmla="*/ 1199037 h 1547631"/>
                  <a:gd name="connsiteX2" fmla="*/ 919272 w 919272"/>
                  <a:gd name="connsiteY2" fmla="*/ 965181 h 1547631"/>
                  <a:gd name="connsiteX3" fmla="*/ 350648 w 919272"/>
                  <a:gd name="connsiteY3" fmla="*/ 196173 h 1547631"/>
                  <a:gd name="connsiteX4" fmla="*/ 219270 w 919272"/>
                  <a:gd name="connsiteY4" fmla="*/ 133110 h 1547631"/>
                  <a:gd name="connsiteX5" fmla="*/ 132395 w 919272"/>
                  <a:gd name="connsiteY5" fmla="*/ 0 h 1547631"/>
                  <a:gd name="connsiteX6" fmla="*/ 69838 w 919272"/>
                  <a:gd name="connsiteY6" fmla="*/ 182160 h 1547631"/>
                  <a:gd name="connsiteX7" fmla="*/ 86215 w 919272"/>
                  <a:gd name="connsiteY7" fmla="*/ 255742 h 1547631"/>
                  <a:gd name="connsiteX8" fmla="*/ 16533 w 919272"/>
                  <a:gd name="connsiteY8" fmla="*/ 258387 h 1547631"/>
                  <a:gd name="connsiteX9" fmla="*/ 30167 w 919272"/>
                  <a:gd name="connsiteY9" fmla="*/ 687531 h 1547631"/>
                  <a:gd name="connsiteX10" fmla="*/ 134120 w 919272"/>
                  <a:gd name="connsiteY10" fmla="*/ 938907 h 1547631"/>
                  <a:gd name="connsiteX11" fmla="*/ 0 w 919272"/>
                  <a:gd name="connsiteY11" fmla="*/ 1306770 h 1547631"/>
                  <a:gd name="connsiteX12" fmla="*/ 162072 w 919272"/>
                  <a:gd name="connsiteY12" fmla="*/ 1547631 h 1547631"/>
                  <a:gd name="connsiteX0" fmla="*/ 162072 w 919272"/>
                  <a:gd name="connsiteY0" fmla="*/ 1547631 h 1547631"/>
                  <a:gd name="connsiteX1" fmla="*/ 608989 w 919272"/>
                  <a:gd name="connsiteY1" fmla="*/ 1199037 h 1547631"/>
                  <a:gd name="connsiteX2" fmla="*/ 919272 w 919272"/>
                  <a:gd name="connsiteY2" fmla="*/ 965181 h 1547631"/>
                  <a:gd name="connsiteX3" fmla="*/ 341814 w 919272"/>
                  <a:gd name="connsiteY3" fmla="*/ 213687 h 1547631"/>
                  <a:gd name="connsiteX4" fmla="*/ 219270 w 919272"/>
                  <a:gd name="connsiteY4" fmla="*/ 133110 h 1547631"/>
                  <a:gd name="connsiteX5" fmla="*/ 132395 w 919272"/>
                  <a:gd name="connsiteY5" fmla="*/ 0 h 1547631"/>
                  <a:gd name="connsiteX6" fmla="*/ 69838 w 919272"/>
                  <a:gd name="connsiteY6" fmla="*/ 182160 h 1547631"/>
                  <a:gd name="connsiteX7" fmla="*/ 86215 w 919272"/>
                  <a:gd name="connsiteY7" fmla="*/ 255742 h 1547631"/>
                  <a:gd name="connsiteX8" fmla="*/ 16533 w 919272"/>
                  <a:gd name="connsiteY8" fmla="*/ 258387 h 1547631"/>
                  <a:gd name="connsiteX9" fmla="*/ 30167 w 919272"/>
                  <a:gd name="connsiteY9" fmla="*/ 687531 h 1547631"/>
                  <a:gd name="connsiteX10" fmla="*/ 134120 w 919272"/>
                  <a:gd name="connsiteY10" fmla="*/ 938907 h 1547631"/>
                  <a:gd name="connsiteX11" fmla="*/ 0 w 919272"/>
                  <a:gd name="connsiteY11" fmla="*/ 1306770 h 1547631"/>
                  <a:gd name="connsiteX12" fmla="*/ 162072 w 919272"/>
                  <a:gd name="connsiteY12" fmla="*/ 1547631 h 1547631"/>
                  <a:gd name="connsiteX0" fmla="*/ 162072 w 919272"/>
                  <a:gd name="connsiteY0" fmla="*/ 1446919 h 1446919"/>
                  <a:gd name="connsiteX1" fmla="*/ 608989 w 919272"/>
                  <a:gd name="connsiteY1" fmla="*/ 1098325 h 1446919"/>
                  <a:gd name="connsiteX2" fmla="*/ 919272 w 919272"/>
                  <a:gd name="connsiteY2" fmla="*/ 864469 h 1446919"/>
                  <a:gd name="connsiteX3" fmla="*/ 341814 w 919272"/>
                  <a:gd name="connsiteY3" fmla="*/ 112975 h 1446919"/>
                  <a:gd name="connsiteX4" fmla="*/ 219270 w 919272"/>
                  <a:gd name="connsiteY4" fmla="*/ 32398 h 1446919"/>
                  <a:gd name="connsiteX5" fmla="*/ 114725 w 919272"/>
                  <a:gd name="connsiteY5" fmla="*/ 0 h 1446919"/>
                  <a:gd name="connsiteX6" fmla="*/ 69838 w 919272"/>
                  <a:gd name="connsiteY6" fmla="*/ 81448 h 1446919"/>
                  <a:gd name="connsiteX7" fmla="*/ 86215 w 919272"/>
                  <a:gd name="connsiteY7" fmla="*/ 155030 h 1446919"/>
                  <a:gd name="connsiteX8" fmla="*/ 16533 w 919272"/>
                  <a:gd name="connsiteY8" fmla="*/ 157675 h 1446919"/>
                  <a:gd name="connsiteX9" fmla="*/ 30167 w 919272"/>
                  <a:gd name="connsiteY9" fmla="*/ 586819 h 1446919"/>
                  <a:gd name="connsiteX10" fmla="*/ 134120 w 919272"/>
                  <a:gd name="connsiteY10" fmla="*/ 838195 h 1446919"/>
                  <a:gd name="connsiteX11" fmla="*/ 0 w 919272"/>
                  <a:gd name="connsiteY11" fmla="*/ 1206058 h 1446919"/>
                  <a:gd name="connsiteX12" fmla="*/ 162072 w 919272"/>
                  <a:gd name="connsiteY12" fmla="*/ 1446919 h 1446919"/>
                  <a:gd name="connsiteX0" fmla="*/ 162072 w 919272"/>
                  <a:gd name="connsiteY0" fmla="*/ 1447432 h 1447432"/>
                  <a:gd name="connsiteX1" fmla="*/ 608989 w 919272"/>
                  <a:gd name="connsiteY1" fmla="*/ 1098838 h 1447432"/>
                  <a:gd name="connsiteX2" fmla="*/ 919272 w 919272"/>
                  <a:gd name="connsiteY2" fmla="*/ 864982 h 1447432"/>
                  <a:gd name="connsiteX3" fmla="*/ 341814 w 919272"/>
                  <a:gd name="connsiteY3" fmla="*/ 113488 h 1447432"/>
                  <a:gd name="connsiteX4" fmla="*/ 114725 w 919272"/>
                  <a:gd name="connsiteY4" fmla="*/ 513 h 1447432"/>
                  <a:gd name="connsiteX5" fmla="*/ 69838 w 919272"/>
                  <a:gd name="connsiteY5" fmla="*/ 81961 h 1447432"/>
                  <a:gd name="connsiteX6" fmla="*/ 86215 w 919272"/>
                  <a:gd name="connsiteY6" fmla="*/ 155543 h 1447432"/>
                  <a:gd name="connsiteX7" fmla="*/ 16533 w 919272"/>
                  <a:gd name="connsiteY7" fmla="*/ 158188 h 1447432"/>
                  <a:gd name="connsiteX8" fmla="*/ 30167 w 919272"/>
                  <a:gd name="connsiteY8" fmla="*/ 587332 h 1447432"/>
                  <a:gd name="connsiteX9" fmla="*/ 134120 w 919272"/>
                  <a:gd name="connsiteY9" fmla="*/ 838708 h 1447432"/>
                  <a:gd name="connsiteX10" fmla="*/ 0 w 919272"/>
                  <a:gd name="connsiteY10" fmla="*/ 1206571 h 1447432"/>
                  <a:gd name="connsiteX11" fmla="*/ 162072 w 919272"/>
                  <a:gd name="connsiteY11" fmla="*/ 1447432 h 1447432"/>
                  <a:gd name="connsiteX0" fmla="*/ 162072 w 919272"/>
                  <a:gd name="connsiteY0" fmla="*/ 1446919 h 1446919"/>
                  <a:gd name="connsiteX1" fmla="*/ 608989 w 919272"/>
                  <a:gd name="connsiteY1" fmla="*/ 1098325 h 1446919"/>
                  <a:gd name="connsiteX2" fmla="*/ 919272 w 919272"/>
                  <a:gd name="connsiteY2" fmla="*/ 864469 h 1446919"/>
                  <a:gd name="connsiteX3" fmla="*/ 341814 w 919272"/>
                  <a:gd name="connsiteY3" fmla="*/ 112975 h 1446919"/>
                  <a:gd name="connsiteX4" fmla="*/ 114725 w 919272"/>
                  <a:gd name="connsiteY4" fmla="*/ 0 h 1446919"/>
                  <a:gd name="connsiteX5" fmla="*/ 69838 w 919272"/>
                  <a:gd name="connsiteY5" fmla="*/ 81448 h 1446919"/>
                  <a:gd name="connsiteX6" fmla="*/ 86215 w 919272"/>
                  <a:gd name="connsiteY6" fmla="*/ 155030 h 1446919"/>
                  <a:gd name="connsiteX7" fmla="*/ 16533 w 919272"/>
                  <a:gd name="connsiteY7" fmla="*/ 157675 h 1446919"/>
                  <a:gd name="connsiteX8" fmla="*/ 30167 w 919272"/>
                  <a:gd name="connsiteY8" fmla="*/ 586819 h 1446919"/>
                  <a:gd name="connsiteX9" fmla="*/ 134120 w 919272"/>
                  <a:gd name="connsiteY9" fmla="*/ 838195 h 1446919"/>
                  <a:gd name="connsiteX10" fmla="*/ 0 w 919272"/>
                  <a:gd name="connsiteY10" fmla="*/ 1206058 h 1446919"/>
                  <a:gd name="connsiteX11" fmla="*/ 162072 w 919272"/>
                  <a:gd name="connsiteY11" fmla="*/ 1446919 h 1446919"/>
                  <a:gd name="connsiteX0" fmla="*/ 162072 w 919272"/>
                  <a:gd name="connsiteY0" fmla="*/ 1433783 h 1433783"/>
                  <a:gd name="connsiteX1" fmla="*/ 608989 w 919272"/>
                  <a:gd name="connsiteY1" fmla="*/ 1085189 h 1433783"/>
                  <a:gd name="connsiteX2" fmla="*/ 919272 w 919272"/>
                  <a:gd name="connsiteY2" fmla="*/ 851333 h 1433783"/>
                  <a:gd name="connsiteX3" fmla="*/ 341814 w 919272"/>
                  <a:gd name="connsiteY3" fmla="*/ 99839 h 1433783"/>
                  <a:gd name="connsiteX4" fmla="*/ 92639 w 919272"/>
                  <a:gd name="connsiteY4" fmla="*/ 0 h 1433783"/>
                  <a:gd name="connsiteX5" fmla="*/ 69838 w 919272"/>
                  <a:gd name="connsiteY5" fmla="*/ 68312 h 1433783"/>
                  <a:gd name="connsiteX6" fmla="*/ 86215 w 919272"/>
                  <a:gd name="connsiteY6" fmla="*/ 141894 h 1433783"/>
                  <a:gd name="connsiteX7" fmla="*/ 16533 w 919272"/>
                  <a:gd name="connsiteY7" fmla="*/ 144539 h 1433783"/>
                  <a:gd name="connsiteX8" fmla="*/ 30167 w 919272"/>
                  <a:gd name="connsiteY8" fmla="*/ 573683 h 1433783"/>
                  <a:gd name="connsiteX9" fmla="*/ 134120 w 919272"/>
                  <a:gd name="connsiteY9" fmla="*/ 825059 h 1433783"/>
                  <a:gd name="connsiteX10" fmla="*/ 0 w 919272"/>
                  <a:gd name="connsiteY10" fmla="*/ 1192922 h 1433783"/>
                  <a:gd name="connsiteX11" fmla="*/ 162072 w 919272"/>
                  <a:gd name="connsiteY11" fmla="*/ 1433783 h 1433783"/>
                  <a:gd name="connsiteX0" fmla="*/ 162072 w 919272"/>
                  <a:gd name="connsiteY0" fmla="*/ 1433783 h 1433783"/>
                  <a:gd name="connsiteX1" fmla="*/ 608989 w 919272"/>
                  <a:gd name="connsiteY1" fmla="*/ 1085189 h 1433783"/>
                  <a:gd name="connsiteX2" fmla="*/ 919272 w 919272"/>
                  <a:gd name="connsiteY2" fmla="*/ 851333 h 1433783"/>
                  <a:gd name="connsiteX3" fmla="*/ 341814 w 919272"/>
                  <a:gd name="connsiteY3" fmla="*/ 99839 h 1433783"/>
                  <a:gd name="connsiteX4" fmla="*/ 92639 w 919272"/>
                  <a:gd name="connsiteY4" fmla="*/ 0 h 1433783"/>
                  <a:gd name="connsiteX5" fmla="*/ 69838 w 919272"/>
                  <a:gd name="connsiteY5" fmla="*/ 68312 h 1433783"/>
                  <a:gd name="connsiteX6" fmla="*/ 86215 w 919272"/>
                  <a:gd name="connsiteY6" fmla="*/ 141894 h 1433783"/>
                  <a:gd name="connsiteX7" fmla="*/ 16533 w 919272"/>
                  <a:gd name="connsiteY7" fmla="*/ 144539 h 1433783"/>
                  <a:gd name="connsiteX8" fmla="*/ 30167 w 919272"/>
                  <a:gd name="connsiteY8" fmla="*/ 573683 h 1433783"/>
                  <a:gd name="connsiteX9" fmla="*/ 134120 w 919272"/>
                  <a:gd name="connsiteY9" fmla="*/ 825059 h 1433783"/>
                  <a:gd name="connsiteX10" fmla="*/ 0 w 919272"/>
                  <a:gd name="connsiteY10" fmla="*/ 1192922 h 1433783"/>
                  <a:gd name="connsiteX11" fmla="*/ 162072 w 919272"/>
                  <a:gd name="connsiteY11" fmla="*/ 1433783 h 1433783"/>
                  <a:gd name="connsiteX0" fmla="*/ 162072 w 919272"/>
                  <a:gd name="connsiteY0" fmla="*/ 1433783 h 1433783"/>
                  <a:gd name="connsiteX1" fmla="*/ 608989 w 919272"/>
                  <a:gd name="connsiteY1" fmla="*/ 1085189 h 1433783"/>
                  <a:gd name="connsiteX2" fmla="*/ 919272 w 919272"/>
                  <a:gd name="connsiteY2" fmla="*/ 851333 h 1433783"/>
                  <a:gd name="connsiteX3" fmla="*/ 341814 w 919272"/>
                  <a:gd name="connsiteY3" fmla="*/ 99839 h 1433783"/>
                  <a:gd name="connsiteX4" fmla="*/ 92639 w 919272"/>
                  <a:gd name="connsiteY4" fmla="*/ 0 h 1433783"/>
                  <a:gd name="connsiteX5" fmla="*/ 69838 w 919272"/>
                  <a:gd name="connsiteY5" fmla="*/ 68312 h 1433783"/>
                  <a:gd name="connsiteX6" fmla="*/ 86215 w 919272"/>
                  <a:gd name="connsiteY6" fmla="*/ 141894 h 1433783"/>
                  <a:gd name="connsiteX7" fmla="*/ 16533 w 919272"/>
                  <a:gd name="connsiteY7" fmla="*/ 144539 h 1433783"/>
                  <a:gd name="connsiteX8" fmla="*/ 12838 w 919272"/>
                  <a:gd name="connsiteY8" fmla="*/ 351720 h 1433783"/>
                  <a:gd name="connsiteX9" fmla="*/ 30167 w 919272"/>
                  <a:gd name="connsiteY9" fmla="*/ 573683 h 1433783"/>
                  <a:gd name="connsiteX10" fmla="*/ 134120 w 919272"/>
                  <a:gd name="connsiteY10" fmla="*/ 825059 h 1433783"/>
                  <a:gd name="connsiteX11" fmla="*/ 0 w 919272"/>
                  <a:gd name="connsiteY11" fmla="*/ 1192922 h 1433783"/>
                  <a:gd name="connsiteX12" fmla="*/ 162072 w 919272"/>
                  <a:gd name="connsiteY12" fmla="*/ 1433783 h 1433783"/>
                  <a:gd name="connsiteX0" fmla="*/ 162072 w 919272"/>
                  <a:gd name="connsiteY0" fmla="*/ 1433783 h 1433783"/>
                  <a:gd name="connsiteX1" fmla="*/ 608989 w 919272"/>
                  <a:gd name="connsiteY1" fmla="*/ 1085189 h 1433783"/>
                  <a:gd name="connsiteX2" fmla="*/ 919272 w 919272"/>
                  <a:gd name="connsiteY2" fmla="*/ 851333 h 1433783"/>
                  <a:gd name="connsiteX3" fmla="*/ 341814 w 919272"/>
                  <a:gd name="connsiteY3" fmla="*/ 99839 h 1433783"/>
                  <a:gd name="connsiteX4" fmla="*/ 92639 w 919272"/>
                  <a:gd name="connsiteY4" fmla="*/ 0 h 1433783"/>
                  <a:gd name="connsiteX5" fmla="*/ 69838 w 919272"/>
                  <a:gd name="connsiteY5" fmla="*/ 68312 h 1433783"/>
                  <a:gd name="connsiteX6" fmla="*/ 86215 w 919272"/>
                  <a:gd name="connsiteY6" fmla="*/ 141894 h 1433783"/>
                  <a:gd name="connsiteX7" fmla="*/ 16533 w 919272"/>
                  <a:gd name="connsiteY7" fmla="*/ 144539 h 1433783"/>
                  <a:gd name="connsiteX8" fmla="*/ 12838 w 919272"/>
                  <a:gd name="connsiteY8" fmla="*/ 251009 h 1433783"/>
                  <a:gd name="connsiteX9" fmla="*/ 30167 w 919272"/>
                  <a:gd name="connsiteY9" fmla="*/ 573683 h 1433783"/>
                  <a:gd name="connsiteX10" fmla="*/ 134120 w 919272"/>
                  <a:gd name="connsiteY10" fmla="*/ 825059 h 1433783"/>
                  <a:gd name="connsiteX11" fmla="*/ 0 w 919272"/>
                  <a:gd name="connsiteY11" fmla="*/ 1192922 h 1433783"/>
                  <a:gd name="connsiteX12" fmla="*/ 162072 w 919272"/>
                  <a:gd name="connsiteY12" fmla="*/ 1433783 h 1433783"/>
                  <a:gd name="connsiteX0" fmla="*/ 162072 w 919272"/>
                  <a:gd name="connsiteY0" fmla="*/ 1433783 h 1433783"/>
                  <a:gd name="connsiteX1" fmla="*/ 608989 w 919272"/>
                  <a:gd name="connsiteY1" fmla="*/ 1085189 h 1433783"/>
                  <a:gd name="connsiteX2" fmla="*/ 919272 w 919272"/>
                  <a:gd name="connsiteY2" fmla="*/ 851333 h 1433783"/>
                  <a:gd name="connsiteX3" fmla="*/ 341814 w 919272"/>
                  <a:gd name="connsiteY3" fmla="*/ 99839 h 1433783"/>
                  <a:gd name="connsiteX4" fmla="*/ 92639 w 919272"/>
                  <a:gd name="connsiteY4" fmla="*/ 0 h 1433783"/>
                  <a:gd name="connsiteX5" fmla="*/ 69838 w 919272"/>
                  <a:gd name="connsiteY5" fmla="*/ 68312 h 1433783"/>
                  <a:gd name="connsiteX6" fmla="*/ 86215 w 919272"/>
                  <a:gd name="connsiteY6" fmla="*/ 141894 h 1433783"/>
                  <a:gd name="connsiteX7" fmla="*/ 16533 w 919272"/>
                  <a:gd name="connsiteY7" fmla="*/ 144539 h 1433783"/>
                  <a:gd name="connsiteX8" fmla="*/ 12838 w 919272"/>
                  <a:gd name="connsiteY8" fmla="*/ 251009 h 1433783"/>
                  <a:gd name="connsiteX9" fmla="*/ 26090 w 919272"/>
                  <a:gd name="connsiteY9" fmla="*/ 417403 h 1433783"/>
                  <a:gd name="connsiteX10" fmla="*/ 30167 w 919272"/>
                  <a:gd name="connsiteY10" fmla="*/ 573683 h 1433783"/>
                  <a:gd name="connsiteX11" fmla="*/ 134120 w 919272"/>
                  <a:gd name="connsiteY11" fmla="*/ 825059 h 1433783"/>
                  <a:gd name="connsiteX12" fmla="*/ 0 w 919272"/>
                  <a:gd name="connsiteY12" fmla="*/ 1192922 h 1433783"/>
                  <a:gd name="connsiteX13" fmla="*/ 162072 w 919272"/>
                  <a:gd name="connsiteY13" fmla="*/ 1433783 h 1433783"/>
                  <a:gd name="connsiteX0" fmla="*/ 197823 w 955023"/>
                  <a:gd name="connsiteY0" fmla="*/ 1433783 h 1433783"/>
                  <a:gd name="connsiteX1" fmla="*/ 644740 w 955023"/>
                  <a:gd name="connsiteY1" fmla="*/ 1085189 h 1433783"/>
                  <a:gd name="connsiteX2" fmla="*/ 955023 w 955023"/>
                  <a:gd name="connsiteY2" fmla="*/ 851333 h 1433783"/>
                  <a:gd name="connsiteX3" fmla="*/ 377565 w 955023"/>
                  <a:gd name="connsiteY3" fmla="*/ 99839 h 1433783"/>
                  <a:gd name="connsiteX4" fmla="*/ 128390 w 955023"/>
                  <a:gd name="connsiteY4" fmla="*/ 0 h 1433783"/>
                  <a:gd name="connsiteX5" fmla="*/ 105589 w 955023"/>
                  <a:gd name="connsiteY5" fmla="*/ 68312 h 1433783"/>
                  <a:gd name="connsiteX6" fmla="*/ 121966 w 955023"/>
                  <a:gd name="connsiteY6" fmla="*/ 141894 h 1433783"/>
                  <a:gd name="connsiteX7" fmla="*/ 52284 w 955023"/>
                  <a:gd name="connsiteY7" fmla="*/ 144539 h 1433783"/>
                  <a:gd name="connsiteX8" fmla="*/ 48589 w 955023"/>
                  <a:gd name="connsiteY8" fmla="*/ 251009 h 1433783"/>
                  <a:gd name="connsiteX9" fmla="*/ 0 w 955023"/>
                  <a:gd name="connsiteY9" fmla="*/ 251009 h 1433783"/>
                  <a:gd name="connsiteX10" fmla="*/ 65918 w 955023"/>
                  <a:gd name="connsiteY10" fmla="*/ 573683 h 1433783"/>
                  <a:gd name="connsiteX11" fmla="*/ 169871 w 955023"/>
                  <a:gd name="connsiteY11" fmla="*/ 825059 h 1433783"/>
                  <a:gd name="connsiteX12" fmla="*/ 35751 w 955023"/>
                  <a:gd name="connsiteY12" fmla="*/ 1192922 h 1433783"/>
                  <a:gd name="connsiteX13" fmla="*/ 197823 w 955023"/>
                  <a:gd name="connsiteY13" fmla="*/ 1433783 h 1433783"/>
                  <a:gd name="connsiteX0" fmla="*/ 197823 w 955023"/>
                  <a:gd name="connsiteY0" fmla="*/ 1433783 h 1433783"/>
                  <a:gd name="connsiteX1" fmla="*/ 644740 w 955023"/>
                  <a:gd name="connsiteY1" fmla="*/ 1085189 h 1433783"/>
                  <a:gd name="connsiteX2" fmla="*/ 955023 w 955023"/>
                  <a:gd name="connsiteY2" fmla="*/ 851333 h 1433783"/>
                  <a:gd name="connsiteX3" fmla="*/ 377565 w 955023"/>
                  <a:gd name="connsiteY3" fmla="*/ 99839 h 1433783"/>
                  <a:gd name="connsiteX4" fmla="*/ 128390 w 955023"/>
                  <a:gd name="connsiteY4" fmla="*/ 0 h 1433783"/>
                  <a:gd name="connsiteX5" fmla="*/ 105589 w 955023"/>
                  <a:gd name="connsiteY5" fmla="*/ 68312 h 1433783"/>
                  <a:gd name="connsiteX6" fmla="*/ 121966 w 955023"/>
                  <a:gd name="connsiteY6" fmla="*/ 141894 h 1433783"/>
                  <a:gd name="connsiteX7" fmla="*/ 52284 w 955023"/>
                  <a:gd name="connsiteY7" fmla="*/ 144539 h 1433783"/>
                  <a:gd name="connsiteX8" fmla="*/ 48589 w 955023"/>
                  <a:gd name="connsiteY8" fmla="*/ 251009 h 1433783"/>
                  <a:gd name="connsiteX9" fmla="*/ 0 w 955023"/>
                  <a:gd name="connsiteY9" fmla="*/ 251009 h 1433783"/>
                  <a:gd name="connsiteX10" fmla="*/ 79170 w 955023"/>
                  <a:gd name="connsiteY10" fmla="*/ 823273 h 1433783"/>
                  <a:gd name="connsiteX11" fmla="*/ 169871 w 955023"/>
                  <a:gd name="connsiteY11" fmla="*/ 825059 h 1433783"/>
                  <a:gd name="connsiteX12" fmla="*/ 35751 w 955023"/>
                  <a:gd name="connsiteY12" fmla="*/ 1192922 h 1433783"/>
                  <a:gd name="connsiteX13" fmla="*/ 197823 w 955023"/>
                  <a:gd name="connsiteY13" fmla="*/ 1433783 h 1433783"/>
                  <a:gd name="connsiteX0" fmla="*/ 197823 w 955023"/>
                  <a:gd name="connsiteY0" fmla="*/ 1433783 h 1433783"/>
                  <a:gd name="connsiteX1" fmla="*/ 644740 w 955023"/>
                  <a:gd name="connsiteY1" fmla="*/ 1085189 h 1433783"/>
                  <a:gd name="connsiteX2" fmla="*/ 955023 w 955023"/>
                  <a:gd name="connsiteY2" fmla="*/ 851333 h 1433783"/>
                  <a:gd name="connsiteX3" fmla="*/ 377565 w 955023"/>
                  <a:gd name="connsiteY3" fmla="*/ 99839 h 1433783"/>
                  <a:gd name="connsiteX4" fmla="*/ 128390 w 955023"/>
                  <a:gd name="connsiteY4" fmla="*/ 0 h 1433783"/>
                  <a:gd name="connsiteX5" fmla="*/ 105589 w 955023"/>
                  <a:gd name="connsiteY5" fmla="*/ 68312 h 1433783"/>
                  <a:gd name="connsiteX6" fmla="*/ 121966 w 955023"/>
                  <a:gd name="connsiteY6" fmla="*/ 141894 h 1433783"/>
                  <a:gd name="connsiteX7" fmla="*/ 52284 w 955023"/>
                  <a:gd name="connsiteY7" fmla="*/ 144539 h 1433783"/>
                  <a:gd name="connsiteX8" fmla="*/ 48589 w 955023"/>
                  <a:gd name="connsiteY8" fmla="*/ 251009 h 1433783"/>
                  <a:gd name="connsiteX9" fmla="*/ 0 w 955023"/>
                  <a:gd name="connsiteY9" fmla="*/ 251009 h 1433783"/>
                  <a:gd name="connsiteX10" fmla="*/ 79170 w 955023"/>
                  <a:gd name="connsiteY10" fmla="*/ 823273 h 1433783"/>
                  <a:gd name="connsiteX11" fmla="*/ 147784 w 955023"/>
                  <a:gd name="connsiteY11" fmla="*/ 895120 h 1433783"/>
                  <a:gd name="connsiteX12" fmla="*/ 35751 w 955023"/>
                  <a:gd name="connsiteY12" fmla="*/ 1192922 h 1433783"/>
                  <a:gd name="connsiteX13" fmla="*/ 197823 w 955023"/>
                  <a:gd name="connsiteY13" fmla="*/ 1433783 h 1433783"/>
                  <a:gd name="connsiteX0" fmla="*/ 197823 w 955023"/>
                  <a:gd name="connsiteY0" fmla="*/ 1433783 h 1433783"/>
                  <a:gd name="connsiteX1" fmla="*/ 644740 w 955023"/>
                  <a:gd name="connsiteY1" fmla="*/ 1085189 h 1433783"/>
                  <a:gd name="connsiteX2" fmla="*/ 955023 w 955023"/>
                  <a:gd name="connsiteY2" fmla="*/ 851333 h 1433783"/>
                  <a:gd name="connsiteX3" fmla="*/ 377565 w 955023"/>
                  <a:gd name="connsiteY3" fmla="*/ 99839 h 1433783"/>
                  <a:gd name="connsiteX4" fmla="*/ 128390 w 955023"/>
                  <a:gd name="connsiteY4" fmla="*/ 0 h 1433783"/>
                  <a:gd name="connsiteX5" fmla="*/ 105589 w 955023"/>
                  <a:gd name="connsiteY5" fmla="*/ 68312 h 1433783"/>
                  <a:gd name="connsiteX6" fmla="*/ 121966 w 955023"/>
                  <a:gd name="connsiteY6" fmla="*/ 141894 h 1433783"/>
                  <a:gd name="connsiteX7" fmla="*/ 52284 w 955023"/>
                  <a:gd name="connsiteY7" fmla="*/ 144539 h 1433783"/>
                  <a:gd name="connsiteX8" fmla="*/ 48589 w 955023"/>
                  <a:gd name="connsiteY8" fmla="*/ 251009 h 1433783"/>
                  <a:gd name="connsiteX9" fmla="*/ 0 w 955023"/>
                  <a:gd name="connsiteY9" fmla="*/ 251009 h 1433783"/>
                  <a:gd name="connsiteX10" fmla="*/ 79170 w 955023"/>
                  <a:gd name="connsiteY10" fmla="*/ 823273 h 1433783"/>
                  <a:gd name="connsiteX11" fmla="*/ 147784 w 955023"/>
                  <a:gd name="connsiteY11" fmla="*/ 895120 h 1433783"/>
                  <a:gd name="connsiteX12" fmla="*/ 35751 w 955023"/>
                  <a:gd name="connsiteY12" fmla="*/ 1192922 h 1433783"/>
                  <a:gd name="connsiteX13" fmla="*/ 197823 w 955023"/>
                  <a:gd name="connsiteY13" fmla="*/ 1433783 h 1433783"/>
                  <a:gd name="connsiteX0" fmla="*/ 197823 w 955023"/>
                  <a:gd name="connsiteY0" fmla="*/ 1433783 h 1433783"/>
                  <a:gd name="connsiteX1" fmla="*/ 644740 w 955023"/>
                  <a:gd name="connsiteY1" fmla="*/ 1085189 h 1433783"/>
                  <a:gd name="connsiteX2" fmla="*/ 955023 w 955023"/>
                  <a:gd name="connsiteY2" fmla="*/ 851333 h 1433783"/>
                  <a:gd name="connsiteX3" fmla="*/ 377565 w 955023"/>
                  <a:gd name="connsiteY3" fmla="*/ 99839 h 1433783"/>
                  <a:gd name="connsiteX4" fmla="*/ 128390 w 955023"/>
                  <a:gd name="connsiteY4" fmla="*/ 0 h 1433783"/>
                  <a:gd name="connsiteX5" fmla="*/ 105589 w 955023"/>
                  <a:gd name="connsiteY5" fmla="*/ 68312 h 1433783"/>
                  <a:gd name="connsiteX6" fmla="*/ 121966 w 955023"/>
                  <a:gd name="connsiteY6" fmla="*/ 141894 h 1433783"/>
                  <a:gd name="connsiteX7" fmla="*/ 52284 w 955023"/>
                  <a:gd name="connsiteY7" fmla="*/ 144539 h 1433783"/>
                  <a:gd name="connsiteX8" fmla="*/ 48589 w 955023"/>
                  <a:gd name="connsiteY8" fmla="*/ 251009 h 1433783"/>
                  <a:gd name="connsiteX9" fmla="*/ 0 w 955023"/>
                  <a:gd name="connsiteY9" fmla="*/ 251009 h 1433783"/>
                  <a:gd name="connsiteX10" fmla="*/ 79170 w 955023"/>
                  <a:gd name="connsiteY10" fmla="*/ 823273 h 1433783"/>
                  <a:gd name="connsiteX11" fmla="*/ 147784 w 955023"/>
                  <a:gd name="connsiteY11" fmla="*/ 895120 h 1433783"/>
                  <a:gd name="connsiteX12" fmla="*/ 35751 w 955023"/>
                  <a:gd name="connsiteY12" fmla="*/ 1192922 h 1433783"/>
                  <a:gd name="connsiteX13" fmla="*/ 197823 w 955023"/>
                  <a:gd name="connsiteY13" fmla="*/ 1433783 h 1433783"/>
                  <a:gd name="connsiteX0" fmla="*/ 197823 w 955023"/>
                  <a:gd name="connsiteY0" fmla="*/ 1433783 h 1433783"/>
                  <a:gd name="connsiteX1" fmla="*/ 644740 w 955023"/>
                  <a:gd name="connsiteY1" fmla="*/ 1085189 h 1433783"/>
                  <a:gd name="connsiteX2" fmla="*/ 955023 w 955023"/>
                  <a:gd name="connsiteY2" fmla="*/ 851333 h 1433783"/>
                  <a:gd name="connsiteX3" fmla="*/ 377565 w 955023"/>
                  <a:gd name="connsiteY3" fmla="*/ 99839 h 1433783"/>
                  <a:gd name="connsiteX4" fmla="*/ 128390 w 955023"/>
                  <a:gd name="connsiteY4" fmla="*/ 0 h 1433783"/>
                  <a:gd name="connsiteX5" fmla="*/ 105589 w 955023"/>
                  <a:gd name="connsiteY5" fmla="*/ 68312 h 1433783"/>
                  <a:gd name="connsiteX6" fmla="*/ 121966 w 955023"/>
                  <a:gd name="connsiteY6" fmla="*/ 141894 h 1433783"/>
                  <a:gd name="connsiteX7" fmla="*/ 52284 w 955023"/>
                  <a:gd name="connsiteY7" fmla="*/ 144539 h 1433783"/>
                  <a:gd name="connsiteX8" fmla="*/ 48589 w 955023"/>
                  <a:gd name="connsiteY8" fmla="*/ 251009 h 1433783"/>
                  <a:gd name="connsiteX9" fmla="*/ 0 w 955023"/>
                  <a:gd name="connsiteY9" fmla="*/ 251009 h 1433783"/>
                  <a:gd name="connsiteX10" fmla="*/ 79170 w 955023"/>
                  <a:gd name="connsiteY10" fmla="*/ 823273 h 1433783"/>
                  <a:gd name="connsiteX11" fmla="*/ 147784 w 955023"/>
                  <a:gd name="connsiteY11" fmla="*/ 895120 h 1433783"/>
                  <a:gd name="connsiteX12" fmla="*/ 35751 w 955023"/>
                  <a:gd name="connsiteY12" fmla="*/ 1192922 h 1433783"/>
                  <a:gd name="connsiteX13" fmla="*/ 197823 w 955023"/>
                  <a:gd name="connsiteY13" fmla="*/ 1433783 h 14337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55023" h="1433783">
                    <a:moveTo>
                      <a:pt x="197823" y="1433783"/>
                    </a:moveTo>
                    <a:lnTo>
                      <a:pt x="644740" y="1085189"/>
                    </a:lnTo>
                    <a:lnTo>
                      <a:pt x="955023" y="851333"/>
                    </a:lnTo>
                    <a:lnTo>
                      <a:pt x="377565" y="99839"/>
                    </a:lnTo>
                    <a:cubicBezTo>
                      <a:pt x="234638" y="56472"/>
                      <a:pt x="178135" y="62178"/>
                      <a:pt x="128390" y="0"/>
                    </a:cubicBezTo>
                    <a:cubicBezTo>
                      <a:pt x="96859" y="9635"/>
                      <a:pt x="110341" y="875"/>
                      <a:pt x="105589" y="68312"/>
                    </a:cubicBezTo>
                    <a:lnTo>
                      <a:pt x="121966" y="141894"/>
                    </a:lnTo>
                    <a:lnTo>
                      <a:pt x="52284" y="144539"/>
                    </a:lnTo>
                    <a:cubicBezTo>
                      <a:pt x="51052" y="213599"/>
                      <a:pt x="49821" y="181949"/>
                      <a:pt x="48589" y="251009"/>
                    </a:cubicBezTo>
                    <a:lnTo>
                      <a:pt x="0" y="251009"/>
                    </a:lnTo>
                    <a:lnTo>
                      <a:pt x="79170" y="823273"/>
                    </a:lnTo>
                    <a:cubicBezTo>
                      <a:pt x="136518" y="888090"/>
                      <a:pt x="112295" y="856575"/>
                      <a:pt x="147784" y="895120"/>
                    </a:cubicBezTo>
                    <a:lnTo>
                      <a:pt x="35751" y="1192922"/>
                    </a:lnTo>
                    <a:lnTo>
                      <a:pt x="197823" y="1433783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de-DE" sz="60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00" name="G017.2">
                <a:extLst>
                  <a:ext uri="{FF2B5EF4-FFF2-40B4-BE49-F238E27FC236}">
                    <a16:creationId xmlns:a16="http://schemas.microsoft.com/office/drawing/2014/main" id="{7B27F0DA-3F90-4E2E-BD39-416C1490B70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67403" y="166310"/>
                <a:ext cx="390212" cy="706229"/>
              </a:xfrm>
              <a:custGeom>
                <a:avLst/>
                <a:gdLst>
                  <a:gd name="connsiteX0" fmla="*/ 1000125 w 1420090"/>
                  <a:gd name="connsiteY0" fmla="*/ 0 h 2203739"/>
                  <a:gd name="connsiteX1" fmla="*/ 965488 w 1420090"/>
                  <a:gd name="connsiteY1" fmla="*/ 99580 h 2203739"/>
                  <a:gd name="connsiteX2" fmla="*/ 770659 w 1420090"/>
                  <a:gd name="connsiteY2" fmla="*/ 355023 h 2203739"/>
                  <a:gd name="connsiteX3" fmla="*/ 489238 w 1420090"/>
                  <a:gd name="connsiteY3" fmla="*/ 1181966 h 2203739"/>
                  <a:gd name="connsiteX4" fmla="*/ 415636 w 1420090"/>
                  <a:gd name="connsiteY4" fmla="*/ 1264228 h 2203739"/>
                  <a:gd name="connsiteX5" fmla="*/ 350693 w 1420090"/>
                  <a:gd name="connsiteY5" fmla="*/ 1441739 h 2203739"/>
                  <a:gd name="connsiteX6" fmla="*/ 251113 w 1420090"/>
                  <a:gd name="connsiteY6" fmla="*/ 1398443 h 2203739"/>
                  <a:gd name="connsiteX7" fmla="*/ 0 w 1420090"/>
                  <a:gd name="connsiteY7" fmla="*/ 2095500 h 2203739"/>
                  <a:gd name="connsiteX8" fmla="*/ 134215 w 1420090"/>
                  <a:gd name="connsiteY8" fmla="*/ 2138796 h 2203739"/>
                  <a:gd name="connsiteX9" fmla="*/ 116897 w 1420090"/>
                  <a:gd name="connsiteY9" fmla="*/ 2190750 h 2203739"/>
                  <a:gd name="connsiteX10" fmla="*/ 168852 w 1420090"/>
                  <a:gd name="connsiteY10" fmla="*/ 2203739 h 2203739"/>
                  <a:gd name="connsiteX11" fmla="*/ 411306 w 1420090"/>
                  <a:gd name="connsiteY11" fmla="*/ 1571625 h 2203739"/>
                  <a:gd name="connsiteX12" fmla="*/ 489238 w 1420090"/>
                  <a:gd name="connsiteY12" fmla="*/ 1498023 h 2203739"/>
                  <a:gd name="connsiteX13" fmla="*/ 588818 w 1420090"/>
                  <a:gd name="connsiteY13" fmla="*/ 1562966 h 2203739"/>
                  <a:gd name="connsiteX14" fmla="*/ 562840 w 1420090"/>
                  <a:gd name="connsiteY14" fmla="*/ 1632239 h 2203739"/>
                  <a:gd name="connsiteX15" fmla="*/ 757670 w 1420090"/>
                  <a:gd name="connsiteY15" fmla="*/ 1714500 h 2203739"/>
                  <a:gd name="connsiteX16" fmla="*/ 909204 w 1420090"/>
                  <a:gd name="connsiteY16" fmla="*/ 1913659 h 2203739"/>
                  <a:gd name="connsiteX17" fmla="*/ 1043420 w 1420090"/>
                  <a:gd name="connsiteY17" fmla="*/ 1805421 h 2203739"/>
                  <a:gd name="connsiteX18" fmla="*/ 922193 w 1420090"/>
                  <a:gd name="connsiteY18" fmla="*/ 1679864 h 2203739"/>
                  <a:gd name="connsiteX19" fmla="*/ 913534 w 1420090"/>
                  <a:gd name="connsiteY19" fmla="*/ 1554307 h 2203739"/>
                  <a:gd name="connsiteX20" fmla="*/ 956829 w 1420090"/>
                  <a:gd name="connsiteY20" fmla="*/ 1549978 h 2203739"/>
                  <a:gd name="connsiteX21" fmla="*/ 935181 w 1420090"/>
                  <a:gd name="connsiteY21" fmla="*/ 1407103 h 2203739"/>
                  <a:gd name="connsiteX22" fmla="*/ 891886 w 1420090"/>
                  <a:gd name="connsiteY22" fmla="*/ 1415762 h 2203739"/>
                  <a:gd name="connsiteX23" fmla="*/ 844261 w 1420090"/>
                  <a:gd name="connsiteY23" fmla="*/ 1104034 h 2203739"/>
                  <a:gd name="connsiteX24" fmla="*/ 904875 w 1420090"/>
                  <a:gd name="connsiteY24" fmla="*/ 1099705 h 2203739"/>
                  <a:gd name="connsiteX25" fmla="*/ 900545 w 1420090"/>
                  <a:gd name="connsiteY25" fmla="*/ 1000125 h 2203739"/>
                  <a:gd name="connsiteX26" fmla="*/ 974147 w 1420090"/>
                  <a:gd name="connsiteY26" fmla="*/ 987137 h 2203739"/>
                  <a:gd name="connsiteX27" fmla="*/ 956829 w 1420090"/>
                  <a:gd name="connsiteY27" fmla="*/ 900546 h 2203739"/>
                  <a:gd name="connsiteX28" fmla="*/ 1056409 w 1420090"/>
                  <a:gd name="connsiteY28" fmla="*/ 554182 h 2203739"/>
                  <a:gd name="connsiteX29" fmla="*/ 1394113 w 1420090"/>
                  <a:gd name="connsiteY29" fmla="*/ 251114 h 2203739"/>
                  <a:gd name="connsiteX30" fmla="*/ 1420090 w 1420090"/>
                  <a:gd name="connsiteY30" fmla="*/ 147205 h 2203739"/>
                  <a:gd name="connsiteX31" fmla="*/ 1000125 w 1420090"/>
                  <a:gd name="connsiteY31" fmla="*/ 0 h 2203739"/>
                  <a:gd name="connsiteX0" fmla="*/ 1000125 w 1420090"/>
                  <a:gd name="connsiteY0" fmla="*/ 0 h 2203739"/>
                  <a:gd name="connsiteX1" fmla="*/ 965488 w 1420090"/>
                  <a:gd name="connsiteY1" fmla="*/ 99580 h 2203739"/>
                  <a:gd name="connsiteX2" fmla="*/ 770659 w 1420090"/>
                  <a:gd name="connsiteY2" fmla="*/ 355023 h 2203739"/>
                  <a:gd name="connsiteX3" fmla="*/ 489238 w 1420090"/>
                  <a:gd name="connsiteY3" fmla="*/ 1181966 h 2203739"/>
                  <a:gd name="connsiteX4" fmla="*/ 415636 w 1420090"/>
                  <a:gd name="connsiteY4" fmla="*/ 1264228 h 2203739"/>
                  <a:gd name="connsiteX5" fmla="*/ 350693 w 1420090"/>
                  <a:gd name="connsiteY5" fmla="*/ 1441739 h 2203739"/>
                  <a:gd name="connsiteX6" fmla="*/ 251113 w 1420090"/>
                  <a:gd name="connsiteY6" fmla="*/ 1398443 h 2203739"/>
                  <a:gd name="connsiteX7" fmla="*/ 0 w 1420090"/>
                  <a:gd name="connsiteY7" fmla="*/ 2095500 h 2203739"/>
                  <a:gd name="connsiteX8" fmla="*/ 134215 w 1420090"/>
                  <a:gd name="connsiteY8" fmla="*/ 2138796 h 2203739"/>
                  <a:gd name="connsiteX9" fmla="*/ 116897 w 1420090"/>
                  <a:gd name="connsiteY9" fmla="*/ 2190750 h 2203739"/>
                  <a:gd name="connsiteX10" fmla="*/ 168852 w 1420090"/>
                  <a:gd name="connsiteY10" fmla="*/ 2203739 h 2203739"/>
                  <a:gd name="connsiteX11" fmla="*/ 411306 w 1420090"/>
                  <a:gd name="connsiteY11" fmla="*/ 1571625 h 2203739"/>
                  <a:gd name="connsiteX12" fmla="*/ 467590 w 1420090"/>
                  <a:gd name="connsiteY12" fmla="*/ 1506682 h 2203739"/>
                  <a:gd name="connsiteX13" fmla="*/ 588818 w 1420090"/>
                  <a:gd name="connsiteY13" fmla="*/ 1562966 h 2203739"/>
                  <a:gd name="connsiteX14" fmla="*/ 562840 w 1420090"/>
                  <a:gd name="connsiteY14" fmla="*/ 1632239 h 2203739"/>
                  <a:gd name="connsiteX15" fmla="*/ 757670 w 1420090"/>
                  <a:gd name="connsiteY15" fmla="*/ 1714500 h 2203739"/>
                  <a:gd name="connsiteX16" fmla="*/ 909204 w 1420090"/>
                  <a:gd name="connsiteY16" fmla="*/ 1913659 h 2203739"/>
                  <a:gd name="connsiteX17" fmla="*/ 1043420 w 1420090"/>
                  <a:gd name="connsiteY17" fmla="*/ 1805421 h 2203739"/>
                  <a:gd name="connsiteX18" fmla="*/ 922193 w 1420090"/>
                  <a:gd name="connsiteY18" fmla="*/ 1679864 h 2203739"/>
                  <a:gd name="connsiteX19" fmla="*/ 913534 w 1420090"/>
                  <a:gd name="connsiteY19" fmla="*/ 1554307 h 2203739"/>
                  <a:gd name="connsiteX20" fmla="*/ 956829 w 1420090"/>
                  <a:gd name="connsiteY20" fmla="*/ 1549978 h 2203739"/>
                  <a:gd name="connsiteX21" fmla="*/ 935181 w 1420090"/>
                  <a:gd name="connsiteY21" fmla="*/ 1407103 h 2203739"/>
                  <a:gd name="connsiteX22" fmla="*/ 891886 w 1420090"/>
                  <a:gd name="connsiteY22" fmla="*/ 1415762 h 2203739"/>
                  <a:gd name="connsiteX23" fmla="*/ 844261 w 1420090"/>
                  <a:gd name="connsiteY23" fmla="*/ 1104034 h 2203739"/>
                  <a:gd name="connsiteX24" fmla="*/ 904875 w 1420090"/>
                  <a:gd name="connsiteY24" fmla="*/ 1099705 h 2203739"/>
                  <a:gd name="connsiteX25" fmla="*/ 900545 w 1420090"/>
                  <a:gd name="connsiteY25" fmla="*/ 1000125 h 2203739"/>
                  <a:gd name="connsiteX26" fmla="*/ 974147 w 1420090"/>
                  <a:gd name="connsiteY26" fmla="*/ 987137 h 2203739"/>
                  <a:gd name="connsiteX27" fmla="*/ 956829 w 1420090"/>
                  <a:gd name="connsiteY27" fmla="*/ 900546 h 2203739"/>
                  <a:gd name="connsiteX28" fmla="*/ 1056409 w 1420090"/>
                  <a:gd name="connsiteY28" fmla="*/ 554182 h 2203739"/>
                  <a:gd name="connsiteX29" fmla="*/ 1394113 w 1420090"/>
                  <a:gd name="connsiteY29" fmla="*/ 251114 h 2203739"/>
                  <a:gd name="connsiteX30" fmla="*/ 1420090 w 1420090"/>
                  <a:gd name="connsiteY30" fmla="*/ 147205 h 2203739"/>
                  <a:gd name="connsiteX31" fmla="*/ 1000125 w 1420090"/>
                  <a:gd name="connsiteY31" fmla="*/ 0 h 2203739"/>
                  <a:gd name="connsiteX0" fmla="*/ 1000125 w 1420090"/>
                  <a:gd name="connsiteY0" fmla="*/ 0 h 2203739"/>
                  <a:gd name="connsiteX1" fmla="*/ 965488 w 1420090"/>
                  <a:gd name="connsiteY1" fmla="*/ 99580 h 2203739"/>
                  <a:gd name="connsiteX2" fmla="*/ 770659 w 1420090"/>
                  <a:gd name="connsiteY2" fmla="*/ 355023 h 2203739"/>
                  <a:gd name="connsiteX3" fmla="*/ 489238 w 1420090"/>
                  <a:gd name="connsiteY3" fmla="*/ 1181966 h 2203739"/>
                  <a:gd name="connsiteX4" fmla="*/ 415636 w 1420090"/>
                  <a:gd name="connsiteY4" fmla="*/ 1264228 h 2203739"/>
                  <a:gd name="connsiteX5" fmla="*/ 350693 w 1420090"/>
                  <a:gd name="connsiteY5" fmla="*/ 1441739 h 2203739"/>
                  <a:gd name="connsiteX6" fmla="*/ 251113 w 1420090"/>
                  <a:gd name="connsiteY6" fmla="*/ 1398443 h 2203739"/>
                  <a:gd name="connsiteX7" fmla="*/ 0 w 1420090"/>
                  <a:gd name="connsiteY7" fmla="*/ 2095500 h 2203739"/>
                  <a:gd name="connsiteX8" fmla="*/ 134215 w 1420090"/>
                  <a:gd name="connsiteY8" fmla="*/ 2138796 h 2203739"/>
                  <a:gd name="connsiteX9" fmla="*/ 116897 w 1420090"/>
                  <a:gd name="connsiteY9" fmla="*/ 2190750 h 2203739"/>
                  <a:gd name="connsiteX10" fmla="*/ 168852 w 1420090"/>
                  <a:gd name="connsiteY10" fmla="*/ 2203739 h 2203739"/>
                  <a:gd name="connsiteX11" fmla="*/ 411306 w 1420090"/>
                  <a:gd name="connsiteY11" fmla="*/ 1571625 h 2203739"/>
                  <a:gd name="connsiteX12" fmla="*/ 467590 w 1420090"/>
                  <a:gd name="connsiteY12" fmla="*/ 1506682 h 2203739"/>
                  <a:gd name="connsiteX13" fmla="*/ 588818 w 1420090"/>
                  <a:gd name="connsiteY13" fmla="*/ 1562966 h 2203739"/>
                  <a:gd name="connsiteX14" fmla="*/ 562840 w 1420090"/>
                  <a:gd name="connsiteY14" fmla="*/ 1632239 h 2203739"/>
                  <a:gd name="connsiteX15" fmla="*/ 757670 w 1420090"/>
                  <a:gd name="connsiteY15" fmla="*/ 1714500 h 2203739"/>
                  <a:gd name="connsiteX16" fmla="*/ 909204 w 1420090"/>
                  <a:gd name="connsiteY16" fmla="*/ 1913659 h 2203739"/>
                  <a:gd name="connsiteX17" fmla="*/ 1043420 w 1420090"/>
                  <a:gd name="connsiteY17" fmla="*/ 1805421 h 2203739"/>
                  <a:gd name="connsiteX18" fmla="*/ 930852 w 1420090"/>
                  <a:gd name="connsiteY18" fmla="*/ 1675535 h 2203739"/>
                  <a:gd name="connsiteX19" fmla="*/ 913534 w 1420090"/>
                  <a:gd name="connsiteY19" fmla="*/ 1554307 h 2203739"/>
                  <a:gd name="connsiteX20" fmla="*/ 956829 w 1420090"/>
                  <a:gd name="connsiteY20" fmla="*/ 1549978 h 2203739"/>
                  <a:gd name="connsiteX21" fmla="*/ 935181 w 1420090"/>
                  <a:gd name="connsiteY21" fmla="*/ 1407103 h 2203739"/>
                  <a:gd name="connsiteX22" fmla="*/ 891886 w 1420090"/>
                  <a:gd name="connsiteY22" fmla="*/ 1415762 h 2203739"/>
                  <a:gd name="connsiteX23" fmla="*/ 844261 w 1420090"/>
                  <a:gd name="connsiteY23" fmla="*/ 1104034 h 2203739"/>
                  <a:gd name="connsiteX24" fmla="*/ 904875 w 1420090"/>
                  <a:gd name="connsiteY24" fmla="*/ 1099705 h 2203739"/>
                  <a:gd name="connsiteX25" fmla="*/ 900545 w 1420090"/>
                  <a:gd name="connsiteY25" fmla="*/ 1000125 h 2203739"/>
                  <a:gd name="connsiteX26" fmla="*/ 974147 w 1420090"/>
                  <a:gd name="connsiteY26" fmla="*/ 987137 h 2203739"/>
                  <a:gd name="connsiteX27" fmla="*/ 956829 w 1420090"/>
                  <a:gd name="connsiteY27" fmla="*/ 900546 h 2203739"/>
                  <a:gd name="connsiteX28" fmla="*/ 1056409 w 1420090"/>
                  <a:gd name="connsiteY28" fmla="*/ 554182 h 2203739"/>
                  <a:gd name="connsiteX29" fmla="*/ 1394113 w 1420090"/>
                  <a:gd name="connsiteY29" fmla="*/ 251114 h 2203739"/>
                  <a:gd name="connsiteX30" fmla="*/ 1420090 w 1420090"/>
                  <a:gd name="connsiteY30" fmla="*/ 147205 h 2203739"/>
                  <a:gd name="connsiteX31" fmla="*/ 1000125 w 1420090"/>
                  <a:gd name="connsiteY31" fmla="*/ 0 h 2203739"/>
                  <a:gd name="connsiteX0" fmla="*/ 1420090 w 1420090"/>
                  <a:gd name="connsiteY0" fmla="*/ 47625 h 2104159"/>
                  <a:gd name="connsiteX1" fmla="*/ 965488 w 1420090"/>
                  <a:gd name="connsiteY1" fmla="*/ 0 h 2104159"/>
                  <a:gd name="connsiteX2" fmla="*/ 770659 w 1420090"/>
                  <a:gd name="connsiteY2" fmla="*/ 255443 h 2104159"/>
                  <a:gd name="connsiteX3" fmla="*/ 489238 w 1420090"/>
                  <a:gd name="connsiteY3" fmla="*/ 1082386 h 2104159"/>
                  <a:gd name="connsiteX4" fmla="*/ 415636 w 1420090"/>
                  <a:gd name="connsiteY4" fmla="*/ 1164648 h 2104159"/>
                  <a:gd name="connsiteX5" fmla="*/ 350693 w 1420090"/>
                  <a:gd name="connsiteY5" fmla="*/ 1342159 h 2104159"/>
                  <a:gd name="connsiteX6" fmla="*/ 251113 w 1420090"/>
                  <a:gd name="connsiteY6" fmla="*/ 1298863 h 2104159"/>
                  <a:gd name="connsiteX7" fmla="*/ 0 w 1420090"/>
                  <a:gd name="connsiteY7" fmla="*/ 1995920 h 2104159"/>
                  <a:gd name="connsiteX8" fmla="*/ 134215 w 1420090"/>
                  <a:gd name="connsiteY8" fmla="*/ 2039216 h 2104159"/>
                  <a:gd name="connsiteX9" fmla="*/ 116897 w 1420090"/>
                  <a:gd name="connsiteY9" fmla="*/ 2091170 h 2104159"/>
                  <a:gd name="connsiteX10" fmla="*/ 168852 w 1420090"/>
                  <a:gd name="connsiteY10" fmla="*/ 2104159 h 2104159"/>
                  <a:gd name="connsiteX11" fmla="*/ 411306 w 1420090"/>
                  <a:gd name="connsiteY11" fmla="*/ 1472045 h 2104159"/>
                  <a:gd name="connsiteX12" fmla="*/ 467590 w 1420090"/>
                  <a:gd name="connsiteY12" fmla="*/ 1407102 h 2104159"/>
                  <a:gd name="connsiteX13" fmla="*/ 588818 w 1420090"/>
                  <a:gd name="connsiteY13" fmla="*/ 1463386 h 2104159"/>
                  <a:gd name="connsiteX14" fmla="*/ 562840 w 1420090"/>
                  <a:gd name="connsiteY14" fmla="*/ 1532659 h 2104159"/>
                  <a:gd name="connsiteX15" fmla="*/ 757670 w 1420090"/>
                  <a:gd name="connsiteY15" fmla="*/ 1614920 h 2104159"/>
                  <a:gd name="connsiteX16" fmla="*/ 909204 w 1420090"/>
                  <a:gd name="connsiteY16" fmla="*/ 1814079 h 2104159"/>
                  <a:gd name="connsiteX17" fmla="*/ 1043420 w 1420090"/>
                  <a:gd name="connsiteY17" fmla="*/ 1705841 h 2104159"/>
                  <a:gd name="connsiteX18" fmla="*/ 930852 w 1420090"/>
                  <a:gd name="connsiteY18" fmla="*/ 1575955 h 2104159"/>
                  <a:gd name="connsiteX19" fmla="*/ 913534 w 1420090"/>
                  <a:gd name="connsiteY19" fmla="*/ 1454727 h 2104159"/>
                  <a:gd name="connsiteX20" fmla="*/ 956829 w 1420090"/>
                  <a:gd name="connsiteY20" fmla="*/ 1450398 h 2104159"/>
                  <a:gd name="connsiteX21" fmla="*/ 935181 w 1420090"/>
                  <a:gd name="connsiteY21" fmla="*/ 1307523 h 2104159"/>
                  <a:gd name="connsiteX22" fmla="*/ 891886 w 1420090"/>
                  <a:gd name="connsiteY22" fmla="*/ 1316182 h 2104159"/>
                  <a:gd name="connsiteX23" fmla="*/ 844261 w 1420090"/>
                  <a:gd name="connsiteY23" fmla="*/ 1004454 h 2104159"/>
                  <a:gd name="connsiteX24" fmla="*/ 904875 w 1420090"/>
                  <a:gd name="connsiteY24" fmla="*/ 1000125 h 2104159"/>
                  <a:gd name="connsiteX25" fmla="*/ 900545 w 1420090"/>
                  <a:gd name="connsiteY25" fmla="*/ 900545 h 2104159"/>
                  <a:gd name="connsiteX26" fmla="*/ 974147 w 1420090"/>
                  <a:gd name="connsiteY26" fmla="*/ 887557 h 2104159"/>
                  <a:gd name="connsiteX27" fmla="*/ 956829 w 1420090"/>
                  <a:gd name="connsiteY27" fmla="*/ 800966 h 2104159"/>
                  <a:gd name="connsiteX28" fmla="*/ 1056409 w 1420090"/>
                  <a:gd name="connsiteY28" fmla="*/ 454602 h 2104159"/>
                  <a:gd name="connsiteX29" fmla="*/ 1394113 w 1420090"/>
                  <a:gd name="connsiteY29" fmla="*/ 151534 h 2104159"/>
                  <a:gd name="connsiteX30" fmla="*/ 1420090 w 1420090"/>
                  <a:gd name="connsiteY30" fmla="*/ 47625 h 2104159"/>
                  <a:gd name="connsiteX0" fmla="*/ 1394113 w 1394113"/>
                  <a:gd name="connsiteY0" fmla="*/ 151534 h 2104159"/>
                  <a:gd name="connsiteX1" fmla="*/ 965488 w 1394113"/>
                  <a:gd name="connsiteY1" fmla="*/ 0 h 2104159"/>
                  <a:gd name="connsiteX2" fmla="*/ 770659 w 1394113"/>
                  <a:gd name="connsiteY2" fmla="*/ 255443 h 2104159"/>
                  <a:gd name="connsiteX3" fmla="*/ 489238 w 1394113"/>
                  <a:gd name="connsiteY3" fmla="*/ 1082386 h 2104159"/>
                  <a:gd name="connsiteX4" fmla="*/ 415636 w 1394113"/>
                  <a:gd name="connsiteY4" fmla="*/ 1164648 h 2104159"/>
                  <a:gd name="connsiteX5" fmla="*/ 350693 w 1394113"/>
                  <a:gd name="connsiteY5" fmla="*/ 1342159 h 2104159"/>
                  <a:gd name="connsiteX6" fmla="*/ 251113 w 1394113"/>
                  <a:gd name="connsiteY6" fmla="*/ 1298863 h 2104159"/>
                  <a:gd name="connsiteX7" fmla="*/ 0 w 1394113"/>
                  <a:gd name="connsiteY7" fmla="*/ 1995920 h 2104159"/>
                  <a:gd name="connsiteX8" fmla="*/ 134215 w 1394113"/>
                  <a:gd name="connsiteY8" fmla="*/ 2039216 h 2104159"/>
                  <a:gd name="connsiteX9" fmla="*/ 116897 w 1394113"/>
                  <a:gd name="connsiteY9" fmla="*/ 2091170 h 2104159"/>
                  <a:gd name="connsiteX10" fmla="*/ 168852 w 1394113"/>
                  <a:gd name="connsiteY10" fmla="*/ 2104159 h 2104159"/>
                  <a:gd name="connsiteX11" fmla="*/ 411306 w 1394113"/>
                  <a:gd name="connsiteY11" fmla="*/ 1472045 h 2104159"/>
                  <a:gd name="connsiteX12" fmla="*/ 467590 w 1394113"/>
                  <a:gd name="connsiteY12" fmla="*/ 1407102 h 2104159"/>
                  <a:gd name="connsiteX13" fmla="*/ 588818 w 1394113"/>
                  <a:gd name="connsiteY13" fmla="*/ 1463386 h 2104159"/>
                  <a:gd name="connsiteX14" fmla="*/ 562840 w 1394113"/>
                  <a:gd name="connsiteY14" fmla="*/ 1532659 h 2104159"/>
                  <a:gd name="connsiteX15" fmla="*/ 757670 w 1394113"/>
                  <a:gd name="connsiteY15" fmla="*/ 1614920 h 2104159"/>
                  <a:gd name="connsiteX16" fmla="*/ 909204 w 1394113"/>
                  <a:gd name="connsiteY16" fmla="*/ 1814079 h 2104159"/>
                  <a:gd name="connsiteX17" fmla="*/ 1043420 w 1394113"/>
                  <a:gd name="connsiteY17" fmla="*/ 1705841 h 2104159"/>
                  <a:gd name="connsiteX18" fmla="*/ 930852 w 1394113"/>
                  <a:gd name="connsiteY18" fmla="*/ 1575955 h 2104159"/>
                  <a:gd name="connsiteX19" fmla="*/ 913534 w 1394113"/>
                  <a:gd name="connsiteY19" fmla="*/ 1454727 h 2104159"/>
                  <a:gd name="connsiteX20" fmla="*/ 956829 w 1394113"/>
                  <a:gd name="connsiteY20" fmla="*/ 1450398 h 2104159"/>
                  <a:gd name="connsiteX21" fmla="*/ 935181 w 1394113"/>
                  <a:gd name="connsiteY21" fmla="*/ 1307523 h 2104159"/>
                  <a:gd name="connsiteX22" fmla="*/ 891886 w 1394113"/>
                  <a:gd name="connsiteY22" fmla="*/ 1316182 h 2104159"/>
                  <a:gd name="connsiteX23" fmla="*/ 844261 w 1394113"/>
                  <a:gd name="connsiteY23" fmla="*/ 1004454 h 2104159"/>
                  <a:gd name="connsiteX24" fmla="*/ 904875 w 1394113"/>
                  <a:gd name="connsiteY24" fmla="*/ 1000125 h 2104159"/>
                  <a:gd name="connsiteX25" fmla="*/ 900545 w 1394113"/>
                  <a:gd name="connsiteY25" fmla="*/ 900545 h 2104159"/>
                  <a:gd name="connsiteX26" fmla="*/ 974147 w 1394113"/>
                  <a:gd name="connsiteY26" fmla="*/ 887557 h 2104159"/>
                  <a:gd name="connsiteX27" fmla="*/ 956829 w 1394113"/>
                  <a:gd name="connsiteY27" fmla="*/ 800966 h 2104159"/>
                  <a:gd name="connsiteX28" fmla="*/ 1056409 w 1394113"/>
                  <a:gd name="connsiteY28" fmla="*/ 454602 h 2104159"/>
                  <a:gd name="connsiteX29" fmla="*/ 1394113 w 1394113"/>
                  <a:gd name="connsiteY29" fmla="*/ 151534 h 2104159"/>
                  <a:gd name="connsiteX0" fmla="*/ 1056409 w 1056409"/>
                  <a:gd name="connsiteY0" fmla="*/ 454602 h 2104159"/>
                  <a:gd name="connsiteX1" fmla="*/ 965488 w 1056409"/>
                  <a:gd name="connsiteY1" fmla="*/ 0 h 2104159"/>
                  <a:gd name="connsiteX2" fmla="*/ 770659 w 1056409"/>
                  <a:gd name="connsiteY2" fmla="*/ 255443 h 2104159"/>
                  <a:gd name="connsiteX3" fmla="*/ 489238 w 1056409"/>
                  <a:gd name="connsiteY3" fmla="*/ 1082386 h 2104159"/>
                  <a:gd name="connsiteX4" fmla="*/ 415636 w 1056409"/>
                  <a:gd name="connsiteY4" fmla="*/ 1164648 h 2104159"/>
                  <a:gd name="connsiteX5" fmla="*/ 350693 w 1056409"/>
                  <a:gd name="connsiteY5" fmla="*/ 1342159 h 2104159"/>
                  <a:gd name="connsiteX6" fmla="*/ 251113 w 1056409"/>
                  <a:gd name="connsiteY6" fmla="*/ 1298863 h 2104159"/>
                  <a:gd name="connsiteX7" fmla="*/ 0 w 1056409"/>
                  <a:gd name="connsiteY7" fmla="*/ 1995920 h 2104159"/>
                  <a:gd name="connsiteX8" fmla="*/ 134215 w 1056409"/>
                  <a:gd name="connsiteY8" fmla="*/ 2039216 h 2104159"/>
                  <a:gd name="connsiteX9" fmla="*/ 116897 w 1056409"/>
                  <a:gd name="connsiteY9" fmla="*/ 2091170 h 2104159"/>
                  <a:gd name="connsiteX10" fmla="*/ 168852 w 1056409"/>
                  <a:gd name="connsiteY10" fmla="*/ 2104159 h 2104159"/>
                  <a:gd name="connsiteX11" fmla="*/ 411306 w 1056409"/>
                  <a:gd name="connsiteY11" fmla="*/ 1472045 h 2104159"/>
                  <a:gd name="connsiteX12" fmla="*/ 467590 w 1056409"/>
                  <a:gd name="connsiteY12" fmla="*/ 1407102 h 2104159"/>
                  <a:gd name="connsiteX13" fmla="*/ 588818 w 1056409"/>
                  <a:gd name="connsiteY13" fmla="*/ 1463386 h 2104159"/>
                  <a:gd name="connsiteX14" fmla="*/ 562840 w 1056409"/>
                  <a:gd name="connsiteY14" fmla="*/ 1532659 h 2104159"/>
                  <a:gd name="connsiteX15" fmla="*/ 757670 w 1056409"/>
                  <a:gd name="connsiteY15" fmla="*/ 1614920 h 2104159"/>
                  <a:gd name="connsiteX16" fmla="*/ 909204 w 1056409"/>
                  <a:gd name="connsiteY16" fmla="*/ 1814079 h 2104159"/>
                  <a:gd name="connsiteX17" fmla="*/ 1043420 w 1056409"/>
                  <a:gd name="connsiteY17" fmla="*/ 1705841 h 2104159"/>
                  <a:gd name="connsiteX18" fmla="*/ 930852 w 1056409"/>
                  <a:gd name="connsiteY18" fmla="*/ 1575955 h 2104159"/>
                  <a:gd name="connsiteX19" fmla="*/ 913534 w 1056409"/>
                  <a:gd name="connsiteY19" fmla="*/ 1454727 h 2104159"/>
                  <a:gd name="connsiteX20" fmla="*/ 956829 w 1056409"/>
                  <a:gd name="connsiteY20" fmla="*/ 1450398 h 2104159"/>
                  <a:gd name="connsiteX21" fmla="*/ 935181 w 1056409"/>
                  <a:gd name="connsiteY21" fmla="*/ 1307523 h 2104159"/>
                  <a:gd name="connsiteX22" fmla="*/ 891886 w 1056409"/>
                  <a:gd name="connsiteY22" fmla="*/ 1316182 h 2104159"/>
                  <a:gd name="connsiteX23" fmla="*/ 844261 w 1056409"/>
                  <a:gd name="connsiteY23" fmla="*/ 1004454 h 2104159"/>
                  <a:gd name="connsiteX24" fmla="*/ 904875 w 1056409"/>
                  <a:gd name="connsiteY24" fmla="*/ 1000125 h 2104159"/>
                  <a:gd name="connsiteX25" fmla="*/ 900545 w 1056409"/>
                  <a:gd name="connsiteY25" fmla="*/ 900545 h 2104159"/>
                  <a:gd name="connsiteX26" fmla="*/ 974147 w 1056409"/>
                  <a:gd name="connsiteY26" fmla="*/ 887557 h 2104159"/>
                  <a:gd name="connsiteX27" fmla="*/ 956829 w 1056409"/>
                  <a:gd name="connsiteY27" fmla="*/ 800966 h 2104159"/>
                  <a:gd name="connsiteX28" fmla="*/ 1056409 w 1056409"/>
                  <a:gd name="connsiteY28" fmla="*/ 454602 h 2104159"/>
                  <a:gd name="connsiteX0" fmla="*/ 1056409 w 1056409"/>
                  <a:gd name="connsiteY0" fmla="*/ 199159 h 1848716"/>
                  <a:gd name="connsiteX1" fmla="*/ 770659 w 1056409"/>
                  <a:gd name="connsiteY1" fmla="*/ 0 h 1848716"/>
                  <a:gd name="connsiteX2" fmla="*/ 489238 w 1056409"/>
                  <a:gd name="connsiteY2" fmla="*/ 826943 h 1848716"/>
                  <a:gd name="connsiteX3" fmla="*/ 415636 w 1056409"/>
                  <a:gd name="connsiteY3" fmla="*/ 909205 h 1848716"/>
                  <a:gd name="connsiteX4" fmla="*/ 350693 w 1056409"/>
                  <a:gd name="connsiteY4" fmla="*/ 1086716 h 1848716"/>
                  <a:gd name="connsiteX5" fmla="*/ 251113 w 1056409"/>
                  <a:gd name="connsiteY5" fmla="*/ 1043420 h 1848716"/>
                  <a:gd name="connsiteX6" fmla="*/ 0 w 1056409"/>
                  <a:gd name="connsiteY6" fmla="*/ 1740477 h 1848716"/>
                  <a:gd name="connsiteX7" fmla="*/ 134215 w 1056409"/>
                  <a:gd name="connsiteY7" fmla="*/ 1783773 h 1848716"/>
                  <a:gd name="connsiteX8" fmla="*/ 116897 w 1056409"/>
                  <a:gd name="connsiteY8" fmla="*/ 1835727 h 1848716"/>
                  <a:gd name="connsiteX9" fmla="*/ 168852 w 1056409"/>
                  <a:gd name="connsiteY9" fmla="*/ 1848716 h 1848716"/>
                  <a:gd name="connsiteX10" fmla="*/ 411306 w 1056409"/>
                  <a:gd name="connsiteY10" fmla="*/ 1216602 h 1848716"/>
                  <a:gd name="connsiteX11" fmla="*/ 467590 w 1056409"/>
                  <a:gd name="connsiteY11" fmla="*/ 1151659 h 1848716"/>
                  <a:gd name="connsiteX12" fmla="*/ 588818 w 1056409"/>
                  <a:gd name="connsiteY12" fmla="*/ 1207943 h 1848716"/>
                  <a:gd name="connsiteX13" fmla="*/ 562840 w 1056409"/>
                  <a:gd name="connsiteY13" fmla="*/ 1277216 h 1848716"/>
                  <a:gd name="connsiteX14" fmla="*/ 757670 w 1056409"/>
                  <a:gd name="connsiteY14" fmla="*/ 1359477 h 1848716"/>
                  <a:gd name="connsiteX15" fmla="*/ 909204 w 1056409"/>
                  <a:gd name="connsiteY15" fmla="*/ 1558636 h 1848716"/>
                  <a:gd name="connsiteX16" fmla="*/ 1043420 w 1056409"/>
                  <a:gd name="connsiteY16" fmla="*/ 1450398 h 1848716"/>
                  <a:gd name="connsiteX17" fmla="*/ 930852 w 1056409"/>
                  <a:gd name="connsiteY17" fmla="*/ 1320512 h 1848716"/>
                  <a:gd name="connsiteX18" fmla="*/ 913534 w 1056409"/>
                  <a:gd name="connsiteY18" fmla="*/ 1199284 h 1848716"/>
                  <a:gd name="connsiteX19" fmla="*/ 956829 w 1056409"/>
                  <a:gd name="connsiteY19" fmla="*/ 1194955 h 1848716"/>
                  <a:gd name="connsiteX20" fmla="*/ 935181 w 1056409"/>
                  <a:gd name="connsiteY20" fmla="*/ 1052080 h 1848716"/>
                  <a:gd name="connsiteX21" fmla="*/ 891886 w 1056409"/>
                  <a:gd name="connsiteY21" fmla="*/ 1060739 h 1848716"/>
                  <a:gd name="connsiteX22" fmla="*/ 844261 w 1056409"/>
                  <a:gd name="connsiteY22" fmla="*/ 749011 h 1848716"/>
                  <a:gd name="connsiteX23" fmla="*/ 904875 w 1056409"/>
                  <a:gd name="connsiteY23" fmla="*/ 744682 h 1848716"/>
                  <a:gd name="connsiteX24" fmla="*/ 900545 w 1056409"/>
                  <a:gd name="connsiteY24" fmla="*/ 645102 h 1848716"/>
                  <a:gd name="connsiteX25" fmla="*/ 974147 w 1056409"/>
                  <a:gd name="connsiteY25" fmla="*/ 632114 h 1848716"/>
                  <a:gd name="connsiteX26" fmla="*/ 956829 w 1056409"/>
                  <a:gd name="connsiteY26" fmla="*/ 545523 h 1848716"/>
                  <a:gd name="connsiteX27" fmla="*/ 1056409 w 1056409"/>
                  <a:gd name="connsiteY27" fmla="*/ 199159 h 1848716"/>
                  <a:gd name="connsiteX0" fmla="*/ 1056409 w 1056409"/>
                  <a:gd name="connsiteY0" fmla="*/ 199159 h 1848716"/>
                  <a:gd name="connsiteX1" fmla="*/ 770659 w 1056409"/>
                  <a:gd name="connsiteY1" fmla="*/ 0 h 1848716"/>
                  <a:gd name="connsiteX2" fmla="*/ 489238 w 1056409"/>
                  <a:gd name="connsiteY2" fmla="*/ 826943 h 1848716"/>
                  <a:gd name="connsiteX3" fmla="*/ 415636 w 1056409"/>
                  <a:gd name="connsiteY3" fmla="*/ 909205 h 1848716"/>
                  <a:gd name="connsiteX4" fmla="*/ 350693 w 1056409"/>
                  <a:gd name="connsiteY4" fmla="*/ 1086716 h 1848716"/>
                  <a:gd name="connsiteX5" fmla="*/ 251113 w 1056409"/>
                  <a:gd name="connsiteY5" fmla="*/ 1043420 h 1848716"/>
                  <a:gd name="connsiteX6" fmla="*/ 0 w 1056409"/>
                  <a:gd name="connsiteY6" fmla="*/ 1740477 h 1848716"/>
                  <a:gd name="connsiteX7" fmla="*/ 134215 w 1056409"/>
                  <a:gd name="connsiteY7" fmla="*/ 1783773 h 1848716"/>
                  <a:gd name="connsiteX8" fmla="*/ 116897 w 1056409"/>
                  <a:gd name="connsiteY8" fmla="*/ 1835727 h 1848716"/>
                  <a:gd name="connsiteX9" fmla="*/ 168852 w 1056409"/>
                  <a:gd name="connsiteY9" fmla="*/ 1848716 h 1848716"/>
                  <a:gd name="connsiteX10" fmla="*/ 411306 w 1056409"/>
                  <a:gd name="connsiteY10" fmla="*/ 1216602 h 1848716"/>
                  <a:gd name="connsiteX11" fmla="*/ 467590 w 1056409"/>
                  <a:gd name="connsiteY11" fmla="*/ 1151659 h 1848716"/>
                  <a:gd name="connsiteX12" fmla="*/ 588818 w 1056409"/>
                  <a:gd name="connsiteY12" fmla="*/ 1207943 h 1848716"/>
                  <a:gd name="connsiteX13" fmla="*/ 562840 w 1056409"/>
                  <a:gd name="connsiteY13" fmla="*/ 1277216 h 1848716"/>
                  <a:gd name="connsiteX14" fmla="*/ 757670 w 1056409"/>
                  <a:gd name="connsiteY14" fmla="*/ 1359477 h 1848716"/>
                  <a:gd name="connsiteX15" fmla="*/ 909204 w 1056409"/>
                  <a:gd name="connsiteY15" fmla="*/ 1558636 h 1848716"/>
                  <a:gd name="connsiteX16" fmla="*/ 995795 w 1056409"/>
                  <a:gd name="connsiteY16" fmla="*/ 1394114 h 1848716"/>
                  <a:gd name="connsiteX17" fmla="*/ 930852 w 1056409"/>
                  <a:gd name="connsiteY17" fmla="*/ 1320512 h 1848716"/>
                  <a:gd name="connsiteX18" fmla="*/ 913534 w 1056409"/>
                  <a:gd name="connsiteY18" fmla="*/ 1199284 h 1848716"/>
                  <a:gd name="connsiteX19" fmla="*/ 956829 w 1056409"/>
                  <a:gd name="connsiteY19" fmla="*/ 1194955 h 1848716"/>
                  <a:gd name="connsiteX20" fmla="*/ 935181 w 1056409"/>
                  <a:gd name="connsiteY20" fmla="*/ 1052080 h 1848716"/>
                  <a:gd name="connsiteX21" fmla="*/ 891886 w 1056409"/>
                  <a:gd name="connsiteY21" fmla="*/ 1060739 h 1848716"/>
                  <a:gd name="connsiteX22" fmla="*/ 844261 w 1056409"/>
                  <a:gd name="connsiteY22" fmla="*/ 749011 h 1848716"/>
                  <a:gd name="connsiteX23" fmla="*/ 904875 w 1056409"/>
                  <a:gd name="connsiteY23" fmla="*/ 744682 h 1848716"/>
                  <a:gd name="connsiteX24" fmla="*/ 900545 w 1056409"/>
                  <a:gd name="connsiteY24" fmla="*/ 645102 h 1848716"/>
                  <a:gd name="connsiteX25" fmla="*/ 974147 w 1056409"/>
                  <a:gd name="connsiteY25" fmla="*/ 632114 h 1848716"/>
                  <a:gd name="connsiteX26" fmla="*/ 956829 w 1056409"/>
                  <a:gd name="connsiteY26" fmla="*/ 545523 h 1848716"/>
                  <a:gd name="connsiteX27" fmla="*/ 1056409 w 1056409"/>
                  <a:gd name="connsiteY27" fmla="*/ 199159 h 1848716"/>
                  <a:gd name="connsiteX0" fmla="*/ 1056409 w 1056409"/>
                  <a:gd name="connsiteY0" fmla="*/ 199159 h 1848716"/>
                  <a:gd name="connsiteX1" fmla="*/ 770659 w 1056409"/>
                  <a:gd name="connsiteY1" fmla="*/ 0 h 1848716"/>
                  <a:gd name="connsiteX2" fmla="*/ 489238 w 1056409"/>
                  <a:gd name="connsiteY2" fmla="*/ 826943 h 1848716"/>
                  <a:gd name="connsiteX3" fmla="*/ 415636 w 1056409"/>
                  <a:gd name="connsiteY3" fmla="*/ 909205 h 1848716"/>
                  <a:gd name="connsiteX4" fmla="*/ 350693 w 1056409"/>
                  <a:gd name="connsiteY4" fmla="*/ 1086716 h 1848716"/>
                  <a:gd name="connsiteX5" fmla="*/ 251113 w 1056409"/>
                  <a:gd name="connsiteY5" fmla="*/ 1043420 h 1848716"/>
                  <a:gd name="connsiteX6" fmla="*/ 0 w 1056409"/>
                  <a:gd name="connsiteY6" fmla="*/ 1740477 h 1848716"/>
                  <a:gd name="connsiteX7" fmla="*/ 134215 w 1056409"/>
                  <a:gd name="connsiteY7" fmla="*/ 1783773 h 1848716"/>
                  <a:gd name="connsiteX8" fmla="*/ 116897 w 1056409"/>
                  <a:gd name="connsiteY8" fmla="*/ 1835727 h 1848716"/>
                  <a:gd name="connsiteX9" fmla="*/ 168852 w 1056409"/>
                  <a:gd name="connsiteY9" fmla="*/ 1848716 h 1848716"/>
                  <a:gd name="connsiteX10" fmla="*/ 411306 w 1056409"/>
                  <a:gd name="connsiteY10" fmla="*/ 1216602 h 1848716"/>
                  <a:gd name="connsiteX11" fmla="*/ 467590 w 1056409"/>
                  <a:gd name="connsiteY11" fmla="*/ 1151659 h 1848716"/>
                  <a:gd name="connsiteX12" fmla="*/ 588818 w 1056409"/>
                  <a:gd name="connsiteY12" fmla="*/ 1207943 h 1848716"/>
                  <a:gd name="connsiteX13" fmla="*/ 562840 w 1056409"/>
                  <a:gd name="connsiteY13" fmla="*/ 1277216 h 1848716"/>
                  <a:gd name="connsiteX14" fmla="*/ 757670 w 1056409"/>
                  <a:gd name="connsiteY14" fmla="*/ 1359477 h 1848716"/>
                  <a:gd name="connsiteX15" fmla="*/ 930851 w 1056409"/>
                  <a:gd name="connsiteY15" fmla="*/ 1558636 h 1848716"/>
                  <a:gd name="connsiteX16" fmla="*/ 995795 w 1056409"/>
                  <a:gd name="connsiteY16" fmla="*/ 1394114 h 1848716"/>
                  <a:gd name="connsiteX17" fmla="*/ 930852 w 1056409"/>
                  <a:gd name="connsiteY17" fmla="*/ 1320512 h 1848716"/>
                  <a:gd name="connsiteX18" fmla="*/ 913534 w 1056409"/>
                  <a:gd name="connsiteY18" fmla="*/ 1199284 h 1848716"/>
                  <a:gd name="connsiteX19" fmla="*/ 956829 w 1056409"/>
                  <a:gd name="connsiteY19" fmla="*/ 1194955 h 1848716"/>
                  <a:gd name="connsiteX20" fmla="*/ 935181 w 1056409"/>
                  <a:gd name="connsiteY20" fmla="*/ 1052080 h 1848716"/>
                  <a:gd name="connsiteX21" fmla="*/ 891886 w 1056409"/>
                  <a:gd name="connsiteY21" fmla="*/ 1060739 h 1848716"/>
                  <a:gd name="connsiteX22" fmla="*/ 844261 w 1056409"/>
                  <a:gd name="connsiteY22" fmla="*/ 749011 h 1848716"/>
                  <a:gd name="connsiteX23" fmla="*/ 904875 w 1056409"/>
                  <a:gd name="connsiteY23" fmla="*/ 744682 h 1848716"/>
                  <a:gd name="connsiteX24" fmla="*/ 900545 w 1056409"/>
                  <a:gd name="connsiteY24" fmla="*/ 645102 h 1848716"/>
                  <a:gd name="connsiteX25" fmla="*/ 974147 w 1056409"/>
                  <a:gd name="connsiteY25" fmla="*/ 632114 h 1848716"/>
                  <a:gd name="connsiteX26" fmla="*/ 956829 w 1056409"/>
                  <a:gd name="connsiteY26" fmla="*/ 545523 h 1848716"/>
                  <a:gd name="connsiteX27" fmla="*/ 1056409 w 1056409"/>
                  <a:gd name="connsiteY27" fmla="*/ 199159 h 1848716"/>
                  <a:gd name="connsiteX0" fmla="*/ 1056409 w 1056409"/>
                  <a:gd name="connsiteY0" fmla="*/ 199159 h 1848716"/>
                  <a:gd name="connsiteX1" fmla="*/ 770659 w 1056409"/>
                  <a:gd name="connsiteY1" fmla="*/ 0 h 1848716"/>
                  <a:gd name="connsiteX2" fmla="*/ 489238 w 1056409"/>
                  <a:gd name="connsiteY2" fmla="*/ 826943 h 1848716"/>
                  <a:gd name="connsiteX3" fmla="*/ 415636 w 1056409"/>
                  <a:gd name="connsiteY3" fmla="*/ 909205 h 1848716"/>
                  <a:gd name="connsiteX4" fmla="*/ 350693 w 1056409"/>
                  <a:gd name="connsiteY4" fmla="*/ 1086716 h 1848716"/>
                  <a:gd name="connsiteX5" fmla="*/ 251113 w 1056409"/>
                  <a:gd name="connsiteY5" fmla="*/ 1043420 h 1848716"/>
                  <a:gd name="connsiteX6" fmla="*/ 0 w 1056409"/>
                  <a:gd name="connsiteY6" fmla="*/ 1740477 h 1848716"/>
                  <a:gd name="connsiteX7" fmla="*/ 134215 w 1056409"/>
                  <a:gd name="connsiteY7" fmla="*/ 1783773 h 1848716"/>
                  <a:gd name="connsiteX8" fmla="*/ 116897 w 1056409"/>
                  <a:gd name="connsiteY8" fmla="*/ 1835727 h 1848716"/>
                  <a:gd name="connsiteX9" fmla="*/ 168852 w 1056409"/>
                  <a:gd name="connsiteY9" fmla="*/ 1848716 h 1848716"/>
                  <a:gd name="connsiteX10" fmla="*/ 411306 w 1056409"/>
                  <a:gd name="connsiteY10" fmla="*/ 1216602 h 1848716"/>
                  <a:gd name="connsiteX11" fmla="*/ 467590 w 1056409"/>
                  <a:gd name="connsiteY11" fmla="*/ 1151659 h 1848716"/>
                  <a:gd name="connsiteX12" fmla="*/ 588818 w 1056409"/>
                  <a:gd name="connsiteY12" fmla="*/ 1207943 h 1848716"/>
                  <a:gd name="connsiteX13" fmla="*/ 562840 w 1056409"/>
                  <a:gd name="connsiteY13" fmla="*/ 1277216 h 1848716"/>
                  <a:gd name="connsiteX14" fmla="*/ 757670 w 1056409"/>
                  <a:gd name="connsiteY14" fmla="*/ 1359477 h 1848716"/>
                  <a:gd name="connsiteX15" fmla="*/ 930851 w 1056409"/>
                  <a:gd name="connsiteY15" fmla="*/ 1558636 h 1848716"/>
                  <a:gd name="connsiteX16" fmla="*/ 1043420 w 1056409"/>
                  <a:gd name="connsiteY16" fmla="*/ 1450398 h 1848716"/>
                  <a:gd name="connsiteX17" fmla="*/ 930852 w 1056409"/>
                  <a:gd name="connsiteY17" fmla="*/ 1320512 h 1848716"/>
                  <a:gd name="connsiteX18" fmla="*/ 913534 w 1056409"/>
                  <a:gd name="connsiteY18" fmla="*/ 1199284 h 1848716"/>
                  <a:gd name="connsiteX19" fmla="*/ 956829 w 1056409"/>
                  <a:gd name="connsiteY19" fmla="*/ 1194955 h 1848716"/>
                  <a:gd name="connsiteX20" fmla="*/ 935181 w 1056409"/>
                  <a:gd name="connsiteY20" fmla="*/ 1052080 h 1848716"/>
                  <a:gd name="connsiteX21" fmla="*/ 891886 w 1056409"/>
                  <a:gd name="connsiteY21" fmla="*/ 1060739 h 1848716"/>
                  <a:gd name="connsiteX22" fmla="*/ 844261 w 1056409"/>
                  <a:gd name="connsiteY22" fmla="*/ 749011 h 1848716"/>
                  <a:gd name="connsiteX23" fmla="*/ 904875 w 1056409"/>
                  <a:gd name="connsiteY23" fmla="*/ 744682 h 1848716"/>
                  <a:gd name="connsiteX24" fmla="*/ 900545 w 1056409"/>
                  <a:gd name="connsiteY24" fmla="*/ 645102 h 1848716"/>
                  <a:gd name="connsiteX25" fmla="*/ 974147 w 1056409"/>
                  <a:gd name="connsiteY25" fmla="*/ 632114 h 1848716"/>
                  <a:gd name="connsiteX26" fmla="*/ 956829 w 1056409"/>
                  <a:gd name="connsiteY26" fmla="*/ 545523 h 1848716"/>
                  <a:gd name="connsiteX27" fmla="*/ 1056409 w 1056409"/>
                  <a:gd name="connsiteY27" fmla="*/ 199159 h 1848716"/>
                  <a:gd name="connsiteX0" fmla="*/ 1056409 w 1056409"/>
                  <a:gd name="connsiteY0" fmla="*/ 199159 h 1848716"/>
                  <a:gd name="connsiteX1" fmla="*/ 770659 w 1056409"/>
                  <a:gd name="connsiteY1" fmla="*/ 0 h 1848716"/>
                  <a:gd name="connsiteX2" fmla="*/ 489238 w 1056409"/>
                  <a:gd name="connsiteY2" fmla="*/ 826943 h 1848716"/>
                  <a:gd name="connsiteX3" fmla="*/ 415636 w 1056409"/>
                  <a:gd name="connsiteY3" fmla="*/ 909205 h 1848716"/>
                  <a:gd name="connsiteX4" fmla="*/ 350693 w 1056409"/>
                  <a:gd name="connsiteY4" fmla="*/ 1086716 h 1848716"/>
                  <a:gd name="connsiteX5" fmla="*/ 251113 w 1056409"/>
                  <a:gd name="connsiteY5" fmla="*/ 1043420 h 1848716"/>
                  <a:gd name="connsiteX6" fmla="*/ 0 w 1056409"/>
                  <a:gd name="connsiteY6" fmla="*/ 1740477 h 1848716"/>
                  <a:gd name="connsiteX7" fmla="*/ 134215 w 1056409"/>
                  <a:gd name="connsiteY7" fmla="*/ 1783773 h 1848716"/>
                  <a:gd name="connsiteX8" fmla="*/ 116897 w 1056409"/>
                  <a:gd name="connsiteY8" fmla="*/ 1835727 h 1848716"/>
                  <a:gd name="connsiteX9" fmla="*/ 168852 w 1056409"/>
                  <a:gd name="connsiteY9" fmla="*/ 1848716 h 1848716"/>
                  <a:gd name="connsiteX10" fmla="*/ 411306 w 1056409"/>
                  <a:gd name="connsiteY10" fmla="*/ 1216602 h 1848716"/>
                  <a:gd name="connsiteX11" fmla="*/ 467590 w 1056409"/>
                  <a:gd name="connsiteY11" fmla="*/ 1151659 h 1848716"/>
                  <a:gd name="connsiteX12" fmla="*/ 588818 w 1056409"/>
                  <a:gd name="connsiteY12" fmla="*/ 1207943 h 1848716"/>
                  <a:gd name="connsiteX13" fmla="*/ 562840 w 1056409"/>
                  <a:gd name="connsiteY13" fmla="*/ 1277216 h 1848716"/>
                  <a:gd name="connsiteX14" fmla="*/ 757670 w 1056409"/>
                  <a:gd name="connsiteY14" fmla="*/ 1359477 h 1848716"/>
                  <a:gd name="connsiteX15" fmla="*/ 917862 w 1056409"/>
                  <a:gd name="connsiteY15" fmla="*/ 1571624 h 1848716"/>
                  <a:gd name="connsiteX16" fmla="*/ 1043420 w 1056409"/>
                  <a:gd name="connsiteY16" fmla="*/ 1450398 h 1848716"/>
                  <a:gd name="connsiteX17" fmla="*/ 930852 w 1056409"/>
                  <a:gd name="connsiteY17" fmla="*/ 1320512 h 1848716"/>
                  <a:gd name="connsiteX18" fmla="*/ 913534 w 1056409"/>
                  <a:gd name="connsiteY18" fmla="*/ 1199284 h 1848716"/>
                  <a:gd name="connsiteX19" fmla="*/ 956829 w 1056409"/>
                  <a:gd name="connsiteY19" fmla="*/ 1194955 h 1848716"/>
                  <a:gd name="connsiteX20" fmla="*/ 935181 w 1056409"/>
                  <a:gd name="connsiteY20" fmla="*/ 1052080 h 1848716"/>
                  <a:gd name="connsiteX21" fmla="*/ 891886 w 1056409"/>
                  <a:gd name="connsiteY21" fmla="*/ 1060739 h 1848716"/>
                  <a:gd name="connsiteX22" fmla="*/ 844261 w 1056409"/>
                  <a:gd name="connsiteY22" fmla="*/ 749011 h 1848716"/>
                  <a:gd name="connsiteX23" fmla="*/ 904875 w 1056409"/>
                  <a:gd name="connsiteY23" fmla="*/ 744682 h 1848716"/>
                  <a:gd name="connsiteX24" fmla="*/ 900545 w 1056409"/>
                  <a:gd name="connsiteY24" fmla="*/ 645102 h 1848716"/>
                  <a:gd name="connsiteX25" fmla="*/ 974147 w 1056409"/>
                  <a:gd name="connsiteY25" fmla="*/ 632114 h 1848716"/>
                  <a:gd name="connsiteX26" fmla="*/ 956829 w 1056409"/>
                  <a:gd name="connsiteY26" fmla="*/ 545523 h 1848716"/>
                  <a:gd name="connsiteX27" fmla="*/ 1056409 w 1056409"/>
                  <a:gd name="connsiteY27" fmla="*/ 199159 h 1848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056409" h="1848716">
                    <a:moveTo>
                      <a:pt x="1056409" y="199159"/>
                    </a:moveTo>
                    <a:lnTo>
                      <a:pt x="770659" y="0"/>
                    </a:lnTo>
                    <a:lnTo>
                      <a:pt x="489238" y="826943"/>
                    </a:lnTo>
                    <a:lnTo>
                      <a:pt x="415636" y="909205"/>
                    </a:lnTo>
                    <a:lnTo>
                      <a:pt x="350693" y="1086716"/>
                    </a:lnTo>
                    <a:lnTo>
                      <a:pt x="251113" y="1043420"/>
                    </a:lnTo>
                    <a:lnTo>
                      <a:pt x="0" y="1740477"/>
                    </a:lnTo>
                    <a:lnTo>
                      <a:pt x="134215" y="1783773"/>
                    </a:lnTo>
                    <a:lnTo>
                      <a:pt x="116897" y="1835727"/>
                    </a:lnTo>
                    <a:lnTo>
                      <a:pt x="168852" y="1848716"/>
                    </a:lnTo>
                    <a:lnTo>
                      <a:pt x="411306" y="1216602"/>
                    </a:lnTo>
                    <a:lnTo>
                      <a:pt x="467590" y="1151659"/>
                    </a:lnTo>
                    <a:lnTo>
                      <a:pt x="588818" y="1207943"/>
                    </a:lnTo>
                    <a:lnTo>
                      <a:pt x="562840" y="1277216"/>
                    </a:lnTo>
                    <a:lnTo>
                      <a:pt x="757670" y="1359477"/>
                    </a:lnTo>
                    <a:lnTo>
                      <a:pt x="917862" y="1571624"/>
                    </a:lnTo>
                    <a:lnTo>
                      <a:pt x="1043420" y="1450398"/>
                    </a:lnTo>
                    <a:lnTo>
                      <a:pt x="930852" y="1320512"/>
                    </a:lnTo>
                    <a:lnTo>
                      <a:pt x="913534" y="1199284"/>
                    </a:lnTo>
                    <a:lnTo>
                      <a:pt x="956829" y="1194955"/>
                    </a:lnTo>
                    <a:lnTo>
                      <a:pt x="935181" y="1052080"/>
                    </a:lnTo>
                    <a:lnTo>
                      <a:pt x="891886" y="1060739"/>
                    </a:lnTo>
                    <a:lnTo>
                      <a:pt x="844261" y="749011"/>
                    </a:lnTo>
                    <a:lnTo>
                      <a:pt x="904875" y="744682"/>
                    </a:lnTo>
                    <a:lnTo>
                      <a:pt x="900545" y="645102"/>
                    </a:lnTo>
                    <a:lnTo>
                      <a:pt x="974147" y="632114"/>
                    </a:lnTo>
                    <a:lnTo>
                      <a:pt x="956829" y="545523"/>
                    </a:lnTo>
                    <a:lnTo>
                      <a:pt x="1056409" y="199159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de-DE" sz="60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01" name="G006C">
                <a:extLst>
                  <a:ext uri="{FF2B5EF4-FFF2-40B4-BE49-F238E27FC236}">
                    <a16:creationId xmlns:a16="http://schemas.microsoft.com/office/drawing/2014/main" id="{24465B14-5ED9-4175-AC7D-8ADEE7EB0C7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48672" y="193991"/>
                <a:ext cx="325148" cy="821890"/>
              </a:xfrm>
              <a:custGeom>
                <a:avLst/>
                <a:gdLst>
                  <a:gd name="connsiteX0" fmla="*/ 130629 w 870857"/>
                  <a:gd name="connsiteY0" fmla="*/ 2035629 h 2068286"/>
                  <a:gd name="connsiteX1" fmla="*/ 261257 w 870857"/>
                  <a:gd name="connsiteY1" fmla="*/ 2068286 h 2068286"/>
                  <a:gd name="connsiteX2" fmla="*/ 870857 w 870857"/>
                  <a:gd name="connsiteY2" fmla="*/ 315686 h 2068286"/>
                  <a:gd name="connsiteX3" fmla="*/ 772886 w 870857"/>
                  <a:gd name="connsiteY3" fmla="*/ 0 h 2068286"/>
                  <a:gd name="connsiteX4" fmla="*/ 250371 w 870857"/>
                  <a:gd name="connsiteY4" fmla="*/ 827315 h 2068286"/>
                  <a:gd name="connsiteX5" fmla="*/ 0 w 870857"/>
                  <a:gd name="connsiteY5" fmla="*/ 1611086 h 2068286"/>
                  <a:gd name="connsiteX6" fmla="*/ 130629 w 870857"/>
                  <a:gd name="connsiteY6" fmla="*/ 2035629 h 2068286"/>
                  <a:gd name="connsiteX0" fmla="*/ 130629 w 883996"/>
                  <a:gd name="connsiteY0" fmla="*/ 2035629 h 2068286"/>
                  <a:gd name="connsiteX1" fmla="*/ 261257 w 883996"/>
                  <a:gd name="connsiteY1" fmla="*/ 2068286 h 2068286"/>
                  <a:gd name="connsiteX2" fmla="*/ 870857 w 883996"/>
                  <a:gd name="connsiteY2" fmla="*/ 315686 h 2068286"/>
                  <a:gd name="connsiteX3" fmla="*/ 881742 w 883996"/>
                  <a:gd name="connsiteY3" fmla="*/ 163286 h 2068286"/>
                  <a:gd name="connsiteX4" fmla="*/ 772886 w 883996"/>
                  <a:gd name="connsiteY4" fmla="*/ 0 h 2068286"/>
                  <a:gd name="connsiteX5" fmla="*/ 250371 w 883996"/>
                  <a:gd name="connsiteY5" fmla="*/ 827315 h 2068286"/>
                  <a:gd name="connsiteX6" fmla="*/ 0 w 883996"/>
                  <a:gd name="connsiteY6" fmla="*/ 1611086 h 2068286"/>
                  <a:gd name="connsiteX7" fmla="*/ 130629 w 883996"/>
                  <a:gd name="connsiteY7" fmla="*/ 2035629 h 2068286"/>
                  <a:gd name="connsiteX0" fmla="*/ 130629 w 883996"/>
                  <a:gd name="connsiteY0" fmla="*/ 2035629 h 2068286"/>
                  <a:gd name="connsiteX1" fmla="*/ 261257 w 883996"/>
                  <a:gd name="connsiteY1" fmla="*/ 2068286 h 2068286"/>
                  <a:gd name="connsiteX2" fmla="*/ 870857 w 883996"/>
                  <a:gd name="connsiteY2" fmla="*/ 315686 h 2068286"/>
                  <a:gd name="connsiteX3" fmla="*/ 881742 w 883996"/>
                  <a:gd name="connsiteY3" fmla="*/ 163286 h 2068286"/>
                  <a:gd name="connsiteX4" fmla="*/ 772886 w 883996"/>
                  <a:gd name="connsiteY4" fmla="*/ 0 h 2068286"/>
                  <a:gd name="connsiteX5" fmla="*/ 250371 w 883996"/>
                  <a:gd name="connsiteY5" fmla="*/ 827315 h 2068286"/>
                  <a:gd name="connsiteX6" fmla="*/ 0 w 883996"/>
                  <a:gd name="connsiteY6" fmla="*/ 1611086 h 2068286"/>
                  <a:gd name="connsiteX7" fmla="*/ 141513 w 883996"/>
                  <a:gd name="connsiteY7" fmla="*/ 1861457 h 2068286"/>
                  <a:gd name="connsiteX8" fmla="*/ 130629 w 883996"/>
                  <a:gd name="connsiteY8" fmla="*/ 2035629 h 2068286"/>
                  <a:gd name="connsiteX0" fmla="*/ 130629 w 883996"/>
                  <a:gd name="connsiteY0" fmla="*/ 2035629 h 2068286"/>
                  <a:gd name="connsiteX1" fmla="*/ 261257 w 883996"/>
                  <a:gd name="connsiteY1" fmla="*/ 2068286 h 2068286"/>
                  <a:gd name="connsiteX2" fmla="*/ 870857 w 883996"/>
                  <a:gd name="connsiteY2" fmla="*/ 315686 h 2068286"/>
                  <a:gd name="connsiteX3" fmla="*/ 881742 w 883996"/>
                  <a:gd name="connsiteY3" fmla="*/ 163286 h 2068286"/>
                  <a:gd name="connsiteX4" fmla="*/ 772886 w 883996"/>
                  <a:gd name="connsiteY4" fmla="*/ 0 h 2068286"/>
                  <a:gd name="connsiteX5" fmla="*/ 250371 w 883996"/>
                  <a:gd name="connsiteY5" fmla="*/ 827315 h 2068286"/>
                  <a:gd name="connsiteX6" fmla="*/ 0 w 883996"/>
                  <a:gd name="connsiteY6" fmla="*/ 1611086 h 2068286"/>
                  <a:gd name="connsiteX7" fmla="*/ 97970 w 883996"/>
                  <a:gd name="connsiteY7" fmla="*/ 1861457 h 2068286"/>
                  <a:gd name="connsiteX8" fmla="*/ 130629 w 883996"/>
                  <a:gd name="connsiteY8" fmla="*/ 2035629 h 2068286"/>
                  <a:gd name="connsiteX0" fmla="*/ 130629 w 883996"/>
                  <a:gd name="connsiteY0" fmla="*/ 2035629 h 2068286"/>
                  <a:gd name="connsiteX1" fmla="*/ 261257 w 883996"/>
                  <a:gd name="connsiteY1" fmla="*/ 2068286 h 2068286"/>
                  <a:gd name="connsiteX2" fmla="*/ 870857 w 883996"/>
                  <a:gd name="connsiteY2" fmla="*/ 315686 h 2068286"/>
                  <a:gd name="connsiteX3" fmla="*/ 881742 w 883996"/>
                  <a:gd name="connsiteY3" fmla="*/ 163286 h 2068286"/>
                  <a:gd name="connsiteX4" fmla="*/ 772886 w 883996"/>
                  <a:gd name="connsiteY4" fmla="*/ 0 h 2068286"/>
                  <a:gd name="connsiteX5" fmla="*/ 250371 w 883996"/>
                  <a:gd name="connsiteY5" fmla="*/ 827315 h 2068286"/>
                  <a:gd name="connsiteX6" fmla="*/ 0 w 883996"/>
                  <a:gd name="connsiteY6" fmla="*/ 1611086 h 2068286"/>
                  <a:gd name="connsiteX7" fmla="*/ 32656 w 883996"/>
                  <a:gd name="connsiteY7" fmla="*/ 1850571 h 2068286"/>
                  <a:gd name="connsiteX8" fmla="*/ 130629 w 883996"/>
                  <a:gd name="connsiteY8" fmla="*/ 2035629 h 2068286"/>
                  <a:gd name="connsiteX0" fmla="*/ 152640 w 906007"/>
                  <a:gd name="connsiteY0" fmla="*/ 2035629 h 2068286"/>
                  <a:gd name="connsiteX1" fmla="*/ 283268 w 906007"/>
                  <a:gd name="connsiteY1" fmla="*/ 2068286 h 2068286"/>
                  <a:gd name="connsiteX2" fmla="*/ 892868 w 906007"/>
                  <a:gd name="connsiteY2" fmla="*/ 315686 h 2068286"/>
                  <a:gd name="connsiteX3" fmla="*/ 903753 w 906007"/>
                  <a:gd name="connsiteY3" fmla="*/ 163286 h 2068286"/>
                  <a:gd name="connsiteX4" fmla="*/ 794897 w 906007"/>
                  <a:gd name="connsiteY4" fmla="*/ 0 h 2068286"/>
                  <a:gd name="connsiteX5" fmla="*/ 272382 w 906007"/>
                  <a:gd name="connsiteY5" fmla="*/ 827315 h 2068286"/>
                  <a:gd name="connsiteX6" fmla="*/ 22011 w 906007"/>
                  <a:gd name="connsiteY6" fmla="*/ 1611086 h 2068286"/>
                  <a:gd name="connsiteX7" fmla="*/ 11123 w 906007"/>
                  <a:gd name="connsiteY7" fmla="*/ 1698171 h 2068286"/>
                  <a:gd name="connsiteX8" fmla="*/ 54667 w 906007"/>
                  <a:gd name="connsiteY8" fmla="*/ 1850571 h 2068286"/>
                  <a:gd name="connsiteX9" fmla="*/ 152640 w 906007"/>
                  <a:gd name="connsiteY9" fmla="*/ 2035629 h 2068286"/>
                  <a:gd name="connsiteX0" fmla="*/ 152640 w 892868"/>
                  <a:gd name="connsiteY0" fmla="*/ 2035629 h 2068286"/>
                  <a:gd name="connsiteX1" fmla="*/ 283268 w 892868"/>
                  <a:gd name="connsiteY1" fmla="*/ 2068286 h 2068286"/>
                  <a:gd name="connsiteX2" fmla="*/ 892868 w 892868"/>
                  <a:gd name="connsiteY2" fmla="*/ 315686 h 2068286"/>
                  <a:gd name="connsiteX3" fmla="*/ 860210 w 892868"/>
                  <a:gd name="connsiteY3" fmla="*/ 163286 h 2068286"/>
                  <a:gd name="connsiteX4" fmla="*/ 794897 w 892868"/>
                  <a:gd name="connsiteY4" fmla="*/ 0 h 2068286"/>
                  <a:gd name="connsiteX5" fmla="*/ 272382 w 892868"/>
                  <a:gd name="connsiteY5" fmla="*/ 827315 h 2068286"/>
                  <a:gd name="connsiteX6" fmla="*/ 22011 w 892868"/>
                  <a:gd name="connsiteY6" fmla="*/ 1611086 h 2068286"/>
                  <a:gd name="connsiteX7" fmla="*/ 11123 w 892868"/>
                  <a:gd name="connsiteY7" fmla="*/ 1698171 h 2068286"/>
                  <a:gd name="connsiteX8" fmla="*/ 54667 w 892868"/>
                  <a:gd name="connsiteY8" fmla="*/ 1850571 h 2068286"/>
                  <a:gd name="connsiteX9" fmla="*/ 152640 w 892868"/>
                  <a:gd name="connsiteY9" fmla="*/ 2035629 h 2068286"/>
                  <a:gd name="connsiteX0" fmla="*/ 152640 w 881982"/>
                  <a:gd name="connsiteY0" fmla="*/ 2035629 h 2068286"/>
                  <a:gd name="connsiteX1" fmla="*/ 283268 w 881982"/>
                  <a:gd name="connsiteY1" fmla="*/ 2068286 h 2068286"/>
                  <a:gd name="connsiteX2" fmla="*/ 881982 w 881982"/>
                  <a:gd name="connsiteY2" fmla="*/ 315686 h 2068286"/>
                  <a:gd name="connsiteX3" fmla="*/ 860210 w 881982"/>
                  <a:gd name="connsiteY3" fmla="*/ 163286 h 2068286"/>
                  <a:gd name="connsiteX4" fmla="*/ 794897 w 881982"/>
                  <a:gd name="connsiteY4" fmla="*/ 0 h 2068286"/>
                  <a:gd name="connsiteX5" fmla="*/ 272382 w 881982"/>
                  <a:gd name="connsiteY5" fmla="*/ 827315 h 2068286"/>
                  <a:gd name="connsiteX6" fmla="*/ 22011 w 881982"/>
                  <a:gd name="connsiteY6" fmla="*/ 1611086 h 2068286"/>
                  <a:gd name="connsiteX7" fmla="*/ 11123 w 881982"/>
                  <a:gd name="connsiteY7" fmla="*/ 1698171 h 2068286"/>
                  <a:gd name="connsiteX8" fmla="*/ 54667 w 881982"/>
                  <a:gd name="connsiteY8" fmla="*/ 1850571 h 2068286"/>
                  <a:gd name="connsiteX9" fmla="*/ 152640 w 881982"/>
                  <a:gd name="connsiteY9" fmla="*/ 2035629 h 2068286"/>
                  <a:gd name="connsiteX0" fmla="*/ 142103 w 881982"/>
                  <a:gd name="connsiteY0" fmla="*/ 2051489 h 2068286"/>
                  <a:gd name="connsiteX1" fmla="*/ 283268 w 881982"/>
                  <a:gd name="connsiteY1" fmla="*/ 2068286 h 2068286"/>
                  <a:gd name="connsiteX2" fmla="*/ 881982 w 881982"/>
                  <a:gd name="connsiteY2" fmla="*/ 315686 h 2068286"/>
                  <a:gd name="connsiteX3" fmla="*/ 860210 w 881982"/>
                  <a:gd name="connsiteY3" fmla="*/ 163286 h 2068286"/>
                  <a:gd name="connsiteX4" fmla="*/ 794897 w 881982"/>
                  <a:gd name="connsiteY4" fmla="*/ 0 h 2068286"/>
                  <a:gd name="connsiteX5" fmla="*/ 272382 w 881982"/>
                  <a:gd name="connsiteY5" fmla="*/ 827315 h 2068286"/>
                  <a:gd name="connsiteX6" fmla="*/ 22011 w 881982"/>
                  <a:gd name="connsiteY6" fmla="*/ 1611086 h 2068286"/>
                  <a:gd name="connsiteX7" fmla="*/ 11123 w 881982"/>
                  <a:gd name="connsiteY7" fmla="*/ 1698171 h 2068286"/>
                  <a:gd name="connsiteX8" fmla="*/ 54667 w 881982"/>
                  <a:gd name="connsiteY8" fmla="*/ 1850571 h 2068286"/>
                  <a:gd name="connsiteX9" fmla="*/ 142103 w 881982"/>
                  <a:gd name="connsiteY9" fmla="*/ 2051489 h 2068286"/>
                  <a:gd name="connsiteX0" fmla="*/ 142103 w 866176"/>
                  <a:gd name="connsiteY0" fmla="*/ 2051489 h 2068286"/>
                  <a:gd name="connsiteX1" fmla="*/ 283268 w 866176"/>
                  <a:gd name="connsiteY1" fmla="*/ 2068286 h 2068286"/>
                  <a:gd name="connsiteX2" fmla="*/ 866176 w 866176"/>
                  <a:gd name="connsiteY2" fmla="*/ 315686 h 2068286"/>
                  <a:gd name="connsiteX3" fmla="*/ 860210 w 866176"/>
                  <a:gd name="connsiteY3" fmla="*/ 163286 h 2068286"/>
                  <a:gd name="connsiteX4" fmla="*/ 794897 w 866176"/>
                  <a:gd name="connsiteY4" fmla="*/ 0 h 2068286"/>
                  <a:gd name="connsiteX5" fmla="*/ 272382 w 866176"/>
                  <a:gd name="connsiteY5" fmla="*/ 827315 h 2068286"/>
                  <a:gd name="connsiteX6" fmla="*/ 22011 w 866176"/>
                  <a:gd name="connsiteY6" fmla="*/ 1611086 h 2068286"/>
                  <a:gd name="connsiteX7" fmla="*/ 11123 w 866176"/>
                  <a:gd name="connsiteY7" fmla="*/ 1698171 h 2068286"/>
                  <a:gd name="connsiteX8" fmla="*/ 54667 w 866176"/>
                  <a:gd name="connsiteY8" fmla="*/ 1850571 h 2068286"/>
                  <a:gd name="connsiteX9" fmla="*/ 142103 w 866176"/>
                  <a:gd name="connsiteY9" fmla="*/ 2051489 h 2068286"/>
                  <a:gd name="connsiteX0" fmla="*/ 142103 w 876713"/>
                  <a:gd name="connsiteY0" fmla="*/ 2051489 h 2068286"/>
                  <a:gd name="connsiteX1" fmla="*/ 283268 w 876713"/>
                  <a:gd name="connsiteY1" fmla="*/ 2068286 h 2068286"/>
                  <a:gd name="connsiteX2" fmla="*/ 876713 w 876713"/>
                  <a:gd name="connsiteY2" fmla="*/ 326260 h 2068286"/>
                  <a:gd name="connsiteX3" fmla="*/ 860210 w 876713"/>
                  <a:gd name="connsiteY3" fmla="*/ 163286 h 2068286"/>
                  <a:gd name="connsiteX4" fmla="*/ 794897 w 876713"/>
                  <a:gd name="connsiteY4" fmla="*/ 0 h 2068286"/>
                  <a:gd name="connsiteX5" fmla="*/ 272382 w 876713"/>
                  <a:gd name="connsiteY5" fmla="*/ 827315 h 2068286"/>
                  <a:gd name="connsiteX6" fmla="*/ 22011 w 876713"/>
                  <a:gd name="connsiteY6" fmla="*/ 1611086 h 2068286"/>
                  <a:gd name="connsiteX7" fmla="*/ 11123 w 876713"/>
                  <a:gd name="connsiteY7" fmla="*/ 1698171 h 2068286"/>
                  <a:gd name="connsiteX8" fmla="*/ 54667 w 876713"/>
                  <a:gd name="connsiteY8" fmla="*/ 1850571 h 2068286"/>
                  <a:gd name="connsiteX9" fmla="*/ 142103 w 876713"/>
                  <a:gd name="connsiteY9" fmla="*/ 2051489 h 2068286"/>
                  <a:gd name="connsiteX0" fmla="*/ 142103 w 876713"/>
                  <a:gd name="connsiteY0" fmla="*/ 2025055 h 2041852"/>
                  <a:gd name="connsiteX1" fmla="*/ 283268 w 876713"/>
                  <a:gd name="connsiteY1" fmla="*/ 2041852 h 2041852"/>
                  <a:gd name="connsiteX2" fmla="*/ 876713 w 876713"/>
                  <a:gd name="connsiteY2" fmla="*/ 299826 h 2041852"/>
                  <a:gd name="connsiteX3" fmla="*/ 860210 w 876713"/>
                  <a:gd name="connsiteY3" fmla="*/ 136852 h 2041852"/>
                  <a:gd name="connsiteX4" fmla="*/ 779091 w 876713"/>
                  <a:gd name="connsiteY4" fmla="*/ 0 h 2041852"/>
                  <a:gd name="connsiteX5" fmla="*/ 272382 w 876713"/>
                  <a:gd name="connsiteY5" fmla="*/ 800881 h 2041852"/>
                  <a:gd name="connsiteX6" fmla="*/ 22011 w 876713"/>
                  <a:gd name="connsiteY6" fmla="*/ 1584652 h 2041852"/>
                  <a:gd name="connsiteX7" fmla="*/ 11123 w 876713"/>
                  <a:gd name="connsiteY7" fmla="*/ 1671737 h 2041852"/>
                  <a:gd name="connsiteX8" fmla="*/ 54667 w 876713"/>
                  <a:gd name="connsiteY8" fmla="*/ 1824137 h 2041852"/>
                  <a:gd name="connsiteX9" fmla="*/ 142103 w 876713"/>
                  <a:gd name="connsiteY9" fmla="*/ 2025055 h 2041852"/>
                  <a:gd name="connsiteX0" fmla="*/ 142103 w 876713"/>
                  <a:gd name="connsiteY0" fmla="*/ 2025055 h 2041852"/>
                  <a:gd name="connsiteX1" fmla="*/ 283268 w 876713"/>
                  <a:gd name="connsiteY1" fmla="*/ 2041852 h 2041852"/>
                  <a:gd name="connsiteX2" fmla="*/ 876713 w 876713"/>
                  <a:gd name="connsiteY2" fmla="*/ 299826 h 2041852"/>
                  <a:gd name="connsiteX3" fmla="*/ 844403 w 876713"/>
                  <a:gd name="connsiteY3" fmla="*/ 147426 h 2041852"/>
                  <a:gd name="connsiteX4" fmla="*/ 779091 w 876713"/>
                  <a:gd name="connsiteY4" fmla="*/ 0 h 2041852"/>
                  <a:gd name="connsiteX5" fmla="*/ 272382 w 876713"/>
                  <a:gd name="connsiteY5" fmla="*/ 800881 h 2041852"/>
                  <a:gd name="connsiteX6" fmla="*/ 22011 w 876713"/>
                  <a:gd name="connsiteY6" fmla="*/ 1584652 h 2041852"/>
                  <a:gd name="connsiteX7" fmla="*/ 11123 w 876713"/>
                  <a:gd name="connsiteY7" fmla="*/ 1671737 h 2041852"/>
                  <a:gd name="connsiteX8" fmla="*/ 54667 w 876713"/>
                  <a:gd name="connsiteY8" fmla="*/ 1824137 h 2041852"/>
                  <a:gd name="connsiteX9" fmla="*/ 142103 w 876713"/>
                  <a:gd name="connsiteY9" fmla="*/ 2025055 h 2041852"/>
                  <a:gd name="connsiteX0" fmla="*/ 142103 w 876713"/>
                  <a:gd name="connsiteY0" fmla="*/ 2025055 h 2041852"/>
                  <a:gd name="connsiteX1" fmla="*/ 283268 w 876713"/>
                  <a:gd name="connsiteY1" fmla="*/ 2041852 h 2041852"/>
                  <a:gd name="connsiteX2" fmla="*/ 860155 w 876713"/>
                  <a:gd name="connsiteY2" fmla="*/ 378386 h 2041852"/>
                  <a:gd name="connsiteX3" fmla="*/ 876713 w 876713"/>
                  <a:gd name="connsiteY3" fmla="*/ 299826 h 2041852"/>
                  <a:gd name="connsiteX4" fmla="*/ 844403 w 876713"/>
                  <a:gd name="connsiteY4" fmla="*/ 147426 h 2041852"/>
                  <a:gd name="connsiteX5" fmla="*/ 779091 w 876713"/>
                  <a:gd name="connsiteY5" fmla="*/ 0 h 2041852"/>
                  <a:gd name="connsiteX6" fmla="*/ 272382 w 876713"/>
                  <a:gd name="connsiteY6" fmla="*/ 800881 h 2041852"/>
                  <a:gd name="connsiteX7" fmla="*/ 22011 w 876713"/>
                  <a:gd name="connsiteY7" fmla="*/ 1584652 h 2041852"/>
                  <a:gd name="connsiteX8" fmla="*/ 11123 w 876713"/>
                  <a:gd name="connsiteY8" fmla="*/ 1671737 h 2041852"/>
                  <a:gd name="connsiteX9" fmla="*/ 54667 w 876713"/>
                  <a:gd name="connsiteY9" fmla="*/ 1824137 h 2041852"/>
                  <a:gd name="connsiteX10" fmla="*/ 142103 w 876713"/>
                  <a:gd name="connsiteY10" fmla="*/ 2025055 h 2041852"/>
                  <a:gd name="connsiteX0" fmla="*/ 142103 w 876713"/>
                  <a:gd name="connsiteY0" fmla="*/ 2025055 h 2041852"/>
                  <a:gd name="connsiteX1" fmla="*/ 283268 w 876713"/>
                  <a:gd name="connsiteY1" fmla="*/ 2041852 h 2041852"/>
                  <a:gd name="connsiteX2" fmla="*/ 860155 w 876713"/>
                  <a:gd name="connsiteY2" fmla="*/ 378386 h 2041852"/>
                  <a:gd name="connsiteX3" fmla="*/ 876713 w 876713"/>
                  <a:gd name="connsiteY3" fmla="*/ 283966 h 2041852"/>
                  <a:gd name="connsiteX4" fmla="*/ 844403 w 876713"/>
                  <a:gd name="connsiteY4" fmla="*/ 147426 h 2041852"/>
                  <a:gd name="connsiteX5" fmla="*/ 779091 w 876713"/>
                  <a:gd name="connsiteY5" fmla="*/ 0 h 2041852"/>
                  <a:gd name="connsiteX6" fmla="*/ 272382 w 876713"/>
                  <a:gd name="connsiteY6" fmla="*/ 800881 h 2041852"/>
                  <a:gd name="connsiteX7" fmla="*/ 22011 w 876713"/>
                  <a:gd name="connsiteY7" fmla="*/ 1584652 h 2041852"/>
                  <a:gd name="connsiteX8" fmla="*/ 11123 w 876713"/>
                  <a:gd name="connsiteY8" fmla="*/ 1671737 h 2041852"/>
                  <a:gd name="connsiteX9" fmla="*/ 54667 w 876713"/>
                  <a:gd name="connsiteY9" fmla="*/ 1824137 h 2041852"/>
                  <a:gd name="connsiteX10" fmla="*/ 142103 w 876713"/>
                  <a:gd name="connsiteY10" fmla="*/ 2025055 h 2041852"/>
                  <a:gd name="connsiteX0" fmla="*/ 136963 w 871573"/>
                  <a:gd name="connsiteY0" fmla="*/ 2025055 h 2041852"/>
                  <a:gd name="connsiteX1" fmla="*/ 278128 w 871573"/>
                  <a:gd name="connsiteY1" fmla="*/ 2041852 h 2041852"/>
                  <a:gd name="connsiteX2" fmla="*/ 855015 w 871573"/>
                  <a:gd name="connsiteY2" fmla="*/ 378386 h 2041852"/>
                  <a:gd name="connsiteX3" fmla="*/ 871573 w 871573"/>
                  <a:gd name="connsiteY3" fmla="*/ 283966 h 2041852"/>
                  <a:gd name="connsiteX4" fmla="*/ 839263 w 871573"/>
                  <a:gd name="connsiteY4" fmla="*/ 147426 h 2041852"/>
                  <a:gd name="connsiteX5" fmla="*/ 773951 w 871573"/>
                  <a:gd name="connsiteY5" fmla="*/ 0 h 2041852"/>
                  <a:gd name="connsiteX6" fmla="*/ 267242 w 871573"/>
                  <a:gd name="connsiteY6" fmla="*/ 800881 h 2041852"/>
                  <a:gd name="connsiteX7" fmla="*/ 16871 w 871573"/>
                  <a:gd name="connsiteY7" fmla="*/ 1584652 h 2041852"/>
                  <a:gd name="connsiteX8" fmla="*/ 21789 w 871573"/>
                  <a:gd name="connsiteY8" fmla="*/ 1671737 h 2041852"/>
                  <a:gd name="connsiteX9" fmla="*/ 49527 w 871573"/>
                  <a:gd name="connsiteY9" fmla="*/ 1824137 h 2041852"/>
                  <a:gd name="connsiteX10" fmla="*/ 136963 w 871573"/>
                  <a:gd name="connsiteY10" fmla="*/ 2025055 h 2041852"/>
                  <a:gd name="connsiteX0" fmla="*/ 144499 w 879109"/>
                  <a:gd name="connsiteY0" fmla="*/ 2025055 h 2041852"/>
                  <a:gd name="connsiteX1" fmla="*/ 285664 w 879109"/>
                  <a:gd name="connsiteY1" fmla="*/ 2041852 h 2041852"/>
                  <a:gd name="connsiteX2" fmla="*/ 862551 w 879109"/>
                  <a:gd name="connsiteY2" fmla="*/ 378386 h 2041852"/>
                  <a:gd name="connsiteX3" fmla="*/ 879109 w 879109"/>
                  <a:gd name="connsiteY3" fmla="*/ 283966 h 2041852"/>
                  <a:gd name="connsiteX4" fmla="*/ 846799 w 879109"/>
                  <a:gd name="connsiteY4" fmla="*/ 147426 h 2041852"/>
                  <a:gd name="connsiteX5" fmla="*/ 781487 w 879109"/>
                  <a:gd name="connsiteY5" fmla="*/ 0 h 2041852"/>
                  <a:gd name="connsiteX6" fmla="*/ 274778 w 879109"/>
                  <a:gd name="connsiteY6" fmla="*/ 800881 h 2041852"/>
                  <a:gd name="connsiteX7" fmla="*/ 24407 w 879109"/>
                  <a:gd name="connsiteY7" fmla="*/ 1584652 h 2041852"/>
                  <a:gd name="connsiteX8" fmla="*/ 8250 w 879109"/>
                  <a:gd name="connsiteY8" fmla="*/ 1671737 h 2041852"/>
                  <a:gd name="connsiteX9" fmla="*/ 57063 w 879109"/>
                  <a:gd name="connsiteY9" fmla="*/ 1824137 h 2041852"/>
                  <a:gd name="connsiteX10" fmla="*/ 144499 w 879109"/>
                  <a:gd name="connsiteY10" fmla="*/ 2025055 h 2041852"/>
                  <a:gd name="connsiteX0" fmla="*/ 144499 w 879109"/>
                  <a:gd name="connsiteY0" fmla="*/ 2025055 h 2041852"/>
                  <a:gd name="connsiteX1" fmla="*/ 285664 w 879109"/>
                  <a:gd name="connsiteY1" fmla="*/ 2041852 h 2041852"/>
                  <a:gd name="connsiteX2" fmla="*/ 862551 w 879109"/>
                  <a:gd name="connsiteY2" fmla="*/ 378386 h 2041852"/>
                  <a:gd name="connsiteX3" fmla="*/ 879109 w 879109"/>
                  <a:gd name="connsiteY3" fmla="*/ 283966 h 2041852"/>
                  <a:gd name="connsiteX4" fmla="*/ 846799 w 879109"/>
                  <a:gd name="connsiteY4" fmla="*/ 147426 h 2041852"/>
                  <a:gd name="connsiteX5" fmla="*/ 781487 w 879109"/>
                  <a:gd name="connsiteY5" fmla="*/ 0 h 2041852"/>
                  <a:gd name="connsiteX6" fmla="*/ 274778 w 879109"/>
                  <a:gd name="connsiteY6" fmla="*/ 800881 h 2041852"/>
                  <a:gd name="connsiteX7" fmla="*/ 24407 w 879109"/>
                  <a:gd name="connsiteY7" fmla="*/ 1584652 h 2041852"/>
                  <a:gd name="connsiteX8" fmla="*/ 8250 w 879109"/>
                  <a:gd name="connsiteY8" fmla="*/ 1671737 h 2041852"/>
                  <a:gd name="connsiteX9" fmla="*/ 57063 w 879109"/>
                  <a:gd name="connsiteY9" fmla="*/ 1839997 h 2041852"/>
                  <a:gd name="connsiteX10" fmla="*/ 144499 w 879109"/>
                  <a:gd name="connsiteY10" fmla="*/ 2025055 h 2041852"/>
                  <a:gd name="connsiteX0" fmla="*/ 144499 w 879109"/>
                  <a:gd name="connsiteY0" fmla="*/ 2025055 h 2041852"/>
                  <a:gd name="connsiteX1" fmla="*/ 285664 w 879109"/>
                  <a:gd name="connsiteY1" fmla="*/ 2041852 h 2041852"/>
                  <a:gd name="connsiteX2" fmla="*/ 862551 w 879109"/>
                  <a:gd name="connsiteY2" fmla="*/ 378386 h 2041852"/>
                  <a:gd name="connsiteX3" fmla="*/ 879109 w 879109"/>
                  <a:gd name="connsiteY3" fmla="*/ 283966 h 2041852"/>
                  <a:gd name="connsiteX4" fmla="*/ 846799 w 879109"/>
                  <a:gd name="connsiteY4" fmla="*/ 147426 h 2041852"/>
                  <a:gd name="connsiteX5" fmla="*/ 781487 w 879109"/>
                  <a:gd name="connsiteY5" fmla="*/ 0 h 2041852"/>
                  <a:gd name="connsiteX6" fmla="*/ 274778 w 879109"/>
                  <a:gd name="connsiteY6" fmla="*/ 800881 h 2041852"/>
                  <a:gd name="connsiteX7" fmla="*/ 24407 w 879109"/>
                  <a:gd name="connsiteY7" fmla="*/ 1563504 h 2041852"/>
                  <a:gd name="connsiteX8" fmla="*/ 8250 w 879109"/>
                  <a:gd name="connsiteY8" fmla="*/ 1671737 h 2041852"/>
                  <a:gd name="connsiteX9" fmla="*/ 57063 w 879109"/>
                  <a:gd name="connsiteY9" fmla="*/ 1839997 h 2041852"/>
                  <a:gd name="connsiteX10" fmla="*/ 144499 w 879109"/>
                  <a:gd name="connsiteY10" fmla="*/ 2025055 h 2041852"/>
                  <a:gd name="connsiteX0" fmla="*/ 144499 w 879109"/>
                  <a:gd name="connsiteY0" fmla="*/ 2025055 h 2211326"/>
                  <a:gd name="connsiteX1" fmla="*/ 239660 w 879109"/>
                  <a:gd name="connsiteY1" fmla="*/ 2211326 h 2211326"/>
                  <a:gd name="connsiteX2" fmla="*/ 862551 w 879109"/>
                  <a:gd name="connsiteY2" fmla="*/ 378386 h 2211326"/>
                  <a:gd name="connsiteX3" fmla="*/ 879109 w 879109"/>
                  <a:gd name="connsiteY3" fmla="*/ 283966 h 2211326"/>
                  <a:gd name="connsiteX4" fmla="*/ 846799 w 879109"/>
                  <a:gd name="connsiteY4" fmla="*/ 147426 h 2211326"/>
                  <a:gd name="connsiteX5" fmla="*/ 781487 w 879109"/>
                  <a:gd name="connsiteY5" fmla="*/ 0 h 2211326"/>
                  <a:gd name="connsiteX6" fmla="*/ 274778 w 879109"/>
                  <a:gd name="connsiteY6" fmla="*/ 800881 h 2211326"/>
                  <a:gd name="connsiteX7" fmla="*/ 24407 w 879109"/>
                  <a:gd name="connsiteY7" fmla="*/ 1563504 h 2211326"/>
                  <a:gd name="connsiteX8" fmla="*/ 8250 w 879109"/>
                  <a:gd name="connsiteY8" fmla="*/ 1671737 h 2211326"/>
                  <a:gd name="connsiteX9" fmla="*/ 57063 w 879109"/>
                  <a:gd name="connsiteY9" fmla="*/ 1839997 h 2211326"/>
                  <a:gd name="connsiteX10" fmla="*/ 144499 w 879109"/>
                  <a:gd name="connsiteY10" fmla="*/ 2025055 h 2211326"/>
                  <a:gd name="connsiteX0" fmla="*/ 156000 w 879109"/>
                  <a:gd name="connsiteY0" fmla="*/ 2170319 h 2211326"/>
                  <a:gd name="connsiteX1" fmla="*/ 239660 w 879109"/>
                  <a:gd name="connsiteY1" fmla="*/ 2211326 h 2211326"/>
                  <a:gd name="connsiteX2" fmla="*/ 862551 w 879109"/>
                  <a:gd name="connsiteY2" fmla="*/ 378386 h 2211326"/>
                  <a:gd name="connsiteX3" fmla="*/ 879109 w 879109"/>
                  <a:gd name="connsiteY3" fmla="*/ 283966 h 2211326"/>
                  <a:gd name="connsiteX4" fmla="*/ 846799 w 879109"/>
                  <a:gd name="connsiteY4" fmla="*/ 147426 h 2211326"/>
                  <a:gd name="connsiteX5" fmla="*/ 781487 w 879109"/>
                  <a:gd name="connsiteY5" fmla="*/ 0 h 2211326"/>
                  <a:gd name="connsiteX6" fmla="*/ 274778 w 879109"/>
                  <a:gd name="connsiteY6" fmla="*/ 800881 h 2211326"/>
                  <a:gd name="connsiteX7" fmla="*/ 24407 w 879109"/>
                  <a:gd name="connsiteY7" fmla="*/ 1563504 h 2211326"/>
                  <a:gd name="connsiteX8" fmla="*/ 8250 w 879109"/>
                  <a:gd name="connsiteY8" fmla="*/ 1671737 h 2211326"/>
                  <a:gd name="connsiteX9" fmla="*/ 57063 w 879109"/>
                  <a:gd name="connsiteY9" fmla="*/ 1839997 h 2211326"/>
                  <a:gd name="connsiteX10" fmla="*/ 156000 w 879109"/>
                  <a:gd name="connsiteY10" fmla="*/ 2170319 h 2211326"/>
                  <a:gd name="connsiteX0" fmla="*/ 156000 w 879109"/>
                  <a:gd name="connsiteY0" fmla="*/ 2170319 h 2211326"/>
                  <a:gd name="connsiteX1" fmla="*/ 239660 w 879109"/>
                  <a:gd name="connsiteY1" fmla="*/ 2211326 h 2211326"/>
                  <a:gd name="connsiteX2" fmla="*/ 862551 w 879109"/>
                  <a:gd name="connsiteY2" fmla="*/ 378386 h 2211326"/>
                  <a:gd name="connsiteX3" fmla="*/ 879109 w 879109"/>
                  <a:gd name="connsiteY3" fmla="*/ 283966 h 2211326"/>
                  <a:gd name="connsiteX4" fmla="*/ 846799 w 879109"/>
                  <a:gd name="connsiteY4" fmla="*/ 147426 h 2211326"/>
                  <a:gd name="connsiteX5" fmla="*/ 781487 w 879109"/>
                  <a:gd name="connsiteY5" fmla="*/ 0 h 2211326"/>
                  <a:gd name="connsiteX6" fmla="*/ 274778 w 879109"/>
                  <a:gd name="connsiteY6" fmla="*/ 800881 h 2211326"/>
                  <a:gd name="connsiteX7" fmla="*/ 24407 w 879109"/>
                  <a:gd name="connsiteY7" fmla="*/ 1563504 h 2211326"/>
                  <a:gd name="connsiteX8" fmla="*/ 8250 w 879109"/>
                  <a:gd name="connsiteY8" fmla="*/ 1671737 h 2211326"/>
                  <a:gd name="connsiteX9" fmla="*/ 57063 w 879109"/>
                  <a:gd name="connsiteY9" fmla="*/ 1839997 h 2211326"/>
                  <a:gd name="connsiteX10" fmla="*/ 156000 w 879109"/>
                  <a:gd name="connsiteY10" fmla="*/ 2170319 h 2211326"/>
                  <a:gd name="connsiteX0" fmla="*/ 158724 w 881833"/>
                  <a:gd name="connsiteY0" fmla="*/ 2170319 h 2211326"/>
                  <a:gd name="connsiteX1" fmla="*/ 242384 w 881833"/>
                  <a:gd name="connsiteY1" fmla="*/ 2211326 h 2211326"/>
                  <a:gd name="connsiteX2" fmla="*/ 865275 w 881833"/>
                  <a:gd name="connsiteY2" fmla="*/ 378386 h 2211326"/>
                  <a:gd name="connsiteX3" fmla="*/ 881833 w 881833"/>
                  <a:gd name="connsiteY3" fmla="*/ 283966 h 2211326"/>
                  <a:gd name="connsiteX4" fmla="*/ 849523 w 881833"/>
                  <a:gd name="connsiteY4" fmla="*/ 147426 h 2211326"/>
                  <a:gd name="connsiteX5" fmla="*/ 784211 w 881833"/>
                  <a:gd name="connsiteY5" fmla="*/ 0 h 2211326"/>
                  <a:gd name="connsiteX6" fmla="*/ 277502 w 881833"/>
                  <a:gd name="connsiteY6" fmla="*/ 800881 h 2211326"/>
                  <a:gd name="connsiteX7" fmla="*/ 27131 w 881833"/>
                  <a:gd name="connsiteY7" fmla="*/ 1563504 h 2211326"/>
                  <a:gd name="connsiteX8" fmla="*/ 5952 w 881833"/>
                  <a:gd name="connsiteY8" fmla="*/ 1634417 h 2211326"/>
                  <a:gd name="connsiteX9" fmla="*/ 59787 w 881833"/>
                  <a:gd name="connsiteY9" fmla="*/ 1839997 h 2211326"/>
                  <a:gd name="connsiteX10" fmla="*/ 158724 w 881833"/>
                  <a:gd name="connsiteY10" fmla="*/ 2170319 h 2211326"/>
                  <a:gd name="connsiteX0" fmla="*/ 161021 w 884130"/>
                  <a:gd name="connsiteY0" fmla="*/ 2170319 h 2211326"/>
                  <a:gd name="connsiteX1" fmla="*/ 244681 w 884130"/>
                  <a:gd name="connsiteY1" fmla="*/ 2211326 h 2211326"/>
                  <a:gd name="connsiteX2" fmla="*/ 867572 w 884130"/>
                  <a:gd name="connsiteY2" fmla="*/ 378386 h 2211326"/>
                  <a:gd name="connsiteX3" fmla="*/ 884130 w 884130"/>
                  <a:gd name="connsiteY3" fmla="*/ 283966 h 2211326"/>
                  <a:gd name="connsiteX4" fmla="*/ 851820 w 884130"/>
                  <a:gd name="connsiteY4" fmla="*/ 147426 h 2211326"/>
                  <a:gd name="connsiteX5" fmla="*/ 786508 w 884130"/>
                  <a:gd name="connsiteY5" fmla="*/ 0 h 2211326"/>
                  <a:gd name="connsiteX6" fmla="*/ 279799 w 884130"/>
                  <a:gd name="connsiteY6" fmla="*/ 800881 h 2211326"/>
                  <a:gd name="connsiteX7" fmla="*/ 24406 w 884130"/>
                  <a:gd name="connsiteY7" fmla="*/ 1520851 h 2211326"/>
                  <a:gd name="connsiteX8" fmla="*/ 8249 w 884130"/>
                  <a:gd name="connsiteY8" fmla="*/ 1634417 h 2211326"/>
                  <a:gd name="connsiteX9" fmla="*/ 62084 w 884130"/>
                  <a:gd name="connsiteY9" fmla="*/ 1839997 h 2211326"/>
                  <a:gd name="connsiteX10" fmla="*/ 161021 w 884130"/>
                  <a:gd name="connsiteY10" fmla="*/ 2170319 h 2211326"/>
                  <a:gd name="connsiteX0" fmla="*/ 145468 w 868577"/>
                  <a:gd name="connsiteY0" fmla="*/ 2170319 h 2211326"/>
                  <a:gd name="connsiteX1" fmla="*/ 229128 w 868577"/>
                  <a:gd name="connsiteY1" fmla="*/ 2211326 h 2211326"/>
                  <a:gd name="connsiteX2" fmla="*/ 852019 w 868577"/>
                  <a:gd name="connsiteY2" fmla="*/ 378386 h 2211326"/>
                  <a:gd name="connsiteX3" fmla="*/ 868577 w 868577"/>
                  <a:gd name="connsiteY3" fmla="*/ 283966 h 2211326"/>
                  <a:gd name="connsiteX4" fmla="*/ 836267 w 868577"/>
                  <a:gd name="connsiteY4" fmla="*/ 147426 h 2211326"/>
                  <a:gd name="connsiteX5" fmla="*/ 770955 w 868577"/>
                  <a:gd name="connsiteY5" fmla="*/ 0 h 2211326"/>
                  <a:gd name="connsiteX6" fmla="*/ 264246 w 868577"/>
                  <a:gd name="connsiteY6" fmla="*/ 800881 h 2211326"/>
                  <a:gd name="connsiteX7" fmla="*/ 8853 w 868577"/>
                  <a:gd name="connsiteY7" fmla="*/ 1520851 h 2211326"/>
                  <a:gd name="connsiteX8" fmla="*/ 73071 w 868577"/>
                  <a:gd name="connsiteY8" fmla="*/ 1639748 h 2211326"/>
                  <a:gd name="connsiteX9" fmla="*/ 46531 w 868577"/>
                  <a:gd name="connsiteY9" fmla="*/ 1839997 h 2211326"/>
                  <a:gd name="connsiteX10" fmla="*/ 145468 w 868577"/>
                  <a:gd name="connsiteY10" fmla="*/ 2170319 h 2211326"/>
                  <a:gd name="connsiteX0" fmla="*/ 166967 w 890076"/>
                  <a:gd name="connsiteY0" fmla="*/ 2170319 h 2211326"/>
                  <a:gd name="connsiteX1" fmla="*/ 250627 w 890076"/>
                  <a:gd name="connsiteY1" fmla="*/ 2211326 h 2211326"/>
                  <a:gd name="connsiteX2" fmla="*/ 873518 w 890076"/>
                  <a:gd name="connsiteY2" fmla="*/ 378386 h 2211326"/>
                  <a:gd name="connsiteX3" fmla="*/ 890076 w 890076"/>
                  <a:gd name="connsiteY3" fmla="*/ 283966 h 2211326"/>
                  <a:gd name="connsiteX4" fmla="*/ 857766 w 890076"/>
                  <a:gd name="connsiteY4" fmla="*/ 147426 h 2211326"/>
                  <a:gd name="connsiteX5" fmla="*/ 792454 w 890076"/>
                  <a:gd name="connsiteY5" fmla="*/ 0 h 2211326"/>
                  <a:gd name="connsiteX6" fmla="*/ 285745 w 890076"/>
                  <a:gd name="connsiteY6" fmla="*/ 800881 h 2211326"/>
                  <a:gd name="connsiteX7" fmla="*/ 30352 w 890076"/>
                  <a:gd name="connsiteY7" fmla="*/ 1520851 h 2211326"/>
                  <a:gd name="connsiteX8" fmla="*/ 4148 w 890076"/>
                  <a:gd name="connsiteY8" fmla="*/ 1639748 h 2211326"/>
                  <a:gd name="connsiteX9" fmla="*/ 68030 w 890076"/>
                  <a:gd name="connsiteY9" fmla="*/ 1839997 h 2211326"/>
                  <a:gd name="connsiteX10" fmla="*/ 166967 w 890076"/>
                  <a:gd name="connsiteY10" fmla="*/ 2170319 h 22113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90076" h="2211326">
                    <a:moveTo>
                      <a:pt x="166967" y="2170319"/>
                    </a:moveTo>
                    <a:lnTo>
                      <a:pt x="250627" y="2211326"/>
                    </a:lnTo>
                    <a:lnTo>
                      <a:pt x="873518" y="378386"/>
                    </a:lnTo>
                    <a:lnTo>
                      <a:pt x="890076" y="283966"/>
                    </a:lnTo>
                    <a:cubicBezTo>
                      <a:pt x="879190" y="225909"/>
                      <a:pt x="868652" y="205483"/>
                      <a:pt x="857766" y="147426"/>
                    </a:cubicBezTo>
                    <a:lnTo>
                      <a:pt x="792454" y="0"/>
                    </a:lnTo>
                    <a:lnTo>
                      <a:pt x="285745" y="800881"/>
                    </a:lnTo>
                    <a:lnTo>
                      <a:pt x="30352" y="1520851"/>
                    </a:lnTo>
                    <a:cubicBezTo>
                      <a:pt x="-7748" y="1665994"/>
                      <a:pt x="-1295" y="1599834"/>
                      <a:pt x="4148" y="1639748"/>
                    </a:cubicBezTo>
                    <a:cubicBezTo>
                      <a:pt x="9591" y="1679662"/>
                      <a:pt x="49887" y="1783754"/>
                      <a:pt x="68030" y="1839997"/>
                    </a:cubicBezTo>
                    <a:cubicBezTo>
                      <a:pt x="101009" y="1950104"/>
                      <a:pt x="151239" y="2048107"/>
                      <a:pt x="166967" y="2170319"/>
                    </a:cubicBez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de-DE" sz="60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02" name="G006">
                <a:extLst>
                  <a:ext uri="{FF2B5EF4-FFF2-40B4-BE49-F238E27FC236}">
                    <a16:creationId xmlns:a16="http://schemas.microsoft.com/office/drawing/2014/main" id="{23F99A4C-7E18-4772-BE75-6AC3380E998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75230" y="595343"/>
                <a:ext cx="342562" cy="577282"/>
              </a:xfrm>
              <a:custGeom>
                <a:avLst/>
                <a:gdLst>
                  <a:gd name="connsiteX0" fmla="*/ 0 w 1055914"/>
                  <a:gd name="connsiteY0" fmla="*/ 1937657 h 2166257"/>
                  <a:gd name="connsiteX1" fmla="*/ 522514 w 1055914"/>
                  <a:gd name="connsiteY1" fmla="*/ 2166257 h 2166257"/>
                  <a:gd name="connsiteX2" fmla="*/ 1055914 w 1055914"/>
                  <a:gd name="connsiteY2" fmla="*/ 544286 h 2166257"/>
                  <a:gd name="connsiteX3" fmla="*/ 849085 w 1055914"/>
                  <a:gd name="connsiteY3" fmla="*/ 65315 h 2166257"/>
                  <a:gd name="connsiteX4" fmla="*/ 674914 w 1055914"/>
                  <a:gd name="connsiteY4" fmla="*/ 0 h 2166257"/>
                  <a:gd name="connsiteX5" fmla="*/ 0 w 1055914"/>
                  <a:gd name="connsiteY5" fmla="*/ 1937657 h 2166257"/>
                  <a:gd name="connsiteX0" fmla="*/ 0 w 1055914"/>
                  <a:gd name="connsiteY0" fmla="*/ 1937657 h 2166257"/>
                  <a:gd name="connsiteX1" fmla="*/ 522514 w 1055914"/>
                  <a:gd name="connsiteY1" fmla="*/ 2166257 h 2166257"/>
                  <a:gd name="connsiteX2" fmla="*/ 1055914 w 1055914"/>
                  <a:gd name="connsiteY2" fmla="*/ 522514 h 2166257"/>
                  <a:gd name="connsiteX3" fmla="*/ 849085 w 1055914"/>
                  <a:gd name="connsiteY3" fmla="*/ 65315 h 2166257"/>
                  <a:gd name="connsiteX4" fmla="*/ 674914 w 1055914"/>
                  <a:gd name="connsiteY4" fmla="*/ 0 h 2166257"/>
                  <a:gd name="connsiteX5" fmla="*/ 0 w 1055914"/>
                  <a:gd name="connsiteY5" fmla="*/ 1937657 h 2166257"/>
                  <a:gd name="connsiteX0" fmla="*/ 0 w 1055914"/>
                  <a:gd name="connsiteY0" fmla="*/ 1937657 h 2166257"/>
                  <a:gd name="connsiteX1" fmla="*/ 522514 w 1055914"/>
                  <a:gd name="connsiteY1" fmla="*/ 2166257 h 2166257"/>
                  <a:gd name="connsiteX2" fmla="*/ 1055914 w 1055914"/>
                  <a:gd name="connsiteY2" fmla="*/ 522514 h 2166257"/>
                  <a:gd name="connsiteX3" fmla="*/ 849085 w 1055914"/>
                  <a:gd name="connsiteY3" fmla="*/ 65315 h 2166257"/>
                  <a:gd name="connsiteX4" fmla="*/ 674914 w 1055914"/>
                  <a:gd name="connsiteY4" fmla="*/ 0 h 2166257"/>
                  <a:gd name="connsiteX5" fmla="*/ 0 w 1055914"/>
                  <a:gd name="connsiteY5" fmla="*/ 1937657 h 2166257"/>
                  <a:gd name="connsiteX0" fmla="*/ 0 w 1055914"/>
                  <a:gd name="connsiteY0" fmla="*/ 1937657 h 2166257"/>
                  <a:gd name="connsiteX1" fmla="*/ 522514 w 1055914"/>
                  <a:gd name="connsiteY1" fmla="*/ 2166257 h 2166257"/>
                  <a:gd name="connsiteX2" fmla="*/ 1039704 w 1055914"/>
                  <a:gd name="connsiteY2" fmla="*/ 606688 h 2166257"/>
                  <a:gd name="connsiteX3" fmla="*/ 1055914 w 1055914"/>
                  <a:gd name="connsiteY3" fmla="*/ 522514 h 2166257"/>
                  <a:gd name="connsiteX4" fmla="*/ 849085 w 1055914"/>
                  <a:gd name="connsiteY4" fmla="*/ 65315 h 2166257"/>
                  <a:gd name="connsiteX5" fmla="*/ 674914 w 1055914"/>
                  <a:gd name="connsiteY5" fmla="*/ 0 h 2166257"/>
                  <a:gd name="connsiteX6" fmla="*/ 0 w 1055914"/>
                  <a:gd name="connsiteY6" fmla="*/ 1937657 h 2166257"/>
                  <a:gd name="connsiteX0" fmla="*/ 0 w 1039704"/>
                  <a:gd name="connsiteY0" fmla="*/ 1937657 h 2166257"/>
                  <a:gd name="connsiteX1" fmla="*/ 522514 w 1039704"/>
                  <a:gd name="connsiteY1" fmla="*/ 2166257 h 2166257"/>
                  <a:gd name="connsiteX2" fmla="*/ 1039704 w 1039704"/>
                  <a:gd name="connsiteY2" fmla="*/ 606688 h 2166257"/>
                  <a:gd name="connsiteX3" fmla="*/ 1024248 w 1039704"/>
                  <a:gd name="connsiteY3" fmla="*/ 506658 h 2166257"/>
                  <a:gd name="connsiteX4" fmla="*/ 849085 w 1039704"/>
                  <a:gd name="connsiteY4" fmla="*/ 65315 h 2166257"/>
                  <a:gd name="connsiteX5" fmla="*/ 674914 w 1039704"/>
                  <a:gd name="connsiteY5" fmla="*/ 0 h 2166257"/>
                  <a:gd name="connsiteX6" fmla="*/ 0 w 1039704"/>
                  <a:gd name="connsiteY6" fmla="*/ 1937657 h 2166257"/>
                  <a:gd name="connsiteX0" fmla="*/ 0 w 1045359"/>
                  <a:gd name="connsiteY0" fmla="*/ 1937657 h 2166257"/>
                  <a:gd name="connsiteX1" fmla="*/ 522514 w 1045359"/>
                  <a:gd name="connsiteY1" fmla="*/ 2166257 h 2166257"/>
                  <a:gd name="connsiteX2" fmla="*/ 1039704 w 1045359"/>
                  <a:gd name="connsiteY2" fmla="*/ 606688 h 2166257"/>
                  <a:gd name="connsiteX3" fmla="*/ 1045359 w 1045359"/>
                  <a:gd name="connsiteY3" fmla="*/ 490802 h 2166257"/>
                  <a:gd name="connsiteX4" fmla="*/ 849085 w 1045359"/>
                  <a:gd name="connsiteY4" fmla="*/ 65315 h 2166257"/>
                  <a:gd name="connsiteX5" fmla="*/ 674914 w 1045359"/>
                  <a:gd name="connsiteY5" fmla="*/ 0 h 2166257"/>
                  <a:gd name="connsiteX6" fmla="*/ 0 w 1045359"/>
                  <a:gd name="connsiteY6" fmla="*/ 1937657 h 2166257"/>
                  <a:gd name="connsiteX0" fmla="*/ 0 w 1045359"/>
                  <a:gd name="connsiteY0" fmla="*/ 1937657 h 2166257"/>
                  <a:gd name="connsiteX1" fmla="*/ 522514 w 1045359"/>
                  <a:gd name="connsiteY1" fmla="*/ 2166257 h 2166257"/>
                  <a:gd name="connsiteX2" fmla="*/ 1039704 w 1045359"/>
                  <a:gd name="connsiteY2" fmla="*/ 606688 h 2166257"/>
                  <a:gd name="connsiteX3" fmla="*/ 1045359 w 1045359"/>
                  <a:gd name="connsiteY3" fmla="*/ 490802 h 2166257"/>
                  <a:gd name="connsiteX4" fmla="*/ 923595 w 1045359"/>
                  <a:gd name="connsiteY4" fmla="*/ 204998 h 2166257"/>
                  <a:gd name="connsiteX5" fmla="*/ 849085 w 1045359"/>
                  <a:gd name="connsiteY5" fmla="*/ 65315 h 2166257"/>
                  <a:gd name="connsiteX6" fmla="*/ 674914 w 1045359"/>
                  <a:gd name="connsiteY6" fmla="*/ 0 h 2166257"/>
                  <a:gd name="connsiteX7" fmla="*/ 0 w 1045359"/>
                  <a:gd name="connsiteY7" fmla="*/ 1937657 h 2166257"/>
                  <a:gd name="connsiteX0" fmla="*/ 0 w 1045359"/>
                  <a:gd name="connsiteY0" fmla="*/ 1937657 h 2166257"/>
                  <a:gd name="connsiteX1" fmla="*/ 522514 w 1045359"/>
                  <a:gd name="connsiteY1" fmla="*/ 2166257 h 2166257"/>
                  <a:gd name="connsiteX2" fmla="*/ 1039704 w 1045359"/>
                  <a:gd name="connsiteY2" fmla="*/ 606688 h 2166257"/>
                  <a:gd name="connsiteX3" fmla="*/ 1045359 w 1045359"/>
                  <a:gd name="connsiteY3" fmla="*/ 490802 h 2166257"/>
                  <a:gd name="connsiteX4" fmla="*/ 897206 w 1045359"/>
                  <a:gd name="connsiteY4" fmla="*/ 204998 h 2166257"/>
                  <a:gd name="connsiteX5" fmla="*/ 849085 w 1045359"/>
                  <a:gd name="connsiteY5" fmla="*/ 65315 h 2166257"/>
                  <a:gd name="connsiteX6" fmla="*/ 674914 w 1045359"/>
                  <a:gd name="connsiteY6" fmla="*/ 0 h 2166257"/>
                  <a:gd name="connsiteX7" fmla="*/ 0 w 1045359"/>
                  <a:gd name="connsiteY7" fmla="*/ 1937657 h 2166257"/>
                  <a:gd name="connsiteX0" fmla="*/ 0 w 1045359"/>
                  <a:gd name="connsiteY0" fmla="*/ 1937657 h 2166257"/>
                  <a:gd name="connsiteX1" fmla="*/ 522514 w 1045359"/>
                  <a:gd name="connsiteY1" fmla="*/ 2166257 h 2166257"/>
                  <a:gd name="connsiteX2" fmla="*/ 1039704 w 1045359"/>
                  <a:gd name="connsiteY2" fmla="*/ 606688 h 2166257"/>
                  <a:gd name="connsiteX3" fmla="*/ 1045359 w 1045359"/>
                  <a:gd name="connsiteY3" fmla="*/ 490802 h 2166257"/>
                  <a:gd name="connsiteX4" fmla="*/ 897206 w 1045359"/>
                  <a:gd name="connsiteY4" fmla="*/ 204998 h 2166257"/>
                  <a:gd name="connsiteX5" fmla="*/ 849085 w 1045359"/>
                  <a:gd name="connsiteY5" fmla="*/ 65315 h 2166257"/>
                  <a:gd name="connsiteX6" fmla="*/ 674914 w 1045359"/>
                  <a:gd name="connsiteY6" fmla="*/ 0 h 2166257"/>
                  <a:gd name="connsiteX7" fmla="*/ 0 w 1045359"/>
                  <a:gd name="connsiteY7" fmla="*/ 1937657 h 2166257"/>
                  <a:gd name="connsiteX0" fmla="*/ 0 w 1045359"/>
                  <a:gd name="connsiteY0" fmla="*/ 1937657 h 2166257"/>
                  <a:gd name="connsiteX1" fmla="*/ 522514 w 1045359"/>
                  <a:gd name="connsiteY1" fmla="*/ 2166257 h 2166257"/>
                  <a:gd name="connsiteX2" fmla="*/ 1039704 w 1045359"/>
                  <a:gd name="connsiteY2" fmla="*/ 606688 h 2166257"/>
                  <a:gd name="connsiteX3" fmla="*/ 1045359 w 1045359"/>
                  <a:gd name="connsiteY3" fmla="*/ 490802 h 2166257"/>
                  <a:gd name="connsiteX4" fmla="*/ 897206 w 1045359"/>
                  <a:gd name="connsiteY4" fmla="*/ 204998 h 2166257"/>
                  <a:gd name="connsiteX5" fmla="*/ 817419 w 1045359"/>
                  <a:gd name="connsiteY5" fmla="*/ 60029 h 2166257"/>
                  <a:gd name="connsiteX6" fmla="*/ 674914 w 1045359"/>
                  <a:gd name="connsiteY6" fmla="*/ 0 h 2166257"/>
                  <a:gd name="connsiteX7" fmla="*/ 0 w 1045359"/>
                  <a:gd name="connsiteY7" fmla="*/ 1937657 h 2166257"/>
                  <a:gd name="connsiteX0" fmla="*/ 0 w 1045359"/>
                  <a:gd name="connsiteY0" fmla="*/ 1937657 h 2166257"/>
                  <a:gd name="connsiteX1" fmla="*/ 522514 w 1045359"/>
                  <a:gd name="connsiteY1" fmla="*/ 2166257 h 2166257"/>
                  <a:gd name="connsiteX2" fmla="*/ 1039704 w 1045359"/>
                  <a:gd name="connsiteY2" fmla="*/ 606688 h 2166257"/>
                  <a:gd name="connsiteX3" fmla="*/ 1045359 w 1045359"/>
                  <a:gd name="connsiteY3" fmla="*/ 490802 h 2166257"/>
                  <a:gd name="connsiteX4" fmla="*/ 881374 w 1045359"/>
                  <a:gd name="connsiteY4" fmla="*/ 183857 h 2166257"/>
                  <a:gd name="connsiteX5" fmla="*/ 817419 w 1045359"/>
                  <a:gd name="connsiteY5" fmla="*/ 60029 h 2166257"/>
                  <a:gd name="connsiteX6" fmla="*/ 674914 w 1045359"/>
                  <a:gd name="connsiteY6" fmla="*/ 0 h 2166257"/>
                  <a:gd name="connsiteX7" fmla="*/ 0 w 1045359"/>
                  <a:gd name="connsiteY7" fmla="*/ 1937657 h 2166257"/>
                  <a:gd name="connsiteX0" fmla="*/ 0 w 1045359"/>
                  <a:gd name="connsiteY0" fmla="*/ 1937657 h 2166257"/>
                  <a:gd name="connsiteX1" fmla="*/ 522514 w 1045359"/>
                  <a:gd name="connsiteY1" fmla="*/ 2166257 h 2166257"/>
                  <a:gd name="connsiteX2" fmla="*/ 1039704 w 1045359"/>
                  <a:gd name="connsiteY2" fmla="*/ 606688 h 2166257"/>
                  <a:gd name="connsiteX3" fmla="*/ 1045359 w 1045359"/>
                  <a:gd name="connsiteY3" fmla="*/ 490802 h 2166257"/>
                  <a:gd name="connsiteX4" fmla="*/ 881374 w 1045359"/>
                  <a:gd name="connsiteY4" fmla="*/ 183857 h 2166257"/>
                  <a:gd name="connsiteX5" fmla="*/ 833252 w 1045359"/>
                  <a:gd name="connsiteY5" fmla="*/ 49458 h 2166257"/>
                  <a:gd name="connsiteX6" fmla="*/ 674914 w 1045359"/>
                  <a:gd name="connsiteY6" fmla="*/ 0 h 2166257"/>
                  <a:gd name="connsiteX7" fmla="*/ 0 w 1045359"/>
                  <a:gd name="connsiteY7" fmla="*/ 1937657 h 2166257"/>
                  <a:gd name="connsiteX0" fmla="*/ 0 w 1045359"/>
                  <a:gd name="connsiteY0" fmla="*/ 1964084 h 2192684"/>
                  <a:gd name="connsiteX1" fmla="*/ 522514 w 1045359"/>
                  <a:gd name="connsiteY1" fmla="*/ 2192684 h 2192684"/>
                  <a:gd name="connsiteX2" fmla="*/ 1039704 w 1045359"/>
                  <a:gd name="connsiteY2" fmla="*/ 633115 h 2192684"/>
                  <a:gd name="connsiteX3" fmla="*/ 1045359 w 1045359"/>
                  <a:gd name="connsiteY3" fmla="*/ 517229 h 2192684"/>
                  <a:gd name="connsiteX4" fmla="*/ 881374 w 1045359"/>
                  <a:gd name="connsiteY4" fmla="*/ 210284 h 2192684"/>
                  <a:gd name="connsiteX5" fmla="*/ 833252 w 1045359"/>
                  <a:gd name="connsiteY5" fmla="*/ 75885 h 2192684"/>
                  <a:gd name="connsiteX6" fmla="*/ 680192 w 1045359"/>
                  <a:gd name="connsiteY6" fmla="*/ 0 h 2192684"/>
                  <a:gd name="connsiteX7" fmla="*/ 0 w 1045359"/>
                  <a:gd name="connsiteY7" fmla="*/ 1964084 h 2192684"/>
                  <a:gd name="connsiteX0" fmla="*/ 0 w 1045359"/>
                  <a:gd name="connsiteY0" fmla="*/ 1964084 h 2192684"/>
                  <a:gd name="connsiteX1" fmla="*/ 522514 w 1045359"/>
                  <a:gd name="connsiteY1" fmla="*/ 2192684 h 2192684"/>
                  <a:gd name="connsiteX2" fmla="*/ 1039704 w 1045359"/>
                  <a:gd name="connsiteY2" fmla="*/ 633115 h 2192684"/>
                  <a:gd name="connsiteX3" fmla="*/ 1045359 w 1045359"/>
                  <a:gd name="connsiteY3" fmla="*/ 517229 h 2192684"/>
                  <a:gd name="connsiteX4" fmla="*/ 891930 w 1045359"/>
                  <a:gd name="connsiteY4" fmla="*/ 204998 h 2192684"/>
                  <a:gd name="connsiteX5" fmla="*/ 833252 w 1045359"/>
                  <a:gd name="connsiteY5" fmla="*/ 75885 h 2192684"/>
                  <a:gd name="connsiteX6" fmla="*/ 680192 w 1045359"/>
                  <a:gd name="connsiteY6" fmla="*/ 0 h 2192684"/>
                  <a:gd name="connsiteX7" fmla="*/ 0 w 1045359"/>
                  <a:gd name="connsiteY7" fmla="*/ 1964084 h 2192684"/>
                  <a:gd name="connsiteX0" fmla="*/ 0 w 1045359"/>
                  <a:gd name="connsiteY0" fmla="*/ 1964084 h 2161895"/>
                  <a:gd name="connsiteX1" fmla="*/ 514068 w 1045359"/>
                  <a:gd name="connsiteY1" fmla="*/ 2161895 h 2161895"/>
                  <a:gd name="connsiteX2" fmla="*/ 1039704 w 1045359"/>
                  <a:gd name="connsiteY2" fmla="*/ 633115 h 2161895"/>
                  <a:gd name="connsiteX3" fmla="*/ 1045359 w 1045359"/>
                  <a:gd name="connsiteY3" fmla="*/ 517229 h 2161895"/>
                  <a:gd name="connsiteX4" fmla="*/ 891930 w 1045359"/>
                  <a:gd name="connsiteY4" fmla="*/ 204998 h 2161895"/>
                  <a:gd name="connsiteX5" fmla="*/ 833252 w 1045359"/>
                  <a:gd name="connsiteY5" fmla="*/ 75885 h 2161895"/>
                  <a:gd name="connsiteX6" fmla="*/ 680192 w 1045359"/>
                  <a:gd name="connsiteY6" fmla="*/ 0 h 2161895"/>
                  <a:gd name="connsiteX7" fmla="*/ 0 w 1045359"/>
                  <a:gd name="connsiteY7" fmla="*/ 1964084 h 2161895"/>
                  <a:gd name="connsiteX0" fmla="*/ 0 w 1045359"/>
                  <a:gd name="connsiteY0" fmla="*/ 1964084 h 2161895"/>
                  <a:gd name="connsiteX1" fmla="*/ 514068 w 1045359"/>
                  <a:gd name="connsiteY1" fmla="*/ 2161895 h 2161895"/>
                  <a:gd name="connsiteX2" fmla="*/ 1039704 w 1045359"/>
                  <a:gd name="connsiteY2" fmla="*/ 633115 h 2161895"/>
                  <a:gd name="connsiteX3" fmla="*/ 1045359 w 1045359"/>
                  <a:gd name="connsiteY3" fmla="*/ 517229 h 2161895"/>
                  <a:gd name="connsiteX4" fmla="*/ 891930 w 1045359"/>
                  <a:gd name="connsiteY4" fmla="*/ 204998 h 2161895"/>
                  <a:gd name="connsiteX5" fmla="*/ 833252 w 1045359"/>
                  <a:gd name="connsiteY5" fmla="*/ 75885 h 2161895"/>
                  <a:gd name="connsiteX6" fmla="*/ 680192 w 1045359"/>
                  <a:gd name="connsiteY6" fmla="*/ 0 h 2161895"/>
                  <a:gd name="connsiteX7" fmla="*/ 140900 w 1045359"/>
                  <a:gd name="connsiteY7" fmla="*/ 1564857 h 2161895"/>
                  <a:gd name="connsiteX8" fmla="*/ 0 w 1045359"/>
                  <a:gd name="connsiteY8" fmla="*/ 1964084 h 2161895"/>
                  <a:gd name="connsiteX0" fmla="*/ 0 w 1045359"/>
                  <a:gd name="connsiteY0" fmla="*/ 1964084 h 2161895"/>
                  <a:gd name="connsiteX1" fmla="*/ 514068 w 1045359"/>
                  <a:gd name="connsiteY1" fmla="*/ 2161895 h 2161895"/>
                  <a:gd name="connsiteX2" fmla="*/ 1039704 w 1045359"/>
                  <a:gd name="connsiteY2" fmla="*/ 633115 h 2161895"/>
                  <a:gd name="connsiteX3" fmla="*/ 1045359 w 1045359"/>
                  <a:gd name="connsiteY3" fmla="*/ 517229 h 2161895"/>
                  <a:gd name="connsiteX4" fmla="*/ 891930 w 1045359"/>
                  <a:gd name="connsiteY4" fmla="*/ 204998 h 2161895"/>
                  <a:gd name="connsiteX5" fmla="*/ 833252 w 1045359"/>
                  <a:gd name="connsiteY5" fmla="*/ 75885 h 2161895"/>
                  <a:gd name="connsiteX6" fmla="*/ 680192 w 1045359"/>
                  <a:gd name="connsiteY6" fmla="*/ 0 h 2161895"/>
                  <a:gd name="connsiteX7" fmla="*/ 119783 w 1045359"/>
                  <a:gd name="connsiteY7" fmla="*/ 1366930 h 2161895"/>
                  <a:gd name="connsiteX8" fmla="*/ 0 w 1045359"/>
                  <a:gd name="connsiteY8" fmla="*/ 1964084 h 2161895"/>
                  <a:gd name="connsiteX0" fmla="*/ 0 w 1045359"/>
                  <a:gd name="connsiteY0" fmla="*/ 1964084 h 2161895"/>
                  <a:gd name="connsiteX1" fmla="*/ 514068 w 1045359"/>
                  <a:gd name="connsiteY1" fmla="*/ 2161895 h 2161895"/>
                  <a:gd name="connsiteX2" fmla="*/ 1039704 w 1045359"/>
                  <a:gd name="connsiteY2" fmla="*/ 633115 h 2161895"/>
                  <a:gd name="connsiteX3" fmla="*/ 1045359 w 1045359"/>
                  <a:gd name="connsiteY3" fmla="*/ 517229 h 2161895"/>
                  <a:gd name="connsiteX4" fmla="*/ 891930 w 1045359"/>
                  <a:gd name="connsiteY4" fmla="*/ 204998 h 2161895"/>
                  <a:gd name="connsiteX5" fmla="*/ 833252 w 1045359"/>
                  <a:gd name="connsiteY5" fmla="*/ 75885 h 2161895"/>
                  <a:gd name="connsiteX6" fmla="*/ 680192 w 1045359"/>
                  <a:gd name="connsiteY6" fmla="*/ 0 h 2161895"/>
                  <a:gd name="connsiteX7" fmla="*/ 195803 w 1045359"/>
                  <a:gd name="connsiteY7" fmla="*/ 1190995 h 2161895"/>
                  <a:gd name="connsiteX8" fmla="*/ 119783 w 1045359"/>
                  <a:gd name="connsiteY8" fmla="*/ 1366930 h 2161895"/>
                  <a:gd name="connsiteX9" fmla="*/ 0 w 1045359"/>
                  <a:gd name="connsiteY9" fmla="*/ 1964084 h 2161895"/>
                  <a:gd name="connsiteX0" fmla="*/ 0 w 1045359"/>
                  <a:gd name="connsiteY0" fmla="*/ 1964084 h 2161895"/>
                  <a:gd name="connsiteX1" fmla="*/ 514068 w 1045359"/>
                  <a:gd name="connsiteY1" fmla="*/ 2161895 h 2161895"/>
                  <a:gd name="connsiteX2" fmla="*/ 1039704 w 1045359"/>
                  <a:gd name="connsiteY2" fmla="*/ 633115 h 2161895"/>
                  <a:gd name="connsiteX3" fmla="*/ 1045359 w 1045359"/>
                  <a:gd name="connsiteY3" fmla="*/ 517229 h 2161895"/>
                  <a:gd name="connsiteX4" fmla="*/ 891930 w 1045359"/>
                  <a:gd name="connsiteY4" fmla="*/ 204998 h 2161895"/>
                  <a:gd name="connsiteX5" fmla="*/ 833252 w 1045359"/>
                  <a:gd name="connsiteY5" fmla="*/ 75885 h 2161895"/>
                  <a:gd name="connsiteX6" fmla="*/ 680192 w 1045359"/>
                  <a:gd name="connsiteY6" fmla="*/ 0 h 2161895"/>
                  <a:gd name="connsiteX7" fmla="*/ 157793 w 1045359"/>
                  <a:gd name="connsiteY7" fmla="*/ 1371328 h 2161895"/>
                  <a:gd name="connsiteX8" fmla="*/ 119783 w 1045359"/>
                  <a:gd name="connsiteY8" fmla="*/ 1366930 h 2161895"/>
                  <a:gd name="connsiteX9" fmla="*/ 0 w 1045359"/>
                  <a:gd name="connsiteY9" fmla="*/ 1964084 h 2161895"/>
                  <a:gd name="connsiteX0" fmla="*/ 0 w 1045359"/>
                  <a:gd name="connsiteY0" fmla="*/ 1964084 h 2161895"/>
                  <a:gd name="connsiteX1" fmla="*/ 514068 w 1045359"/>
                  <a:gd name="connsiteY1" fmla="*/ 2161895 h 2161895"/>
                  <a:gd name="connsiteX2" fmla="*/ 1039704 w 1045359"/>
                  <a:gd name="connsiteY2" fmla="*/ 633115 h 2161895"/>
                  <a:gd name="connsiteX3" fmla="*/ 1045359 w 1045359"/>
                  <a:gd name="connsiteY3" fmla="*/ 517229 h 2161895"/>
                  <a:gd name="connsiteX4" fmla="*/ 833252 w 1045359"/>
                  <a:gd name="connsiteY4" fmla="*/ 75885 h 2161895"/>
                  <a:gd name="connsiteX5" fmla="*/ 680192 w 1045359"/>
                  <a:gd name="connsiteY5" fmla="*/ 0 h 2161895"/>
                  <a:gd name="connsiteX6" fmla="*/ 157793 w 1045359"/>
                  <a:gd name="connsiteY6" fmla="*/ 1371328 h 2161895"/>
                  <a:gd name="connsiteX7" fmla="*/ 119783 w 1045359"/>
                  <a:gd name="connsiteY7" fmla="*/ 1366930 h 2161895"/>
                  <a:gd name="connsiteX8" fmla="*/ 0 w 1045359"/>
                  <a:gd name="connsiteY8" fmla="*/ 1964084 h 2161895"/>
                  <a:gd name="connsiteX0" fmla="*/ 0 w 1045359"/>
                  <a:gd name="connsiteY0" fmla="*/ 1964084 h 2161895"/>
                  <a:gd name="connsiteX1" fmla="*/ 514068 w 1045359"/>
                  <a:gd name="connsiteY1" fmla="*/ 2161895 h 2161895"/>
                  <a:gd name="connsiteX2" fmla="*/ 900336 w 1045359"/>
                  <a:gd name="connsiteY2" fmla="*/ 1072952 h 2161895"/>
                  <a:gd name="connsiteX3" fmla="*/ 1045359 w 1045359"/>
                  <a:gd name="connsiteY3" fmla="*/ 517229 h 2161895"/>
                  <a:gd name="connsiteX4" fmla="*/ 833252 w 1045359"/>
                  <a:gd name="connsiteY4" fmla="*/ 75885 h 2161895"/>
                  <a:gd name="connsiteX5" fmla="*/ 680192 w 1045359"/>
                  <a:gd name="connsiteY5" fmla="*/ 0 h 2161895"/>
                  <a:gd name="connsiteX6" fmla="*/ 157793 w 1045359"/>
                  <a:gd name="connsiteY6" fmla="*/ 1371328 h 2161895"/>
                  <a:gd name="connsiteX7" fmla="*/ 119783 w 1045359"/>
                  <a:gd name="connsiteY7" fmla="*/ 1366930 h 2161895"/>
                  <a:gd name="connsiteX8" fmla="*/ 0 w 1045359"/>
                  <a:gd name="connsiteY8" fmla="*/ 1964084 h 2161895"/>
                  <a:gd name="connsiteX0" fmla="*/ 0 w 900336"/>
                  <a:gd name="connsiteY0" fmla="*/ 1964084 h 2161895"/>
                  <a:gd name="connsiteX1" fmla="*/ 514068 w 900336"/>
                  <a:gd name="connsiteY1" fmla="*/ 2161895 h 2161895"/>
                  <a:gd name="connsiteX2" fmla="*/ 900336 w 900336"/>
                  <a:gd name="connsiteY2" fmla="*/ 1072952 h 2161895"/>
                  <a:gd name="connsiteX3" fmla="*/ 732836 w 900336"/>
                  <a:gd name="connsiteY3" fmla="*/ 882295 h 2161895"/>
                  <a:gd name="connsiteX4" fmla="*/ 833252 w 900336"/>
                  <a:gd name="connsiteY4" fmla="*/ 75885 h 2161895"/>
                  <a:gd name="connsiteX5" fmla="*/ 680192 w 900336"/>
                  <a:gd name="connsiteY5" fmla="*/ 0 h 2161895"/>
                  <a:gd name="connsiteX6" fmla="*/ 157793 w 900336"/>
                  <a:gd name="connsiteY6" fmla="*/ 1371328 h 2161895"/>
                  <a:gd name="connsiteX7" fmla="*/ 119783 w 900336"/>
                  <a:gd name="connsiteY7" fmla="*/ 1366930 h 2161895"/>
                  <a:gd name="connsiteX8" fmla="*/ 0 w 900336"/>
                  <a:gd name="connsiteY8" fmla="*/ 1964084 h 2161895"/>
                  <a:gd name="connsiteX0" fmla="*/ 0 w 900336"/>
                  <a:gd name="connsiteY0" fmla="*/ 1964084 h 2161895"/>
                  <a:gd name="connsiteX1" fmla="*/ 514068 w 900336"/>
                  <a:gd name="connsiteY1" fmla="*/ 2161895 h 2161895"/>
                  <a:gd name="connsiteX2" fmla="*/ 900336 w 900336"/>
                  <a:gd name="connsiteY2" fmla="*/ 1072952 h 2161895"/>
                  <a:gd name="connsiteX3" fmla="*/ 732836 w 900336"/>
                  <a:gd name="connsiteY3" fmla="*/ 882295 h 2161895"/>
                  <a:gd name="connsiteX4" fmla="*/ 529175 w 900336"/>
                  <a:gd name="connsiteY4" fmla="*/ 784024 h 2161895"/>
                  <a:gd name="connsiteX5" fmla="*/ 680192 w 900336"/>
                  <a:gd name="connsiteY5" fmla="*/ 0 h 2161895"/>
                  <a:gd name="connsiteX6" fmla="*/ 157793 w 900336"/>
                  <a:gd name="connsiteY6" fmla="*/ 1371328 h 2161895"/>
                  <a:gd name="connsiteX7" fmla="*/ 119783 w 900336"/>
                  <a:gd name="connsiteY7" fmla="*/ 1366930 h 2161895"/>
                  <a:gd name="connsiteX8" fmla="*/ 0 w 900336"/>
                  <a:gd name="connsiteY8" fmla="*/ 1964084 h 2161895"/>
                  <a:gd name="connsiteX0" fmla="*/ 0 w 900336"/>
                  <a:gd name="connsiteY0" fmla="*/ 1233953 h 1431764"/>
                  <a:gd name="connsiteX1" fmla="*/ 514068 w 900336"/>
                  <a:gd name="connsiteY1" fmla="*/ 1431764 h 1431764"/>
                  <a:gd name="connsiteX2" fmla="*/ 900336 w 900336"/>
                  <a:gd name="connsiteY2" fmla="*/ 342821 h 1431764"/>
                  <a:gd name="connsiteX3" fmla="*/ 732836 w 900336"/>
                  <a:gd name="connsiteY3" fmla="*/ 152164 h 1431764"/>
                  <a:gd name="connsiteX4" fmla="*/ 529175 w 900336"/>
                  <a:gd name="connsiteY4" fmla="*/ 53893 h 1431764"/>
                  <a:gd name="connsiteX5" fmla="*/ 401455 w 900336"/>
                  <a:gd name="connsiteY5" fmla="*/ 0 h 1431764"/>
                  <a:gd name="connsiteX6" fmla="*/ 157793 w 900336"/>
                  <a:gd name="connsiteY6" fmla="*/ 641197 h 1431764"/>
                  <a:gd name="connsiteX7" fmla="*/ 119783 w 900336"/>
                  <a:gd name="connsiteY7" fmla="*/ 636799 h 1431764"/>
                  <a:gd name="connsiteX8" fmla="*/ 0 w 900336"/>
                  <a:gd name="connsiteY8" fmla="*/ 1233953 h 1431764"/>
                  <a:gd name="connsiteX0" fmla="*/ 0 w 900336"/>
                  <a:gd name="connsiteY0" fmla="*/ 1246035 h 1443846"/>
                  <a:gd name="connsiteX1" fmla="*/ 514068 w 900336"/>
                  <a:gd name="connsiteY1" fmla="*/ 1443846 h 1443846"/>
                  <a:gd name="connsiteX2" fmla="*/ 900336 w 900336"/>
                  <a:gd name="connsiteY2" fmla="*/ 354903 h 1443846"/>
                  <a:gd name="connsiteX3" fmla="*/ 732836 w 900336"/>
                  <a:gd name="connsiteY3" fmla="*/ 164246 h 1443846"/>
                  <a:gd name="connsiteX4" fmla="*/ 558738 w 900336"/>
                  <a:gd name="connsiteY4" fmla="*/ 0 h 1443846"/>
                  <a:gd name="connsiteX5" fmla="*/ 401455 w 900336"/>
                  <a:gd name="connsiteY5" fmla="*/ 12082 h 1443846"/>
                  <a:gd name="connsiteX6" fmla="*/ 157793 w 900336"/>
                  <a:gd name="connsiteY6" fmla="*/ 653279 h 1443846"/>
                  <a:gd name="connsiteX7" fmla="*/ 119783 w 900336"/>
                  <a:gd name="connsiteY7" fmla="*/ 648881 h 1443846"/>
                  <a:gd name="connsiteX8" fmla="*/ 0 w 900336"/>
                  <a:gd name="connsiteY8" fmla="*/ 1246035 h 1443846"/>
                  <a:gd name="connsiteX0" fmla="*/ 0 w 900336"/>
                  <a:gd name="connsiteY0" fmla="*/ 1246035 h 1443846"/>
                  <a:gd name="connsiteX1" fmla="*/ 514068 w 900336"/>
                  <a:gd name="connsiteY1" fmla="*/ 1443846 h 1443846"/>
                  <a:gd name="connsiteX2" fmla="*/ 900336 w 900336"/>
                  <a:gd name="connsiteY2" fmla="*/ 354903 h 1443846"/>
                  <a:gd name="connsiteX3" fmla="*/ 732836 w 900336"/>
                  <a:gd name="connsiteY3" fmla="*/ 164246 h 1443846"/>
                  <a:gd name="connsiteX4" fmla="*/ 635026 w 900336"/>
                  <a:gd name="connsiteY4" fmla="*/ 72693 h 1443846"/>
                  <a:gd name="connsiteX5" fmla="*/ 558738 w 900336"/>
                  <a:gd name="connsiteY5" fmla="*/ 0 h 1443846"/>
                  <a:gd name="connsiteX6" fmla="*/ 401455 w 900336"/>
                  <a:gd name="connsiteY6" fmla="*/ 12082 h 1443846"/>
                  <a:gd name="connsiteX7" fmla="*/ 157793 w 900336"/>
                  <a:gd name="connsiteY7" fmla="*/ 653279 h 1443846"/>
                  <a:gd name="connsiteX8" fmla="*/ 119783 w 900336"/>
                  <a:gd name="connsiteY8" fmla="*/ 648881 h 1443846"/>
                  <a:gd name="connsiteX9" fmla="*/ 0 w 900336"/>
                  <a:gd name="connsiteY9" fmla="*/ 1246035 h 1443846"/>
                  <a:gd name="connsiteX0" fmla="*/ 0 w 900336"/>
                  <a:gd name="connsiteY0" fmla="*/ 1246035 h 1443846"/>
                  <a:gd name="connsiteX1" fmla="*/ 514068 w 900336"/>
                  <a:gd name="connsiteY1" fmla="*/ 1443846 h 1443846"/>
                  <a:gd name="connsiteX2" fmla="*/ 900336 w 900336"/>
                  <a:gd name="connsiteY2" fmla="*/ 354903 h 1443846"/>
                  <a:gd name="connsiteX3" fmla="*/ 732836 w 900336"/>
                  <a:gd name="connsiteY3" fmla="*/ 164246 h 1443846"/>
                  <a:gd name="connsiteX4" fmla="*/ 537890 w 900336"/>
                  <a:gd name="connsiteY4" fmla="*/ 59498 h 1443846"/>
                  <a:gd name="connsiteX5" fmla="*/ 558738 w 900336"/>
                  <a:gd name="connsiteY5" fmla="*/ 0 h 1443846"/>
                  <a:gd name="connsiteX6" fmla="*/ 401455 w 900336"/>
                  <a:gd name="connsiteY6" fmla="*/ 12082 h 1443846"/>
                  <a:gd name="connsiteX7" fmla="*/ 157793 w 900336"/>
                  <a:gd name="connsiteY7" fmla="*/ 653279 h 1443846"/>
                  <a:gd name="connsiteX8" fmla="*/ 119783 w 900336"/>
                  <a:gd name="connsiteY8" fmla="*/ 648881 h 1443846"/>
                  <a:gd name="connsiteX9" fmla="*/ 0 w 900336"/>
                  <a:gd name="connsiteY9" fmla="*/ 1246035 h 1443846"/>
                  <a:gd name="connsiteX0" fmla="*/ 0 w 881736"/>
                  <a:gd name="connsiteY0" fmla="*/ 1246035 h 1443846"/>
                  <a:gd name="connsiteX1" fmla="*/ 514068 w 881736"/>
                  <a:gd name="connsiteY1" fmla="*/ 1443846 h 1443846"/>
                  <a:gd name="connsiteX2" fmla="*/ 881736 w 881736"/>
                  <a:gd name="connsiteY2" fmla="*/ 376676 h 1443846"/>
                  <a:gd name="connsiteX3" fmla="*/ 732836 w 881736"/>
                  <a:gd name="connsiteY3" fmla="*/ 164246 h 1443846"/>
                  <a:gd name="connsiteX4" fmla="*/ 537890 w 881736"/>
                  <a:gd name="connsiteY4" fmla="*/ 59498 h 1443846"/>
                  <a:gd name="connsiteX5" fmla="*/ 558738 w 881736"/>
                  <a:gd name="connsiteY5" fmla="*/ 0 h 1443846"/>
                  <a:gd name="connsiteX6" fmla="*/ 401455 w 881736"/>
                  <a:gd name="connsiteY6" fmla="*/ 12082 h 1443846"/>
                  <a:gd name="connsiteX7" fmla="*/ 157793 w 881736"/>
                  <a:gd name="connsiteY7" fmla="*/ 653279 h 1443846"/>
                  <a:gd name="connsiteX8" fmla="*/ 119783 w 881736"/>
                  <a:gd name="connsiteY8" fmla="*/ 648881 h 1443846"/>
                  <a:gd name="connsiteX9" fmla="*/ 0 w 881736"/>
                  <a:gd name="connsiteY9" fmla="*/ 1246035 h 1443846"/>
                  <a:gd name="connsiteX0" fmla="*/ 0 w 881736"/>
                  <a:gd name="connsiteY0" fmla="*/ 1246035 h 1443846"/>
                  <a:gd name="connsiteX1" fmla="*/ 514068 w 881736"/>
                  <a:gd name="connsiteY1" fmla="*/ 1443846 h 1443846"/>
                  <a:gd name="connsiteX2" fmla="*/ 881736 w 881736"/>
                  <a:gd name="connsiteY2" fmla="*/ 376676 h 1443846"/>
                  <a:gd name="connsiteX3" fmla="*/ 732836 w 881736"/>
                  <a:gd name="connsiteY3" fmla="*/ 164246 h 1443846"/>
                  <a:gd name="connsiteX4" fmla="*/ 537890 w 881736"/>
                  <a:gd name="connsiteY4" fmla="*/ 59498 h 1443846"/>
                  <a:gd name="connsiteX5" fmla="*/ 558738 w 881736"/>
                  <a:gd name="connsiteY5" fmla="*/ 0 h 1443846"/>
                  <a:gd name="connsiteX6" fmla="*/ 462938 w 881736"/>
                  <a:gd name="connsiteY6" fmla="*/ 6497 h 1443846"/>
                  <a:gd name="connsiteX7" fmla="*/ 401455 w 881736"/>
                  <a:gd name="connsiteY7" fmla="*/ 12082 h 1443846"/>
                  <a:gd name="connsiteX8" fmla="*/ 157793 w 881736"/>
                  <a:gd name="connsiteY8" fmla="*/ 653279 h 1443846"/>
                  <a:gd name="connsiteX9" fmla="*/ 119783 w 881736"/>
                  <a:gd name="connsiteY9" fmla="*/ 648881 h 1443846"/>
                  <a:gd name="connsiteX10" fmla="*/ 0 w 881736"/>
                  <a:gd name="connsiteY10" fmla="*/ 1246035 h 1443846"/>
                  <a:gd name="connsiteX0" fmla="*/ 0 w 881736"/>
                  <a:gd name="connsiteY0" fmla="*/ 1304854 h 1502665"/>
                  <a:gd name="connsiteX1" fmla="*/ 514068 w 881736"/>
                  <a:gd name="connsiteY1" fmla="*/ 1502665 h 1502665"/>
                  <a:gd name="connsiteX2" fmla="*/ 881736 w 881736"/>
                  <a:gd name="connsiteY2" fmla="*/ 435495 h 1502665"/>
                  <a:gd name="connsiteX3" fmla="*/ 732836 w 881736"/>
                  <a:gd name="connsiteY3" fmla="*/ 223065 h 1502665"/>
                  <a:gd name="connsiteX4" fmla="*/ 537890 w 881736"/>
                  <a:gd name="connsiteY4" fmla="*/ 118317 h 1502665"/>
                  <a:gd name="connsiteX5" fmla="*/ 558738 w 881736"/>
                  <a:gd name="connsiteY5" fmla="*/ 58819 h 1502665"/>
                  <a:gd name="connsiteX6" fmla="*/ 442013 w 881736"/>
                  <a:gd name="connsiteY6" fmla="*/ 0 h 1502665"/>
                  <a:gd name="connsiteX7" fmla="*/ 401455 w 881736"/>
                  <a:gd name="connsiteY7" fmla="*/ 70901 h 1502665"/>
                  <a:gd name="connsiteX8" fmla="*/ 157793 w 881736"/>
                  <a:gd name="connsiteY8" fmla="*/ 712098 h 1502665"/>
                  <a:gd name="connsiteX9" fmla="*/ 119783 w 881736"/>
                  <a:gd name="connsiteY9" fmla="*/ 707700 h 1502665"/>
                  <a:gd name="connsiteX10" fmla="*/ 0 w 881736"/>
                  <a:gd name="connsiteY10" fmla="*/ 1304854 h 1502665"/>
                  <a:gd name="connsiteX0" fmla="*/ 0 w 881736"/>
                  <a:gd name="connsiteY0" fmla="*/ 1304854 h 1502665"/>
                  <a:gd name="connsiteX1" fmla="*/ 514068 w 881736"/>
                  <a:gd name="connsiteY1" fmla="*/ 1502665 h 1502665"/>
                  <a:gd name="connsiteX2" fmla="*/ 881736 w 881736"/>
                  <a:gd name="connsiteY2" fmla="*/ 435495 h 1502665"/>
                  <a:gd name="connsiteX3" fmla="*/ 732836 w 881736"/>
                  <a:gd name="connsiteY3" fmla="*/ 223065 h 1502665"/>
                  <a:gd name="connsiteX4" fmla="*/ 542540 w 881736"/>
                  <a:gd name="connsiteY4" fmla="*/ 127993 h 1502665"/>
                  <a:gd name="connsiteX5" fmla="*/ 558738 w 881736"/>
                  <a:gd name="connsiteY5" fmla="*/ 58819 h 1502665"/>
                  <a:gd name="connsiteX6" fmla="*/ 442013 w 881736"/>
                  <a:gd name="connsiteY6" fmla="*/ 0 h 1502665"/>
                  <a:gd name="connsiteX7" fmla="*/ 401455 w 881736"/>
                  <a:gd name="connsiteY7" fmla="*/ 70901 h 1502665"/>
                  <a:gd name="connsiteX8" fmla="*/ 157793 w 881736"/>
                  <a:gd name="connsiteY8" fmla="*/ 712098 h 1502665"/>
                  <a:gd name="connsiteX9" fmla="*/ 119783 w 881736"/>
                  <a:gd name="connsiteY9" fmla="*/ 707700 h 1502665"/>
                  <a:gd name="connsiteX10" fmla="*/ 0 w 881736"/>
                  <a:gd name="connsiteY10" fmla="*/ 1304854 h 1502665"/>
                  <a:gd name="connsiteX0" fmla="*/ 0 w 881736"/>
                  <a:gd name="connsiteY0" fmla="*/ 1304854 h 1502665"/>
                  <a:gd name="connsiteX1" fmla="*/ 514068 w 881736"/>
                  <a:gd name="connsiteY1" fmla="*/ 1502665 h 1502665"/>
                  <a:gd name="connsiteX2" fmla="*/ 881736 w 881736"/>
                  <a:gd name="connsiteY2" fmla="*/ 435495 h 1502665"/>
                  <a:gd name="connsiteX3" fmla="*/ 732836 w 881736"/>
                  <a:gd name="connsiteY3" fmla="*/ 223065 h 1502665"/>
                  <a:gd name="connsiteX4" fmla="*/ 542540 w 881736"/>
                  <a:gd name="connsiteY4" fmla="*/ 127993 h 1502665"/>
                  <a:gd name="connsiteX5" fmla="*/ 558738 w 881736"/>
                  <a:gd name="connsiteY5" fmla="*/ 58819 h 1502665"/>
                  <a:gd name="connsiteX6" fmla="*/ 442013 w 881736"/>
                  <a:gd name="connsiteY6" fmla="*/ 0 h 1502665"/>
                  <a:gd name="connsiteX7" fmla="*/ 401455 w 881736"/>
                  <a:gd name="connsiteY7" fmla="*/ 70901 h 1502665"/>
                  <a:gd name="connsiteX8" fmla="*/ 157793 w 881736"/>
                  <a:gd name="connsiteY8" fmla="*/ 712098 h 1502665"/>
                  <a:gd name="connsiteX9" fmla="*/ 119783 w 881736"/>
                  <a:gd name="connsiteY9" fmla="*/ 707700 h 1502665"/>
                  <a:gd name="connsiteX10" fmla="*/ 0 w 881736"/>
                  <a:gd name="connsiteY10" fmla="*/ 1304854 h 1502665"/>
                  <a:gd name="connsiteX0" fmla="*/ 0 w 881736"/>
                  <a:gd name="connsiteY0" fmla="*/ 1304854 h 1502665"/>
                  <a:gd name="connsiteX1" fmla="*/ 514068 w 881736"/>
                  <a:gd name="connsiteY1" fmla="*/ 1502665 h 1502665"/>
                  <a:gd name="connsiteX2" fmla="*/ 881736 w 881736"/>
                  <a:gd name="connsiteY2" fmla="*/ 435495 h 1502665"/>
                  <a:gd name="connsiteX3" fmla="*/ 732836 w 881736"/>
                  <a:gd name="connsiteY3" fmla="*/ 223065 h 1502665"/>
                  <a:gd name="connsiteX4" fmla="*/ 542540 w 881736"/>
                  <a:gd name="connsiteY4" fmla="*/ 127993 h 1502665"/>
                  <a:gd name="connsiteX5" fmla="*/ 558738 w 881736"/>
                  <a:gd name="connsiteY5" fmla="*/ 58819 h 1502665"/>
                  <a:gd name="connsiteX6" fmla="*/ 442013 w 881736"/>
                  <a:gd name="connsiteY6" fmla="*/ 0 h 1502665"/>
                  <a:gd name="connsiteX7" fmla="*/ 401455 w 881736"/>
                  <a:gd name="connsiteY7" fmla="*/ 70901 h 1502665"/>
                  <a:gd name="connsiteX8" fmla="*/ 157793 w 881736"/>
                  <a:gd name="connsiteY8" fmla="*/ 712098 h 1502665"/>
                  <a:gd name="connsiteX9" fmla="*/ 119783 w 881736"/>
                  <a:gd name="connsiteY9" fmla="*/ 707700 h 1502665"/>
                  <a:gd name="connsiteX10" fmla="*/ 0 w 881736"/>
                  <a:gd name="connsiteY10" fmla="*/ 1304854 h 1502665"/>
                  <a:gd name="connsiteX0" fmla="*/ 0 w 881736"/>
                  <a:gd name="connsiteY0" fmla="*/ 1304854 h 1502665"/>
                  <a:gd name="connsiteX1" fmla="*/ 514068 w 881736"/>
                  <a:gd name="connsiteY1" fmla="*/ 1502665 h 1502665"/>
                  <a:gd name="connsiteX2" fmla="*/ 881736 w 881736"/>
                  <a:gd name="connsiteY2" fmla="*/ 435495 h 1502665"/>
                  <a:gd name="connsiteX3" fmla="*/ 732836 w 881736"/>
                  <a:gd name="connsiteY3" fmla="*/ 223065 h 1502665"/>
                  <a:gd name="connsiteX4" fmla="*/ 533240 w 881736"/>
                  <a:gd name="connsiteY4" fmla="*/ 125574 h 1502665"/>
                  <a:gd name="connsiteX5" fmla="*/ 558738 w 881736"/>
                  <a:gd name="connsiteY5" fmla="*/ 58819 h 1502665"/>
                  <a:gd name="connsiteX6" fmla="*/ 442013 w 881736"/>
                  <a:gd name="connsiteY6" fmla="*/ 0 h 1502665"/>
                  <a:gd name="connsiteX7" fmla="*/ 401455 w 881736"/>
                  <a:gd name="connsiteY7" fmla="*/ 70901 h 1502665"/>
                  <a:gd name="connsiteX8" fmla="*/ 157793 w 881736"/>
                  <a:gd name="connsiteY8" fmla="*/ 712098 h 1502665"/>
                  <a:gd name="connsiteX9" fmla="*/ 119783 w 881736"/>
                  <a:gd name="connsiteY9" fmla="*/ 707700 h 1502665"/>
                  <a:gd name="connsiteX10" fmla="*/ 0 w 881736"/>
                  <a:gd name="connsiteY10" fmla="*/ 1304854 h 1502665"/>
                  <a:gd name="connsiteX0" fmla="*/ 0 w 881736"/>
                  <a:gd name="connsiteY0" fmla="*/ 1304854 h 1502665"/>
                  <a:gd name="connsiteX1" fmla="*/ 514068 w 881736"/>
                  <a:gd name="connsiteY1" fmla="*/ 1502665 h 1502665"/>
                  <a:gd name="connsiteX2" fmla="*/ 881736 w 881736"/>
                  <a:gd name="connsiteY2" fmla="*/ 435495 h 1502665"/>
                  <a:gd name="connsiteX3" fmla="*/ 732836 w 881736"/>
                  <a:gd name="connsiteY3" fmla="*/ 223065 h 1502665"/>
                  <a:gd name="connsiteX4" fmla="*/ 533240 w 881736"/>
                  <a:gd name="connsiteY4" fmla="*/ 125574 h 1502665"/>
                  <a:gd name="connsiteX5" fmla="*/ 558738 w 881736"/>
                  <a:gd name="connsiteY5" fmla="*/ 58819 h 1502665"/>
                  <a:gd name="connsiteX6" fmla="*/ 442013 w 881736"/>
                  <a:gd name="connsiteY6" fmla="*/ 0 h 1502665"/>
                  <a:gd name="connsiteX7" fmla="*/ 394480 w 881736"/>
                  <a:gd name="connsiteY7" fmla="*/ 61224 h 1502665"/>
                  <a:gd name="connsiteX8" fmla="*/ 157793 w 881736"/>
                  <a:gd name="connsiteY8" fmla="*/ 712098 h 1502665"/>
                  <a:gd name="connsiteX9" fmla="*/ 119783 w 881736"/>
                  <a:gd name="connsiteY9" fmla="*/ 707700 h 1502665"/>
                  <a:gd name="connsiteX10" fmla="*/ 0 w 881736"/>
                  <a:gd name="connsiteY10" fmla="*/ 1304854 h 1502665"/>
                  <a:gd name="connsiteX0" fmla="*/ 0 w 881736"/>
                  <a:gd name="connsiteY0" fmla="*/ 1304854 h 1502665"/>
                  <a:gd name="connsiteX1" fmla="*/ 514068 w 881736"/>
                  <a:gd name="connsiteY1" fmla="*/ 1502665 h 1502665"/>
                  <a:gd name="connsiteX2" fmla="*/ 881736 w 881736"/>
                  <a:gd name="connsiteY2" fmla="*/ 435495 h 1502665"/>
                  <a:gd name="connsiteX3" fmla="*/ 732836 w 881736"/>
                  <a:gd name="connsiteY3" fmla="*/ 223065 h 1502665"/>
                  <a:gd name="connsiteX4" fmla="*/ 533240 w 881736"/>
                  <a:gd name="connsiteY4" fmla="*/ 125574 h 1502665"/>
                  <a:gd name="connsiteX5" fmla="*/ 558738 w 881736"/>
                  <a:gd name="connsiteY5" fmla="*/ 58819 h 1502665"/>
                  <a:gd name="connsiteX6" fmla="*/ 442013 w 881736"/>
                  <a:gd name="connsiteY6" fmla="*/ 0 h 1502665"/>
                  <a:gd name="connsiteX7" fmla="*/ 394480 w 881736"/>
                  <a:gd name="connsiteY7" fmla="*/ 61224 h 1502665"/>
                  <a:gd name="connsiteX8" fmla="*/ 157793 w 881736"/>
                  <a:gd name="connsiteY8" fmla="*/ 712098 h 1502665"/>
                  <a:gd name="connsiteX9" fmla="*/ 119783 w 881736"/>
                  <a:gd name="connsiteY9" fmla="*/ 707700 h 1502665"/>
                  <a:gd name="connsiteX10" fmla="*/ 0 w 881736"/>
                  <a:gd name="connsiteY10" fmla="*/ 1304854 h 1502665"/>
                  <a:gd name="connsiteX0" fmla="*/ 0 w 881736"/>
                  <a:gd name="connsiteY0" fmla="*/ 1304854 h 1502665"/>
                  <a:gd name="connsiteX1" fmla="*/ 514068 w 881736"/>
                  <a:gd name="connsiteY1" fmla="*/ 1502665 h 1502665"/>
                  <a:gd name="connsiteX2" fmla="*/ 881736 w 881736"/>
                  <a:gd name="connsiteY2" fmla="*/ 435495 h 1502665"/>
                  <a:gd name="connsiteX3" fmla="*/ 732836 w 881736"/>
                  <a:gd name="connsiteY3" fmla="*/ 223065 h 1502665"/>
                  <a:gd name="connsiteX4" fmla="*/ 533240 w 881736"/>
                  <a:gd name="connsiteY4" fmla="*/ 125574 h 1502665"/>
                  <a:gd name="connsiteX5" fmla="*/ 558738 w 881736"/>
                  <a:gd name="connsiteY5" fmla="*/ 58819 h 1502665"/>
                  <a:gd name="connsiteX6" fmla="*/ 442013 w 881736"/>
                  <a:gd name="connsiteY6" fmla="*/ 0 h 1502665"/>
                  <a:gd name="connsiteX7" fmla="*/ 394480 w 881736"/>
                  <a:gd name="connsiteY7" fmla="*/ 61224 h 1502665"/>
                  <a:gd name="connsiteX8" fmla="*/ 157793 w 881736"/>
                  <a:gd name="connsiteY8" fmla="*/ 712098 h 1502665"/>
                  <a:gd name="connsiteX9" fmla="*/ 119783 w 881736"/>
                  <a:gd name="connsiteY9" fmla="*/ 707700 h 1502665"/>
                  <a:gd name="connsiteX10" fmla="*/ 0 w 881736"/>
                  <a:gd name="connsiteY10" fmla="*/ 1304854 h 1502665"/>
                  <a:gd name="connsiteX0" fmla="*/ 0 w 881736"/>
                  <a:gd name="connsiteY0" fmla="*/ 1304854 h 1502665"/>
                  <a:gd name="connsiteX1" fmla="*/ 514068 w 881736"/>
                  <a:gd name="connsiteY1" fmla="*/ 1502665 h 1502665"/>
                  <a:gd name="connsiteX2" fmla="*/ 881736 w 881736"/>
                  <a:gd name="connsiteY2" fmla="*/ 435495 h 1502665"/>
                  <a:gd name="connsiteX3" fmla="*/ 732836 w 881736"/>
                  <a:gd name="connsiteY3" fmla="*/ 215807 h 1502665"/>
                  <a:gd name="connsiteX4" fmla="*/ 533240 w 881736"/>
                  <a:gd name="connsiteY4" fmla="*/ 125574 h 1502665"/>
                  <a:gd name="connsiteX5" fmla="*/ 558738 w 881736"/>
                  <a:gd name="connsiteY5" fmla="*/ 58819 h 1502665"/>
                  <a:gd name="connsiteX6" fmla="*/ 442013 w 881736"/>
                  <a:gd name="connsiteY6" fmla="*/ 0 h 1502665"/>
                  <a:gd name="connsiteX7" fmla="*/ 394480 w 881736"/>
                  <a:gd name="connsiteY7" fmla="*/ 61224 h 1502665"/>
                  <a:gd name="connsiteX8" fmla="*/ 157793 w 881736"/>
                  <a:gd name="connsiteY8" fmla="*/ 712098 h 1502665"/>
                  <a:gd name="connsiteX9" fmla="*/ 119783 w 881736"/>
                  <a:gd name="connsiteY9" fmla="*/ 707700 h 1502665"/>
                  <a:gd name="connsiteX10" fmla="*/ 0 w 881736"/>
                  <a:gd name="connsiteY10" fmla="*/ 1304854 h 15026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81736" h="1502665">
                    <a:moveTo>
                      <a:pt x="0" y="1304854"/>
                    </a:moveTo>
                    <a:lnTo>
                      <a:pt x="514068" y="1502665"/>
                    </a:lnTo>
                    <a:lnTo>
                      <a:pt x="881736" y="435495"/>
                    </a:lnTo>
                    <a:lnTo>
                      <a:pt x="732836" y="215807"/>
                    </a:lnTo>
                    <a:cubicBezTo>
                      <a:pt x="676993" y="185705"/>
                      <a:pt x="573881" y="143271"/>
                      <a:pt x="533240" y="125574"/>
                    </a:cubicBezTo>
                    <a:cubicBezTo>
                      <a:pt x="539099" y="103037"/>
                      <a:pt x="550305" y="87005"/>
                      <a:pt x="558738" y="58819"/>
                    </a:cubicBezTo>
                    <a:lnTo>
                      <a:pt x="442013" y="0"/>
                    </a:lnTo>
                    <a:lnTo>
                      <a:pt x="394480" y="61224"/>
                    </a:lnTo>
                    <a:lnTo>
                      <a:pt x="157793" y="712098"/>
                    </a:lnTo>
                    <a:lnTo>
                      <a:pt x="119783" y="707700"/>
                    </a:lnTo>
                    <a:lnTo>
                      <a:pt x="0" y="1304854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de-DE" sz="60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03" name="T103S">
                <a:extLst>
                  <a:ext uri="{FF2B5EF4-FFF2-40B4-BE49-F238E27FC236}">
                    <a16:creationId xmlns:a16="http://schemas.microsoft.com/office/drawing/2014/main" id="{02D1C96B-1A33-4A85-BB6B-7F21591F001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83437" y="368242"/>
                <a:ext cx="383033" cy="806437"/>
              </a:xfrm>
              <a:custGeom>
                <a:avLst/>
                <a:gdLst>
                  <a:gd name="connsiteX0" fmla="*/ 0 w 1055914"/>
                  <a:gd name="connsiteY0" fmla="*/ 1937657 h 2166257"/>
                  <a:gd name="connsiteX1" fmla="*/ 522514 w 1055914"/>
                  <a:gd name="connsiteY1" fmla="*/ 2166257 h 2166257"/>
                  <a:gd name="connsiteX2" fmla="*/ 1055914 w 1055914"/>
                  <a:gd name="connsiteY2" fmla="*/ 544286 h 2166257"/>
                  <a:gd name="connsiteX3" fmla="*/ 849085 w 1055914"/>
                  <a:gd name="connsiteY3" fmla="*/ 65315 h 2166257"/>
                  <a:gd name="connsiteX4" fmla="*/ 674914 w 1055914"/>
                  <a:gd name="connsiteY4" fmla="*/ 0 h 2166257"/>
                  <a:gd name="connsiteX5" fmla="*/ 0 w 1055914"/>
                  <a:gd name="connsiteY5" fmla="*/ 1937657 h 2166257"/>
                  <a:gd name="connsiteX0" fmla="*/ 0 w 1055914"/>
                  <a:gd name="connsiteY0" fmla="*/ 1937657 h 2166257"/>
                  <a:gd name="connsiteX1" fmla="*/ 522514 w 1055914"/>
                  <a:gd name="connsiteY1" fmla="*/ 2166257 h 2166257"/>
                  <a:gd name="connsiteX2" fmla="*/ 1055914 w 1055914"/>
                  <a:gd name="connsiteY2" fmla="*/ 522514 h 2166257"/>
                  <a:gd name="connsiteX3" fmla="*/ 849085 w 1055914"/>
                  <a:gd name="connsiteY3" fmla="*/ 65315 h 2166257"/>
                  <a:gd name="connsiteX4" fmla="*/ 674914 w 1055914"/>
                  <a:gd name="connsiteY4" fmla="*/ 0 h 2166257"/>
                  <a:gd name="connsiteX5" fmla="*/ 0 w 1055914"/>
                  <a:gd name="connsiteY5" fmla="*/ 1937657 h 2166257"/>
                  <a:gd name="connsiteX0" fmla="*/ 0 w 1055914"/>
                  <a:gd name="connsiteY0" fmla="*/ 1937657 h 2166257"/>
                  <a:gd name="connsiteX1" fmla="*/ 522514 w 1055914"/>
                  <a:gd name="connsiteY1" fmla="*/ 2166257 h 2166257"/>
                  <a:gd name="connsiteX2" fmla="*/ 1055914 w 1055914"/>
                  <a:gd name="connsiteY2" fmla="*/ 522514 h 2166257"/>
                  <a:gd name="connsiteX3" fmla="*/ 849085 w 1055914"/>
                  <a:gd name="connsiteY3" fmla="*/ 65315 h 2166257"/>
                  <a:gd name="connsiteX4" fmla="*/ 674914 w 1055914"/>
                  <a:gd name="connsiteY4" fmla="*/ 0 h 2166257"/>
                  <a:gd name="connsiteX5" fmla="*/ 0 w 1055914"/>
                  <a:gd name="connsiteY5" fmla="*/ 1937657 h 2166257"/>
                  <a:gd name="connsiteX0" fmla="*/ 0 w 1055914"/>
                  <a:gd name="connsiteY0" fmla="*/ 1937657 h 2166257"/>
                  <a:gd name="connsiteX1" fmla="*/ 522514 w 1055914"/>
                  <a:gd name="connsiteY1" fmla="*/ 2166257 h 2166257"/>
                  <a:gd name="connsiteX2" fmla="*/ 1039704 w 1055914"/>
                  <a:gd name="connsiteY2" fmla="*/ 606688 h 2166257"/>
                  <a:gd name="connsiteX3" fmla="*/ 1055914 w 1055914"/>
                  <a:gd name="connsiteY3" fmla="*/ 522514 h 2166257"/>
                  <a:gd name="connsiteX4" fmla="*/ 849085 w 1055914"/>
                  <a:gd name="connsiteY4" fmla="*/ 65315 h 2166257"/>
                  <a:gd name="connsiteX5" fmla="*/ 674914 w 1055914"/>
                  <a:gd name="connsiteY5" fmla="*/ 0 h 2166257"/>
                  <a:gd name="connsiteX6" fmla="*/ 0 w 1055914"/>
                  <a:gd name="connsiteY6" fmla="*/ 1937657 h 2166257"/>
                  <a:gd name="connsiteX0" fmla="*/ 0 w 1039704"/>
                  <a:gd name="connsiteY0" fmla="*/ 1937657 h 2166257"/>
                  <a:gd name="connsiteX1" fmla="*/ 522514 w 1039704"/>
                  <a:gd name="connsiteY1" fmla="*/ 2166257 h 2166257"/>
                  <a:gd name="connsiteX2" fmla="*/ 1039704 w 1039704"/>
                  <a:gd name="connsiteY2" fmla="*/ 606688 h 2166257"/>
                  <a:gd name="connsiteX3" fmla="*/ 1024248 w 1039704"/>
                  <a:gd name="connsiteY3" fmla="*/ 506658 h 2166257"/>
                  <a:gd name="connsiteX4" fmla="*/ 849085 w 1039704"/>
                  <a:gd name="connsiteY4" fmla="*/ 65315 h 2166257"/>
                  <a:gd name="connsiteX5" fmla="*/ 674914 w 1039704"/>
                  <a:gd name="connsiteY5" fmla="*/ 0 h 2166257"/>
                  <a:gd name="connsiteX6" fmla="*/ 0 w 1039704"/>
                  <a:gd name="connsiteY6" fmla="*/ 1937657 h 2166257"/>
                  <a:gd name="connsiteX0" fmla="*/ 0 w 1045359"/>
                  <a:gd name="connsiteY0" fmla="*/ 1937657 h 2166257"/>
                  <a:gd name="connsiteX1" fmla="*/ 522514 w 1045359"/>
                  <a:gd name="connsiteY1" fmla="*/ 2166257 h 2166257"/>
                  <a:gd name="connsiteX2" fmla="*/ 1039704 w 1045359"/>
                  <a:gd name="connsiteY2" fmla="*/ 606688 h 2166257"/>
                  <a:gd name="connsiteX3" fmla="*/ 1045359 w 1045359"/>
                  <a:gd name="connsiteY3" fmla="*/ 490802 h 2166257"/>
                  <a:gd name="connsiteX4" fmla="*/ 849085 w 1045359"/>
                  <a:gd name="connsiteY4" fmla="*/ 65315 h 2166257"/>
                  <a:gd name="connsiteX5" fmla="*/ 674914 w 1045359"/>
                  <a:gd name="connsiteY5" fmla="*/ 0 h 2166257"/>
                  <a:gd name="connsiteX6" fmla="*/ 0 w 1045359"/>
                  <a:gd name="connsiteY6" fmla="*/ 1937657 h 2166257"/>
                  <a:gd name="connsiteX0" fmla="*/ 0 w 1045359"/>
                  <a:gd name="connsiteY0" fmla="*/ 1937657 h 2166257"/>
                  <a:gd name="connsiteX1" fmla="*/ 522514 w 1045359"/>
                  <a:gd name="connsiteY1" fmla="*/ 2166257 h 2166257"/>
                  <a:gd name="connsiteX2" fmla="*/ 1039704 w 1045359"/>
                  <a:gd name="connsiteY2" fmla="*/ 606688 h 2166257"/>
                  <a:gd name="connsiteX3" fmla="*/ 1045359 w 1045359"/>
                  <a:gd name="connsiteY3" fmla="*/ 490802 h 2166257"/>
                  <a:gd name="connsiteX4" fmla="*/ 923595 w 1045359"/>
                  <a:gd name="connsiteY4" fmla="*/ 204998 h 2166257"/>
                  <a:gd name="connsiteX5" fmla="*/ 849085 w 1045359"/>
                  <a:gd name="connsiteY5" fmla="*/ 65315 h 2166257"/>
                  <a:gd name="connsiteX6" fmla="*/ 674914 w 1045359"/>
                  <a:gd name="connsiteY6" fmla="*/ 0 h 2166257"/>
                  <a:gd name="connsiteX7" fmla="*/ 0 w 1045359"/>
                  <a:gd name="connsiteY7" fmla="*/ 1937657 h 2166257"/>
                  <a:gd name="connsiteX0" fmla="*/ 0 w 1045359"/>
                  <a:gd name="connsiteY0" fmla="*/ 1937657 h 2166257"/>
                  <a:gd name="connsiteX1" fmla="*/ 522514 w 1045359"/>
                  <a:gd name="connsiteY1" fmla="*/ 2166257 h 2166257"/>
                  <a:gd name="connsiteX2" fmla="*/ 1039704 w 1045359"/>
                  <a:gd name="connsiteY2" fmla="*/ 606688 h 2166257"/>
                  <a:gd name="connsiteX3" fmla="*/ 1045359 w 1045359"/>
                  <a:gd name="connsiteY3" fmla="*/ 490802 h 2166257"/>
                  <a:gd name="connsiteX4" fmla="*/ 897206 w 1045359"/>
                  <a:gd name="connsiteY4" fmla="*/ 204998 h 2166257"/>
                  <a:gd name="connsiteX5" fmla="*/ 849085 w 1045359"/>
                  <a:gd name="connsiteY5" fmla="*/ 65315 h 2166257"/>
                  <a:gd name="connsiteX6" fmla="*/ 674914 w 1045359"/>
                  <a:gd name="connsiteY6" fmla="*/ 0 h 2166257"/>
                  <a:gd name="connsiteX7" fmla="*/ 0 w 1045359"/>
                  <a:gd name="connsiteY7" fmla="*/ 1937657 h 2166257"/>
                  <a:gd name="connsiteX0" fmla="*/ 0 w 1045359"/>
                  <a:gd name="connsiteY0" fmla="*/ 1937657 h 2166257"/>
                  <a:gd name="connsiteX1" fmla="*/ 522514 w 1045359"/>
                  <a:gd name="connsiteY1" fmla="*/ 2166257 h 2166257"/>
                  <a:gd name="connsiteX2" fmla="*/ 1039704 w 1045359"/>
                  <a:gd name="connsiteY2" fmla="*/ 606688 h 2166257"/>
                  <a:gd name="connsiteX3" fmla="*/ 1045359 w 1045359"/>
                  <a:gd name="connsiteY3" fmla="*/ 490802 h 2166257"/>
                  <a:gd name="connsiteX4" fmla="*/ 897206 w 1045359"/>
                  <a:gd name="connsiteY4" fmla="*/ 204998 h 2166257"/>
                  <a:gd name="connsiteX5" fmla="*/ 849085 w 1045359"/>
                  <a:gd name="connsiteY5" fmla="*/ 65315 h 2166257"/>
                  <a:gd name="connsiteX6" fmla="*/ 674914 w 1045359"/>
                  <a:gd name="connsiteY6" fmla="*/ 0 h 2166257"/>
                  <a:gd name="connsiteX7" fmla="*/ 0 w 1045359"/>
                  <a:gd name="connsiteY7" fmla="*/ 1937657 h 2166257"/>
                  <a:gd name="connsiteX0" fmla="*/ 0 w 1045359"/>
                  <a:gd name="connsiteY0" fmla="*/ 1937657 h 2166257"/>
                  <a:gd name="connsiteX1" fmla="*/ 522514 w 1045359"/>
                  <a:gd name="connsiteY1" fmla="*/ 2166257 h 2166257"/>
                  <a:gd name="connsiteX2" fmla="*/ 1039704 w 1045359"/>
                  <a:gd name="connsiteY2" fmla="*/ 606688 h 2166257"/>
                  <a:gd name="connsiteX3" fmla="*/ 1045359 w 1045359"/>
                  <a:gd name="connsiteY3" fmla="*/ 490802 h 2166257"/>
                  <a:gd name="connsiteX4" fmla="*/ 897206 w 1045359"/>
                  <a:gd name="connsiteY4" fmla="*/ 204998 h 2166257"/>
                  <a:gd name="connsiteX5" fmla="*/ 817419 w 1045359"/>
                  <a:gd name="connsiteY5" fmla="*/ 60029 h 2166257"/>
                  <a:gd name="connsiteX6" fmla="*/ 674914 w 1045359"/>
                  <a:gd name="connsiteY6" fmla="*/ 0 h 2166257"/>
                  <a:gd name="connsiteX7" fmla="*/ 0 w 1045359"/>
                  <a:gd name="connsiteY7" fmla="*/ 1937657 h 2166257"/>
                  <a:gd name="connsiteX0" fmla="*/ 0 w 1045359"/>
                  <a:gd name="connsiteY0" fmla="*/ 1937657 h 2166257"/>
                  <a:gd name="connsiteX1" fmla="*/ 522514 w 1045359"/>
                  <a:gd name="connsiteY1" fmla="*/ 2166257 h 2166257"/>
                  <a:gd name="connsiteX2" fmla="*/ 1039704 w 1045359"/>
                  <a:gd name="connsiteY2" fmla="*/ 606688 h 2166257"/>
                  <a:gd name="connsiteX3" fmla="*/ 1045359 w 1045359"/>
                  <a:gd name="connsiteY3" fmla="*/ 490802 h 2166257"/>
                  <a:gd name="connsiteX4" fmla="*/ 881374 w 1045359"/>
                  <a:gd name="connsiteY4" fmla="*/ 183857 h 2166257"/>
                  <a:gd name="connsiteX5" fmla="*/ 817419 w 1045359"/>
                  <a:gd name="connsiteY5" fmla="*/ 60029 h 2166257"/>
                  <a:gd name="connsiteX6" fmla="*/ 674914 w 1045359"/>
                  <a:gd name="connsiteY6" fmla="*/ 0 h 2166257"/>
                  <a:gd name="connsiteX7" fmla="*/ 0 w 1045359"/>
                  <a:gd name="connsiteY7" fmla="*/ 1937657 h 2166257"/>
                  <a:gd name="connsiteX0" fmla="*/ 0 w 1045359"/>
                  <a:gd name="connsiteY0" fmla="*/ 1937657 h 2166257"/>
                  <a:gd name="connsiteX1" fmla="*/ 522514 w 1045359"/>
                  <a:gd name="connsiteY1" fmla="*/ 2166257 h 2166257"/>
                  <a:gd name="connsiteX2" fmla="*/ 1039704 w 1045359"/>
                  <a:gd name="connsiteY2" fmla="*/ 606688 h 2166257"/>
                  <a:gd name="connsiteX3" fmla="*/ 1045359 w 1045359"/>
                  <a:gd name="connsiteY3" fmla="*/ 490802 h 2166257"/>
                  <a:gd name="connsiteX4" fmla="*/ 881374 w 1045359"/>
                  <a:gd name="connsiteY4" fmla="*/ 183857 h 2166257"/>
                  <a:gd name="connsiteX5" fmla="*/ 833252 w 1045359"/>
                  <a:gd name="connsiteY5" fmla="*/ 49458 h 2166257"/>
                  <a:gd name="connsiteX6" fmla="*/ 674914 w 1045359"/>
                  <a:gd name="connsiteY6" fmla="*/ 0 h 2166257"/>
                  <a:gd name="connsiteX7" fmla="*/ 0 w 1045359"/>
                  <a:gd name="connsiteY7" fmla="*/ 1937657 h 2166257"/>
                  <a:gd name="connsiteX0" fmla="*/ 0 w 1045359"/>
                  <a:gd name="connsiteY0" fmla="*/ 1964084 h 2192684"/>
                  <a:gd name="connsiteX1" fmla="*/ 522514 w 1045359"/>
                  <a:gd name="connsiteY1" fmla="*/ 2192684 h 2192684"/>
                  <a:gd name="connsiteX2" fmla="*/ 1039704 w 1045359"/>
                  <a:gd name="connsiteY2" fmla="*/ 633115 h 2192684"/>
                  <a:gd name="connsiteX3" fmla="*/ 1045359 w 1045359"/>
                  <a:gd name="connsiteY3" fmla="*/ 517229 h 2192684"/>
                  <a:gd name="connsiteX4" fmla="*/ 881374 w 1045359"/>
                  <a:gd name="connsiteY4" fmla="*/ 210284 h 2192684"/>
                  <a:gd name="connsiteX5" fmla="*/ 833252 w 1045359"/>
                  <a:gd name="connsiteY5" fmla="*/ 75885 h 2192684"/>
                  <a:gd name="connsiteX6" fmla="*/ 680192 w 1045359"/>
                  <a:gd name="connsiteY6" fmla="*/ 0 h 2192684"/>
                  <a:gd name="connsiteX7" fmla="*/ 0 w 1045359"/>
                  <a:gd name="connsiteY7" fmla="*/ 1964084 h 2192684"/>
                  <a:gd name="connsiteX0" fmla="*/ 0 w 1045359"/>
                  <a:gd name="connsiteY0" fmla="*/ 1964084 h 2192684"/>
                  <a:gd name="connsiteX1" fmla="*/ 522514 w 1045359"/>
                  <a:gd name="connsiteY1" fmla="*/ 2192684 h 2192684"/>
                  <a:gd name="connsiteX2" fmla="*/ 1039704 w 1045359"/>
                  <a:gd name="connsiteY2" fmla="*/ 633115 h 2192684"/>
                  <a:gd name="connsiteX3" fmla="*/ 1045359 w 1045359"/>
                  <a:gd name="connsiteY3" fmla="*/ 517229 h 2192684"/>
                  <a:gd name="connsiteX4" fmla="*/ 891930 w 1045359"/>
                  <a:gd name="connsiteY4" fmla="*/ 204998 h 2192684"/>
                  <a:gd name="connsiteX5" fmla="*/ 833252 w 1045359"/>
                  <a:gd name="connsiteY5" fmla="*/ 75885 h 2192684"/>
                  <a:gd name="connsiteX6" fmla="*/ 680192 w 1045359"/>
                  <a:gd name="connsiteY6" fmla="*/ 0 h 2192684"/>
                  <a:gd name="connsiteX7" fmla="*/ 0 w 1045359"/>
                  <a:gd name="connsiteY7" fmla="*/ 1964084 h 2192684"/>
                  <a:gd name="connsiteX0" fmla="*/ 0 w 1045359"/>
                  <a:gd name="connsiteY0" fmla="*/ 1964084 h 2126158"/>
                  <a:gd name="connsiteX1" fmla="*/ 516689 w 1045359"/>
                  <a:gd name="connsiteY1" fmla="*/ 2126158 h 2126158"/>
                  <a:gd name="connsiteX2" fmla="*/ 1039704 w 1045359"/>
                  <a:gd name="connsiteY2" fmla="*/ 633115 h 2126158"/>
                  <a:gd name="connsiteX3" fmla="*/ 1045359 w 1045359"/>
                  <a:gd name="connsiteY3" fmla="*/ 517229 h 2126158"/>
                  <a:gd name="connsiteX4" fmla="*/ 891930 w 1045359"/>
                  <a:gd name="connsiteY4" fmla="*/ 204998 h 2126158"/>
                  <a:gd name="connsiteX5" fmla="*/ 833252 w 1045359"/>
                  <a:gd name="connsiteY5" fmla="*/ 75885 h 2126158"/>
                  <a:gd name="connsiteX6" fmla="*/ 680192 w 1045359"/>
                  <a:gd name="connsiteY6" fmla="*/ 0 h 2126158"/>
                  <a:gd name="connsiteX7" fmla="*/ 0 w 1045359"/>
                  <a:gd name="connsiteY7" fmla="*/ 1964084 h 2126158"/>
                  <a:gd name="connsiteX0" fmla="*/ 0 w 1039534"/>
                  <a:gd name="connsiteY0" fmla="*/ 1921749 h 2126158"/>
                  <a:gd name="connsiteX1" fmla="*/ 510864 w 1039534"/>
                  <a:gd name="connsiteY1" fmla="*/ 2126158 h 2126158"/>
                  <a:gd name="connsiteX2" fmla="*/ 1033879 w 1039534"/>
                  <a:gd name="connsiteY2" fmla="*/ 633115 h 2126158"/>
                  <a:gd name="connsiteX3" fmla="*/ 1039534 w 1039534"/>
                  <a:gd name="connsiteY3" fmla="*/ 517229 h 2126158"/>
                  <a:gd name="connsiteX4" fmla="*/ 886105 w 1039534"/>
                  <a:gd name="connsiteY4" fmla="*/ 204998 h 2126158"/>
                  <a:gd name="connsiteX5" fmla="*/ 827427 w 1039534"/>
                  <a:gd name="connsiteY5" fmla="*/ 75885 h 2126158"/>
                  <a:gd name="connsiteX6" fmla="*/ 674367 w 1039534"/>
                  <a:gd name="connsiteY6" fmla="*/ 0 h 2126158"/>
                  <a:gd name="connsiteX7" fmla="*/ 0 w 1039534"/>
                  <a:gd name="connsiteY7" fmla="*/ 1921749 h 21261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39534" h="2126158">
                    <a:moveTo>
                      <a:pt x="0" y="1921749"/>
                    </a:moveTo>
                    <a:lnTo>
                      <a:pt x="510864" y="2126158"/>
                    </a:lnTo>
                    <a:lnTo>
                      <a:pt x="1033879" y="633115"/>
                    </a:lnTo>
                    <a:lnTo>
                      <a:pt x="1039534" y="517229"/>
                    </a:lnTo>
                    <a:cubicBezTo>
                      <a:pt x="1020182" y="450281"/>
                      <a:pt x="945204" y="275912"/>
                      <a:pt x="886105" y="204998"/>
                    </a:cubicBezTo>
                    <a:cubicBezTo>
                      <a:pt x="853393" y="134084"/>
                      <a:pt x="868874" y="110051"/>
                      <a:pt x="827427" y="75885"/>
                    </a:cubicBezTo>
                    <a:lnTo>
                      <a:pt x="674367" y="0"/>
                    </a:lnTo>
                    <a:lnTo>
                      <a:pt x="0" y="1921749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de-DE" sz="60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04" name="G006B">
                <a:extLst>
                  <a:ext uri="{FF2B5EF4-FFF2-40B4-BE49-F238E27FC236}">
                    <a16:creationId xmlns:a16="http://schemas.microsoft.com/office/drawing/2014/main" id="{FABDBCF0-9C15-4A81-A8B9-EB75B08B9722}"/>
                  </a:ext>
                </a:extLst>
              </p:cNvPr>
              <p:cNvSpPr>
                <a:spLocks noChangeAspect="1"/>
              </p:cNvSpPr>
              <p:nvPr/>
            </p:nvSpPr>
            <p:spPr>
              <a:xfrm rot="7366914">
                <a:off x="652554" y="793973"/>
                <a:ext cx="296807" cy="300485"/>
              </a:xfrm>
              <a:custGeom>
                <a:avLst/>
                <a:gdLst>
                  <a:gd name="connsiteX0" fmla="*/ 0 w 348343"/>
                  <a:gd name="connsiteY0" fmla="*/ 500742 h 522514"/>
                  <a:gd name="connsiteX1" fmla="*/ 293914 w 348343"/>
                  <a:gd name="connsiteY1" fmla="*/ 522514 h 522514"/>
                  <a:gd name="connsiteX2" fmla="*/ 348343 w 348343"/>
                  <a:gd name="connsiteY2" fmla="*/ 21771 h 522514"/>
                  <a:gd name="connsiteX3" fmla="*/ 65314 w 348343"/>
                  <a:gd name="connsiteY3" fmla="*/ 0 h 522514"/>
                  <a:gd name="connsiteX4" fmla="*/ 0 w 348343"/>
                  <a:gd name="connsiteY4" fmla="*/ 500742 h 522514"/>
                  <a:gd name="connsiteX0" fmla="*/ 0 w 348343"/>
                  <a:gd name="connsiteY0" fmla="*/ 523891 h 545663"/>
                  <a:gd name="connsiteX1" fmla="*/ 293914 w 348343"/>
                  <a:gd name="connsiteY1" fmla="*/ 545663 h 545663"/>
                  <a:gd name="connsiteX2" fmla="*/ 348343 w 348343"/>
                  <a:gd name="connsiteY2" fmla="*/ 44920 h 545663"/>
                  <a:gd name="connsiteX3" fmla="*/ 57597 w 348343"/>
                  <a:gd name="connsiteY3" fmla="*/ 0 h 545663"/>
                  <a:gd name="connsiteX4" fmla="*/ 0 w 348343"/>
                  <a:gd name="connsiteY4" fmla="*/ 523891 h 545663"/>
                  <a:gd name="connsiteX0" fmla="*/ 0 w 348343"/>
                  <a:gd name="connsiteY0" fmla="*/ 523891 h 545663"/>
                  <a:gd name="connsiteX1" fmla="*/ 293914 w 348343"/>
                  <a:gd name="connsiteY1" fmla="*/ 545663 h 545663"/>
                  <a:gd name="connsiteX2" fmla="*/ 348343 w 348343"/>
                  <a:gd name="connsiteY2" fmla="*/ 21770 h 545663"/>
                  <a:gd name="connsiteX3" fmla="*/ 57597 w 348343"/>
                  <a:gd name="connsiteY3" fmla="*/ 0 h 545663"/>
                  <a:gd name="connsiteX4" fmla="*/ 0 w 348343"/>
                  <a:gd name="connsiteY4" fmla="*/ 523891 h 545663"/>
                  <a:gd name="connsiteX0" fmla="*/ 0 w 432999"/>
                  <a:gd name="connsiteY0" fmla="*/ 523891 h 545663"/>
                  <a:gd name="connsiteX1" fmla="*/ 378570 w 432999"/>
                  <a:gd name="connsiteY1" fmla="*/ 545663 h 545663"/>
                  <a:gd name="connsiteX2" fmla="*/ 432999 w 432999"/>
                  <a:gd name="connsiteY2" fmla="*/ 21770 h 545663"/>
                  <a:gd name="connsiteX3" fmla="*/ 142253 w 432999"/>
                  <a:gd name="connsiteY3" fmla="*/ 0 h 545663"/>
                  <a:gd name="connsiteX4" fmla="*/ 0 w 432999"/>
                  <a:gd name="connsiteY4" fmla="*/ 523891 h 545663"/>
                  <a:gd name="connsiteX0" fmla="*/ 0 w 432999"/>
                  <a:gd name="connsiteY0" fmla="*/ 539386 h 561158"/>
                  <a:gd name="connsiteX1" fmla="*/ 378570 w 432999"/>
                  <a:gd name="connsiteY1" fmla="*/ 561158 h 561158"/>
                  <a:gd name="connsiteX2" fmla="*/ 432999 w 432999"/>
                  <a:gd name="connsiteY2" fmla="*/ 37265 h 561158"/>
                  <a:gd name="connsiteX3" fmla="*/ 173999 w 432999"/>
                  <a:gd name="connsiteY3" fmla="*/ 0 h 561158"/>
                  <a:gd name="connsiteX4" fmla="*/ 0 w 432999"/>
                  <a:gd name="connsiteY4" fmla="*/ 539386 h 561158"/>
                  <a:gd name="connsiteX0" fmla="*/ 0 w 432999"/>
                  <a:gd name="connsiteY0" fmla="*/ 539386 h 561158"/>
                  <a:gd name="connsiteX1" fmla="*/ 378570 w 432999"/>
                  <a:gd name="connsiteY1" fmla="*/ 561158 h 561158"/>
                  <a:gd name="connsiteX2" fmla="*/ 432999 w 432999"/>
                  <a:gd name="connsiteY2" fmla="*/ 99245 h 561158"/>
                  <a:gd name="connsiteX3" fmla="*/ 173999 w 432999"/>
                  <a:gd name="connsiteY3" fmla="*/ 0 h 561158"/>
                  <a:gd name="connsiteX4" fmla="*/ 0 w 432999"/>
                  <a:gd name="connsiteY4" fmla="*/ 539386 h 561158"/>
                  <a:gd name="connsiteX0" fmla="*/ 0 w 432999"/>
                  <a:gd name="connsiteY0" fmla="*/ 539386 h 646380"/>
                  <a:gd name="connsiteX1" fmla="*/ 255114 w 432999"/>
                  <a:gd name="connsiteY1" fmla="*/ 646380 h 646380"/>
                  <a:gd name="connsiteX2" fmla="*/ 432999 w 432999"/>
                  <a:gd name="connsiteY2" fmla="*/ 99245 h 646380"/>
                  <a:gd name="connsiteX3" fmla="*/ 173999 w 432999"/>
                  <a:gd name="connsiteY3" fmla="*/ 0 h 646380"/>
                  <a:gd name="connsiteX4" fmla="*/ 0 w 432999"/>
                  <a:gd name="connsiteY4" fmla="*/ 539386 h 646380"/>
                  <a:gd name="connsiteX0" fmla="*/ 0 w 432999"/>
                  <a:gd name="connsiteY0" fmla="*/ 539386 h 646380"/>
                  <a:gd name="connsiteX1" fmla="*/ 255114 w 432999"/>
                  <a:gd name="connsiteY1" fmla="*/ 646380 h 646380"/>
                  <a:gd name="connsiteX2" fmla="*/ 432999 w 432999"/>
                  <a:gd name="connsiteY2" fmla="*/ 99245 h 646380"/>
                  <a:gd name="connsiteX3" fmla="*/ 173999 w 432999"/>
                  <a:gd name="connsiteY3" fmla="*/ 0 h 646380"/>
                  <a:gd name="connsiteX4" fmla="*/ 51966 w 432999"/>
                  <a:gd name="connsiteY4" fmla="*/ 368457 h 646380"/>
                  <a:gd name="connsiteX5" fmla="*/ 0 w 432999"/>
                  <a:gd name="connsiteY5" fmla="*/ 539386 h 646380"/>
                  <a:gd name="connsiteX0" fmla="*/ 0 w 432999"/>
                  <a:gd name="connsiteY0" fmla="*/ 539386 h 646380"/>
                  <a:gd name="connsiteX1" fmla="*/ 255114 w 432999"/>
                  <a:gd name="connsiteY1" fmla="*/ 646380 h 646380"/>
                  <a:gd name="connsiteX2" fmla="*/ 432999 w 432999"/>
                  <a:gd name="connsiteY2" fmla="*/ 99245 h 646380"/>
                  <a:gd name="connsiteX3" fmla="*/ 173999 w 432999"/>
                  <a:gd name="connsiteY3" fmla="*/ 0 h 646380"/>
                  <a:gd name="connsiteX4" fmla="*/ 66075 w 432999"/>
                  <a:gd name="connsiteY4" fmla="*/ 321972 h 646380"/>
                  <a:gd name="connsiteX5" fmla="*/ 51966 w 432999"/>
                  <a:gd name="connsiteY5" fmla="*/ 368457 h 646380"/>
                  <a:gd name="connsiteX6" fmla="*/ 0 w 432999"/>
                  <a:gd name="connsiteY6" fmla="*/ 539386 h 646380"/>
                  <a:gd name="connsiteX0" fmla="*/ 18580 w 451579"/>
                  <a:gd name="connsiteY0" fmla="*/ 539386 h 646380"/>
                  <a:gd name="connsiteX1" fmla="*/ 273694 w 451579"/>
                  <a:gd name="connsiteY1" fmla="*/ 646380 h 646380"/>
                  <a:gd name="connsiteX2" fmla="*/ 451579 w 451579"/>
                  <a:gd name="connsiteY2" fmla="*/ 99245 h 646380"/>
                  <a:gd name="connsiteX3" fmla="*/ 192579 w 451579"/>
                  <a:gd name="connsiteY3" fmla="*/ 0 h 646380"/>
                  <a:gd name="connsiteX4" fmla="*/ 84655 w 451579"/>
                  <a:gd name="connsiteY4" fmla="*/ 321972 h 646380"/>
                  <a:gd name="connsiteX5" fmla="*/ 0 w 451579"/>
                  <a:gd name="connsiteY5" fmla="*/ 178644 h 646380"/>
                  <a:gd name="connsiteX6" fmla="*/ 18580 w 451579"/>
                  <a:gd name="connsiteY6" fmla="*/ 539386 h 646380"/>
                  <a:gd name="connsiteX0" fmla="*/ 0 w 545873"/>
                  <a:gd name="connsiteY0" fmla="*/ 489027 h 646380"/>
                  <a:gd name="connsiteX1" fmla="*/ 367988 w 545873"/>
                  <a:gd name="connsiteY1" fmla="*/ 646380 h 646380"/>
                  <a:gd name="connsiteX2" fmla="*/ 545873 w 545873"/>
                  <a:gd name="connsiteY2" fmla="*/ 99245 h 646380"/>
                  <a:gd name="connsiteX3" fmla="*/ 286873 w 545873"/>
                  <a:gd name="connsiteY3" fmla="*/ 0 h 646380"/>
                  <a:gd name="connsiteX4" fmla="*/ 178949 w 545873"/>
                  <a:gd name="connsiteY4" fmla="*/ 321972 h 646380"/>
                  <a:gd name="connsiteX5" fmla="*/ 94294 w 545873"/>
                  <a:gd name="connsiteY5" fmla="*/ 178644 h 646380"/>
                  <a:gd name="connsiteX6" fmla="*/ 0 w 545873"/>
                  <a:gd name="connsiteY6" fmla="*/ 489027 h 646380"/>
                  <a:gd name="connsiteX0" fmla="*/ 0 w 545873"/>
                  <a:gd name="connsiteY0" fmla="*/ 489027 h 646380"/>
                  <a:gd name="connsiteX1" fmla="*/ 367988 w 545873"/>
                  <a:gd name="connsiteY1" fmla="*/ 646380 h 646380"/>
                  <a:gd name="connsiteX2" fmla="*/ 545873 w 545873"/>
                  <a:gd name="connsiteY2" fmla="*/ 99245 h 646380"/>
                  <a:gd name="connsiteX3" fmla="*/ 286873 w 545873"/>
                  <a:gd name="connsiteY3" fmla="*/ 0 h 646380"/>
                  <a:gd name="connsiteX4" fmla="*/ 210695 w 545873"/>
                  <a:gd name="connsiteY4" fmla="*/ 229002 h 646380"/>
                  <a:gd name="connsiteX5" fmla="*/ 94294 w 545873"/>
                  <a:gd name="connsiteY5" fmla="*/ 178644 h 646380"/>
                  <a:gd name="connsiteX6" fmla="*/ 0 w 545873"/>
                  <a:gd name="connsiteY6" fmla="*/ 489027 h 646380"/>
                  <a:gd name="connsiteX0" fmla="*/ 0 w 556455"/>
                  <a:gd name="connsiteY0" fmla="*/ 485154 h 646380"/>
                  <a:gd name="connsiteX1" fmla="*/ 378570 w 556455"/>
                  <a:gd name="connsiteY1" fmla="*/ 646380 h 646380"/>
                  <a:gd name="connsiteX2" fmla="*/ 556455 w 556455"/>
                  <a:gd name="connsiteY2" fmla="*/ 99245 h 646380"/>
                  <a:gd name="connsiteX3" fmla="*/ 297455 w 556455"/>
                  <a:gd name="connsiteY3" fmla="*/ 0 h 646380"/>
                  <a:gd name="connsiteX4" fmla="*/ 221277 w 556455"/>
                  <a:gd name="connsiteY4" fmla="*/ 229002 h 646380"/>
                  <a:gd name="connsiteX5" fmla="*/ 104876 w 556455"/>
                  <a:gd name="connsiteY5" fmla="*/ 178644 h 646380"/>
                  <a:gd name="connsiteX6" fmla="*/ 0 w 556455"/>
                  <a:gd name="connsiteY6" fmla="*/ 485154 h 646380"/>
                  <a:gd name="connsiteX0" fmla="*/ 0 w 556455"/>
                  <a:gd name="connsiteY0" fmla="*/ 492901 h 654127"/>
                  <a:gd name="connsiteX1" fmla="*/ 378570 w 556455"/>
                  <a:gd name="connsiteY1" fmla="*/ 654127 h 654127"/>
                  <a:gd name="connsiteX2" fmla="*/ 556455 w 556455"/>
                  <a:gd name="connsiteY2" fmla="*/ 106992 h 654127"/>
                  <a:gd name="connsiteX3" fmla="*/ 300982 w 556455"/>
                  <a:gd name="connsiteY3" fmla="*/ 0 h 654127"/>
                  <a:gd name="connsiteX4" fmla="*/ 221277 w 556455"/>
                  <a:gd name="connsiteY4" fmla="*/ 236749 h 654127"/>
                  <a:gd name="connsiteX5" fmla="*/ 104876 w 556455"/>
                  <a:gd name="connsiteY5" fmla="*/ 186391 h 654127"/>
                  <a:gd name="connsiteX6" fmla="*/ 0 w 556455"/>
                  <a:gd name="connsiteY6" fmla="*/ 492901 h 654127"/>
                  <a:gd name="connsiteX0" fmla="*/ 0 w 556455"/>
                  <a:gd name="connsiteY0" fmla="*/ 495334 h 656560"/>
                  <a:gd name="connsiteX1" fmla="*/ 378570 w 556455"/>
                  <a:gd name="connsiteY1" fmla="*/ 656560 h 656560"/>
                  <a:gd name="connsiteX2" fmla="*/ 556455 w 556455"/>
                  <a:gd name="connsiteY2" fmla="*/ 109425 h 656560"/>
                  <a:gd name="connsiteX3" fmla="*/ 234423 w 556455"/>
                  <a:gd name="connsiteY3" fmla="*/ 0 h 656560"/>
                  <a:gd name="connsiteX4" fmla="*/ 221277 w 556455"/>
                  <a:gd name="connsiteY4" fmla="*/ 239182 h 656560"/>
                  <a:gd name="connsiteX5" fmla="*/ 104876 w 556455"/>
                  <a:gd name="connsiteY5" fmla="*/ 188824 h 656560"/>
                  <a:gd name="connsiteX6" fmla="*/ 0 w 556455"/>
                  <a:gd name="connsiteY6" fmla="*/ 495334 h 656560"/>
                  <a:gd name="connsiteX0" fmla="*/ 0 w 556455"/>
                  <a:gd name="connsiteY0" fmla="*/ 495334 h 656560"/>
                  <a:gd name="connsiteX1" fmla="*/ 378570 w 556455"/>
                  <a:gd name="connsiteY1" fmla="*/ 656560 h 656560"/>
                  <a:gd name="connsiteX2" fmla="*/ 556455 w 556455"/>
                  <a:gd name="connsiteY2" fmla="*/ 109425 h 656560"/>
                  <a:gd name="connsiteX3" fmla="*/ 234423 w 556455"/>
                  <a:gd name="connsiteY3" fmla="*/ 0 h 656560"/>
                  <a:gd name="connsiteX4" fmla="*/ 221277 w 556455"/>
                  <a:gd name="connsiteY4" fmla="*/ 239182 h 656560"/>
                  <a:gd name="connsiteX5" fmla="*/ 2850 w 556455"/>
                  <a:gd name="connsiteY5" fmla="*/ 134608 h 656560"/>
                  <a:gd name="connsiteX6" fmla="*/ 0 w 556455"/>
                  <a:gd name="connsiteY6" fmla="*/ 495334 h 656560"/>
                  <a:gd name="connsiteX0" fmla="*/ 0 w 719586"/>
                  <a:gd name="connsiteY0" fmla="*/ 626817 h 656560"/>
                  <a:gd name="connsiteX1" fmla="*/ 541701 w 719586"/>
                  <a:gd name="connsiteY1" fmla="*/ 656560 h 656560"/>
                  <a:gd name="connsiteX2" fmla="*/ 719586 w 719586"/>
                  <a:gd name="connsiteY2" fmla="*/ 109425 h 656560"/>
                  <a:gd name="connsiteX3" fmla="*/ 397554 w 719586"/>
                  <a:gd name="connsiteY3" fmla="*/ 0 h 656560"/>
                  <a:gd name="connsiteX4" fmla="*/ 384408 w 719586"/>
                  <a:gd name="connsiteY4" fmla="*/ 239182 h 656560"/>
                  <a:gd name="connsiteX5" fmla="*/ 165981 w 719586"/>
                  <a:gd name="connsiteY5" fmla="*/ 134608 h 656560"/>
                  <a:gd name="connsiteX6" fmla="*/ 0 w 719586"/>
                  <a:gd name="connsiteY6" fmla="*/ 626817 h 656560"/>
                  <a:gd name="connsiteX0" fmla="*/ 0 w 719586"/>
                  <a:gd name="connsiteY0" fmla="*/ 626817 h 796524"/>
                  <a:gd name="connsiteX1" fmla="*/ 498783 w 719586"/>
                  <a:gd name="connsiteY1" fmla="*/ 796524 h 796524"/>
                  <a:gd name="connsiteX2" fmla="*/ 719586 w 719586"/>
                  <a:gd name="connsiteY2" fmla="*/ 109425 h 796524"/>
                  <a:gd name="connsiteX3" fmla="*/ 397554 w 719586"/>
                  <a:gd name="connsiteY3" fmla="*/ 0 h 796524"/>
                  <a:gd name="connsiteX4" fmla="*/ 384408 w 719586"/>
                  <a:gd name="connsiteY4" fmla="*/ 239182 h 796524"/>
                  <a:gd name="connsiteX5" fmla="*/ 165981 w 719586"/>
                  <a:gd name="connsiteY5" fmla="*/ 134608 h 796524"/>
                  <a:gd name="connsiteX6" fmla="*/ 0 w 719586"/>
                  <a:gd name="connsiteY6" fmla="*/ 626817 h 796524"/>
                  <a:gd name="connsiteX0" fmla="*/ 0 w 719586"/>
                  <a:gd name="connsiteY0" fmla="*/ 626817 h 796524"/>
                  <a:gd name="connsiteX1" fmla="*/ 498783 w 719586"/>
                  <a:gd name="connsiteY1" fmla="*/ 796524 h 796524"/>
                  <a:gd name="connsiteX2" fmla="*/ 719586 w 719586"/>
                  <a:gd name="connsiteY2" fmla="*/ 109425 h 796524"/>
                  <a:gd name="connsiteX3" fmla="*/ 397554 w 719586"/>
                  <a:gd name="connsiteY3" fmla="*/ 0 h 796524"/>
                  <a:gd name="connsiteX4" fmla="*/ 324633 w 719586"/>
                  <a:gd name="connsiteY4" fmla="*/ 171628 h 796524"/>
                  <a:gd name="connsiteX5" fmla="*/ 165981 w 719586"/>
                  <a:gd name="connsiteY5" fmla="*/ 134608 h 796524"/>
                  <a:gd name="connsiteX6" fmla="*/ 0 w 719586"/>
                  <a:gd name="connsiteY6" fmla="*/ 626817 h 796524"/>
                  <a:gd name="connsiteX0" fmla="*/ 0 w 719586"/>
                  <a:gd name="connsiteY0" fmla="*/ 620442 h 790149"/>
                  <a:gd name="connsiteX1" fmla="*/ 498783 w 719586"/>
                  <a:gd name="connsiteY1" fmla="*/ 790149 h 790149"/>
                  <a:gd name="connsiteX2" fmla="*/ 719586 w 719586"/>
                  <a:gd name="connsiteY2" fmla="*/ 103050 h 790149"/>
                  <a:gd name="connsiteX3" fmla="*/ 396293 w 719586"/>
                  <a:gd name="connsiteY3" fmla="*/ 0 h 790149"/>
                  <a:gd name="connsiteX4" fmla="*/ 324633 w 719586"/>
                  <a:gd name="connsiteY4" fmla="*/ 165253 h 790149"/>
                  <a:gd name="connsiteX5" fmla="*/ 165981 w 719586"/>
                  <a:gd name="connsiteY5" fmla="*/ 128233 h 790149"/>
                  <a:gd name="connsiteX6" fmla="*/ 0 w 719586"/>
                  <a:gd name="connsiteY6" fmla="*/ 620442 h 790149"/>
                  <a:gd name="connsiteX0" fmla="*/ 0 w 543975"/>
                  <a:gd name="connsiteY0" fmla="*/ 620442 h 790149"/>
                  <a:gd name="connsiteX1" fmla="*/ 498783 w 543975"/>
                  <a:gd name="connsiteY1" fmla="*/ 790149 h 790149"/>
                  <a:gd name="connsiteX2" fmla="*/ 543975 w 543975"/>
                  <a:gd name="connsiteY2" fmla="*/ 128144 h 790149"/>
                  <a:gd name="connsiteX3" fmla="*/ 396293 w 543975"/>
                  <a:gd name="connsiteY3" fmla="*/ 0 h 790149"/>
                  <a:gd name="connsiteX4" fmla="*/ 324633 w 543975"/>
                  <a:gd name="connsiteY4" fmla="*/ 165253 h 790149"/>
                  <a:gd name="connsiteX5" fmla="*/ 165981 w 543975"/>
                  <a:gd name="connsiteY5" fmla="*/ 128233 h 790149"/>
                  <a:gd name="connsiteX6" fmla="*/ 0 w 543975"/>
                  <a:gd name="connsiteY6" fmla="*/ 620442 h 790149"/>
                  <a:gd name="connsiteX0" fmla="*/ 0 w 723127"/>
                  <a:gd name="connsiteY0" fmla="*/ 620442 h 790149"/>
                  <a:gd name="connsiteX1" fmla="*/ 498783 w 723127"/>
                  <a:gd name="connsiteY1" fmla="*/ 790149 h 790149"/>
                  <a:gd name="connsiteX2" fmla="*/ 723127 w 723127"/>
                  <a:gd name="connsiteY2" fmla="*/ 100554 h 790149"/>
                  <a:gd name="connsiteX3" fmla="*/ 396293 w 723127"/>
                  <a:gd name="connsiteY3" fmla="*/ 0 h 790149"/>
                  <a:gd name="connsiteX4" fmla="*/ 324633 w 723127"/>
                  <a:gd name="connsiteY4" fmla="*/ 165253 h 790149"/>
                  <a:gd name="connsiteX5" fmla="*/ 165981 w 723127"/>
                  <a:gd name="connsiteY5" fmla="*/ 128233 h 790149"/>
                  <a:gd name="connsiteX6" fmla="*/ 0 w 723127"/>
                  <a:gd name="connsiteY6" fmla="*/ 620442 h 790149"/>
                  <a:gd name="connsiteX0" fmla="*/ 0 w 723127"/>
                  <a:gd name="connsiteY0" fmla="*/ 630957 h 800664"/>
                  <a:gd name="connsiteX1" fmla="*/ 498783 w 723127"/>
                  <a:gd name="connsiteY1" fmla="*/ 800664 h 800664"/>
                  <a:gd name="connsiteX2" fmla="*/ 723127 w 723127"/>
                  <a:gd name="connsiteY2" fmla="*/ 111069 h 800664"/>
                  <a:gd name="connsiteX3" fmla="*/ 380088 w 723127"/>
                  <a:gd name="connsiteY3" fmla="*/ 0 h 800664"/>
                  <a:gd name="connsiteX4" fmla="*/ 324633 w 723127"/>
                  <a:gd name="connsiteY4" fmla="*/ 175768 h 800664"/>
                  <a:gd name="connsiteX5" fmla="*/ 165981 w 723127"/>
                  <a:gd name="connsiteY5" fmla="*/ 138748 h 800664"/>
                  <a:gd name="connsiteX6" fmla="*/ 0 w 723127"/>
                  <a:gd name="connsiteY6" fmla="*/ 630957 h 800664"/>
                  <a:gd name="connsiteX0" fmla="*/ 0 w 723127"/>
                  <a:gd name="connsiteY0" fmla="*/ 630957 h 800664"/>
                  <a:gd name="connsiteX1" fmla="*/ 498783 w 723127"/>
                  <a:gd name="connsiteY1" fmla="*/ 800664 h 800664"/>
                  <a:gd name="connsiteX2" fmla="*/ 723127 w 723127"/>
                  <a:gd name="connsiteY2" fmla="*/ 111069 h 800664"/>
                  <a:gd name="connsiteX3" fmla="*/ 380088 w 723127"/>
                  <a:gd name="connsiteY3" fmla="*/ 0 h 800664"/>
                  <a:gd name="connsiteX4" fmla="*/ 324633 w 723127"/>
                  <a:gd name="connsiteY4" fmla="*/ 175768 h 800664"/>
                  <a:gd name="connsiteX5" fmla="*/ 167240 w 723127"/>
                  <a:gd name="connsiteY5" fmla="*/ 132374 h 800664"/>
                  <a:gd name="connsiteX6" fmla="*/ 0 w 723127"/>
                  <a:gd name="connsiteY6" fmla="*/ 630957 h 800664"/>
                  <a:gd name="connsiteX0" fmla="*/ 0 w 718325"/>
                  <a:gd name="connsiteY0" fmla="*/ 622086 h 800664"/>
                  <a:gd name="connsiteX1" fmla="*/ 493981 w 718325"/>
                  <a:gd name="connsiteY1" fmla="*/ 800664 h 800664"/>
                  <a:gd name="connsiteX2" fmla="*/ 718325 w 718325"/>
                  <a:gd name="connsiteY2" fmla="*/ 111069 h 800664"/>
                  <a:gd name="connsiteX3" fmla="*/ 375286 w 718325"/>
                  <a:gd name="connsiteY3" fmla="*/ 0 h 800664"/>
                  <a:gd name="connsiteX4" fmla="*/ 319831 w 718325"/>
                  <a:gd name="connsiteY4" fmla="*/ 175768 h 800664"/>
                  <a:gd name="connsiteX5" fmla="*/ 162438 w 718325"/>
                  <a:gd name="connsiteY5" fmla="*/ 132374 h 800664"/>
                  <a:gd name="connsiteX6" fmla="*/ 0 w 718325"/>
                  <a:gd name="connsiteY6" fmla="*/ 622086 h 8006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18325" h="800664">
                    <a:moveTo>
                      <a:pt x="0" y="622086"/>
                    </a:moveTo>
                    <a:lnTo>
                      <a:pt x="493981" y="800664"/>
                    </a:lnTo>
                    <a:lnTo>
                      <a:pt x="718325" y="111069"/>
                    </a:lnTo>
                    <a:lnTo>
                      <a:pt x="375286" y="0"/>
                    </a:lnTo>
                    <a:lnTo>
                      <a:pt x="319831" y="175768"/>
                    </a:lnTo>
                    <a:lnTo>
                      <a:pt x="162438" y="132374"/>
                    </a:lnTo>
                    <a:lnTo>
                      <a:pt x="0" y="622086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de-DE" sz="600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05" name="G050">
                <a:extLst>
                  <a:ext uri="{FF2B5EF4-FFF2-40B4-BE49-F238E27FC236}">
                    <a16:creationId xmlns:a16="http://schemas.microsoft.com/office/drawing/2014/main" id="{D47EB845-D11E-4658-90F0-5F8B8CEEC4F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0" y="0"/>
                <a:ext cx="516508" cy="715837"/>
              </a:xfrm>
              <a:custGeom>
                <a:avLst/>
                <a:gdLst>
                  <a:gd name="connsiteX0" fmla="*/ 304800 w 1203435"/>
                  <a:gd name="connsiteY0" fmla="*/ 1487214 h 1487214"/>
                  <a:gd name="connsiteX1" fmla="*/ 1203435 w 1203435"/>
                  <a:gd name="connsiteY1" fmla="*/ 42041 h 1487214"/>
                  <a:gd name="connsiteX2" fmla="*/ 1140373 w 1203435"/>
                  <a:gd name="connsiteY2" fmla="*/ 0 h 1487214"/>
                  <a:gd name="connsiteX3" fmla="*/ 725214 w 1203435"/>
                  <a:gd name="connsiteY3" fmla="*/ 68317 h 1487214"/>
                  <a:gd name="connsiteX4" fmla="*/ 0 w 1203435"/>
                  <a:gd name="connsiteY4" fmla="*/ 1245476 h 1487214"/>
                  <a:gd name="connsiteX5" fmla="*/ 304800 w 1203435"/>
                  <a:gd name="connsiteY5" fmla="*/ 1487214 h 1487214"/>
                  <a:gd name="connsiteX0" fmla="*/ 304800 w 1203435"/>
                  <a:gd name="connsiteY0" fmla="*/ 1487214 h 1487214"/>
                  <a:gd name="connsiteX1" fmla="*/ 1203435 w 1203435"/>
                  <a:gd name="connsiteY1" fmla="*/ 42041 h 1487214"/>
                  <a:gd name="connsiteX2" fmla="*/ 1140373 w 1203435"/>
                  <a:gd name="connsiteY2" fmla="*/ 0 h 1487214"/>
                  <a:gd name="connsiteX3" fmla="*/ 814552 w 1203435"/>
                  <a:gd name="connsiteY3" fmla="*/ 47296 h 1487214"/>
                  <a:gd name="connsiteX4" fmla="*/ 725214 w 1203435"/>
                  <a:gd name="connsiteY4" fmla="*/ 68317 h 1487214"/>
                  <a:gd name="connsiteX5" fmla="*/ 0 w 1203435"/>
                  <a:gd name="connsiteY5" fmla="*/ 1245476 h 1487214"/>
                  <a:gd name="connsiteX6" fmla="*/ 304800 w 1203435"/>
                  <a:gd name="connsiteY6" fmla="*/ 1487214 h 1487214"/>
                  <a:gd name="connsiteX0" fmla="*/ 304800 w 1203435"/>
                  <a:gd name="connsiteY0" fmla="*/ 1487214 h 1487214"/>
                  <a:gd name="connsiteX1" fmla="*/ 1203435 w 1203435"/>
                  <a:gd name="connsiteY1" fmla="*/ 42041 h 1487214"/>
                  <a:gd name="connsiteX2" fmla="*/ 1140373 w 1203435"/>
                  <a:gd name="connsiteY2" fmla="*/ 0 h 1487214"/>
                  <a:gd name="connsiteX3" fmla="*/ 867104 w 1203435"/>
                  <a:gd name="connsiteY3" fmla="*/ 36785 h 1487214"/>
                  <a:gd name="connsiteX4" fmla="*/ 725214 w 1203435"/>
                  <a:gd name="connsiteY4" fmla="*/ 68317 h 1487214"/>
                  <a:gd name="connsiteX5" fmla="*/ 0 w 1203435"/>
                  <a:gd name="connsiteY5" fmla="*/ 1245476 h 1487214"/>
                  <a:gd name="connsiteX6" fmla="*/ 304800 w 1203435"/>
                  <a:gd name="connsiteY6" fmla="*/ 1487214 h 1487214"/>
                  <a:gd name="connsiteX0" fmla="*/ 304800 w 1203435"/>
                  <a:gd name="connsiteY0" fmla="*/ 1487214 h 1487214"/>
                  <a:gd name="connsiteX1" fmla="*/ 1203435 w 1203435"/>
                  <a:gd name="connsiteY1" fmla="*/ 42041 h 1487214"/>
                  <a:gd name="connsiteX2" fmla="*/ 1140373 w 1203435"/>
                  <a:gd name="connsiteY2" fmla="*/ 0 h 1487214"/>
                  <a:gd name="connsiteX3" fmla="*/ 867104 w 1203435"/>
                  <a:gd name="connsiteY3" fmla="*/ 36785 h 1487214"/>
                  <a:gd name="connsiteX4" fmla="*/ 725214 w 1203435"/>
                  <a:gd name="connsiteY4" fmla="*/ 68317 h 1487214"/>
                  <a:gd name="connsiteX5" fmla="*/ 688428 w 1203435"/>
                  <a:gd name="connsiteY5" fmla="*/ 120869 h 1487214"/>
                  <a:gd name="connsiteX6" fmla="*/ 0 w 1203435"/>
                  <a:gd name="connsiteY6" fmla="*/ 1245476 h 1487214"/>
                  <a:gd name="connsiteX7" fmla="*/ 304800 w 1203435"/>
                  <a:gd name="connsiteY7" fmla="*/ 1487214 h 1487214"/>
                  <a:gd name="connsiteX0" fmla="*/ 304800 w 1203435"/>
                  <a:gd name="connsiteY0" fmla="*/ 1487214 h 1487214"/>
                  <a:gd name="connsiteX1" fmla="*/ 1203435 w 1203435"/>
                  <a:gd name="connsiteY1" fmla="*/ 42041 h 1487214"/>
                  <a:gd name="connsiteX2" fmla="*/ 1140373 w 1203435"/>
                  <a:gd name="connsiteY2" fmla="*/ 0 h 1487214"/>
                  <a:gd name="connsiteX3" fmla="*/ 867104 w 1203435"/>
                  <a:gd name="connsiteY3" fmla="*/ 36785 h 1487214"/>
                  <a:gd name="connsiteX4" fmla="*/ 746235 w 1203435"/>
                  <a:gd name="connsiteY4" fmla="*/ 52552 h 1487214"/>
                  <a:gd name="connsiteX5" fmla="*/ 688428 w 1203435"/>
                  <a:gd name="connsiteY5" fmla="*/ 120869 h 1487214"/>
                  <a:gd name="connsiteX6" fmla="*/ 0 w 1203435"/>
                  <a:gd name="connsiteY6" fmla="*/ 1245476 h 1487214"/>
                  <a:gd name="connsiteX7" fmla="*/ 304800 w 1203435"/>
                  <a:gd name="connsiteY7" fmla="*/ 1487214 h 1487214"/>
                  <a:gd name="connsiteX0" fmla="*/ 304800 w 1203435"/>
                  <a:gd name="connsiteY0" fmla="*/ 1487214 h 1487214"/>
                  <a:gd name="connsiteX1" fmla="*/ 1203435 w 1203435"/>
                  <a:gd name="connsiteY1" fmla="*/ 42041 h 1487214"/>
                  <a:gd name="connsiteX2" fmla="*/ 1140373 w 1203435"/>
                  <a:gd name="connsiteY2" fmla="*/ 0 h 1487214"/>
                  <a:gd name="connsiteX3" fmla="*/ 876676 w 1203435"/>
                  <a:gd name="connsiteY3" fmla="*/ 73585 h 1487214"/>
                  <a:gd name="connsiteX4" fmla="*/ 746235 w 1203435"/>
                  <a:gd name="connsiteY4" fmla="*/ 52552 h 1487214"/>
                  <a:gd name="connsiteX5" fmla="*/ 688428 w 1203435"/>
                  <a:gd name="connsiteY5" fmla="*/ 120869 h 1487214"/>
                  <a:gd name="connsiteX6" fmla="*/ 0 w 1203435"/>
                  <a:gd name="connsiteY6" fmla="*/ 1245476 h 1487214"/>
                  <a:gd name="connsiteX7" fmla="*/ 304800 w 1203435"/>
                  <a:gd name="connsiteY7" fmla="*/ 1487214 h 1487214"/>
                  <a:gd name="connsiteX0" fmla="*/ 304800 w 1203435"/>
                  <a:gd name="connsiteY0" fmla="*/ 1487214 h 1487214"/>
                  <a:gd name="connsiteX1" fmla="*/ 1203435 w 1203435"/>
                  <a:gd name="connsiteY1" fmla="*/ 42041 h 1487214"/>
                  <a:gd name="connsiteX2" fmla="*/ 1140373 w 1203435"/>
                  <a:gd name="connsiteY2" fmla="*/ 0 h 1487214"/>
                  <a:gd name="connsiteX3" fmla="*/ 876676 w 1203435"/>
                  <a:gd name="connsiteY3" fmla="*/ 73585 h 1487214"/>
                  <a:gd name="connsiteX4" fmla="*/ 746235 w 1203435"/>
                  <a:gd name="connsiteY4" fmla="*/ 89352 h 1487214"/>
                  <a:gd name="connsiteX5" fmla="*/ 688428 w 1203435"/>
                  <a:gd name="connsiteY5" fmla="*/ 120869 h 1487214"/>
                  <a:gd name="connsiteX6" fmla="*/ 0 w 1203435"/>
                  <a:gd name="connsiteY6" fmla="*/ 1245476 h 1487214"/>
                  <a:gd name="connsiteX7" fmla="*/ 304800 w 1203435"/>
                  <a:gd name="connsiteY7" fmla="*/ 1487214 h 1487214"/>
                  <a:gd name="connsiteX0" fmla="*/ 304800 w 1203435"/>
                  <a:gd name="connsiteY0" fmla="*/ 1445173 h 1445173"/>
                  <a:gd name="connsiteX1" fmla="*/ 1203435 w 1203435"/>
                  <a:gd name="connsiteY1" fmla="*/ 0 h 1445173"/>
                  <a:gd name="connsiteX2" fmla="*/ 1140373 w 1203435"/>
                  <a:gd name="connsiteY2" fmla="*/ 22358 h 1445173"/>
                  <a:gd name="connsiteX3" fmla="*/ 876676 w 1203435"/>
                  <a:gd name="connsiteY3" fmla="*/ 31544 h 1445173"/>
                  <a:gd name="connsiteX4" fmla="*/ 746235 w 1203435"/>
                  <a:gd name="connsiteY4" fmla="*/ 47311 h 1445173"/>
                  <a:gd name="connsiteX5" fmla="*/ 688428 w 1203435"/>
                  <a:gd name="connsiteY5" fmla="*/ 78828 h 1445173"/>
                  <a:gd name="connsiteX6" fmla="*/ 0 w 1203435"/>
                  <a:gd name="connsiteY6" fmla="*/ 1203435 h 1445173"/>
                  <a:gd name="connsiteX7" fmla="*/ 304800 w 1203435"/>
                  <a:gd name="connsiteY7" fmla="*/ 1445173 h 1445173"/>
                  <a:gd name="connsiteX0" fmla="*/ 304800 w 1203435"/>
                  <a:gd name="connsiteY0" fmla="*/ 1450415 h 1450415"/>
                  <a:gd name="connsiteX1" fmla="*/ 1203435 w 1203435"/>
                  <a:gd name="connsiteY1" fmla="*/ 5242 h 1450415"/>
                  <a:gd name="connsiteX2" fmla="*/ 1140373 w 1203435"/>
                  <a:gd name="connsiteY2" fmla="*/ 0 h 1450415"/>
                  <a:gd name="connsiteX3" fmla="*/ 876676 w 1203435"/>
                  <a:gd name="connsiteY3" fmla="*/ 36786 h 1450415"/>
                  <a:gd name="connsiteX4" fmla="*/ 746235 w 1203435"/>
                  <a:gd name="connsiteY4" fmla="*/ 52553 h 1450415"/>
                  <a:gd name="connsiteX5" fmla="*/ 688428 w 1203435"/>
                  <a:gd name="connsiteY5" fmla="*/ 84070 h 1450415"/>
                  <a:gd name="connsiteX6" fmla="*/ 0 w 1203435"/>
                  <a:gd name="connsiteY6" fmla="*/ 1208677 h 1450415"/>
                  <a:gd name="connsiteX7" fmla="*/ 304800 w 1203435"/>
                  <a:gd name="connsiteY7" fmla="*/ 1450415 h 1450415"/>
                  <a:gd name="connsiteX0" fmla="*/ 304800 w 1234731"/>
                  <a:gd name="connsiteY0" fmla="*/ 1512574 h 1512574"/>
                  <a:gd name="connsiteX1" fmla="*/ 1234731 w 1234731"/>
                  <a:gd name="connsiteY1" fmla="*/ 0 h 1512574"/>
                  <a:gd name="connsiteX2" fmla="*/ 1140373 w 1234731"/>
                  <a:gd name="connsiteY2" fmla="*/ 62159 h 1512574"/>
                  <a:gd name="connsiteX3" fmla="*/ 876676 w 1234731"/>
                  <a:gd name="connsiteY3" fmla="*/ 98945 h 1512574"/>
                  <a:gd name="connsiteX4" fmla="*/ 746235 w 1234731"/>
                  <a:gd name="connsiteY4" fmla="*/ 114712 h 1512574"/>
                  <a:gd name="connsiteX5" fmla="*/ 688428 w 1234731"/>
                  <a:gd name="connsiteY5" fmla="*/ 146229 h 1512574"/>
                  <a:gd name="connsiteX6" fmla="*/ 0 w 1234731"/>
                  <a:gd name="connsiteY6" fmla="*/ 1270836 h 1512574"/>
                  <a:gd name="connsiteX7" fmla="*/ 304800 w 1234731"/>
                  <a:gd name="connsiteY7" fmla="*/ 1512574 h 1512574"/>
                  <a:gd name="connsiteX0" fmla="*/ 304800 w 1234731"/>
                  <a:gd name="connsiteY0" fmla="*/ 1573181 h 1573181"/>
                  <a:gd name="connsiteX1" fmla="*/ 1234731 w 1234731"/>
                  <a:gd name="connsiteY1" fmla="*/ 60607 h 1573181"/>
                  <a:gd name="connsiteX2" fmla="*/ 1160491 w 1234731"/>
                  <a:gd name="connsiteY2" fmla="*/ 0 h 1573181"/>
                  <a:gd name="connsiteX3" fmla="*/ 876676 w 1234731"/>
                  <a:gd name="connsiteY3" fmla="*/ 159552 h 1573181"/>
                  <a:gd name="connsiteX4" fmla="*/ 746235 w 1234731"/>
                  <a:gd name="connsiteY4" fmla="*/ 175319 h 1573181"/>
                  <a:gd name="connsiteX5" fmla="*/ 688428 w 1234731"/>
                  <a:gd name="connsiteY5" fmla="*/ 206836 h 1573181"/>
                  <a:gd name="connsiteX6" fmla="*/ 0 w 1234731"/>
                  <a:gd name="connsiteY6" fmla="*/ 1331443 h 1573181"/>
                  <a:gd name="connsiteX7" fmla="*/ 304800 w 1234731"/>
                  <a:gd name="connsiteY7" fmla="*/ 1573181 h 1573181"/>
                  <a:gd name="connsiteX0" fmla="*/ 304800 w 1234731"/>
                  <a:gd name="connsiteY0" fmla="*/ 1573181 h 1573181"/>
                  <a:gd name="connsiteX1" fmla="*/ 1234731 w 1234731"/>
                  <a:gd name="connsiteY1" fmla="*/ 60607 h 1573181"/>
                  <a:gd name="connsiteX2" fmla="*/ 1160491 w 1234731"/>
                  <a:gd name="connsiteY2" fmla="*/ 0 h 1573181"/>
                  <a:gd name="connsiteX3" fmla="*/ 1016156 w 1234731"/>
                  <a:gd name="connsiteY3" fmla="*/ 83057 h 1573181"/>
                  <a:gd name="connsiteX4" fmla="*/ 876676 w 1234731"/>
                  <a:gd name="connsiteY4" fmla="*/ 159552 h 1573181"/>
                  <a:gd name="connsiteX5" fmla="*/ 746235 w 1234731"/>
                  <a:gd name="connsiteY5" fmla="*/ 175319 h 1573181"/>
                  <a:gd name="connsiteX6" fmla="*/ 688428 w 1234731"/>
                  <a:gd name="connsiteY6" fmla="*/ 206836 h 1573181"/>
                  <a:gd name="connsiteX7" fmla="*/ 0 w 1234731"/>
                  <a:gd name="connsiteY7" fmla="*/ 1331443 h 1573181"/>
                  <a:gd name="connsiteX8" fmla="*/ 304800 w 1234731"/>
                  <a:gd name="connsiteY8" fmla="*/ 1573181 h 1573181"/>
                  <a:gd name="connsiteX0" fmla="*/ 304800 w 1234731"/>
                  <a:gd name="connsiteY0" fmla="*/ 1573181 h 1573181"/>
                  <a:gd name="connsiteX1" fmla="*/ 1234731 w 1234731"/>
                  <a:gd name="connsiteY1" fmla="*/ 60607 h 1573181"/>
                  <a:gd name="connsiteX2" fmla="*/ 1160491 w 1234731"/>
                  <a:gd name="connsiteY2" fmla="*/ 0 h 1573181"/>
                  <a:gd name="connsiteX3" fmla="*/ 1056392 w 1234731"/>
                  <a:gd name="connsiteY3" fmla="*/ 61392 h 1573181"/>
                  <a:gd name="connsiteX4" fmla="*/ 876676 w 1234731"/>
                  <a:gd name="connsiteY4" fmla="*/ 159552 h 1573181"/>
                  <a:gd name="connsiteX5" fmla="*/ 746235 w 1234731"/>
                  <a:gd name="connsiteY5" fmla="*/ 175319 h 1573181"/>
                  <a:gd name="connsiteX6" fmla="*/ 688428 w 1234731"/>
                  <a:gd name="connsiteY6" fmla="*/ 206836 h 1573181"/>
                  <a:gd name="connsiteX7" fmla="*/ 0 w 1234731"/>
                  <a:gd name="connsiteY7" fmla="*/ 1331443 h 1573181"/>
                  <a:gd name="connsiteX8" fmla="*/ 304800 w 1234731"/>
                  <a:gd name="connsiteY8" fmla="*/ 1573181 h 1573181"/>
                  <a:gd name="connsiteX0" fmla="*/ 304800 w 1234731"/>
                  <a:gd name="connsiteY0" fmla="*/ 1573181 h 1573181"/>
                  <a:gd name="connsiteX1" fmla="*/ 1234731 w 1234731"/>
                  <a:gd name="connsiteY1" fmla="*/ 60607 h 1573181"/>
                  <a:gd name="connsiteX2" fmla="*/ 1160491 w 1234731"/>
                  <a:gd name="connsiteY2" fmla="*/ 0 h 1573181"/>
                  <a:gd name="connsiteX3" fmla="*/ 1056392 w 1234731"/>
                  <a:gd name="connsiteY3" fmla="*/ 61392 h 1573181"/>
                  <a:gd name="connsiteX4" fmla="*/ 796202 w 1234731"/>
                  <a:gd name="connsiteY4" fmla="*/ 130666 h 1573181"/>
                  <a:gd name="connsiteX5" fmla="*/ 746235 w 1234731"/>
                  <a:gd name="connsiteY5" fmla="*/ 175319 h 1573181"/>
                  <a:gd name="connsiteX6" fmla="*/ 688428 w 1234731"/>
                  <a:gd name="connsiteY6" fmla="*/ 206836 h 1573181"/>
                  <a:gd name="connsiteX7" fmla="*/ 0 w 1234731"/>
                  <a:gd name="connsiteY7" fmla="*/ 1331443 h 1573181"/>
                  <a:gd name="connsiteX8" fmla="*/ 304800 w 1234731"/>
                  <a:gd name="connsiteY8" fmla="*/ 1573181 h 1573181"/>
                  <a:gd name="connsiteX0" fmla="*/ 304800 w 1234731"/>
                  <a:gd name="connsiteY0" fmla="*/ 1573181 h 1573181"/>
                  <a:gd name="connsiteX1" fmla="*/ 1234731 w 1234731"/>
                  <a:gd name="connsiteY1" fmla="*/ 60607 h 1573181"/>
                  <a:gd name="connsiteX2" fmla="*/ 1160491 w 1234731"/>
                  <a:gd name="connsiteY2" fmla="*/ 0 h 1573181"/>
                  <a:gd name="connsiteX3" fmla="*/ 1056392 w 1234731"/>
                  <a:gd name="connsiteY3" fmla="*/ 61392 h 1573181"/>
                  <a:gd name="connsiteX4" fmla="*/ 796202 w 1234731"/>
                  <a:gd name="connsiteY4" fmla="*/ 130666 h 1573181"/>
                  <a:gd name="connsiteX5" fmla="*/ 688428 w 1234731"/>
                  <a:gd name="connsiteY5" fmla="*/ 206836 h 1573181"/>
                  <a:gd name="connsiteX6" fmla="*/ 0 w 1234731"/>
                  <a:gd name="connsiteY6" fmla="*/ 1331443 h 1573181"/>
                  <a:gd name="connsiteX7" fmla="*/ 304800 w 1234731"/>
                  <a:gd name="connsiteY7" fmla="*/ 1573181 h 1573181"/>
                  <a:gd name="connsiteX0" fmla="*/ 304800 w 1234731"/>
                  <a:gd name="connsiteY0" fmla="*/ 1573181 h 1573181"/>
                  <a:gd name="connsiteX1" fmla="*/ 1234731 w 1234731"/>
                  <a:gd name="connsiteY1" fmla="*/ 60607 h 1573181"/>
                  <a:gd name="connsiteX2" fmla="*/ 1160491 w 1234731"/>
                  <a:gd name="connsiteY2" fmla="*/ 0 h 1573181"/>
                  <a:gd name="connsiteX3" fmla="*/ 1056392 w 1234731"/>
                  <a:gd name="connsiteY3" fmla="*/ 61392 h 1573181"/>
                  <a:gd name="connsiteX4" fmla="*/ 796202 w 1234731"/>
                  <a:gd name="connsiteY4" fmla="*/ 130666 h 1573181"/>
                  <a:gd name="connsiteX5" fmla="*/ 754616 w 1234731"/>
                  <a:gd name="connsiteY5" fmla="*/ 157680 h 1573181"/>
                  <a:gd name="connsiteX6" fmla="*/ 688428 w 1234731"/>
                  <a:gd name="connsiteY6" fmla="*/ 206836 h 1573181"/>
                  <a:gd name="connsiteX7" fmla="*/ 0 w 1234731"/>
                  <a:gd name="connsiteY7" fmla="*/ 1331443 h 1573181"/>
                  <a:gd name="connsiteX8" fmla="*/ 304800 w 1234731"/>
                  <a:gd name="connsiteY8" fmla="*/ 1573181 h 1573181"/>
                  <a:gd name="connsiteX0" fmla="*/ 304800 w 1234731"/>
                  <a:gd name="connsiteY0" fmla="*/ 1627333 h 1627333"/>
                  <a:gd name="connsiteX1" fmla="*/ 1234731 w 1234731"/>
                  <a:gd name="connsiteY1" fmla="*/ 114759 h 1627333"/>
                  <a:gd name="connsiteX2" fmla="*/ 1160491 w 1234731"/>
                  <a:gd name="connsiteY2" fmla="*/ 54152 h 1627333"/>
                  <a:gd name="connsiteX3" fmla="*/ 1056392 w 1234731"/>
                  <a:gd name="connsiteY3" fmla="*/ 115544 h 1627333"/>
                  <a:gd name="connsiteX4" fmla="*/ 796202 w 1234731"/>
                  <a:gd name="connsiteY4" fmla="*/ 184818 h 1627333"/>
                  <a:gd name="connsiteX5" fmla="*/ 935682 w 1234731"/>
                  <a:gd name="connsiteY5" fmla="*/ 0 h 1627333"/>
                  <a:gd name="connsiteX6" fmla="*/ 688428 w 1234731"/>
                  <a:gd name="connsiteY6" fmla="*/ 260988 h 1627333"/>
                  <a:gd name="connsiteX7" fmla="*/ 0 w 1234731"/>
                  <a:gd name="connsiteY7" fmla="*/ 1385595 h 1627333"/>
                  <a:gd name="connsiteX8" fmla="*/ 304800 w 1234731"/>
                  <a:gd name="connsiteY8" fmla="*/ 1627333 h 1627333"/>
                  <a:gd name="connsiteX0" fmla="*/ 304800 w 1234731"/>
                  <a:gd name="connsiteY0" fmla="*/ 1627333 h 1627333"/>
                  <a:gd name="connsiteX1" fmla="*/ 1234731 w 1234731"/>
                  <a:gd name="connsiteY1" fmla="*/ 114759 h 1627333"/>
                  <a:gd name="connsiteX2" fmla="*/ 1160491 w 1234731"/>
                  <a:gd name="connsiteY2" fmla="*/ 54152 h 1627333"/>
                  <a:gd name="connsiteX3" fmla="*/ 1056392 w 1234731"/>
                  <a:gd name="connsiteY3" fmla="*/ 115544 h 1627333"/>
                  <a:gd name="connsiteX4" fmla="*/ 796202 w 1234731"/>
                  <a:gd name="connsiteY4" fmla="*/ 184818 h 1627333"/>
                  <a:gd name="connsiteX5" fmla="*/ 935682 w 1234731"/>
                  <a:gd name="connsiteY5" fmla="*/ 0 h 1627333"/>
                  <a:gd name="connsiteX6" fmla="*/ 754616 w 1234731"/>
                  <a:gd name="connsiteY6" fmla="*/ 192576 h 1627333"/>
                  <a:gd name="connsiteX7" fmla="*/ 688428 w 1234731"/>
                  <a:gd name="connsiteY7" fmla="*/ 260988 h 1627333"/>
                  <a:gd name="connsiteX8" fmla="*/ 0 w 1234731"/>
                  <a:gd name="connsiteY8" fmla="*/ 1385595 h 1627333"/>
                  <a:gd name="connsiteX9" fmla="*/ 304800 w 1234731"/>
                  <a:gd name="connsiteY9" fmla="*/ 1627333 h 1627333"/>
                  <a:gd name="connsiteX0" fmla="*/ 304800 w 1234731"/>
                  <a:gd name="connsiteY0" fmla="*/ 1740470 h 1740470"/>
                  <a:gd name="connsiteX1" fmla="*/ 1234731 w 1234731"/>
                  <a:gd name="connsiteY1" fmla="*/ 227896 h 1740470"/>
                  <a:gd name="connsiteX2" fmla="*/ 1160491 w 1234731"/>
                  <a:gd name="connsiteY2" fmla="*/ 167289 h 1740470"/>
                  <a:gd name="connsiteX3" fmla="*/ 1056392 w 1234731"/>
                  <a:gd name="connsiteY3" fmla="*/ 228681 h 1740470"/>
                  <a:gd name="connsiteX4" fmla="*/ 796202 w 1234731"/>
                  <a:gd name="connsiteY4" fmla="*/ 297955 h 1740470"/>
                  <a:gd name="connsiteX5" fmla="*/ 935682 w 1234731"/>
                  <a:gd name="connsiteY5" fmla="*/ 113137 h 1740470"/>
                  <a:gd name="connsiteX6" fmla="*/ 781441 w 1234731"/>
                  <a:gd name="connsiteY6" fmla="*/ 0 h 1740470"/>
                  <a:gd name="connsiteX7" fmla="*/ 688428 w 1234731"/>
                  <a:gd name="connsiteY7" fmla="*/ 374125 h 1740470"/>
                  <a:gd name="connsiteX8" fmla="*/ 0 w 1234731"/>
                  <a:gd name="connsiteY8" fmla="*/ 1498732 h 1740470"/>
                  <a:gd name="connsiteX9" fmla="*/ 304800 w 1234731"/>
                  <a:gd name="connsiteY9" fmla="*/ 1740470 h 1740470"/>
                  <a:gd name="connsiteX0" fmla="*/ 304800 w 1234731"/>
                  <a:gd name="connsiteY0" fmla="*/ 1740470 h 1740470"/>
                  <a:gd name="connsiteX1" fmla="*/ 1234731 w 1234731"/>
                  <a:gd name="connsiteY1" fmla="*/ 227896 h 1740470"/>
                  <a:gd name="connsiteX2" fmla="*/ 1160491 w 1234731"/>
                  <a:gd name="connsiteY2" fmla="*/ 167289 h 1740470"/>
                  <a:gd name="connsiteX3" fmla="*/ 1056392 w 1234731"/>
                  <a:gd name="connsiteY3" fmla="*/ 228681 h 1740470"/>
                  <a:gd name="connsiteX4" fmla="*/ 796202 w 1234731"/>
                  <a:gd name="connsiteY4" fmla="*/ 297955 h 1740470"/>
                  <a:gd name="connsiteX5" fmla="*/ 935682 w 1234731"/>
                  <a:gd name="connsiteY5" fmla="*/ 113137 h 1740470"/>
                  <a:gd name="connsiteX6" fmla="*/ 781441 w 1234731"/>
                  <a:gd name="connsiteY6" fmla="*/ 0 h 1740470"/>
                  <a:gd name="connsiteX7" fmla="*/ 286059 w 1234731"/>
                  <a:gd name="connsiteY7" fmla="*/ 800196 h 1740470"/>
                  <a:gd name="connsiteX8" fmla="*/ 0 w 1234731"/>
                  <a:gd name="connsiteY8" fmla="*/ 1498732 h 1740470"/>
                  <a:gd name="connsiteX9" fmla="*/ 304800 w 1234731"/>
                  <a:gd name="connsiteY9" fmla="*/ 1740470 h 1740470"/>
                  <a:gd name="connsiteX0" fmla="*/ 304800 w 1234731"/>
                  <a:gd name="connsiteY0" fmla="*/ 1740470 h 1740470"/>
                  <a:gd name="connsiteX1" fmla="*/ 1234731 w 1234731"/>
                  <a:gd name="connsiteY1" fmla="*/ 227896 h 1740470"/>
                  <a:gd name="connsiteX2" fmla="*/ 1160491 w 1234731"/>
                  <a:gd name="connsiteY2" fmla="*/ 167289 h 1740470"/>
                  <a:gd name="connsiteX3" fmla="*/ 1056392 w 1234731"/>
                  <a:gd name="connsiteY3" fmla="*/ 228681 h 1740470"/>
                  <a:gd name="connsiteX4" fmla="*/ 796202 w 1234731"/>
                  <a:gd name="connsiteY4" fmla="*/ 297955 h 1740470"/>
                  <a:gd name="connsiteX5" fmla="*/ 935682 w 1234731"/>
                  <a:gd name="connsiteY5" fmla="*/ 113137 h 1740470"/>
                  <a:gd name="connsiteX6" fmla="*/ 781441 w 1234731"/>
                  <a:gd name="connsiteY6" fmla="*/ 0 h 1740470"/>
                  <a:gd name="connsiteX7" fmla="*/ 286059 w 1234731"/>
                  <a:gd name="connsiteY7" fmla="*/ 800196 h 1740470"/>
                  <a:gd name="connsiteX8" fmla="*/ 222594 w 1234731"/>
                  <a:gd name="connsiteY8" fmla="*/ 953245 h 1740470"/>
                  <a:gd name="connsiteX9" fmla="*/ 0 w 1234731"/>
                  <a:gd name="connsiteY9" fmla="*/ 1498732 h 1740470"/>
                  <a:gd name="connsiteX10" fmla="*/ 304800 w 1234731"/>
                  <a:gd name="connsiteY10" fmla="*/ 1740470 h 1740470"/>
                  <a:gd name="connsiteX0" fmla="*/ 304800 w 1234731"/>
                  <a:gd name="connsiteY0" fmla="*/ 1740470 h 1740470"/>
                  <a:gd name="connsiteX1" fmla="*/ 1234731 w 1234731"/>
                  <a:gd name="connsiteY1" fmla="*/ 227896 h 1740470"/>
                  <a:gd name="connsiteX2" fmla="*/ 1160491 w 1234731"/>
                  <a:gd name="connsiteY2" fmla="*/ 167289 h 1740470"/>
                  <a:gd name="connsiteX3" fmla="*/ 1056392 w 1234731"/>
                  <a:gd name="connsiteY3" fmla="*/ 228681 h 1740470"/>
                  <a:gd name="connsiteX4" fmla="*/ 796202 w 1234731"/>
                  <a:gd name="connsiteY4" fmla="*/ 297955 h 1740470"/>
                  <a:gd name="connsiteX5" fmla="*/ 935682 w 1234731"/>
                  <a:gd name="connsiteY5" fmla="*/ 113137 h 1740470"/>
                  <a:gd name="connsiteX6" fmla="*/ 781441 w 1234731"/>
                  <a:gd name="connsiteY6" fmla="*/ 0 h 1740470"/>
                  <a:gd name="connsiteX7" fmla="*/ 286059 w 1234731"/>
                  <a:gd name="connsiteY7" fmla="*/ 800196 h 1740470"/>
                  <a:gd name="connsiteX8" fmla="*/ 379070 w 1234731"/>
                  <a:gd name="connsiteY8" fmla="*/ 873808 h 1740470"/>
                  <a:gd name="connsiteX9" fmla="*/ 0 w 1234731"/>
                  <a:gd name="connsiteY9" fmla="*/ 1498732 h 1740470"/>
                  <a:gd name="connsiteX10" fmla="*/ 304800 w 1234731"/>
                  <a:gd name="connsiteY10" fmla="*/ 1740470 h 1740470"/>
                  <a:gd name="connsiteX0" fmla="*/ 304800 w 1234731"/>
                  <a:gd name="connsiteY0" fmla="*/ 1740470 h 1740470"/>
                  <a:gd name="connsiteX1" fmla="*/ 1234731 w 1234731"/>
                  <a:gd name="connsiteY1" fmla="*/ 227896 h 1740470"/>
                  <a:gd name="connsiteX2" fmla="*/ 1160491 w 1234731"/>
                  <a:gd name="connsiteY2" fmla="*/ 167289 h 1740470"/>
                  <a:gd name="connsiteX3" fmla="*/ 1056392 w 1234731"/>
                  <a:gd name="connsiteY3" fmla="*/ 228681 h 1740470"/>
                  <a:gd name="connsiteX4" fmla="*/ 831968 w 1234731"/>
                  <a:gd name="connsiteY4" fmla="*/ 285919 h 1740470"/>
                  <a:gd name="connsiteX5" fmla="*/ 935682 w 1234731"/>
                  <a:gd name="connsiteY5" fmla="*/ 113137 h 1740470"/>
                  <a:gd name="connsiteX6" fmla="*/ 781441 w 1234731"/>
                  <a:gd name="connsiteY6" fmla="*/ 0 h 1740470"/>
                  <a:gd name="connsiteX7" fmla="*/ 286059 w 1234731"/>
                  <a:gd name="connsiteY7" fmla="*/ 800196 h 1740470"/>
                  <a:gd name="connsiteX8" fmla="*/ 379070 w 1234731"/>
                  <a:gd name="connsiteY8" fmla="*/ 873808 h 1740470"/>
                  <a:gd name="connsiteX9" fmla="*/ 0 w 1234731"/>
                  <a:gd name="connsiteY9" fmla="*/ 1498732 h 1740470"/>
                  <a:gd name="connsiteX10" fmla="*/ 304800 w 1234731"/>
                  <a:gd name="connsiteY10" fmla="*/ 1740470 h 1740470"/>
                  <a:gd name="connsiteX0" fmla="*/ 304800 w 1234731"/>
                  <a:gd name="connsiteY0" fmla="*/ 1740470 h 1740470"/>
                  <a:gd name="connsiteX1" fmla="*/ 1234731 w 1234731"/>
                  <a:gd name="connsiteY1" fmla="*/ 227896 h 1740470"/>
                  <a:gd name="connsiteX2" fmla="*/ 1160491 w 1234731"/>
                  <a:gd name="connsiteY2" fmla="*/ 167289 h 1740470"/>
                  <a:gd name="connsiteX3" fmla="*/ 1056392 w 1234731"/>
                  <a:gd name="connsiteY3" fmla="*/ 228681 h 1740470"/>
                  <a:gd name="connsiteX4" fmla="*/ 831968 w 1234731"/>
                  <a:gd name="connsiteY4" fmla="*/ 285919 h 1740470"/>
                  <a:gd name="connsiteX5" fmla="*/ 935682 w 1234731"/>
                  <a:gd name="connsiteY5" fmla="*/ 113137 h 1740470"/>
                  <a:gd name="connsiteX6" fmla="*/ 781441 w 1234731"/>
                  <a:gd name="connsiteY6" fmla="*/ 0 h 1740470"/>
                  <a:gd name="connsiteX7" fmla="*/ 286059 w 1234731"/>
                  <a:gd name="connsiteY7" fmla="*/ 800196 h 1740470"/>
                  <a:gd name="connsiteX8" fmla="*/ 379070 w 1234731"/>
                  <a:gd name="connsiteY8" fmla="*/ 873808 h 1740470"/>
                  <a:gd name="connsiteX9" fmla="*/ 0 w 1234731"/>
                  <a:gd name="connsiteY9" fmla="*/ 1498732 h 1740470"/>
                  <a:gd name="connsiteX10" fmla="*/ 304800 w 1234731"/>
                  <a:gd name="connsiteY10" fmla="*/ 1740470 h 1740470"/>
                  <a:gd name="connsiteX0" fmla="*/ 304800 w 1234731"/>
                  <a:gd name="connsiteY0" fmla="*/ 1740470 h 1740470"/>
                  <a:gd name="connsiteX1" fmla="*/ 1234731 w 1234731"/>
                  <a:gd name="connsiteY1" fmla="*/ 227896 h 1740470"/>
                  <a:gd name="connsiteX2" fmla="*/ 1160491 w 1234731"/>
                  <a:gd name="connsiteY2" fmla="*/ 167289 h 1740470"/>
                  <a:gd name="connsiteX3" fmla="*/ 1056392 w 1234731"/>
                  <a:gd name="connsiteY3" fmla="*/ 228681 h 1740470"/>
                  <a:gd name="connsiteX4" fmla="*/ 831968 w 1234731"/>
                  <a:gd name="connsiteY4" fmla="*/ 285919 h 1740470"/>
                  <a:gd name="connsiteX5" fmla="*/ 935682 w 1234731"/>
                  <a:gd name="connsiteY5" fmla="*/ 113137 h 1740470"/>
                  <a:gd name="connsiteX6" fmla="*/ 781441 w 1234731"/>
                  <a:gd name="connsiteY6" fmla="*/ 0 h 1740470"/>
                  <a:gd name="connsiteX7" fmla="*/ 286059 w 1234731"/>
                  <a:gd name="connsiteY7" fmla="*/ 800196 h 1740470"/>
                  <a:gd name="connsiteX8" fmla="*/ 379070 w 1234731"/>
                  <a:gd name="connsiteY8" fmla="*/ 873808 h 1740470"/>
                  <a:gd name="connsiteX9" fmla="*/ 0 w 1234731"/>
                  <a:gd name="connsiteY9" fmla="*/ 1498732 h 1740470"/>
                  <a:gd name="connsiteX10" fmla="*/ 304800 w 1234731"/>
                  <a:gd name="connsiteY10" fmla="*/ 1740470 h 1740470"/>
                  <a:gd name="connsiteX0" fmla="*/ 324918 w 1254849"/>
                  <a:gd name="connsiteY0" fmla="*/ 1740470 h 1740470"/>
                  <a:gd name="connsiteX1" fmla="*/ 1254849 w 1254849"/>
                  <a:gd name="connsiteY1" fmla="*/ 227896 h 1740470"/>
                  <a:gd name="connsiteX2" fmla="*/ 1180609 w 1254849"/>
                  <a:gd name="connsiteY2" fmla="*/ 167289 h 1740470"/>
                  <a:gd name="connsiteX3" fmla="*/ 1076510 w 1254849"/>
                  <a:gd name="connsiteY3" fmla="*/ 228681 h 1740470"/>
                  <a:gd name="connsiteX4" fmla="*/ 852086 w 1254849"/>
                  <a:gd name="connsiteY4" fmla="*/ 285919 h 1740470"/>
                  <a:gd name="connsiteX5" fmla="*/ 955800 w 1254849"/>
                  <a:gd name="connsiteY5" fmla="*/ 113137 h 1740470"/>
                  <a:gd name="connsiteX6" fmla="*/ 801559 w 1254849"/>
                  <a:gd name="connsiteY6" fmla="*/ 0 h 1740470"/>
                  <a:gd name="connsiteX7" fmla="*/ 306177 w 1254849"/>
                  <a:gd name="connsiteY7" fmla="*/ 800196 h 1740470"/>
                  <a:gd name="connsiteX8" fmla="*/ 399188 w 1254849"/>
                  <a:gd name="connsiteY8" fmla="*/ 873808 h 1740470"/>
                  <a:gd name="connsiteX9" fmla="*/ 0 w 1254849"/>
                  <a:gd name="connsiteY9" fmla="*/ 1532432 h 1740470"/>
                  <a:gd name="connsiteX10" fmla="*/ 324918 w 1254849"/>
                  <a:gd name="connsiteY10" fmla="*/ 1740470 h 1740470"/>
                  <a:gd name="connsiteX0" fmla="*/ 311506 w 1254849"/>
                  <a:gd name="connsiteY0" fmla="*/ 1776578 h 1776578"/>
                  <a:gd name="connsiteX1" fmla="*/ 1254849 w 1254849"/>
                  <a:gd name="connsiteY1" fmla="*/ 227896 h 1776578"/>
                  <a:gd name="connsiteX2" fmla="*/ 1180609 w 1254849"/>
                  <a:gd name="connsiteY2" fmla="*/ 167289 h 1776578"/>
                  <a:gd name="connsiteX3" fmla="*/ 1076510 w 1254849"/>
                  <a:gd name="connsiteY3" fmla="*/ 228681 h 1776578"/>
                  <a:gd name="connsiteX4" fmla="*/ 852086 w 1254849"/>
                  <a:gd name="connsiteY4" fmla="*/ 285919 h 1776578"/>
                  <a:gd name="connsiteX5" fmla="*/ 955800 w 1254849"/>
                  <a:gd name="connsiteY5" fmla="*/ 113137 h 1776578"/>
                  <a:gd name="connsiteX6" fmla="*/ 801559 w 1254849"/>
                  <a:gd name="connsiteY6" fmla="*/ 0 h 1776578"/>
                  <a:gd name="connsiteX7" fmla="*/ 306177 w 1254849"/>
                  <a:gd name="connsiteY7" fmla="*/ 800196 h 1776578"/>
                  <a:gd name="connsiteX8" fmla="*/ 399188 w 1254849"/>
                  <a:gd name="connsiteY8" fmla="*/ 873808 h 1776578"/>
                  <a:gd name="connsiteX9" fmla="*/ 0 w 1254849"/>
                  <a:gd name="connsiteY9" fmla="*/ 1532432 h 1776578"/>
                  <a:gd name="connsiteX10" fmla="*/ 311506 w 1254849"/>
                  <a:gd name="connsiteY10" fmla="*/ 1776578 h 1776578"/>
                  <a:gd name="connsiteX0" fmla="*/ 311506 w 1254849"/>
                  <a:gd name="connsiteY0" fmla="*/ 1776578 h 1776578"/>
                  <a:gd name="connsiteX1" fmla="*/ 586962 w 1254849"/>
                  <a:gd name="connsiteY1" fmla="*/ 1319136 h 1776578"/>
                  <a:gd name="connsiteX2" fmla="*/ 1254849 w 1254849"/>
                  <a:gd name="connsiteY2" fmla="*/ 227896 h 1776578"/>
                  <a:gd name="connsiteX3" fmla="*/ 1180609 w 1254849"/>
                  <a:gd name="connsiteY3" fmla="*/ 167289 h 1776578"/>
                  <a:gd name="connsiteX4" fmla="*/ 1076510 w 1254849"/>
                  <a:gd name="connsiteY4" fmla="*/ 228681 h 1776578"/>
                  <a:gd name="connsiteX5" fmla="*/ 852086 w 1254849"/>
                  <a:gd name="connsiteY5" fmla="*/ 285919 h 1776578"/>
                  <a:gd name="connsiteX6" fmla="*/ 955800 w 1254849"/>
                  <a:gd name="connsiteY6" fmla="*/ 113137 h 1776578"/>
                  <a:gd name="connsiteX7" fmla="*/ 801559 w 1254849"/>
                  <a:gd name="connsiteY7" fmla="*/ 0 h 1776578"/>
                  <a:gd name="connsiteX8" fmla="*/ 306177 w 1254849"/>
                  <a:gd name="connsiteY8" fmla="*/ 800196 h 1776578"/>
                  <a:gd name="connsiteX9" fmla="*/ 399188 w 1254849"/>
                  <a:gd name="connsiteY9" fmla="*/ 873808 h 1776578"/>
                  <a:gd name="connsiteX10" fmla="*/ 0 w 1254849"/>
                  <a:gd name="connsiteY10" fmla="*/ 1532432 h 1776578"/>
                  <a:gd name="connsiteX11" fmla="*/ 311506 w 1254849"/>
                  <a:gd name="connsiteY11" fmla="*/ 1776578 h 1776578"/>
                  <a:gd name="connsiteX0" fmla="*/ 394215 w 1254849"/>
                  <a:gd name="connsiteY0" fmla="*/ 1921009 h 1921009"/>
                  <a:gd name="connsiteX1" fmla="*/ 586962 w 1254849"/>
                  <a:gd name="connsiteY1" fmla="*/ 1319136 h 1921009"/>
                  <a:gd name="connsiteX2" fmla="*/ 1254849 w 1254849"/>
                  <a:gd name="connsiteY2" fmla="*/ 227896 h 1921009"/>
                  <a:gd name="connsiteX3" fmla="*/ 1180609 w 1254849"/>
                  <a:gd name="connsiteY3" fmla="*/ 167289 h 1921009"/>
                  <a:gd name="connsiteX4" fmla="*/ 1076510 w 1254849"/>
                  <a:gd name="connsiteY4" fmla="*/ 228681 h 1921009"/>
                  <a:gd name="connsiteX5" fmla="*/ 852086 w 1254849"/>
                  <a:gd name="connsiteY5" fmla="*/ 285919 h 1921009"/>
                  <a:gd name="connsiteX6" fmla="*/ 955800 w 1254849"/>
                  <a:gd name="connsiteY6" fmla="*/ 113137 h 1921009"/>
                  <a:gd name="connsiteX7" fmla="*/ 801559 w 1254849"/>
                  <a:gd name="connsiteY7" fmla="*/ 0 h 1921009"/>
                  <a:gd name="connsiteX8" fmla="*/ 306177 w 1254849"/>
                  <a:gd name="connsiteY8" fmla="*/ 800196 h 1921009"/>
                  <a:gd name="connsiteX9" fmla="*/ 399188 w 1254849"/>
                  <a:gd name="connsiteY9" fmla="*/ 873808 h 1921009"/>
                  <a:gd name="connsiteX10" fmla="*/ 0 w 1254849"/>
                  <a:gd name="connsiteY10" fmla="*/ 1532432 h 1921009"/>
                  <a:gd name="connsiteX11" fmla="*/ 394215 w 1254849"/>
                  <a:gd name="connsiteY11" fmla="*/ 1921009 h 1921009"/>
                  <a:gd name="connsiteX0" fmla="*/ 429981 w 1290615"/>
                  <a:gd name="connsiteY0" fmla="*/ 1921009 h 1921009"/>
                  <a:gd name="connsiteX1" fmla="*/ 622728 w 1290615"/>
                  <a:gd name="connsiteY1" fmla="*/ 1319136 h 1921009"/>
                  <a:gd name="connsiteX2" fmla="*/ 1290615 w 1290615"/>
                  <a:gd name="connsiteY2" fmla="*/ 227896 h 1921009"/>
                  <a:gd name="connsiteX3" fmla="*/ 1216375 w 1290615"/>
                  <a:gd name="connsiteY3" fmla="*/ 167289 h 1921009"/>
                  <a:gd name="connsiteX4" fmla="*/ 1112276 w 1290615"/>
                  <a:gd name="connsiteY4" fmla="*/ 228681 h 1921009"/>
                  <a:gd name="connsiteX5" fmla="*/ 887852 w 1290615"/>
                  <a:gd name="connsiteY5" fmla="*/ 285919 h 1921009"/>
                  <a:gd name="connsiteX6" fmla="*/ 991566 w 1290615"/>
                  <a:gd name="connsiteY6" fmla="*/ 113137 h 1921009"/>
                  <a:gd name="connsiteX7" fmla="*/ 837325 w 1290615"/>
                  <a:gd name="connsiteY7" fmla="*/ 0 h 1921009"/>
                  <a:gd name="connsiteX8" fmla="*/ 341943 w 1290615"/>
                  <a:gd name="connsiteY8" fmla="*/ 800196 h 1921009"/>
                  <a:gd name="connsiteX9" fmla="*/ 434954 w 1290615"/>
                  <a:gd name="connsiteY9" fmla="*/ 873808 h 1921009"/>
                  <a:gd name="connsiteX10" fmla="*/ 0 w 1290615"/>
                  <a:gd name="connsiteY10" fmla="*/ 1587796 h 1921009"/>
                  <a:gd name="connsiteX11" fmla="*/ 429981 w 1290615"/>
                  <a:gd name="connsiteY11" fmla="*/ 1921009 h 1921009"/>
                  <a:gd name="connsiteX0" fmla="*/ 429981 w 1290615"/>
                  <a:gd name="connsiteY0" fmla="*/ 1921009 h 1921009"/>
                  <a:gd name="connsiteX1" fmla="*/ 622728 w 1290615"/>
                  <a:gd name="connsiteY1" fmla="*/ 1319136 h 1921009"/>
                  <a:gd name="connsiteX2" fmla="*/ 1290615 w 1290615"/>
                  <a:gd name="connsiteY2" fmla="*/ 227896 h 1921009"/>
                  <a:gd name="connsiteX3" fmla="*/ 1216375 w 1290615"/>
                  <a:gd name="connsiteY3" fmla="*/ 167289 h 1921009"/>
                  <a:gd name="connsiteX4" fmla="*/ 1112276 w 1290615"/>
                  <a:gd name="connsiteY4" fmla="*/ 228681 h 1921009"/>
                  <a:gd name="connsiteX5" fmla="*/ 887852 w 1290615"/>
                  <a:gd name="connsiteY5" fmla="*/ 285919 h 1921009"/>
                  <a:gd name="connsiteX6" fmla="*/ 991566 w 1290615"/>
                  <a:gd name="connsiteY6" fmla="*/ 113137 h 1921009"/>
                  <a:gd name="connsiteX7" fmla="*/ 837325 w 1290615"/>
                  <a:gd name="connsiteY7" fmla="*/ 0 h 1921009"/>
                  <a:gd name="connsiteX8" fmla="*/ 341943 w 1290615"/>
                  <a:gd name="connsiteY8" fmla="*/ 800196 h 1921009"/>
                  <a:gd name="connsiteX9" fmla="*/ 434954 w 1290615"/>
                  <a:gd name="connsiteY9" fmla="*/ 873808 h 1921009"/>
                  <a:gd name="connsiteX10" fmla="*/ 0 w 1290615"/>
                  <a:gd name="connsiteY10" fmla="*/ 1587796 h 1921009"/>
                  <a:gd name="connsiteX11" fmla="*/ 84001 w 1290615"/>
                  <a:gd name="connsiteY11" fmla="*/ 1658548 h 1921009"/>
                  <a:gd name="connsiteX12" fmla="*/ 429981 w 1290615"/>
                  <a:gd name="connsiteY12" fmla="*/ 1921009 h 1921009"/>
                  <a:gd name="connsiteX0" fmla="*/ 429981 w 1290615"/>
                  <a:gd name="connsiteY0" fmla="*/ 1921009 h 1921009"/>
                  <a:gd name="connsiteX1" fmla="*/ 622728 w 1290615"/>
                  <a:gd name="connsiteY1" fmla="*/ 1319136 h 1921009"/>
                  <a:gd name="connsiteX2" fmla="*/ 1290615 w 1290615"/>
                  <a:gd name="connsiteY2" fmla="*/ 227896 h 1921009"/>
                  <a:gd name="connsiteX3" fmla="*/ 1216375 w 1290615"/>
                  <a:gd name="connsiteY3" fmla="*/ 167289 h 1921009"/>
                  <a:gd name="connsiteX4" fmla="*/ 1112276 w 1290615"/>
                  <a:gd name="connsiteY4" fmla="*/ 228681 h 1921009"/>
                  <a:gd name="connsiteX5" fmla="*/ 887852 w 1290615"/>
                  <a:gd name="connsiteY5" fmla="*/ 285919 h 1921009"/>
                  <a:gd name="connsiteX6" fmla="*/ 991566 w 1290615"/>
                  <a:gd name="connsiteY6" fmla="*/ 113137 h 1921009"/>
                  <a:gd name="connsiteX7" fmla="*/ 837325 w 1290615"/>
                  <a:gd name="connsiteY7" fmla="*/ 0 h 1921009"/>
                  <a:gd name="connsiteX8" fmla="*/ 341943 w 1290615"/>
                  <a:gd name="connsiteY8" fmla="*/ 800196 h 1921009"/>
                  <a:gd name="connsiteX9" fmla="*/ 434954 w 1290615"/>
                  <a:gd name="connsiteY9" fmla="*/ 873808 h 1921009"/>
                  <a:gd name="connsiteX10" fmla="*/ 0 w 1290615"/>
                  <a:gd name="connsiteY10" fmla="*/ 1587796 h 1921009"/>
                  <a:gd name="connsiteX11" fmla="*/ 84001 w 1290615"/>
                  <a:gd name="connsiteY11" fmla="*/ 1658548 h 1921009"/>
                  <a:gd name="connsiteX12" fmla="*/ 146591 w 1290615"/>
                  <a:gd name="connsiteY12" fmla="*/ 1701878 h 1921009"/>
                  <a:gd name="connsiteX13" fmla="*/ 429981 w 1290615"/>
                  <a:gd name="connsiteY13" fmla="*/ 1921009 h 1921009"/>
                  <a:gd name="connsiteX0" fmla="*/ 429981 w 1290615"/>
                  <a:gd name="connsiteY0" fmla="*/ 1921009 h 1921009"/>
                  <a:gd name="connsiteX1" fmla="*/ 622728 w 1290615"/>
                  <a:gd name="connsiteY1" fmla="*/ 1319136 h 1921009"/>
                  <a:gd name="connsiteX2" fmla="*/ 1290615 w 1290615"/>
                  <a:gd name="connsiteY2" fmla="*/ 227896 h 1921009"/>
                  <a:gd name="connsiteX3" fmla="*/ 1216375 w 1290615"/>
                  <a:gd name="connsiteY3" fmla="*/ 167289 h 1921009"/>
                  <a:gd name="connsiteX4" fmla="*/ 1112276 w 1290615"/>
                  <a:gd name="connsiteY4" fmla="*/ 228681 h 1921009"/>
                  <a:gd name="connsiteX5" fmla="*/ 887852 w 1290615"/>
                  <a:gd name="connsiteY5" fmla="*/ 285919 h 1921009"/>
                  <a:gd name="connsiteX6" fmla="*/ 991566 w 1290615"/>
                  <a:gd name="connsiteY6" fmla="*/ 113137 h 1921009"/>
                  <a:gd name="connsiteX7" fmla="*/ 837325 w 1290615"/>
                  <a:gd name="connsiteY7" fmla="*/ 0 h 1921009"/>
                  <a:gd name="connsiteX8" fmla="*/ 341943 w 1290615"/>
                  <a:gd name="connsiteY8" fmla="*/ 800196 h 1921009"/>
                  <a:gd name="connsiteX9" fmla="*/ 434954 w 1290615"/>
                  <a:gd name="connsiteY9" fmla="*/ 873808 h 1921009"/>
                  <a:gd name="connsiteX10" fmla="*/ 0 w 1290615"/>
                  <a:gd name="connsiteY10" fmla="*/ 1587796 h 1921009"/>
                  <a:gd name="connsiteX11" fmla="*/ 84001 w 1290615"/>
                  <a:gd name="connsiteY11" fmla="*/ 1658548 h 1921009"/>
                  <a:gd name="connsiteX12" fmla="*/ 106354 w 1290615"/>
                  <a:gd name="connsiteY12" fmla="*/ 1677806 h 1921009"/>
                  <a:gd name="connsiteX13" fmla="*/ 146591 w 1290615"/>
                  <a:gd name="connsiteY13" fmla="*/ 1701878 h 1921009"/>
                  <a:gd name="connsiteX14" fmla="*/ 429981 w 1290615"/>
                  <a:gd name="connsiteY14" fmla="*/ 1921009 h 1921009"/>
                  <a:gd name="connsiteX0" fmla="*/ 429981 w 1290615"/>
                  <a:gd name="connsiteY0" fmla="*/ 1921009 h 1921009"/>
                  <a:gd name="connsiteX1" fmla="*/ 622728 w 1290615"/>
                  <a:gd name="connsiteY1" fmla="*/ 1319136 h 1921009"/>
                  <a:gd name="connsiteX2" fmla="*/ 1290615 w 1290615"/>
                  <a:gd name="connsiteY2" fmla="*/ 227896 h 1921009"/>
                  <a:gd name="connsiteX3" fmla="*/ 1216375 w 1290615"/>
                  <a:gd name="connsiteY3" fmla="*/ 167289 h 1921009"/>
                  <a:gd name="connsiteX4" fmla="*/ 1112276 w 1290615"/>
                  <a:gd name="connsiteY4" fmla="*/ 228681 h 1921009"/>
                  <a:gd name="connsiteX5" fmla="*/ 887852 w 1290615"/>
                  <a:gd name="connsiteY5" fmla="*/ 285919 h 1921009"/>
                  <a:gd name="connsiteX6" fmla="*/ 991566 w 1290615"/>
                  <a:gd name="connsiteY6" fmla="*/ 113137 h 1921009"/>
                  <a:gd name="connsiteX7" fmla="*/ 837325 w 1290615"/>
                  <a:gd name="connsiteY7" fmla="*/ 0 h 1921009"/>
                  <a:gd name="connsiteX8" fmla="*/ 341943 w 1290615"/>
                  <a:gd name="connsiteY8" fmla="*/ 800196 h 1921009"/>
                  <a:gd name="connsiteX9" fmla="*/ 434954 w 1290615"/>
                  <a:gd name="connsiteY9" fmla="*/ 873808 h 1921009"/>
                  <a:gd name="connsiteX10" fmla="*/ 0 w 1290615"/>
                  <a:gd name="connsiteY10" fmla="*/ 1587796 h 1921009"/>
                  <a:gd name="connsiteX11" fmla="*/ 84001 w 1290615"/>
                  <a:gd name="connsiteY11" fmla="*/ 1658548 h 1921009"/>
                  <a:gd name="connsiteX12" fmla="*/ 68353 w 1290615"/>
                  <a:gd name="connsiteY12" fmla="*/ 1697063 h 1921009"/>
                  <a:gd name="connsiteX13" fmla="*/ 146591 w 1290615"/>
                  <a:gd name="connsiteY13" fmla="*/ 1701878 h 1921009"/>
                  <a:gd name="connsiteX14" fmla="*/ 429981 w 1290615"/>
                  <a:gd name="connsiteY14" fmla="*/ 1921009 h 1921009"/>
                  <a:gd name="connsiteX0" fmla="*/ 429981 w 1290615"/>
                  <a:gd name="connsiteY0" fmla="*/ 1921009 h 1921009"/>
                  <a:gd name="connsiteX1" fmla="*/ 622728 w 1290615"/>
                  <a:gd name="connsiteY1" fmla="*/ 1319136 h 1921009"/>
                  <a:gd name="connsiteX2" fmla="*/ 1290615 w 1290615"/>
                  <a:gd name="connsiteY2" fmla="*/ 227896 h 1921009"/>
                  <a:gd name="connsiteX3" fmla="*/ 1216375 w 1290615"/>
                  <a:gd name="connsiteY3" fmla="*/ 167289 h 1921009"/>
                  <a:gd name="connsiteX4" fmla="*/ 1112276 w 1290615"/>
                  <a:gd name="connsiteY4" fmla="*/ 228681 h 1921009"/>
                  <a:gd name="connsiteX5" fmla="*/ 887852 w 1290615"/>
                  <a:gd name="connsiteY5" fmla="*/ 285919 h 1921009"/>
                  <a:gd name="connsiteX6" fmla="*/ 991566 w 1290615"/>
                  <a:gd name="connsiteY6" fmla="*/ 113137 h 1921009"/>
                  <a:gd name="connsiteX7" fmla="*/ 837325 w 1290615"/>
                  <a:gd name="connsiteY7" fmla="*/ 0 h 1921009"/>
                  <a:gd name="connsiteX8" fmla="*/ 341943 w 1290615"/>
                  <a:gd name="connsiteY8" fmla="*/ 800196 h 1921009"/>
                  <a:gd name="connsiteX9" fmla="*/ 434954 w 1290615"/>
                  <a:gd name="connsiteY9" fmla="*/ 873808 h 1921009"/>
                  <a:gd name="connsiteX10" fmla="*/ 0 w 1290615"/>
                  <a:gd name="connsiteY10" fmla="*/ 1587796 h 1921009"/>
                  <a:gd name="connsiteX11" fmla="*/ 84001 w 1290615"/>
                  <a:gd name="connsiteY11" fmla="*/ 1658548 h 1921009"/>
                  <a:gd name="connsiteX12" fmla="*/ 68353 w 1290615"/>
                  <a:gd name="connsiteY12" fmla="*/ 1697063 h 1921009"/>
                  <a:gd name="connsiteX13" fmla="*/ 113060 w 1290615"/>
                  <a:gd name="connsiteY13" fmla="*/ 1697063 h 1921009"/>
                  <a:gd name="connsiteX14" fmla="*/ 146591 w 1290615"/>
                  <a:gd name="connsiteY14" fmla="*/ 1701878 h 1921009"/>
                  <a:gd name="connsiteX15" fmla="*/ 429981 w 1290615"/>
                  <a:gd name="connsiteY15" fmla="*/ 1921009 h 1921009"/>
                  <a:gd name="connsiteX0" fmla="*/ 429981 w 1290615"/>
                  <a:gd name="connsiteY0" fmla="*/ 1921009 h 1921009"/>
                  <a:gd name="connsiteX1" fmla="*/ 622728 w 1290615"/>
                  <a:gd name="connsiteY1" fmla="*/ 1319136 h 1921009"/>
                  <a:gd name="connsiteX2" fmla="*/ 1290615 w 1290615"/>
                  <a:gd name="connsiteY2" fmla="*/ 227896 h 1921009"/>
                  <a:gd name="connsiteX3" fmla="*/ 1216375 w 1290615"/>
                  <a:gd name="connsiteY3" fmla="*/ 167289 h 1921009"/>
                  <a:gd name="connsiteX4" fmla="*/ 1112276 w 1290615"/>
                  <a:gd name="connsiteY4" fmla="*/ 228681 h 1921009"/>
                  <a:gd name="connsiteX5" fmla="*/ 887852 w 1290615"/>
                  <a:gd name="connsiteY5" fmla="*/ 285919 h 1921009"/>
                  <a:gd name="connsiteX6" fmla="*/ 991566 w 1290615"/>
                  <a:gd name="connsiteY6" fmla="*/ 113137 h 1921009"/>
                  <a:gd name="connsiteX7" fmla="*/ 837325 w 1290615"/>
                  <a:gd name="connsiteY7" fmla="*/ 0 h 1921009"/>
                  <a:gd name="connsiteX8" fmla="*/ 341943 w 1290615"/>
                  <a:gd name="connsiteY8" fmla="*/ 800196 h 1921009"/>
                  <a:gd name="connsiteX9" fmla="*/ 434954 w 1290615"/>
                  <a:gd name="connsiteY9" fmla="*/ 873808 h 1921009"/>
                  <a:gd name="connsiteX10" fmla="*/ 0 w 1290615"/>
                  <a:gd name="connsiteY10" fmla="*/ 1587796 h 1921009"/>
                  <a:gd name="connsiteX11" fmla="*/ 84001 w 1290615"/>
                  <a:gd name="connsiteY11" fmla="*/ 1658548 h 1921009"/>
                  <a:gd name="connsiteX12" fmla="*/ 68353 w 1290615"/>
                  <a:gd name="connsiteY12" fmla="*/ 1697063 h 1921009"/>
                  <a:gd name="connsiteX13" fmla="*/ 117532 w 1290615"/>
                  <a:gd name="connsiteY13" fmla="*/ 1752429 h 1921009"/>
                  <a:gd name="connsiteX14" fmla="*/ 146591 w 1290615"/>
                  <a:gd name="connsiteY14" fmla="*/ 1701878 h 1921009"/>
                  <a:gd name="connsiteX15" fmla="*/ 429981 w 1290615"/>
                  <a:gd name="connsiteY15" fmla="*/ 1921009 h 1921009"/>
                  <a:gd name="connsiteX0" fmla="*/ 429981 w 1290615"/>
                  <a:gd name="connsiteY0" fmla="*/ 1921009 h 1921009"/>
                  <a:gd name="connsiteX1" fmla="*/ 622728 w 1290615"/>
                  <a:gd name="connsiteY1" fmla="*/ 1319136 h 1921009"/>
                  <a:gd name="connsiteX2" fmla="*/ 1290615 w 1290615"/>
                  <a:gd name="connsiteY2" fmla="*/ 227896 h 1921009"/>
                  <a:gd name="connsiteX3" fmla="*/ 1216375 w 1290615"/>
                  <a:gd name="connsiteY3" fmla="*/ 167289 h 1921009"/>
                  <a:gd name="connsiteX4" fmla="*/ 1112276 w 1290615"/>
                  <a:gd name="connsiteY4" fmla="*/ 228681 h 1921009"/>
                  <a:gd name="connsiteX5" fmla="*/ 887852 w 1290615"/>
                  <a:gd name="connsiteY5" fmla="*/ 285919 h 1921009"/>
                  <a:gd name="connsiteX6" fmla="*/ 991566 w 1290615"/>
                  <a:gd name="connsiteY6" fmla="*/ 113137 h 1921009"/>
                  <a:gd name="connsiteX7" fmla="*/ 837325 w 1290615"/>
                  <a:gd name="connsiteY7" fmla="*/ 0 h 1921009"/>
                  <a:gd name="connsiteX8" fmla="*/ 341943 w 1290615"/>
                  <a:gd name="connsiteY8" fmla="*/ 800196 h 1921009"/>
                  <a:gd name="connsiteX9" fmla="*/ 434954 w 1290615"/>
                  <a:gd name="connsiteY9" fmla="*/ 873808 h 1921009"/>
                  <a:gd name="connsiteX10" fmla="*/ 0 w 1290615"/>
                  <a:gd name="connsiteY10" fmla="*/ 1587796 h 1921009"/>
                  <a:gd name="connsiteX11" fmla="*/ 84001 w 1290615"/>
                  <a:gd name="connsiteY11" fmla="*/ 1658548 h 1921009"/>
                  <a:gd name="connsiteX12" fmla="*/ 68353 w 1290615"/>
                  <a:gd name="connsiteY12" fmla="*/ 1697063 h 1921009"/>
                  <a:gd name="connsiteX13" fmla="*/ 117532 w 1290615"/>
                  <a:gd name="connsiteY13" fmla="*/ 1752429 h 1921009"/>
                  <a:gd name="connsiteX14" fmla="*/ 146591 w 1290615"/>
                  <a:gd name="connsiteY14" fmla="*/ 1701878 h 1921009"/>
                  <a:gd name="connsiteX15" fmla="*/ 220359 w 1290615"/>
                  <a:gd name="connsiteY15" fmla="*/ 1757244 h 1921009"/>
                  <a:gd name="connsiteX16" fmla="*/ 429981 w 1290615"/>
                  <a:gd name="connsiteY16" fmla="*/ 1921009 h 1921009"/>
                  <a:gd name="connsiteX0" fmla="*/ 429981 w 1290615"/>
                  <a:gd name="connsiteY0" fmla="*/ 1921009 h 1921009"/>
                  <a:gd name="connsiteX1" fmla="*/ 622728 w 1290615"/>
                  <a:gd name="connsiteY1" fmla="*/ 1319136 h 1921009"/>
                  <a:gd name="connsiteX2" fmla="*/ 1290615 w 1290615"/>
                  <a:gd name="connsiteY2" fmla="*/ 227896 h 1921009"/>
                  <a:gd name="connsiteX3" fmla="*/ 1216375 w 1290615"/>
                  <a:gd name="connsiteY3" fmla="*/ 167289 h 1921009"/>
                  <a:gd name="connsiteX4" fmla="*/ 1112276 w 1290615"/>
                  <a:gd name="connsiteY4" fmla="*/ 228681 h 1921009"/>
                  <a:gd name="connsiteX5" fmla="*/ 887852 w 1290615"/>
                  <a:gd name="connsiteY5" fmla="*/ 285919 h 1921009"/>
                  <a:gd name="connsiteX6" fmla="*/ 991566 w 1290615"/>
                  <a:gd name="connsiteY6" fmla="*/ 113137 h 1921009"/>
                  <a:gd name="connsiteX7" fmla="*/ 837325 w 1290615"/>
                  <a:gd name="connsiteY7" fmla="*/ 0 h 1921009"/>
                  <a:gd name="connsiteX8" fmla="*/ 341943 w 1290615"/>
                  <a:gd name="connsiteY8" fmla="*/ 800196 h 1921009"/>
                  <a:gd name="connsiteX9" fmla="*/ 434954 w 1290615"/>
                  <a:gd name="connsiteY9" fmla="*/ 873808 h 1921009"/>
                  <a:gd name="connsiteX10" fmla="*/ 0 w 1290615"/>
                  <a:gd name="connsiteY10" fmla="*/ 1587796 h 1921009"/>
                  <a:gd name="connsiteX11" fmla="*/ 84001 w 1290615"/>
                  <a:gd name="connsiteY11" fmla="*/ 1658548 h 1921009"/>
                  <a:gd name="connsiteX12" fmla="*/ 68353 w 1290615"/>
                  <a:gd name="connsiteY12" fmla="*/ 1697063 h 1921009"/>
                  <a:gd name="connsiteX13" fmla="*/ 117532 w 1290615"/>
                  <a:gd name="connsiteY13" fmla="*/ 1752429 h 1921009"/>
                  <a:gd name="connsiteX14" fmla="*/ 146591 w 1290615"/>
                  <a:gd name="connsiteY14" fmla="*/ 1701878 h 1921009"/>
                  <a:gd name="connsiteX15" fmla="*/ 220359 w 1290615"/>
                  <a:gd name="connsiteY15" fmla="*/ 1757244 h 1921009"/>
                  <a:gd name="connsiteX16" fmla="*/ 312009 w 1290615"/>
                  <a:gd name="connsiteY16" fmla="*/ 1836680 h 1921009"/>
                  <a:gd name="connsiteX17" fmla="*/ 429981 w 1290615"/>
                  <a:gd name="connsiteY17" fmla="*/ 1921009 h 1921009"/>
                  <a:gd name="connsiteX0" fmla="*/ 429981 w 1290615"/>
                  <a:gd name="connsiteY0" fmla="*/ 1921009 h 1921009"/>
                  <a:gd name="connsiteX1" fmla="*/ 622728 w 1290615"/>
                  <a:gd name="connsiteY1" fmla="*/ 1319136 h 1921009"/>
                  <a:gd name="connsiteX2" fmla="*/ 1290615 w 1290615"/>
                  <a:gd name="connsiteY2" fmla="*/ 227896 h 1921009"/>
                  <a:gd name="connsiteX3" fmla="*/ 1216375 w 1290615"/>
                  <a:gd name="connsiteY3" fmla="*/ 167289 h 1921009"/>
                  <a:gd name="connsiteX4" fmla="*/ 1112276 w 1290615"/>
                  <a:gd name="connsiteY4" fmla="*/ 228681 h 1921009"/>
                  <a:gd name="connsiteX5" fmla="*/ 887852 w 1290615"/>
                  <a:gd name="connsiteY5" fmla="*/ 285919 h 1921009"/>
                  <a:gd name="connsiteX6" fmla="*/ 991566 w 1290615"/>
                  <a:gd name="connsiteY6" fmla="*/ 113137 h 1921009"/>
                  <a:gd name="connsiteX7" fmla="*/ 837325 w 1290615"/>
                  <a:gd name="connsiteY7" fmla="*/ 0 h 1921009"/>
                  <a:gd name="connsiteX8" fmla="*/ 341943 w 1290615"/>
                  <a:gd name="connsiteY8" fmla="*/ 800196 h 1921009"/>
                  <a:gd name="connsiteX9" fmla="*/ 434954 w 1290615"/>
                  <a:gd name="connsiteY9" fmla="*/ 873808 h 1921009"/>
                  <a:gd name="connsiteX10" fmla="*/ 0 w 1290615"/>
                  <a:gd name="connsiteY10" fmla="*/ 1587796 h 1921009"/>
                  <a:gd name="connsiteX11" fmla="*/ 84001 w 1290615"/>
                  <a:gd name="connsiteY11" fmla="*/ 1658548 h 1921009"/>
                  <a:gd name="connsiteX12" fmla="*/ 68353 w 1290615"/>
                  <a:gd name="connsiteY12" fmla="*/ 1697063 h 1921009"/>
                  <a:gd name="connsiteX13" fmla="*/ 117532 w 1290615"/>
                  <a:gd name="connsiteY13" fmla="*/ 1752429 h 1921009"/>
                  <a:gd name="connsiteX14" fmla="*/ 146591 w 1290615"/>
                  <a:gd name="connsiteY14" fmla="*/ 1701878 h 1921009"/>
                  <a:gd name="connsiteX15" fmla="*/ 220359 w 1290615"/>
                  <a:gd name="connsiteY15" fmla="*/ 1757244 h 1921009"/>
                  <a:gd name="connsiteX16" fmla="*/ 256125 w 1290615"/>
                  <a:gd name="connsiteY16" fmla="*/ 1790944 h 1921009"/>
                  <a:gd name="connsiteX17" fmla="*/ 312009 w 1290615"/>
                  <a:gd name="connsiteY17" fmla="*/ 1836680 h 1921009"/>
                  <a:gd name="connsiteX18" fmla="*/ 429981 w 1290615"/>
                  <a:gd name="connsiteY18" fmla="*/ 1921009 h 1921009"/>
                  <a:gd name="connsiteX0" fmla="*/ 429981 w 1290615"/>
                  <a:gd name="connsiteY0" fmla="*/ 1921009 h 1921009"/>
                  <a:gd name="connsiteX1" fmla="*/ 622728 w 1290615"/>
                  <a:gd name="connsiteY1" fmla="*/ 1319136 h 1921009"/>
                  <a:gd name="connsiteX2" fmla="*/ 1290615 w 1290615"/>
                  <a:gd name="connsiteY2" fmla="*/ 227896 h 1921009"/>
                  <a:gd name="connsiteX3" fmla="*/ 1216375 w 1290615"/>
                  <a:gd name="connsiteY3" fmla="*/ 167289 h 1921009"/>
                  <a:gd name="connsiteX4" fmla="*/ 1112276 w 1290615"/>
                  <a:gd name="connsiteY4" fmla="*/ 228681 h 1921009"/>
                  <a:gd name="connsiteX5" fmla="*/ 887852 w 1290615"/>
                  <a:gd name="connsiteY5" fmla="*/ 285919 h 1921009"/>
                  <a:gd name="connsiteX6" fmla="*/ 991566 w 1290615"/>
                  <a:gd name="connsiteY6" fmla="*/ 113137 h 1921009"/>
                  <a:gd name="connsiteX7" fmla="*/ 837325 w 1290615"/>
                  <a:gd name="connsiteY7" fmla="*/ 0 h 1921009"/>
                  <a:gd name="connsiteX8" fmla="*/ 341943 w 1290615"/>
                  <a:gd name="connsiteY8" fmla="*/ 800196 h 1921009"/>
                  <a:gd name="connsiteX9" fmla="*/ 434954 w 1290615"/>
                  <a:gd name="connsiteY9" fmla="*/ 873808 h 1921009"/>
                  <a:gd name="connsiteX10" fmla="*/ 0 w 1290615"/>
                  <a:gd name="connsiteY10" fmla="*/ 1587796 h 1921009"/>
                  <a:gd name="connsiteX11" fmla="*/ 84001 w 1290615"/>
                  <a:gd name="connsiteY11" fmla="*/ 1658548 h 1921009"/>
                  <a:gd name="connsiteX12" fmla="*/ 68353 w 1290615"/>
                  <a:gd name="connsiteY12" fmla="*/ 1697063 h 1921009"/>
                  <a:gd name="connsiteX13" fmla="*/ 117532 w 1290615"/>
                  <a:gd name="connsiteY13" fmla="*/ 1752429 h 1921009"/>
                  <a:gd name="connsiteX14" fmla="*/ 146591 w 1290615"/>
                  <a:gd name="connsiteY14" fmla="*/ 1701878 h 1921009"/>
                  <a:gd name="connsiteX15" fmla="*/ 220359 w 1290615"/>
                  <a:gd name="connsiteY15" fmla="*/ 1757244 h 1921009"/>
                  <a:gd name="connsiteX16" fmla="*/ 193534 w 1290615"/>
                  <a:gd name="connsiteY16" fmla="*/ 1800572 h 1921009"/>
                  <a:gd name="connsiteX17" fmla="*/ 312009 w 1290615"/>
                  <a:gd name="connsiteY17" fmla="*/ 1836680 h 1921009"/>
                  <a:gd name="connsiteX18" fmla="*/ 429981 w 1290615"/>
                  <a:gd name="connsiteY18" fmla="*/ 1921009 h 1921009"/>
                  <a:gd name="connsiteX0" fmla="*/ 429981 w 1290615"/>
                  <a:gd name="connsiteY0" fmla="*/ 1921009 h 1921009"/>
                  <a:gd name="connsiteX1" fmla="*/ 622728 w 1290615"/>
                  <a:gd name="connsiteY1" fmla="*/ 1319136 h 1921009"/>
                  <a:gd name="connsiteX2" fmla="*/ 1290615 w 1290615"/>
                  <a:gd name="connsiteY2" fmla="*/ 227896 h 1921009"/>
                  <a:gd name="connsiteX3" fmla="*/ 1216375 w 1290615"/>
                  <a:gd name="connsiteY3" fmla="*/ 167289 h 1921009"/>
                  <a:gd name="connsiteX4" fmla="*/ 1112276 w 1290615"/>
                  <a:gd name="connsiteY4" fmla="*/ 228681 h 1921009"/>
                  <a:gd name="connsiteX5" fmla="*/ 887852 w 1290615"/>
                  <a:gd name="connsiteY5" fmla="*/ 285919 h 1921009"/>
                  <a:gd name="connsiteX6" fmla="*/ 991566 w 1290615"/>
                  <a:gd name="connsiteY6" fmla="*/ 113137 h 1921009"/>
                  <a:gd name="connsiteX7" fmla="*/ 837325 w 1290615"/>
                  <a:gd name="connsiteY7" fmla="*/ 0 h 1921009"/>
                  <a:gd name="connsiteX8" fmla="*/ 341943 w 1290615"/>
                  <a:gd name="connsiteY8" fmla="*/ 800196 h 1921009"/>
                  <a:gd name="connsiteX9" fmla="*/ 434954 w 1290615"/>
                  <a:gd name="connsiteY9" fmla="*/ 873808 h 1921009"/>
                  <a:gd name="connsiteX10" fmla="*/ 0 w 1290615"/>
                  <a:gd name="connsiteY10" fmla="*/ 1587796 h 1921009"/>
                  <a:gd name="connsiteX11" fmla="*/ 84001 w 1290615"/>
                  <a:gd name="connsiteY11" fmla="*/ 1658548 h 1921009"/>
                  <a:gd name="connsiteX12" fmla="*/ 68353 w 1290615"/>
                  <a:gd name="connsiteY12" fmla="*/ 1697063 h 1921009"/>
                  <a:gd name="connsiteX13" fmla="*/ 117532 w 1290615"/>
                  <a:gd name="connsiteY13" fmla="*/ 1752429 h 1921009"/>
                  <a:gd name="connsiteX14" fmla="*/ 146591 w 1290615"/>
                  <a:gd name="connsiteY14" fmla="*/ 1701878 h 1921009"/>
                  <a:gd name="connsiteX15" fmla="*/ 220359 w 1290615"/>
                  <a:gd name="connsiteY15" fmla="*/ 1757244 h 1921009"/>
                  <a:gd name="connsiteX16" fmla="*/ 193534 w 1290615"/>
                  <a:gd name="connsiteY16" fmla="*/ 1800572 h 1921009"/>
                  <a:gd name="connsiteX17" fmla="*/ 267302 w 1290615"/>
                  <a:gd name="connsiteY17" fmla="*/ 1824645 h 1921009"/>
                  <a:gd name="connsiteX18" fmla="*/ 312009 w 1290615"/>
                  <a:gd name="connsiteY18" fmla="*/ 1836680 h 1921009"/>
                  <a:gd name="connsiteX19" fmla="*/ 429981 w 1290615"/>
                  <a:gd name="connsiteY19" fmla="*/ 1921009 h 1921009"/>
                  <a:gd name="connsiteX0" fmla="*/ 429981 w 1290615"/>
                  <a:gd name="connsiteY0" fmla="*/ 1921009 h 1921009"/>
                  <a:gd name="connsiteX1" fmla="*/ 622728 w 1290615"/>
                  <a:gd name="connsiteY1" fmla="*/ 1319136 h 1921009"/>
                  <a:gd name="connsiteX2" fmla="*/ 1290615 w 1290615"/>
                  <a:gd name="connsiteY2" fmla="*/ 227896 h 1921009"/>
                  <a:gd name="connsiteX3" fmla="*/ 1216375 w 1290615"/>
                  <a:gd name="connsiteY3" fmla="*/ 167289 h 1921009"/>
                  <a:gd name="connsiteX4" fmla="*/ 1112276 w 1290615"/>
                  <a:gd name="connsiteY4" fmla="*/ 228681 h 1921009"/>
                  <a:gd name="connsiteX5" fmla="*/ 887852 w 1290615"/>
                  <a:gd name="connsiteY5" fmla="*/ 285919 h 1921009"/>
                  <a:gd name="connsiteX6" fmla="*/ 991566 w 1290615"/>
                  <a:gd name="connsiteY6" fmla="*/ 113137 h 1921009"/>
                  <a:gd name="connsiteX7" fmla="*/ 837325 w 1290615"/>
                  <a:gd name="connsiteY7" fmla="*/ 0 h 1921009"/>
                  <a:gd name="connsiteX8" fmla="*/ 341943 w 1290615"/>
                  <a:gd name="connsiteY8" fmla="*/ 800196 h 1921009"/>
                  <a:gd name="connsiteX9" fmla="*/ 434954 w 1290615"/>
                  <a:gd name="connsiteY9" fmla="*/ 873808 h 1921009"/>
                  <a:gd name="connsiteX10" fmla="*/ 0 w 1290615"/>
                  <a:gd name="connsiteY10" fmla="*/ 1587796 h 1921009"/>
                  <a:gd name="connsiteX11" fmla="*/ 84001 w 1290615"/>
                  <a:gd name="connsiteY11" fmla="*/ 1658548 h 1921009"/>
                  <a:gd name="connsiteX12" fmla="*/ 68353 w 1290615"/>
                  <a:gd name="connsiteY12" fmla="*/ 1697063 h 1921009"/>
                  <a:gd name="connsiteX13" fmla="*/ 117532 w 1290615"/>
                  <a:gd name="connsiteY13" fmla="*/ 1752429 h 1921009"/>
                  <a:gd name="connsiteX14" fmla="*/ 146591 w 1290615"/>
                  <a:gd name="connsiteY14" fmla="*/ 1701878 h 1921009"/>
                  <a:gd name="connsiteX15" fmla="*/ 220359 w 1290615"/>
                  <a:gd name="connsiteY15" fmla="*/ 1757244 h 1921009"/>
                  <a:gd name="connsiteX16" fmla="*/ 193534 w 1290615"/>
                  <a:gd name="connsiteY16" fmla="*/ 1800572 h 1921009"/>
                  <a:gd name="connsiteX17" fmla="*/ 249419 w 1290615"/>
                  <a:gd name="connsiteY17" fmla="*/ 1839087 h 1921009"/>
                  <a:gd name="connsiteX18" fmla="*/ 312009 w 1290615"/>
                  <a:gd name="connsiteY18" fmla="*/ 1836680 h 1921009"/>
                  <a:gd name="connsiteX19" fmla="*/ 429981 w 1290615"/>
                  <a:gd name="connsiteY19" fmla="*/ 1921009 h 1921009"/>
                  <a:gd name="connsiteX0" fmla="*/ 429981 w 1290615"/>
                  <a:gd name="connsiteY0" fmla="*/ 1921009 h 1921009"/>
                  <a:gd name="connsiteX1" fmla="*/ 622728 w 1290615"/>
                  <a:gd name="connsiteY1" fmla="*/ 1319136 h 1921009"/>
                  <a:gd name="connsiteX2" fmla="*/ 1290615 w 1290615"/>
                  <a:gd name="connsiteY2" fmla="*/ 227896 h 1921009"/>
                  <a:gd name="connsiteX3" fmla="*/ 1216375 w 1290615"/>
                  <a:gd name="connsiteY3" fmla="*/ 167289 h 1921009"/>
                  <a:gd name="connsiteX4" fmla="*/ 1112276 w 1290615"/>
                  <a:gd name="connsiteY4" fmla="*/ 228681 h 1921009"/>
                  <a:gd name="connsiteX5" fmla="*/ 887852 w 1290615"/>
                  <a:gd name="connsiteY5" fmla="*/ 285919 h 1921009"/>
                  <a:gd name="connsiteX6" fmla="*/ 991566 w 1290615"/>
                  <a:gd name="connsiteY6" fmla="*/ 113137 h 1921009"/>
                  <a:gd name="connsiteX7" fmla="*/ 837325 w 1290615"/>
                  <a:gd name="connsiteY7" fmla="*/ 0 h 1921009"/>
                  <a:gd name="connsiteX8" fmla="*/ 341943 w 1290615"/>
                  <a:gd name="connsiteY8" fmla="*/ 800196 h 1921009"/>
                  <a:gd name="connsiteX9" fmla="*/ 434954 w 1290615"/>
                  <a:gd name="connsiteY9" fmla="*/ 873808 h 1921009"/>
                  <a:gd name="connsiteX10" fmla="*/ 0 w 1290615"/>
                  <a:gd name="connsiteY10" fmla="*/ 1587796 h 1921009"/>
                  <a:gd name="connsiteX11" fmla="*/ 84001 w 1290615"/>
                  <a:gd name="connsiteY11" fmla="*/ 1658548 h 1921009"/>
                  <a:gd name="connsiteX12" fmla="*/ 68353 w 1290615"/>
                  <a:gd name="connsiteY12" fmla="*/ 1697063 h 1921009"/>
                  <a:gd name="connsiteX13" fmla="*/ 117532 w 1290615"/>
                  <a:gd name="connsiteY13" fmla="*/ 1752429 h 1921009"/>
                  <a:gd name="connsiteX14" fmla="*/ 146591 w 1290615"/>
                  <a:gd name="connsiteY14" fmla="*/ 1701878 h 1921009"/>
                  <a:gd name="connsiteX15" fmla="*/ 220359 w 1290615"/>
                  <a:gd name="connsiteY15" fmla="*/ 1757244 h 1921009"/>
                  <a:gd name="connsiteX16" fmla="*/ 193534 w 1290615"/>
                  <a:gd name="connsiteY16" fmla="*/ 1800572 h 1921009"/>
                  <a:gd name="connsiteX17" fmla="*/ 249419 w 1290615"/>
                  <a:gd name="connsiteY17" fmla="*/ 1839087 h 1921009"/>
                  <a:gd name="connsiteX18" fmla="*/ 271773 w 1290615"/>
                  <a:gd name="connsiteY18" fmla="*/ 1800573 h 1921009"/>
                  <a:gd name="connsiteX19" fmla="*/ 429981 w 1290615"/>
                  <a:gd name="connsiteY19" fmla="*/ 1921009 h 1921009"/>
                  <a:gd name="connsiteX0" fmla="*/ 429981 w 1290615"/>
                  <a:gd name="connsiteY0" fmla="*/ 1921009 h 1921009"/>
                  <a:gd name="connsiteX1" fmla="*/ 622728 w 1290615"/>
                  <a:gd name="connsiteY1" fmla="*/ 1319136 h 1921009"/>
                  <a:gd name="connsiteX2" fmla="*/ 1290615 w 1290615"/>
                  <a:gd name="connsiteY2" fmla="*/ 227896 h 1921009"/>
                  <a:gd name="connsiteX3" fmla="*/ 1216375 w 1290615"/>
                  <a:gd name="connsiteY3" fmla="*/ 167289 h 1921009"/>
                  <a:gd name="connsiteX4" fmla="*/ 1112276 w 1290615"/>
                  <a:gd name="connsiteY4" fmla="*/ 228681 h 1921009"/>
                  <a:gd name="connsiteX5" fmla="*/ 887852 w 1290615"/>
                  <a:gd name="connsiteY5" fmla="*/ 285919 h 1921009"/>
                  <a:gd name="connsiteX6" fmla="*/ 991566 w 1290615"/>
                  <a:gd name="connsiteY6" fmla="*/ 113137 h 1921009"/>
                  <a:gd name="connsiteX7" fmla="*/ 837325 w 1290615"/>
                  <a:gd name="connsiteY7" fmla="*/ 0 h 1921009"/>
                  <a:gd name="connsiteX8" fmla="*/ 341943 w 1290615"/>
                  <a:gd name="connsiteY8" fmla="*/ 800196 h 1921009"/>
                  <a:gd name="connsiteX9" fmla="*/ 434954 w 1290615"/>
                  <a:gd name="connsiteY9" fmla="*/ 873808 h 1921009"/>
                  <a:gd name="connsiteX10" fmla="*/ 0 w 1290615"/>
                  <a:gd name="connsiteY10" fmla="*/ 1587796 h 1921009"/>
                  <a:gd name="connsiteX11" fmla="*/ 97413 w 1290615"/>
                  <a:gd name="connsiteY11" fmla="*/ 1665770 h 1921009"/>
                  <a:gd name="connsiteX12" fmla="*/ 68353 w 1290615"/>
                  <a:gd name="connsiteY12" fmla="*/ 1697063 h 1921009"/>
                  <a:gd name="connsiteX13" fmla="*/ 117532 w 1290615"/>
                  <a:gd name="connsiteY13" fmla="*/ 1752429 h 1921009"/>
                  <a:gd name="connsiteX14" fmla="*/ 146591 w 1290615"/>
                  <a:gd name="connsiteY14" fmla="*/ 1701878 h 1921009"/>
                  <a:gd name="connsiteX15" fmla="*/ 220359 w 1290615"/>
                  <a:gd name="connsiteY15" fmla="*/ 1757244 h 1921009"/>
                  <a:gd name="connsiteX16" fmla="*/ 193534 w 1290615"/>
                  <a:gd name="connsiteY16" fmla="*/ 1800572 h 1921009"/>
                  <a:gd name="connsiteX17" fmla="*/ 249419 w 1290615"/>
                  <a:gd name="connsiteY17" fmla="*/ 1839087 h 1921009"/>
                  <a:gd name="connsiteX18" fmla="*/ 271773 w 1290615"/>
                  <a:gd name="connsiteY18" fmla="*/ 1800573 h 1921009"/>
                  <a:gd name="connsiteX19" fmla="*/ 429981 w 1290615"/>
                  <a:gd name="connsiteY19" fmla="*/ 1921009 h 1921009"/>
                  <a:gd name="connsiteX0" fmla="*/ 429981 w 1290615"/>
                  <a:gd name="connsiteY0" fmla="*/ 1921009 h 1921009"/>
                  <a:gd name="connsiteX1" fmla="*/ 622728 w 1290615"/>
                  <a:gd name="connsiteY1" fmla="*/ 1319136 h 1921009"/>
                  <a:gd name="connsiteX2" fmla="*/ 1290615 w 1290615"/>
                  <a:gd name="connsiteY2" fmla="*/ 227896 h 1921009"/>
                  <a:gd name="connsiteX3" fmla="*/ 1216375 w 1290615"/>
                  <a:gd name="connsiteY3" fmla="*/ 167289 h 1921009"/>
                  <a:gd name="connsiteX4" fmla="*/ 1105570 w 1290615"/>
                  <a:gd name="connsiteY4" fmla="*/ 231088 h 1921009"/>
                  <a:gd name="connsiteX5" fmla="*/ 887852 w 1290615"/>
                  <a:gd name="connsiteY5" fmla="*/ 285919 h 1921009"/>
                  <a:gd name="connsiteX6" fmla="*/ 991566 w 1290615"/>
                  <a:gd name="connsiteY6" fmla="*/ 113137 h 1921009"/>
                  <a:gd name="connsiteX7" fmla="*/ 837325 w 1290615"/>
                  <a:gd name="connsiteY7" fmla="*/ 0 h 1921009"/>
                  <a:gd name="connsiteX8" fmla="*/ 341943 w 1290615"/>
                  <a:gd name="connsiteY8" fmla="*/ 800196 h 1921009"/>
                  <a:gd name="connsiteX9" fmla="*/ 434954 w 1290615"/>
                  <a:gd name="connsiteY9" fmla="*/ 873808 h 1921009"/>
                  <a:gd name="connsiteX10" fmla="*/ 0 w 1290615"/>
                  <a:gd name="connsiteY10" fmla="*/ 1587796 h 1921009"/>
                  <a:gd name="connsiteX11" fmla="*/ 97413 w 1290615"/>
                  <a:gd name="connsiteY11" fmla="*/ 1665770 h 1921009"/>
                  <a:gd name="connsiteX12" fmla="*/ 68353 w 1290615"/>
                  <a:gd name="connsiteY12" fmla="*/ 1697063 h 1921009"/>
                  <a:gd name="connsiteX13" fmla="*/ 117532 w 1290615"/>
                  <a:gd name="connsiteY13" fmla="*/ 1752429 h 1921009"/>
                  <a:gd name="connsiteX14" fmla="*/ 146591 w 1290615"/>
                  <a:gd name="connsiteY14" fmla="*/ 1701878 h 1921009"/>
                  <a:gd name="connsiteX15" fmla="*/ 220359 w 1290615"/>
                  <a:gd name="connsiteY15" fmla="*/ 1757244 h 1921009"/>
                  <a:gd name="connsiteX16" fmla="*/ 193534 w 1290615"/>
                  <a:gd name="connsiteY16" fmla="*/ 1800572 h 1921009"/>
                  <a:gd name="connsiteX17" fmla="*/ 249419 w 1290615"/>
                  <a:gd name="connsiteY17" fmla="*/ 1839087 h 1921009"/>
                  <a:gd name="connsiteX18" fmla="*/ 271773 w 1290615"/>
                  <a:gd name="connsiteY18" fmla="*/ 1800573 h 1921009"/>
                  <a:gd name="connsiteX19" fmla="*/ 429981 w 1290615"/>
                  <a:gd name="connsiteY19" fmla="*/ 1921009 h 1921009"/>
                  <a:gd name="connsiteX0" fmla="*/ 429981 w 1290615"/>
                  <a:gd name="connsiteY0" fmla="*/ 1921009 h 1921009"/>
                  <a:gd name="connsiteX1" fmla="*/ 622728 w 1290615"/>
                  <a:gd name="connsiteY1" fmla="*/ 1319136 h 1921009"/>
                  <a:gd name="connsiteX2" fmla="*/ 1290615 w 1290615"/>
                  <a:gd name="connsiteY2" fmla="*/ 227896 h 1921009"/>
                  <a:gd name="connsiteX3" fmla="*/ 1216375 w 1290615"/>
                  <a:gd name="connsiteY3" fmla="*/ 167289 h 1921009"/>
                  <a:gd name="connsiteX4" fmla="*/ 1105570 w 1290615"/>
                  <a:gd name="connsiteY4" fmla="*/ 231088 h 1921009"/>
                  <a:gd name="connsiteX5" fmla="*/ 887852 w 1290615"/>
                  <a:gd name="connsiteY5" fmla="*/ 285919 h 1921009"/>
                  <a:gd name="connsiteX6" fmla="*/ 991566 w 1290615"/>
                  <a:gd name="connsiteY6" fmla="*/ 113137 h 1921009"/>
                  <a:gd name="connsiteX7" fmla="*/ 837325 w 1290615"/>
                  <a:gd name="connsiteY7" fmla="*/ 0 h 1921009"/>
                  <a:gd name="connsiteX8" fmla="*/ 341943 w 1290615"/>
                  <a:gd name="connsiteY8" fmla="*/ 800196 h 1921009"/>
                  <a:gd name="connsiteX9" fmla="*/ 434954 w 1290615"/>
                  <a:gd name="connsiteY9" fmla="*/ 873808 h 1921009"/>
                  <a:gd name="connsiteX10" fmla="*/ 0 w 1290615"/>
                  <a:gd name="connsiteY10" fmla="*/ 1587796 h 1921009"/>
                  <a:gd name="connsiteX11" fmla="*/ 97413 w 1290615"/>
                  <a:gd name="connsiteY11" fmla="*/ 1665770 h 1921009"/>
                  <a:gd name="connsiteX12" fmla="*/ 63882 w 1290615"/>
                  <a:gd name="connsiteY12" fmla="*/ 1704285 h 1921009"/>
                  <a:gd name="connsiteX13" fmla="*/ 117532 w 1290615"/>
                  <a:gd name="connsiteY13" fmla="*/ 1752429 h 1921009"/>
                  <a:gd name="connsiteX14" fmla="*/ 146591 w 1290615"/>
                  <a:gd name="connsiteY14" fmla="*/ 1701878 h 1921009"/>
                  <a:gd name="connsiteX15" fmla="*/ 220359 w 1290615"/>
                  <a:gd name="connsiteY15" fmla="*/ 1757244 h 1921009"/>
                  <a:gd name="connsiteX16" fmla="*/ 193534 w 1290615"/>
                  <a:gd name="connsiteY16" fmla="*/ 1800572 h 1921009"/>
                  <a:gd name="connsiteX17" fmla="*/ 249419 w 1290615"/>
                  <a:gd name="connsiteY17" fmla="*/ 1839087 h 1921009"/>
                  <a:gd name="connsiteX18" fmla="*/ 271773 w 1290615"/>
                  <a:gd name="connsiteY18" fmla="*/ 1800573 h 1921009"/>
                  <a:gd name="connsiteX19" fmla="*/ 429981 w 1290615"/>
                  <a:gd name="connsiteY19" fmla="*/ 1921009 h 1921009"/>
                  <a:gd name="connsiteX0" fmla="*/ 429981 w 1290615"/>
                  <a:gd name="connsiteY0" fmla="*/ 1921009 h 1921009"/>
                  <a:gd name="connsiteX1" fmla="*/ 622728 w 1290615"/>
                  <a:gd name="connsiteY1" fmla="*/ 1319136 h 1921009"/>
                  <a:gd name="connsiteX2" fmla="*/ 1290615 w 1290615"/>
                  <a:gd name="connsiteY2" fmla="*/ 227896 h 1921009"/>
                  <a:gd name="connsiteX3" fmla="*/ 1216375 w 1290615"/>
                  <a:gd name="connsiteY3" fmla="*/ 167289 h 1921009"/>
                  <a:gd name="connsiteX4" fmla="*/ 1105570 w 1290615"/>
                  <a:gd name="connsiteY4" fmla="*/ 231088 h 1921009"/>
                  <a:gd name="connsiteX5" fmla="*/ 887852 w 1290615"/>
                  <a:gd name="connsiteY5" fmla="*/ 285919 h 1921009"/>
                  <a:gd name="connsiteX6" fmla="*/ 991566 w 1290615"/>
                  <a:gd name="connsiteY6" fmla="*/ 113137 h 1921009"/>
                  <a:gd name="connsiteX7" fmla="*/ 837325 w 1290615"/>
                  <a:gd name="connsiteY7" fmla="*/ 0 h 1921009"/>
                  <a:gd name="connsiteX8" fmla="*/ 341943 w 1290615"/>
                  <a:gd name="connsiteY8" fmla="*/ 800196 h 1921009"/>
                  <a:gd name="connsiteX9" fmla="*/ 434954 w 1290615"/>
                  <a:gd name="connsiteY9" fmla="*/ 873808 h 1921009"/>
                  <a:gd name="connsiteX10" fmla="*/ 0 w 1290615"/>
                  <a:gd name="connsiteY10" fmla="*/ 1587796 h 1921009"/>
                  <a:gd name="connsiteX11" fmla="*/ 97413 w 1290615"/>
                  <a:gd name="connsiteY11" fmla="*/ 1665770 h 1921009"/>
                  <a:gd name="connsiteX12" fmla="*/ 66118 w 1290615"/>
                  <a:gd name="connsiteY12" fmla="*/ 1709100 h 1921009"/>
                  <a:gd name="connsiteX13" fmla="*/ 117532 w 1290615"/>
                  <a:gd name="connsiteY13" fmla="*/ 1752429 h 1921009"/>
                  <a:gd name="connsiteX14" fmla="*/ 146591 w 1290615"/>
                  <a:gd name="connsiteY14" fmla="*/ 1701878 h 1921009"/>
                  <a:gd name="connsiteX15" fmla="*/ 220359 w 1290615"/>
                  <a:gd name="connsiteY15" fmla="*/ 1757244 h 1921009"/>
                  <a:gd name="connsiteX16" fmla="*/ 193534 w 1290615"/>
                  <a:gd name="connsiteY16" fmla="*/ 1800572 h 1921009"/>
                  <a:gd name="connsiteX17" fmla="*/ 249419 w 1290615"/>
                  <a:gd name="connsiteY17" fmla="*/ 1839087 h 1921009"/>
                  <a:gd name="connsiteX18" fmla="*/ 271773 w 1290615"/>
                  <a:gd name="connsiteY18" fmla="*/ 1800573 h 1921009"/>
                  <a:gd name="connsiteX19" fmla="*/ 429981 w 1290615"/>
                  <a:gd name="connsiteY19" fmla="*/ 1921009 h 19210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290615" h="1921009">
                    <a:moveTo>
                      <a:pt x="429981" y="1921009"/>
                    </a:moveTo>
                    <a:lnTo>
                      <a:pt x="622728" y="1319136"/>
                    </a:lnTo>
                    <a:lnTo>
                      <a:pt x="1290615" y="227896"/>
                    </a:lnTo>
                    <a:lnTo>
                      <a:pt x="1216375" y="167289"/>
                    </a:lnTo>
                    <a:cubicBezTo>
                      <a:pt x="1188381" y="204603"/>
                      <a:pt x="1180506" y="200995"/>
                      <a:pt x="1105570" y="231088"/>
                    </a:cubicBezTo>
                    <a:lnTo>
                      <a:pt x="887852" y="285919"/>
                    </a:lnTo>
                    <a:lnTo>
                      <a:pt x="991566" y="113137"/>
                    </a:lnTo>
                    <a:lnTo>
                      <a:pt x="837325" y="0"/>
                    </a:lnTo>
                    <a:lnTo>
                      <a:pt x="341943" y="800196"/>
                    </a:lnTo>
                    <a:lnTo>
                      <a:pt x="434954" y="873808"/>
                    </a:lnTo>
                    <a:lnTo>
                      <a:pt x="0" y="1587796"/>
                    </a:lnTo>
                    <a:lnTo>
                      <a:pt x="97413" y="1665770"/>
                    </a:lnTo>
                    <a:lnTo>
                      <a:pt x="66118" y="1709100"/>
                    </a:lnTo>
                    <a:lnTo>
                      <a:pt x="117532" y="1752429"/>
                    </a:lnTo>
                    <a:lnTo>
                      <a:pt x="146591" y="1701878"/>
                    </a:lnTo>
                    <a:lnTo>
                      <a:pt x="220359" y="1757244"/>
                    </a:lnTo>
                    <a:lnTo>
                      <a:pt x="193534" y="1800572"/>
                    </a:lnTo>
                    <a:lnTo>
                      <a:pt x="249419" y="1839087"/>
                    </a:lnTo>
                    <a:lnTo>
                      <a:pt x="271773" y="1800573"/>
                    </a:lnTo>
                    <a:lnTo>
                      <a:pt x="429981" y="1921009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de-DE" sz="600" dirty="0">
                  <a:solidFill>
                    <a:sysClr val="windowText" lastClr="000000"/>
                  </a:solidFill>
                </a:endParaRPr>
              </a:p>
            </p:txBody>
          </p:sp>
        </p:grpSp>
        <p:sp>
          <p:nvSpPr>
            <p:cNvPr id="54" name="G120">
              <a:extLst>
                <a:ext uri="{FF2B5EF4-FFF2-40B4-BE49-F238E27FC236}">
                  <a16:creationId xmlns:a16="http://schemas.microsoft.com/office/drawing/2014/main" id="{6B809E96-340B-4137-9CA5-84DE1309296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559490" y="4703426"/>
              <a:ext cx="1410179" cy="3353984"/>
            </a:xfrm>
            <a:custGeom>
              <a:avLst/>
              <a:gdLst>
                <a:gd name="connsiteX0" fmla="*/ 161585 w 2466295"/>
                <a:gd name="connsiteY0" fmla="*/ 0 h 4073638"/>
                <a:gd name="connsiteX1" fmla="*/ 0 w 2466295"/>
                <a:gd name="connsiteY1" fmla="*/ 161585 h 4073638"/>
                <a:gd name="connsiteX2" fmla="*/ 42523 w 2466295"/>
                <a:gd name="connsiteY2" fmla="*/ 680357 h 4073638"/>
                <a:gd name="connsiteX3" fmla="*/ 2066585 w 2466295"/>
                <a:gd name="connsiteY3" fmla="*/ 2712924 h 4073638"/>
                <a:gd name="connsiteX4" fmla="*/ 2160134 w 2466295"/>
                <a:gd name="connsiteY4" fmla="*/ 3206183 h 4073638"/>
                <a:gd name="connsiteX5" fmla="*/ 782411 w 2466295"/>
                <a:gd name="connsiteY5" fmla="*/ 3529353 h 4073638"/>
                <a:gd name="connsiteX6" fmla="*/ 518773 w 2466295"/>
                <a:gd name="connsiteY6" fmla="*/ 3520848 h 4073638"/>
                <a:gd name="connsiteX7" fmla="*/ 527277 w 2466295"/>
                <a:gd name="connsiteY7" fmla="*/ 3580380 h 4073638"/>
                <a:gd name="connsiteX8" fmla="*/ 782411 w 2466295"/>
                <a:gd name="connsiteY8" fmla="*/ 3597388 h 4073638"/>
                <a:gd name="connsiteX9" fmla="*/ 1224643 w 2466295"/>
                <a:gd name="connsiteY9" fmla="*/ 3486830 h 4073638"/>
                <a:gd name="connsiteX10" fmla="*/ 1250157 w 2466295"/>
                <a:gd name="connsiteY10" fmla="*/ 3546362 h 4073638"/>
                <a:gd name="connsiteX11" fmla="*/ 1352210 w 2466295"/>
                <a:gd name="connsiteY11" fmla="*/ 3639911 h 4073638"/>
                <a:gd name="connsiteX12" fmla="*/ 1411742 w 2466295"/>
                <a:gd name="connsiteY12" fmla="*/ 3554866 h 4073638"/>
                <a:gd name="connsiteX13" fmla="*/ 1318192 w 2466295"/>
                <a:gd name="connsiteY13" fmla="*/ 3503839 h 4073638"/>
                <a:gd name="connsiteX14" fmla="*/ 1318192 w 2466295"/>
                <a:gd name="connsiteY14" fmla="*/ 3461317 h 4073638"/>
                <a:gd name="connsiteX15" fmla="*/ 2194152 w 2466295"/>
                <a:gd name="connsiteY15" fmla="*/ 3257210 h 4073638"/>
                <a:gd name="connsiteX16" fmla="*/ 2381250 w 2466295"/>
                <a:gd name="connsiteY16" fmla="*/ 4073638 h 4073638"/>
                <a:gd name="connsiteX17" fmla="*/ 2466295 w 2466295"/>
                <a:gd name="connsiteY17" fmla="*/ 4048125 h 4073638"/>
                <a:gd name="connsiteX18" fmla="*/ 2143125 w 2466295"/>
                <a:gd name="connsiteY18" fmla="*/ 2721429 h 4073638"/>
                <a:gd name="connsiteX19" fmla="*/ 2143125 w 2466295"/>
                <a:gd name="connsiteY19" fmla="*/ 2721429 h 4073638"/>
                <a:gd name="connsiteX20" fmla="*/ 2211161 w 2466295"/>
                <a:gd name="connsiteY20" fmla="*/ 2653393 h 4073638"/>
                <a:gd name="connsiteX21" fmla="*/ 2126117 w 2466295"/>
                <a:gd name="connsiteY21" fmla="*/ 2661897 h 4073638"/>
                <a:gd name="connsiteX22" fmla="*/ 722880 w 2466295"/>
                <a:gd name="connsiteY22" fmla="*/ 1241652 h 4073638"/>
                <a:gd name="connsiteX23" fmla="*/ 765402 w 2466295"/>
                <a:gd name="connsiteY23" fmla="*/ 1182121 h 4073638"/>
                <a:gd name="connsiteX24" fmla="*/ 1071563 w 2466295"/>
                <a:gd name="connsiteY24" fmla="*/ 884464 h 4073638"/>
                <a:gd name="connsiteX25" fmla="*/ 1071563 w 2466295"/>
                <a:gd name="connsiteY25" fmla="*/ 884464 h 4073638"/>
                <a:gd name="connsiteX26" fmla="*/ 697367 w 2466295"/>
                <a:gd name="connsiteY26" fmla="*/ 1207634 h 4073638"/>
                <a:gd name="connsiteX27" fmla="*/ 127567 w 2466295"/>
                <a:gd name="connsiteY27" fmla="*/ 629330 h 4073638"/>
                <a:gd name="connsiteX28" fmla="*/ 68036 w 2466295"/>
                <a:gd name="connsiteY28" fmla="*/ 212612 h 4073638"/>
                <a:gd name="connsiteX29" fmla="*/ 136072 w 2466295"/>
                <a:gd name="connsiteY29" fmla="*/ 178594 h 4073638"/>
                <a:gd name="connsiteX30" fmla="*/ 204108 w 2466295"/>
                <a:gd name="connsiteY30" fmla="*/ 85045 h 4073638"/>
                <a:gd name="connsiteX31" fmla="*/ 161585 w 2466295"/>
                <a:gd name="connsiteY31" fmla="*/ 0 h 4073638"/>
                <a:gd name="connsiteX0" fmla="*/ 161585 w 2466295"/>
                <a:gd name="connsiteY0" fmla="*/ 0 h 4073638"/>
                <a:gd name="connsiteX1" fmla="*/ 0 w 2466295"/>
                <a:gd name="connsiteY1" fmla="*/ 161585 h 4073638"/>
                <a:gd name="connsiteX2" fmla="*/ 42523 w 2466295"/>
                <a:gd name="connsiteY2" fmla="*/ 680357 h 4073638"/>
                <a:gd name="connsiteX3" fmla="*/ 2066585 w 2466295"/>
                <a:gd name="connsiteY3" fmla="*/ 2712924 h 4073638"/>
                <a:gd name="connsiteX4" fmla="*/ 2160134 w 2466295"/>
                <a:gd name="connsiteY4" fmla="*/ 3206183 h 4073638"/>
                <a:gd name="connsiteX5" fmla="*/ 782411 w 2466295"/>
                <a:gd name="connsiteY5" fmla="*/ 3529353 h 4073638"/>
                <a:gd name="connsiteX6" fmla="*/ 518773 w 2466295"/>
                <a:gd name="connsiteY6" fmla="*/ 3520848 h 4073638"/>
                <a:gd name="connsiteX7" fmla="*/ 527277 w 2466295"/>
                <a:gd name="connsiteY7" fmla="*/ 3580380 h 4073638"/>
                <a:gd name="connsiteX8" fmla="*/ 782411 w 2466295"/>
                <a:gd name="connsiteY8" fmla="*/ 3597388 h 4073638"/>
                <a:gd name="connsiteX9" fmla="*/ 1224643 w 2466295"/>
                <a:gd name="connsiteY9" fmla="*/ 3486830 h 4073638"/>
                <a:gd name="connsiteX10" fmla="*/ 1250157 w 2466295"/>
                <a:gd name="connsiteY10" fmla="*/ 3546362 h 4073638"/>
                <a:gd name="connsiteX11" fmla="*/ 1352210 w 2466295"/>
                <a:gd name="connsiteY11" fmla="*/ 3639911 h 4073638"/>
                <a:gd name="connsiteX12" fmla="*/ 1411742 w 2466295"/>
                <a:gd name="connsiteY12" fmla="*/ 3554866 h 4073638"/>
                <a:gd name="connsiteX13" fmla="*/ 1318192 w 2466295"/>
                <a:gd name="connsiteY13" fmla="*/ 3503839 h 4073638"/>
                <a:gd name="connsiteX14" fmla="*/ 1318192 w 2466295"/>
                <a:gd name="connsiteY14" fmla="*/ 3461317 h 4073638"/>
                <a:gd name="connsiteX15" fmla="*/ 2194152 w 2466295"/>
                <a:gd name="connsiteY15" fmla="*/ 3257210 h 4073638"/>
                <a:gd name="connsiteX16" fmla="*/ 2381250 w 2466295"/>
                <a:gd name="connsiteY16" fmla="*/ 4073638 h 4073638"/>
                <a:gd name="connsiteX17" fmla="*/ 2466295 w 2466295"/>
                <a:gd name="connsiteY17" fmla="*/ 4048125 h 4073638"/>
                <a:gd name="connsiteX18" fmla="*/ 2143125 w 2466295"/>
                <a:gd name="connsiteY18" fmla="*/ 2721429 h 4073638"/>
                <a:gd name="connsiteX19" fmla="*/ 2143125 w 2466295"/>
                <a:gd name="connsiteY19" fmla="*/ 2721429 h 4073638"/>
                <a:gd name="connsiteX20" fmla="*/ 2211161 w 2466295"/>
                <a:gd name="connsiteY20" fmla="*/ 2653393 h 4073638"/>
                <a:gd name="connsiteX21" fmla="*/ 2126117 w 2466295"/>
                <a:gd name="connsiteY21" fmla="*/ 2661897 h 4073638"/>
                <a:gd name="connsiteX22" fmla="*/ 722880 w 2466295"/>
                <a:gd name="connsiteY22" fmla="*/ 1241652 h 4073638"/>
                <a:gd name="connsiteX23" fmla="*/ 765402 w 2466295"/>
                <a:gd name="connsiteY23" fmla="*/ 1182121 h 4073638"/>
                <a:gd name="connsiteX24" fmla="*/ 1071563 w 2466295"/>
                <a:gd name="connsiteY24" fmla="*/ 884464 h 4073638"/>
                <a:gd name="connsiteX25" fmla="*/ 1071563 w 2466295"/>
                <a:gd name="connsiteY25" fmla="*/ 884464 h 4073638"/>
                <a:gd name="connsiteX26" fmla="*/ 697367 w 2466295"/>
                <a:gd name="connsiteY26" fmla="*/ 1207634 h 4073638"/>
                <a:gd name="connsiteX27" fmla="*/ 127567 w 2466295"/>
                <a:gd name="connsiteY27" fmla="*/ 629330 h 4073638"/>
                <a:gd name="connsiteX28" fmla="*/ 68036 w 2466295"/>
                <a:gd name="connsiteY28" fmla="*/ 212612 h 4073638"/>
                <a:gd name="connsiteX29" fmla="*/ 204108 w 2466295"/>
                <a:gd name="connsiteY29" fmla="*/ 85045 h 4073638"/>
                <a:gd name="connsiteX30" fmla="*/ 161585 w 2466295"/>
                <a:gd name="connsiteY30" fmla="*/ 0 h 4073638"/>
                <a:gd name="connsiteX0" fmla="*/ 161585 w 2466295"/>
                <a:gd name="connsiteY0" fmla="*/ 0 h 4073638"/>
                <a:gd name="connsiteX1" fmla="*/ 0 w 2466295"/>
                <a:gd name="connsiteY1" fmla="*/ 161585 h 4073638"/>
                <a:gd name="connsiteX2" fmla="*/ 42523 w 2466295"/>
                <a:gd name="connsiteY2" fmla="*/ 680357 h 4073638"/>
                <a:gd name="connsiteX3" fmla="*/ 2066585 w 2466295"/>
                <a:gd name="connsiteY3" fmla="*/ 2712924 h 4073638"/>
                <a:gd name="connsiteX4" fmla="*/ 2160134 w 2466295"/>
                <a:gd name="connsiteY4" fmla="*/ 3206183 h 4073638"/>
                <a:gd name="connsiteX5" fmla="*/ 782411 w 2466295"/>
                <a:gd name="connsiteY5" fmla="*/ 3529353 h 4073638"/>
                <a:gd name="connsiteX6" fmla="*/ 518773 w 2466295"/>
                <a:gd name="connsiteY6" fmla="*/ 3520848 h 4073638"/>
                <a:gd name="connsiteX7" fmla="*/ 527277 w 2466295"/>
                <a:gd name="connsiteY7" fmla="*/ 3580380 h 4073638"/>
                <a:gd name="connsiteX8" fmla="*/ 782411 w 2466295"/>
                <a:gd name="connsiteY8" fmla="*/ 3597388 h 4073638"/>
                <a:gd name="connsiteX9" fmla="*/ 1224643 w 2466295"/>
                <a:gd name="connsiteY9" fmla="*/ 3486830 h 4073638"/>
                <a:gd name="connsiteX10" fmla="*/ 1250157 w 2466295"/>
                <a:gd name="connsiteY10" fmla="*/ 3546362 h 4073638"/>
                <a:gd name="connsiteX11" fmla="*/ 1352210 w 2466295"/>
                <a:gd name="connsiteY11" fmla="*/ 3639911 h 4073638"/>
                <a:gd name="connsiteX12" fmla="*/ 1411742 w 2466295"/>
                <a:gd name="connsiteY12" fmla="*/ 3554866 h 4073638"/>
                <a:gd name="connsiteX13" fmla="*/ 1318192 w 2466295"/>
                <a:gd name="connsiteY13" fmla="*/ 3503839 h 4073638"/>
                <a:gd name="connsiteX14" fmla="*/ 1318192 w 2466295"/>
                <a:gd name="connsiteY14" fmla="*/ 3461317 h 4073638"/>
                <a:gd name="connsiteX15" fmla="*/ 2194152 w 2466295"/>
                <a:gd name="connsiteY15" fmla="*/ 3257210 h 4073638"/>
                <a:gd name="connsiteX16" fmla="*/ 2381250 w 2466295"/>
                <a:gd name="connsiteY16" fmla="*/ 4073638 h 4073638"/>
                <a:gd name="connsiteX17" fmla="*/ 2466295 w 2466295"/>
                <a:gd name="connsiteY17" fmla="*/ 4048125 h 4073638"/>
                <a:gd name="connsiteX18" fmla="*/ 2143125 w 2466295"/>
                <a:gd name="connsiteY18" fmla="*/ 2721429 h 4073638"/>
                <a:gd name="connsiteX19" fmla="*/ 2143125 w 2466295"/>
                <a:gd name="connsiteY19" fmla="*/ 2721429 h 4073638"/>
                <a:gd name="connsiteX20" fmla="*/ 2211161 w 2466295"/>
                <a:gd name="connsiteY20" fmla="*/ 2653393 h 4073638"/>
                <a:gd name="connsiteX21" fmla="*/ 2126117 w 2466295"/>
                <a:gd name="connsiteY21" fmla="*/ 2661897 h 4073638"/>
                <a:gd name="connsiteX22" fmla="*/ 722880 w 2466295"/>
                <a:gd name="connsiteY22" fmla="*/ 1241652 h 4073638"/>
                <a:gd name="connsiteX23" fmla="*/ 765402 w 2466295"/>
                <a:gd name="connsiteY23" fmla="*/ 1182121 h 4073638"/>
                <a:gd name="connsiteX24" fmla="*/ 1071563 w 2466295"/>
                <a:gd name="connsiteY24" fmla="*/ 884464 h 4073638"/>
                <a:gd name="connsiteX25" fmla="*/ 1071563 w 2466295"/>
                <a:gd name="connsiteY25" fmla="*/ 884464 h 4073638"/>
                <a:gd name="connsiteX26" fmla="*/ 697367 w 2466295"/>
                <a:gd name="connsiteY26" fmla="*/ 1207634 h 4073638"/>
                <a:gd name="connsiteX27" fmla="*/ 127567 w 2466295"/>
                <a:gd name="connsiteY27" fmla="*/ 629330 h 4073638"/>
                <a:gd name="connsiteX28" fmla="*/ 83280 w 2466295"/>
                <a:gd name="connsiteY28" fmla="*/ 190164 h 4073638"/>
                <a:gd name="connsiteX29" fmla="*/ 204108 w 2466295"/>
                <a:gd name="connsiteY29" fmla="*/ 85045 h 4073638"/>
                <a:gd name="connsiteX30" fmla="*/ 161585 w 2466295"/>
                <a:gd name="connsiteY30" fmla="*/ 0 h 4073638"/>
                <a:gd name="connsiteX0" fmla="*/ 161585 w 2466295"/>
                <a:gd name="connsiteY0" fmla="*/ 0 h 4073638"/>
                <a:gd name="connsiteX1" fmla="*/ 0 w 2466295"/>
                <a:gd name="connsiteY1" fmla="*/ 161585 h 4073638"/>
                <a:gd name="connsiteX2" fmla="*/ 42523 w 2466295"/>
                <a:gd name="connsiteY2" fmla="*/ 680357 h 4073638"/>
                <a:gd name="connsiteX3" fmla="*/ 2066585 w 2466295"/>
                <a:gd name="connsiteY3" fmla="*/ 2712924 h 4073638"/>
                <a:gd name="connsiteX4" fmla="*/ 2160134 w 2466295"/>
                <a:gd name="connsiteY4" fmla="*/ 3206183 h 4073638"/>
                <a:gd name="connsiteX5" fmla="*/ 782411 w 2466295"/>
                <a:gd name="connsiteY5" fmla="*/ 3529353 h 4073638"/>
                <a:gd name="connsiteX6" fmla="*/ 518773 w 2466295"/>
                <a:gd name="connsiteY6" fmla="*/ 3520848 h 4073638"/>
                <a:gd name="connsiteX7" fmla="*/ 527277 w 2466295"/>
                <a:gd name="connsiteY7" fmla="*/ 3580380 h 4073638"/>
                <a:gd name="connsiteX8" fmla="*/ 782411 w 2466295"/>
                <a:gd name="connsiteY8" fmla="*/ 3597388 h 4073638"/>
                <a:gd name="connsiteX9" fmla="*/ 1224643 w 2466295"/>
                <a:gd name="connsiteY9" fmla="*/ 3486830 h 4073638"/>
                <a:gd name="connsiteX10" fmla="*/ 1250157 w 2466295"/>
                <a:gd name="connsiteY10" fmla="*/ 3546362 h 4073638"/>
                <a:gd name="connsiteX11" fmla="*/ 1352210 w 2466295"/>
                <a:gd name="connsiteY11" fmla="*/ 3639911 h 4073638"/>
                <a:gd name="connsiteX12" fmla="*/ 1411742 w 2466295"/>
                <a:gd name="connsiteY12" fmla="*/ 3554866 h 4073638"/>
                <a:gd name="connsiteX13" fmla="*/ 1318192 w 2466295"/>
                <a:gd name="connsiteY13" fmla="*/ 3503839 h 4073638"/>
                <a:gd name="connsiteX14" fmla="*/ 1318192 w 2466295"/>
                <a:gd name="connsiteY14" fmla="*/ 3461317 h 4073638"/>
                <a:gd name="connsiteX15" fmla="*/ 2194152 w 2466295"/>
                <a:gd name="connsiteY15" fmla="*/ 3257210 h 4073638"/>
                <a:gd name="connsiteX16" fmla="*/ 2381250 w 2466295"/>
                <a:gd name="connsiteY16" fmla="*/ 4073638 h 4073638"/>
                <a:gd name="connsiteX17" fmla="*/ 2466295 w 2466295"/>
                <a:gd name="connsiteY17" fmla="*/ 4048125 h 4073638"/>
                <a:gd name="connsiteX18" fmla="*/ 2143125 w 2466295"/>
                <a:gd name="connsiteY18" fmla="*/ 2721429 h 4073638"/>
                <a:gd name="connsiteX19" fmla="*/ 2143125 w 2466295"/>
                <a:gd name="connsiteY19" fmla="*/ 2721429 h 4073638"/>
                <a:gd name="connsiteX20" fmla="*/ 2211161 w 2466295"/>
                <a:gd name="connsiteY20" fmla="*/ 2653393 h 4073638"/>
                <a:gd name="connsiteX21" fmla="*/ 2126117 w 2466295"/>
                <a:gd name="connsiteY21" fmla="*/ 2661897 h 4073638"/>
                <a:gd name="connsiteX22" fmla="*/ 722880 w 2466295"/>
                <a:gd name="connsiteY22" fmla="*/ 1241652 h 4073638"/>
                <a:gd name="connsiteX23" fmla="*/ 765402 w 2466295"/>
                <a:gd name="connsiteY23" fmla="*/ 1182121 h 4073638"/>
                <a:gd name="connsiteX24" fmla="*/ 1071563 w 2466295"/>
                <a:gd name="connsiteY24" fmla="*/ 884464 h 4073638"/>
                <a:gd name="connsiteX25" fmla="*/ 1071563 w 2466295"/>
                <a:gd name="connsiteY25" fmla="*/ 884464 h 4073638"/>
                <a:gd name="connsiteX26" fmla="*/ 697367 w 2466295"/>
                <a:gd name="connsiteY26" fmla="*/ 1207634 h 4073638"/>
                <a:gd name="connsiteX27" fmla="*/ 127567 w 2466295"/>
                <a:gd name="connsiteY27" fmla="*/ 629330 h 4073638"/>
                <a:gd name="connsiteX28" fmla="*/ 83280 w 2466295"/>
                <a:gd name="connsiteY28" fmla="*/ 190164 h 4073638"/>
                <a:gd name="connsiteX29" fmla="*/ 232056 w 2466295"/>
                <a:gd name="connsiteY29" fmla="*/ 60103 h 4073638"/>
                <a:gd name="connsiteX30" fmla="*/ 161585 w 2466295"/>
                <a:gd name="connsiteY30" fmla="*/ 0 h 4073638"/>
                <a:gd name="connsiteX0" fmla="*/ 161585 w 2466295"/>
                <a:gd name="connsiteY0" fmla="*/ 0 h 4073638"/>
                <a:gd name="connsiteX1" fmla="*/ 0 w 2466295"/>
                <a:gd name="connsiteY1" fmla="*/ 161585 h 4073638"/>
                <a:gd name="connsiteX2" fmla="*/ 42523 w 2466295"/>
                <a:gd name="connsiteY2" fmla="*/ 680357 h 4073638"/>
                <a:gd name="connsiteX3" fmla="*/ 2066585 w 2466295"/>
                <a:gd name="connsiteY3" fmla="*/ 2712924 h 4073638"/>
                <a:gd name="connsiteX4" fmla="*/ 2160134 w 2466295"/>
                <a:gd name="connsiteY4" fmla="*/ 3206183 h 4073638"/>
                <a:gd name="connsiteX5" fmla="*/ 782411 w 2466295"/>
                <a:gd name="connsiteY5" fmla="*/ 3529353 h 4073638"/>
                <a:gd name="connsiteX6" fmla="*/ 518773 w 2466295"/>
                <a:gd name="connsiteY6" fmla="*/ 3520848 h 4073638"/>
                <a:gd name="connsiteX7" fmla="*/ 527277 w 2466295"/>
                <a:gd name="connsiteY7" fmla="*/ 3580380 h 4073638"/>
                <a:gd name="connsiteX8" fmla="*/ 782411 w 2466295"/>
                <a:gd name="connsiteY8" fmla="*/ 3597388 h 4073638"/>
                <a:gd name="connsiteX9" fmla="*/ 1224643 w 2466295"/>
                <a:gd name="connsiteY9" fmla="*/ 3486830 h 4073638"/>
                <a:gd name="connsiteX10" fmla="*/ 1250157 w 2466295"/>
                <a:gd name="connsiteY10" fmla="*/ 3546362 h 4073638"/>
                <a:gd name="connsiteX11" fmla="*/ 1352210 w 2466295"/>
                <a:gd name="connsiteY11" fmla="*/ 3639911 h 4073638"/>
                <a:gd name="connsiteX12" fmla="*/ 1411742 w 2466295"/>
                <a:gd name="connsiteY12" fmla="*/ 3554866 h 4073638"/>
                <a:gd name="connsiteX13" fmla="*/ 1318192 w 2466295"/>
                <a:gd name="connsiteY13" fmla="*/ 3503839 h 4073638"/>
                <a:gd name="connsiteX14" fmla="*/ 1318192 w 2466295"/>
                <a:gd name="connsiteY14" fmla="*/ 3461317 h 4073638"/>
                <a:gd name="connsiteX15" fmla="*/ 2194152 w 2466295"/>
                <a:gd name="connsiteY15" fmla="*/ 3257210 h 4073638"/>
                <a:gd name="connsiteX16" fmla="*/ 2381250 w 2466295"/>
                <a:gd name="connsiteY16" fmla="*/ 4073638 h 4073638"/>
                <a:gd name="connsiteX17" fmla="*/ 2466295 w 2466295"/>
                <a:gd name="connsiteY17" fmla="*/ 4048125 h 4073638"/>
                <a:gd name="connsiteX18" fmla="*/ 2143125 w 2466295"/>
                <a:gd name="connsiteY18" fmla="*/ 2721429 h 4073638"/>
                <a:gd name="connsiteX19" fmla="*/ 2143125 w 2466295"/>
                <a:gd name="connsiteY19" fmla="*/ 2721429 h 4073638"/>
                <a:gd name="connsiteX20" fmla="*/ 2211161 w 2466295"/>
                <a:gd name="connsiteY20" fmla="*/ 2653393 h 4073638"/>
                <a:gd name="connsiteX21" fmla="*/ 2126117 w 2466295"/>
                <a:gd name="connsiteY21" fmla="*/ 2661897 h 4073638"/>
                <a:gd name="connsiteX22" fmla="*/ 722880 w 2466295"/>
                <a:gd name="connsiteY22" fmla="*/ 1241652 h 4073638"/>
                <a:gd name="connsiteX23" fmla="*/ 765402 w 2466295"/>
                <a:gd name="connsiteY23" fmla="*/ 1182121 h 4073638"/>
                <a:gd name="connsiteX24" fmla="*/ 1071563 w 2466295"/>
                <a:gd name="connsiteY24" fmla="*/ 884464 h 4073638"/>
                <a:gd name="connsiteX25" fmla="*/ 1071563 w 2466295"/>
                <a:gd name="connsiteY25" fmla="*/ 884464 h 4073638"/>
                <a:gd name="connsiteX26" fmla="*/ 697367 w 2466295"/>
                <a:gd name="connsiteY26" fmla="*/ 1207634 h 4073638"/>
                <a:gd name="connsiteX27" fmla="*/ 127567 w 2466295"/>
                <a:gd name="connsiteY27" fmla="*/ 629330 h 4073638"/>
                <a:gd name="connsiteX28" fmla="*/ 83280 w 2466295"/>
                <a:gd name="connsiteY28" fmla="*/ 190164 h 4073638"/>
                <a:gd name="connsiteX29" fmla="*/ 221893 w 2466295"/>
                <a:gd name="connsiteY29" fmla="*/ 52620 h 4073638"/>
                <a:gd name="connsiteX30" fmla="*/ 161585 w 2466295"/>
                <a:gd name="connsiteY30" fmla="*/ 0 h 4073638"/>
                <a:gd name="connsiteX0" fmla="*/ 161585 w 2466295"/>
                <a:gd name="connsiteY0" fmla="*/ 0 h 4073638"/>
                <a:gd name="connsiteX1" fmla="*/ 0 w 2466295"/>
                <a:gd name="connsiteY1" fmla="*/ 161585 h 4073638"/>
                <a:gd name="connsiteX2" fmla="*/ 42523 w 2466295"/>
                <a:gd name="connsiteY2" fmla="*/ 680357 h 4073638"/>
                <a:gd name="connsiteX3" fmla="*/ 2066585 w 2466295"/>
                <a:gd name="connsiteY3" fmla="*/ 2712924 h 4073638"/>
                <a:gd name="connsiteX4" fmla="*/ 2160134 w 2466295"/>
                <a:gd name="connsiteY4" fmla="*/ 3206183 h 4073638"/>
                <a:gd name="connsiteX5" fmla="*/ 782411 w 2466295"/>
                <a:gd name="connsiteY5" fmla="*/ 3529353 h 4073638"/>
                <a:gd name="connsiteX6" fmla="*/ 518773 w 2466295"/>
                <a:gd name="connsiteY6" fmla="*/ 3520848 h 4073638"/>
                <a:gd name="connsiteX7" fmla="*/ 527277 w 2466295"/>
                <a:gd name="connsiteY7" fmla="*/ 3580380 h 4073638"/>
                <a:gd name="connsiteX8" fmla="*/ 782411 w 2466295"/>
                <a:gd name="connsiteY8" fmla="*/ 3597388 h 4073638"/>
                <a:gd name="connsiteX9" fmla="*/ 1224643 w 2466295"/>
                <a:gd name="connsiteY9" fmla="*/ 3486830 h 4073638"/>
                <a:gd name="connsiteX10" fmla="*/ 1250157 w 2466295"/>
                <a:gd name="connsiteY10" fmla="*/ 3546362 h 4073638"/>
                <a:gd name="connsiteX11" fmla="*/ 1352210 w 2466295"/>
                <a:gd name="connsiteY11" fmla="*/ 3639911 h 4073638"/>
                <a:gd name="connsiteX12" fmla="*/ 1411742 w 2466295"/>
                <a:gd name="connsiteY12" fmla="*/ 3554866 h 4073638"/>
                <a:gd name="connsiteX13" fmla="*/ 1318192 w 2466295"/>
                <a:gd name="connsiteY13" fmla="*/ 3503839 h 4073638"/>
                <a:gd name="connsiteX14" fmla="*/ 1318192 w 2466295"/>
                <a:gd name="connsiteY14" fmla="*/ 3461317 h 4073638"/>
                <a:gd name="connsiteX15" fmla="*/ 2194152 w 2466295"/>
                <a:gd name="connsiteY15" fmla="*/ 3257210 h 4073638"/>
                <a:gd name="connsiteX16" fmla="*/ 2321420 w 2466295"/>
                <a:gd name="connsiteY16" fmla="*/ 3927997 h 4073638"/>
                <a:gd name="connsiteX17" fmla="*/ 2381250 w 2466295"/>
                <a:gd name="connsiteY17" fmla="*/ 4073638 h 4073638"/>
                <a:gd name="connsiteX18" fmla="*/ 2466295 w 2466295"/>
                <a:gd name="connsiteY18" fmla="*/ 4048125 h 4073638"/>
                <a:gd name="connsiteX19" fmla="*/ 2143125 w 2466295"/>
                <a:gd name="connsiteY19" fmla="*/ 2721429 h 4073638"/>
                <a:gd name="connsiteX20" fmla="*/ 2143125 w 2466295"/>
                <a:gd name="connsiteY20" fmla="*/ 2721429 h 4073638"/>
                <a:gd name="connsiteX21" fmla="*/ 2211161 w 2466295"/>
                <a:gd name="connsiteY21" fmla="*/ 2653393 h 4073638"/>
                <a:gd name="connsiteX22" fmla="*/ 2126117 w 2466295"/>
                <a:gd name="connsiteY22" fmla="*/ 2661897 h 4073638"/>
                <a:gd name="connsiteX23" fmla="*/ 722880 w 2466295"/>
                <a:gd name="connsiteY23" fmla="*/ 1241652 h 4073638"/>
                <a:gd name="connsiteX24" fmla="*/ 765402 w 2466295"/>
                <a:gd name="connsiteY24" fmla="*/ 1182121 h 4073638"/>
                <a:gd name="connsiteX25" fmla="*/ 1071563 w 2466295"/>
                <a:gd name="connsiteY25" fmla="*/ 884464 h 4073638"/>
                <a:gd name="connsiteX26" fmla="*/ 1071563 w 2466295"/>
                <a:gd name="connsiteY26" fmla="*/ 884464 h 4073638"/>
                <a:gd name="connsiteX27" fmla="*/ 697367 w 2466295"/>
                <a:gd name="connsiteY27" fmla="*/ 1207634 h 4073638"/>
                <a:gd name="connsiteX28" fmla="*/ 127567 w 2466295"/>
                <a:gd name="connsiteY28" fmla="*/ 629330 h 4073638"/>
                <a:gd name="connsiteX29" fmla="*/ 83280 w 2466295"/>
                <a:gd name="connsiteY29" fmla="*/ 190164 h 4073638"/>
                <a:gd name="connsiteX30" fmla="*/ 221893 w 2466295"/>
                <a:gd name="connsiteY30" fmla="*/ 52620 h 4073638"/>
                <a:gd name="connsiteX31" fmla="*/ 161585 w 2466295"/>
                <a:gd name="connsiteY31" fmla="*/ 0 h 4073638"/>
                <a:gd name="connsiteX0" fmla="*/ 161585 w 2466295"/>
                <a:gd name="connsiteY0" fmla="*/ 0 h 4073638"/>
                <a:gd name="connsiteX1" fmla="*/ 0 w 2466295"/>
                <a:gd name="connsiteY1" fmla="*/ 161585 h 4073638"/>
                <a:gd name="connsiteX2" fmla="*/ 42523 w 2466295"/>
                <a:gd name="connsiteY2" fmla="*/ 680357 h 4073638"/>
                <a:gd name="connsiteX3" fmla="*/ 2066585 w 2466295"/>
                <a:gd name="connsiteY3" fmla="*/ 2712924 h 4073638"/>
                <a:gd name="connsiteX4" fmla="*/ 2160134 w 2466295"/>
                <a:gd name="connsiteY4" fmla="*/ 3206183 h 4073638"/>
                <a:gd name="connsiteX5" fmla="*/ 782411 w 2466295"/>
                <a:gd name="connsiteY5" fmla="*/ 3529353 h 4073638"/>
                <a:gd name="connsiteX6" fmla="*/ 518773 w 2466295"/>
                <a:gd name="connsiteY6" fmla="*/ 3520848 h 4073638"/>
                <a:gd name="connsiteX7" fmla="*/ 527277 w 2466295"/>
                <a:gd name="connsiteY7" fmla="*/ 3580380 h 4073638"/>
                <a:gd name="connsiteX8" fmla="*/ 782411 w 2466295"/>
                <a:gd name="connsiteY8" fmla="*/ 3597388 h 4073638"/>
                <a:gd name="connsiteX9" fmla="*/ 1224643 w 2466295"/>
                <a:gd name="connsiteY9" fmla="*/ 3486830 h 4073638"/>
                <a:gd name="connsiteX10" fmla="*/ 1250157 w 2466295"/>
                <a:gd name="connsiteY10" fmla="*/ 3546362 h 4073638"/>
                <a:gd name="connsiteX11" fmla="*/ 1352210 w 2466295"/>
                <a:gd name="connsiteY11" fmla="*/ 3639911 h 4073638"/>
                <a:gd name="connsiteX12" fmla="*/ 1411742 w 2466295"/>
                <a:gd name="connsiteY12" fmla="*/ 3554866 h 4073638"/>
                <a:gd name="connsiteX13" fmla="*/ 1318192 w 2466295"/>
                <a:gd name="connsiteY13" fmla="*/ 3503839 h 4073638"/>
                <a:gd name="connsiteX14" fmla="*/ 1318192 w 2466295"/>
                <a:gd name="connsiteY14" fmla="*/ 3461317 h 4073638"/>
                <a:gd name="connsiteX15" fmla="*/ 2194152 w 2466295"/>
                <a:gd name="connsiteY15" fmla="*/ 3257210 h 4073638"/>
                <a:gd name="connsiteX16" fmla="*/ 2321420 w 2466295"/>
                <a:gd name="connsiteY16" fmla="*/ 3927997 h 4073638"/>
                <a:gd name="connsiteX17" fmla="*/ 2381250 w 2466295"/>
                <a:gd name="connsiteY17" fmla="*/ 4073638 h 4073638"/>
                <a:gd name="connsiteX18" fmla="*/ 2466295 w 2466295"/>
                <a:gd name="connsiteY18" fmla="*/ 4048125 h 4073638"/>
                <a:gd name="connsiteX19" fmla="*/ 2426659 w 2466295"/>
                <a:gd name="connsiteY19" fmla="*/ 3927997 h 4073638"/>
                <a:gd name="connsiteX20" fmla="*/ 2143125 w 2466295"/>
                <a:gd name="connsiteY20" fmla="*/ 2721429 h 4073638"/>
                <a:gd name="connsiteX21" fmla="*/ 2143125 w 2466295"/>
                <a:gd name="connsiteY21" fmla="*/ 2721429 h 4073638"/>
                <a:gd name="connsiteX22" fmla="*/ 2211161 w 2466295"/>
                <a:gd name="connsiteY22" fmla="*/ 2653393 h 4073638"/>
                <a:gd name="connsiteX23" fmla="*/ 2126117 w 2466295"/>
                <a:gd name="connsiteY23" fmla="*/ 2661897 h 4073638"/>
                <a:gd name="connsiteX24" fmla="*/ 722880 w 2466295"/>
                <a:gd name="connsiteY24" fmla="*/ 1241652 h 4073638"/>
                <a:gd name="connsiteX25" fmla="*/ 765402 w 2466295"/>
                <a:gd name="connsiteY25" fmla="*/ 1182121 h 4073638"/>
                <a:gd name="connsiteX26" fmla="*/ 1071563 w 2466295"/>
                <a:gd name="connsiteY26" fmla="*/ 884464 h 4073638"/>
                <a:gd name="connsiteX27" fmla="*/ 1071563 w 2466295"/>
                <a:gd name="connsiteY27" fmla="*/ 884464 h 4073638"/>
                <a:gd name="connsiteX28" fmla="*/ 697367 w 2466295"/>
                <a:gd name="connsiteY28" fmla="*/ 1207634 h 4073638"/>
                <a:gd name="connsiteX29" fmla="*/ 127567 w 2466295"/>
                <a:gd name="connsiteY29" fmla="*/ 629330 h 4073638"/>
                <a:gd name="connsiteX30" fmla="*/ 83280 w 2466295"/>
                <a:gd name="connsiteY30" fmla="*/ 190164 h 4073638"/>
                <a:gd name="connsiteX31" fmla="*/ 221893 w 2466295"/>
                <a:gd name="connsiteY31" fmla="*/ 52620 h 4073638"/>
                <a:gd name="connsiteX32" fmla="*/ 161585 w 2466295"/>
                <a:gd name="connsiteY32" fmla="*/ 0 h 4073638"/>
                <a:gd name="connsiteX0" fmla="*/ 161585 w 2466295"/>
                <a:gd name="connsiteY0" fmla="*/ 0 h 6411930"/>
                <a:gd name="connsiteX1" fmla="*/ 0 w 2466295"/>
                <a:gd name="connsiteY1" fmla="*/ 161585 h 6411930"/>
                <a:gd name="connsiteX2" fmla="*/ 42523 w 2466295"/>
                <a:gd name="connsiteY2" fmla="*/ 680357 h 6411930"/>
                <a:gd name="connsiteX3" fmla="*/ 2066585 w 2466295"/>
                <a:gd name="connsiteY3" fmla="*/ 2712924 h 6411930"/>
                <a:gd name="connsiteX4" fmla="*/ 2160134 w 2466295"/>
                <a:gd name="connsiteY4" fmla="*/ 3206183 h 6411930"/>
                <a:gd name="connsiteX5" fmla="*/ 782411 w 2466295"/>
                <a:gd name="connsiteY5" fmla="*/ 3529353 h 6411930"/>
                <a:gd name="connsiteX6" fmla="*/ 518773 w 2466295"/>
                <a:gd name="connsiteY6" fmla="*/ 3520848 h 6411930"/>
                <a:gd name="connsiteX7" fmla="*/ 527277 w 2466295"/>
                <a:gd name="connsiteY7" fmla="*/ 3580380 h 6411930"/>
                <a:gd name="connsiteX8" fmla="*/ 782411 w 2466295"/>
                <a:gd name="connsiteY8" fmla="*/ 3597388 h 6411930"/>
                <a:gd name="connsiteX9" fmla="*/ 1224643 w 2466295"/>
                <a:gd name="connsiteY9" fmla="*/ 3486830 h 6411930"/>
                <a:gd name="connsiteX10" fmla="*/ 1250157 w 2466295"/>
                <a:gd name="connsiteY10" fmla="*/ 3546362 h 6411930"/>
                <a:gd name="connsiteX11" fmla="*/ 1352210 w 2466295"/>
                <a:gd name="connsiteY11" fmla="*/ 3639911 h 6411930"/>
                <a:gd name="connsiteX12" fmla="*/ 1411742 w 2466295"/>
                <a:gd name="connsiteY12" fmla="*/ 3554866 h 6411930"/>
                <a:gd name="connsiteX13" fmla="*/ 1318192 w 2466295"/>
                <a:gd name="connsiteY13" fmla="*/ 3503839 h 6411930"/>
                <a:gd name="connsiteX14" fmla="*/ 1318192 w 2466295"/>
                <a:gd name="connsiteY14" fmla="*/ 3461317 h 6411930"/>
                <a:gd name="connsiteX15" fmla="*/ 2194152 w 2466295"/>
                <a:gd name="connsiteY15" fmla="*/ 3257210 h 6411930"/>
                <a:gd name="connsiteX16" fmla="*/ 2321420 w 2466295"/>
                <a:gd name="connsiteY16" fmla="*/ 3927997 h 6411930"/>
                <a:gd name="connsiteX17" fmla="*/ 1443662 w 2466295"/>
                <a:gd name="connsiteY17" fmla="*/ 6411930 h 6411930"/>
                <a:gd name="connsiteX18" fmla="*/ 2466295 w 2466295"/>
                <a:gd name="connsiteY18" fmla="*/ 4048125 h 6411930"/>
                <a:gd name="connsiteX19" fmla="*/ 2426659 w 2466295"/>
                <a:gd name="connsiteY19" fmla="*/ 3927997 h 6411930"/>
                <a:gd name="connsiteX20" fmla="*/ 2143125 w 2466295"/>
                <a:gd name="connsiteY20" fmla="*/ 2721429 h 6411930"/>
                <a:gd name="connsiteX21" fmla="*/ 2143125 w 2466295"/>
                <a:gd name="connsiteY21" fmla="*/ 2721429 h 6411930"/>
                <a:gd name="connsiteX22" fmla="*/ 2211161 w 2466295"/>
                <a:gd name="connsiteY22" fmla="*/ 2653393 h 6411930"/>
                <a:gd name="connsiteX23" fmla="*/ 2126117 w 2466295"/>
                <a:gd name="connsiteY23" fmla="*/ 2661897 h 6411930"/>
                <a:gd name="connsiteX24" fmla="*/ 722880 w 2466295"/>
                <a:gd name="connsiteY24" fmla="*/ 1241652 h 6411930"/>
                <a:gd name="connsiteX25" fmla="*/ 765402 w 2466295"/>
                <a:gd name="connsiteY25" fmla="*/ 1182121 h 6411930"/>
                <a:gd name="connsiteX26" fmla="*/ 1071563 w 2466295"/>
                <a:gd name="connsiteY26" fmla="*/ 884464 h 6411930"/>
                <a:gd name="connsiteX27" fmla="*/ 1071563 w 2466295"/>
                <a:gd name="connsiteY27" fmla="*/ 884464 h 6411930"/>
                <a:gd name="connsiteX28" fmla="*/ 697367 w 2466295"/>
                <a:gd name="connsiteY28" fmla="*/ 1207634 h 6411930"/>
                <a:gd name="connsiteX29" fmla="*/ 127567 w 2466295"/>
                <a:gd name="connsiteY29" fmla="*/ 629330 h 6411930"/>
                <a:gd name="connsiteX30" fmla="*/ 83280 w 2466295"/>
                <a:gd name="connsiteY30" fmla="*/ 190164 h 6411930"/>
                <a:gd name="connsiteX31" fmla="*/ 221893 w 2466295"/>
                <a:gd name="connsiteY31" fmla="*/ 52620 h 6411930"/>
                <a:gd name="connsiteX32" fmla="*/ 161585 w 2466295"/>
                <a:gd name="connsiteY32" fmla="*/ 0 h 6411930"/>
                <a:gd name="connsiteX0" fmla="*/ 161585 w 2426659"/>
                <a:gd name="connsiteY0" fmla="*/ 0 h 6554774"/>
                <a:gd name="connsiteX1" fmla="*/ 0 w 2426659"/>
                <a:gd name="connsiteY1" fmla="*/ 161585 h 6554774"/>
                <a:gd name="connsiteX2" fmla="*/ 42523 w 2426659"/>
                <a:gd name="connsiteY2" fmla="*/ 680357 h 6554774"/>
                <a:gd name="connsiteX3" fmla="*/ 2066585 w 2426659"/>
                <a:gd name="connsiteY3" fmla="*/ 2712924 h 6554774"/>
                <a:gd name="connsiteX4" fmla="*/ 2160134 w 2426659"/>
                <a:gd name="connsiteY4" fmla="*/ 3206183 h 6554774"/>
                <a:gd name="connsiteX5" fmla="*/ 782411 w 2426659"/>
                <a:gd name="connsiteY5" fmla="*/ 3529353 h 6554774"/>
                <a:gd name="connsiteX6" fmla="*/ 518773 w 2426659"/>
                <a:gd name="connsiteY6" fmla="*/ 3520848 h 6554774"/>
                <a:gd name="connsiteX7" fmla="*/ 527277 w 2426659"/>
                <a:gd name="connsiteY7" fmla="*/ 3580380 h 6554774"/>
                <a:gd name="connsiteX8" fmla="*/ 782411 w 2426659"/>
                <a:gd name="connsiteY8" fmla="*/ 3597388 h 6554774"/>
                <a:gd name="connsiteX9" fmla="*/ 1224643 w 2426659"/>
                <a:gd name="connsiteY9" fmla="*/ 3486830 h 6554774"/>
                <a:gd name="connsiteX10" fmla="*/ 1250157 w 2426659"/>
                <a:gd name="connsiteY10" fmla="*/ 3546362 h 6554774"/>
                <a:gd name="connsiteX11" fmla="*/ 1352210 w 2426659"/>
                <a:gd name="connsiteY11" fmla="*/ 3639911 h 6554774"/>
                <a:gd name="connsiteX12" fmla="*/ 1411742 w 2426659"/>
                <a:gd name="connsiteY12" fmla="*/ 3554866 h 6554774"/>
                <a:gd name="connsiteX13" fmla="*/ 1318192 w 2426659"/>
                <a:gd name="connsiteY13" fmla="*/ 3503839 h 6554774"/>
                <a:gd name="connsiteX14" fmla="*/ 1318192 w 2426659"/>
                <a:gd name="connsiteY14" fmla="*/ 3461317 h 6554774"/>
                <a:gd name="connsiteX15" fmla="*/ 2194152 w 2426659"/>
                <a:gd name="connsiteY15" fmla="*/ 3257210 h 6554774"/>
                <a:gd name="connsiteX16" fmla="*/ 2321420 w 2426659"/>
                <a:gd name="connsiteY16" fmla="*/ 3927997 h 6554774"/>
                <a:gd name="connsiteX17" fmla="*/ 1443662 w 2426659"/>
                <a:gd name="connsiteY17" fmla="*/ 6411930 h 6554774"/>
                <a:gd name="connsiteX18" fmla="*/ 1442602 w 2426659"/>
                <a:gd name="connsiteY18" fmla="*/ 6554774 h 6554774"/>
                <a:gd name="connsiteX19" fmla="*/ 2426659 w 2426659"/>
                <a:gd name="connsiteY19" fmla="*/ 3927997 h 6554774"/>
                <a:gd name="connsiteX20" fmla="*/ 2143125 w 2426659"/>
                <a:gd name="connsiteY20" fmla="*/ 2721429 h 6554774"/>
                <a:gd name="connsiteX21" fmla="*/ 2143125 w 2426659"/>
                <a:gd name="connsiteY21" fmla="*/ 2721429 h 6554774"/>
                <a:gd name="connsiteX22" fmla="*/ 2211161 w 2426659"/>
                <a:gd name="connsiteY22" fmla="*/ 2653393 h 6554774"/>
                <a:gd name="connsiteX23" fmla="*/ 2126117 w 2426659"/>
                <a:gd name="connsiteY23" fmla="*/ 2661897 h 6554774"/>
                <a:gd name="connsiteX24" fmla="*/ 722880 w 2426659"/>
                <a:gd name="connsiteY24" fmla="*/ 1241652 h 6554774"/>
                <a:gd name="connsiteX25" fmla="*/ 765402 w 2426659"/>
                <a:gd name="connsiteY25" fmla="*/ 1182121 h 6554774"/>
                <a:gd name="connsiteX26" fmla="*/ 1071563 w 2426659"/>
                <a:gd name="connsiteY26" fmla="*/ 884464 h 6554774"/>
                <a:gd name="connsiteX27" fmla="*/ 1071563 w 2426659"/>
                <a:gd name="connsiteY27" fmla="*/ 884464 h 6554774"/>
                <a:gd name="connsiteX28" fmla="*/ 697367 w 2426659"/>
                <a:gd name="connsiteY28" fmla="*/ 1207634 h 6554774"/>
                <a:gd name="connsiteX29" fmla="*/ 127567 w 2426659"/>
                <a:gd name="connsiteY29" fmla="*/ 629330 h 6554774"/>
                <a:gd name="connsiteX30" fmla="*/ 83280 w 2426659"/>
                <a:gd name="connsiteY30" fmla="*/ 190164 h 6554774"/>
                <a:gd name="connsiteX31" fmla="*/ 221893 w 2426659"/>
                <a:gd name="connsiteY31" fmla="*/ 52620 h 6554774"/>
                <a:gd name="connsiteX32" fmla="*/ 161585 w 2426659"/>
                <a:gd name="connsiteY32" fmla="*/ 0 h 6554774"/>
                <a:gd name="connsiteX0" fmla="*/ 161585 w 2426659"/>
                <a:gd name="connsiteY0" fmla="*/ 0 h 6554774"/>
                <a:gd name="connsiteX1" fmla="*/ 0 w 2426659"/>
                <a:gd name="connsiteY1" fmla="*/ 161585 h 6554774"/>
                <a:gd name="connsiteX2" fmla="*/ 42523 w 2426659"/>
                <a:gd name="connsiteY2" fmla="*/ 680357 h 6554774"/>
                <a:gd name="connsiteX3" fmla="*/ 2066585 w 2426659"/>
                <a:gd name="connsiteY3" fmla="*/ 2712924 h 6554774"/>
                <a:gd name="connsiteX4" fmla="*/ 2160134 w 2426659"/>
                <a:gd name="connsiteY4" fmla="*/ 3206183 h 6554774"/>
                <a:gd name="connsiteX5" fmla="*/ 782411 w 2426659"/>
                <a:gd name="connsiteY5" fmla="*/ 3529353 h 6554774"/>
                <a:gd name="connsiteX6" fmla="*/ 518773 w 2426659"/>
                <a:gd name="connsiteY6" fmla="*/ 3520848 h 6554774"/>
                <a:gd name="connsiteX7" fmla="*/ 527277 w 2426659"/>
                <a:gd name="connsiteY7" fmla="*/ 3580380 h 6554774"/>
                <a:gd name="connsiteX8" fmla="*/ 782411 w 2426659"/>
                <a:gd name="connsiteY8" fmla="*/ 3597388 h 6554774"/>
                <a:gd name="connsiteX9" fmla="*/ 1224643 w 2426659"/>
                <a:gd name="connsiteY9" fmla="*/ 3486830 h 6554774"/>
                <a:gd name="connsiteX10" fmla="*/ 1250157 w 2426659"/>
                <a:gd name="connsiteY10" fmla="*/ 3546362 h 6554774"/>
                <a:gd name="connsiteX11" fmla="*/ 1352210 w 2426659"/>
                <a:gd name="connsiteY11" fmla="*/ 3639911 h 6554774"/>
                <a:gd name="connsiteX12" fmla="*/ 1411742 w 2426659"/>
                <a:gd name="connsiteY12" fmla="*/ 3554866 h 6554774"/>
                <a:gd name="connsiteX13" fmla="*/ 1318192 w 2426659"/>
                <a:gd name="connsiteY13" fmla="*/ 3503839 h 6554774"/>
                <a:gd name="connsiteX14" fmla="*/ 1318192 w 2426659"/>
                <a:gd name="connsiteY14" fmla="*/ 3461317 h 6554774"/>
                <a:gd name="connsiteX15" fmla="*/ 2194152 w 2426659"/>
                <a:gd name="connsiteY15" fmla="*/ 3257210 h 6554774"/>
                <a:gd name="connsiteX16" fmla="*/ 2321420 w 2426659"/>
                <a:gd name="connsiteY16" fmla="*/ 3927997 h 6554774"/>
                <a:gd name="connsiteX17" fmla="*/ 1443662 w 2426659"/>
                <a:gd name="connsiteY17" fmla="*/ 6411930 h 6554774"/>
                <a:gd name="connsiteX18" fmla="*/ 1442602 w 2426659"/>
                <a:gd name="connsiteY18" fmla="*/ 6554774 h 6554774"/>
                <a:gd name="connsiteX19" fmla="*/ 1709118 w 2426659"/>
                <a:gd name="connsiteY19" fmla="*/ 5854749 h 6554774"/>
                <a:gd name="connsiteX20" fmla="*/ 2426659 w 2426659"/>
                <a:gd name="connsiteY20" fmla="*/ 3927997 h 6554774"/>
                <a:gd name="connsiteX21" fmla="*/ 2143125 w 2426659"/>
                <a:gd name="connsiteY21" fmla="*/ 2721429 h 6554774"/>
                <a:gd name="connsiteX22" fmla="*/ 2143125 w 2426659"/>
                <a:gd name="connsiteY22" fmla="*/ 2721429 h 6554774"/>
                <a:gd name="connsiteX23" fmla="*/ 2211161 w 2426659"/>
                <a:gd name="connsiteY23" fmla="*/ 2653393 h 6554774"/>
                <a:gd name="connsiteX24" fmla="*/ 2126117 w 2426659"/>
                <a:gd name="connsiteY24" fmla="*/ 2661897 h 6554774"/>
                <a:gd name="connsiteX25" fmla="*/ 722880 w 2426659"/>
                <a:gd name="connsiteY25" fmla="*/ 1241652 h 6554774"/>
                <a:gd name="connsiteX26" fmla="*/ 765402 w 2426659"/>
                <a:gd name="connsiteY26" fmla="*/ 1182121 h 6554774"/>
                <a:gd name="connsiteX27" fmla="*/ 1071563 w 2426659"/>
                <a:gd name="connsiteY27" fmla="*/ 884464 h 6554774"/>
                <a:gd name="connsiteX28" fmla="*/ 1071563 w 2426659"/>
                <a:gd name="connsiteY28" fmla="*/ 884464 h 6554774"/>
                <a:gd name="connsiteX29" fmla="*/ 697367 w 2426659"/>
                <a:gd name="connsiteY29" fmla="*/ 1207634 h 6554774"/>
                <a:gd name="connsiteX30" fmla="*/ 127567 w 2426659"/>
                <a:gd name="connsiteY30" fmla="*/ 629330 h 6554774"/>
                <a:gd name="connsiteX31" fmla="*/ 83280 w 2426659"/>
                <a:gd name="connsiteY31" fmla="*/ 190164 h 6554774"/>
                <a:gd name="connsiteX32" fmla="*/ 221893 w 2426659"/>
                <a:gd name="connsiteY32" fmla="*/ 52620 h 6554774"/>
                <a:gd name="connsiteX33" fmla="*/ 161585 w 2426659"/>
                <a:gd name="connsiteY33" fmla="*/ 0 h 6554774"/>
                <a:gd name="connsiteX0" fmla="*/ 161585 w 2426659"/>
                <a:gd name="connsiteY0" fmla="*/ 0 h 6554774"/>
                <a:gd name="connsiteX1" fmla="*/ 0 w 2426659"/>
                <a:gd name="connsiteY1" fmla="*/ 161585 h 6554774"/>
                <a:gd name="connsiteX2" fmla="*/ 42523 w 2426659"/>
                <a:gd name="connsiteY2" fmla="*/ 680357 h 6554774"/>
                <a:gd name="connsiteX3" fmla="*/ 2066585 w 2426659"/>
                <a:gd name="connsiteY3" fmla="*/ 2712924 h 6554774"/>
                <a:gd name="connsiteX4" fmla="*/ 2160134 w 2426659"/>
                <a:gd name="connsiteY4" fmla="*/ 3206183 h 6554774"/>
                <a:gd name="connsiteX5" fmla="*/ 782411 w 2426659"/>
                <a:gd name="connsiteY5" fmla="*/ 3529353 h 6554774"/>
                <a:gd name="connsiteX6" fmla="*/ 518773 w 2426659"/>
                <a:gd name="connsiteY6" fmla="*/ 3520848 h 6554774"/>
                <a:gd name="connsiteX7" fmla="*/ 527277 w 2426659"/>
                <a:gd name="connsiteY7" fmla="*/ 3580380 h 6554774"/>
                <a:gd name="connsiteX8" fmla="*/ 782411 w 2426659"/>
                <a:gd name="connsiteY8" fmla="*/ 3597388 h 6554774"/>
                <a:gd name="connsiteX9" fmla="*/ 1224643 w 2426659"/>
                <a:gd name="connsiteY9" fmla="*/ 3486830 h 6554774"/>
                <a:gd name="connsiteX10" fmla="*/ 1250157 w 2426659"/>
                <a:gd name="connsiteY10" fmla="*/ 3546362 h 6554774"/>
                <a:gd name="connsiteX11" fmla="*/ 1352210 w 2426659"/>
                <a:gd name="connsiteY11" fmla="*/ 3639911 h 6554774"/>
                <a:gd name="connsiteX12" fmla="*/ 1411742 w 2426659"/>
                <a:gd name="connsiteY12" fmla="*/ 3554866 h 6554774"/>
                <a:gd name="connsiteX13" fmla="*/ 1318192 w 2426659"/>
                <a:gd name="connsiteY13" fmla="*/ 3503839 h 6554774"/>
                <a:gd name="connsiteX14" fmla="*/ 1318192 w 2426659"/>
                <a:gd name="connsiteY14" fmla="*/ 3461317 h 6554774"/>
                <a:gd name="connsiteX15" fmla="*/ 2194152 w 2426659"/>
                <a:gd name="connsiteY15" fmla="*/ 3257210 h 6554774"/>
                <a:gd name="connsiteX16" fmla="*/ 2321420 w 2426659"/>
                <a:gd name="connsiteY16" fmla="*/ 3927997 h 6554774"/>
                <a:gd name="connsiteX17" fmla="*/ 1443662 w 2426659"/>
                <a:gd name="connsiteY17" fmla="*/ 6411930 h 6554774"/>
                <a:gd name="connsiteX18" fmla="*/ 1442602 w 2426659"/>
                <a:gd name="connsiteY18" fmla="*/ 6554774 h 6554774"/>
                <a:gd name="connsiteX19" fmla="*/ 1967433 w 2426659"/>
                <a:gd name="connsiteY19" fmla="*/ 6528178 h 6554774"/>
                <a:gd name="connsiteX20" fmla="*/ 2426659 w 2426659"/>
                <a:gd name="connsiteY20" fmla="*/ 3927997 h 6554774"/>
                <a:gd name="connsiteX21" fmla="*/ 2143125 w 2426659"/>
                <a:gd name="connsiteY21" fmla="*/ 2721429 h 6554774"/>
                <a:gd name="connsiteX22" fmla="*/ 2143125 w 2426659"/>
                <a:gd name="connsiteY22" fmla="*/ 2721429 h 6554774"/>
                <a:gd name="connsiteX23" fmla="*/ 2211161 w 2426659"/>
                <a:gd name="connsiteY23" fmla="*/ 2653393 h 6554774"/>
                <a:gd name="connsiteX24" fmla="*/ 2126117 w 2426659"/>
                <a:gd name="connsiteY24" fmla="*/ 2661897 h 6554774"/>
                <a:gd name="connsiteX25" fmla="*/ 722880 w 2426659"/>
                <a:gd name="connsiteY25" fmla="*/ 1241652 h 6554774"/>
                <a:gd name="connsiteX26" fmla="*/ 765402 w 2426659"/>
                <a:gd name="connsiteY26" fmla="*/ 1182121 h 6554774"/>
                <a:gd name="connsiteX27" fmla="*/ 1071563 w 2426659"/>
                <a:gd name="connsiteY27" fmla="*/ 884464 h 6554774"/>
                <a:gd name="connsiteX28" fmla="*/ 1071563 w 2426659"/>
                <a:gd name="connsiteY28" fmla="*/ 884464 h 6554774"/>
                <a:gd name="connsiteX29" fmla="*/ 697367 w 2426659"/>
                <a:gd name="connsiteY29" fmla="*/ 1207634 h 6554774"/>
                <a:gd name="connsiteX30" fmla="*/ 127567 w 2426659"/>
                <a:gd name="connsiteY30" fmla="*/ 629330 h 6554774"/>
                <a:gd name="connsiteX31" fmla="*/ 83280 w 2426659"/>
                <a:gd name="connsiteY31" fmla="*/ 190164 h 6554774"/>
                <a:gd name="connsiteX32" fmla="*/ 221893 w 2426659"/>
                <a:gd name="connsiteY32" fmla="*/ 52620 h 6554774"/>
                <a:gd name="connsiteX33" fmla="*/ 161585 w 2426659"/>
                <a:gd name="connsiteY33" fmla="*/ 0 h 6554774"/>
                <a:gd name="connsiteX0" fmla="*/ 161585 w 2426659"/>
                <a:gd name="connsiteY0" fmla="*/ 0 h 6554774"/>
                <a:gd name="connsiteX1" fmla="*/ 0 w 2426659"/>
                <a:gd name="connsiteY1" fmla="*/ 161585 h 6554774"/>
                <a:gd name="connsiteX2" fmla="*/ 42523 w 2426659"/>
                <a:gd name="connsiteY2" fmla="*/ 680357 h 6554774"/>
                <a:gd name="connsiteX3" fmla="*/ 2066585 w 2426659"/>
                <a:gd name="connsiteY3" fmla="*/ 2712924 h 6554774"/>
                <a:gd name="connsiteX4" fmla="*/ 2160134 w 2426659"/>
                <a:gd name="connsiteY4" fmla="*/ 3206183 h 6554774"/>
                <a:gd name="connsiteX5" fmla="*/ 782411 w 2426659"/>
                <a:gd name="connsiteY5" fmla="*/ 3529353 h 6554774"/>
                <a:gd name="connsiteX6" fmla="*/ 518773 w 2426659"/>
                <a:gd name="connsiteY6" fmla="*/ 3520848 h 6554774"/>
                <a:gd name="connsiteX7" fmla="*/ 527277 w 2426659"/>
                <a:gd name="connsiteY7" fmla="*/ 3580380 h 6554774"/>
                <a:gd name="connsiteX8" fmla="*/ 782411 w 2426659"/>
                <a:gd name="connsiteY8" fmla="*/ 3597388 h 6554774"/>
                <a:gd name="connsiteX9" fmla="*/ 1224643 w 2426659"/>
                <a:gd name="connsiteY9" fmla="*/ 3486830 h 6554774"/>
                <a:gd name="connsiteX10" fmla="*/ 1250157 w 2426659"/>
                <a:gd name="connsiteY10" fmla="*/ 3546362 h 6554774"/>
                <a:gd name="connsiteX11" fmla="*/ 1352210 w 2426659"/>
                <a:gd name="connsiteY11" fmla="*/ 3639911 h 6554774"/>
                <a:gd name="connsiteX12" fmla="*/ 1411742 w 2426659"/>
                <a:gd name="connsiteY12" fmla="*/ 3554866 h 6554774"/>
                <a:gd name="connsiteX13" fmla="*/ 1318192 w 2426659"/>
                <a:gd name="connsiteY13" fmla="*/ 3503839 h 6554774"/>
                <a:gd name="connsiteX14" fmla="*/ 1318192 w 2426659"/>
                <a:gd name="connsiteY14" fmla="*/ 3461317 h 6554774"/>
                <a:gd name="connsiteX15" fmla="*/ 2194152 w 2426659"/>
                <a:gd name="connsiteY15" fmla="*/ 3257210 h 6554774"/>
                <a:gd name="connsiteX16" fmla="*/ 2321420 w 2426659"/>
                <a:gd name="connsiteY16" fmla="*/ 3927997 h 6554774"/>
                <a:gd name="connsiteX17" fmla="*/ 1642148 w 2426659"/>
                <a:gd name="connsiteY17" fmla="*/ 5854749 h 6554774"/>
                <a:gd name="connsiteX18" fmla="*/ 1443662 w 2426659"/>
                <a:gd name="connsiteY18" fmla="*/ 6411930 h 6554774"/>
                <a:gd name="connsiteX19" fmla="*/ 1442602 w 2426659"/>
                <a:gd name="connsiteY19" fmla="*/ 6554774 h 6554774"/>
                <a:gd name="connsiteX20" fmla="*/ 1967433 w 2426659"/>
                <a:gd name="connsiteY20" fmla="*/ 6528178 h 6554774"/>
                <a:gd name="connsiteX21" fmla="*/ 2426659 w 2426659"/>
                <a:gd name="connsiteY21" fmla="*/ 3927997 h 6554774"/>
                <a:gd name="connsiteX22" fmla="*/ 2143125 w 2426659"/>
                <a:gd name="connsiteY22" fmla="*/ 2721429 h 6554774"/>
                <a:gd name="connsiteX23" fmla="*/ 2143125 w 2426659"/>
                <a:gd name="connsiteY23" fmla="*/ 2721429 h 6554774"/>
                <a:gd name="connsiteX24" fmla="*/ 2211161 w 2426659"/>
                <a:gd name="connsiteY24" fmla="*/ 2653393 h 6554774"/>
                <a:gd name="connsiteX25" fmla="*/ 2126117 w 2426659"/>
                <a:gd name="connsiteY25" fmla="*/ 2661897 h 6554774"/>
                <a:gd name="connsiteX26" fmla="*/ 722880 w 2426659"/>
                <a:gd name="connsiteY26" fmla="*/ 1241652 h 6554774"/>
                <a:gd name="connsiteX27" fmla="*/ 765402 w 2426659"/>
                <a:gd name="connsiteY27" fmla="*/ 1182121 h 6554774"/>
                <a:gd name="connsiteX28" fmla="*/ 1071563 w 2426659"/>
                <a:gd name="connsiteY28" fmla="*/ 884464 h 6554774"/>
                <a:gd name="connsiteX29" fmla="*/ 1071563 w 2426659"/>
                <a:gd name="connsiteY29" fmla="*/ 884464 h 6554774"/>
                <a:gd name="connsiteX30" fmla="*/ 697367 w 2426659"/>
                <a:gd name="connsiteY30" fmla="*/ 1207634 h 6554774"/>
                <a:gd name="connsiteX31" fmla="*/ 127567 w 2426659"/>
                <a:gd name="connsiteY31" fmla="*/ 629330 h 6554774"/>
                <a:gd name="connsiteX32" fmla="*/ 83280 w 2426659"/>
                <a:gd name="connsiteY32" fmla="*/ 190164 h 6554774"/>
                <a:gd name="connsiteX33" fmla="*/ 221893 w 2426659"/>
                <a:gd name="connsiteY33" fmla="*/ 52620 h 6554774"/>
                <a:gd name="connsiteX34" fmla="*/ 161585 w 2426659"/>
                <a:gd name="connsiteY34" fmla="*/ 0 h 6554774"/>
                <a:gd name="connsiteX0" fmla="*/ 161585 w 2426659"/>
                <a:gd name="connsiteY0" fmla="*/ 0 h 6554774"/>
                <a:gd name="connsiteX1" fmla="*/ 0 w 2426659"/>
                <a:gd name="connsiteY1" fmla="*/ 161585 h 6554774"/>
                <a:gd name="connsiteX2" fmla="*/ 42523 w 2426659"/>
                <a:gd name="connsiteY2" fmla="*/ 680357 h 6554774"/>
                <a:gd name="connsiteX3" fmla="*/ 2066585 w 2426659"/>
                <a:gd name="connsiteY3" fmla="*/ 2712924 h 6554774"/>
                <a:gd name="connsiteX4" fmla="*/ 2160134 w 2426659"/>
                <a:gd name="connsiteY4" fmla="*/ 3206183 h 6554774"/>
                <a:gd name="connsiteX5" fmla="*/ 782411 w 2426659"/>
                <a:gd name="connsiteY5" fmla="*/ 3529353 h 6554774"/>
                <a:gd name="connsiteX6" fmla="*/ 518773 w 2426659"/>
                <a:gd name="connsiteY6" fmla="*/ 3520848 h 6554774"/>
                <a:gd name="connsiteX7" fmla="*/ 527277 w 2426659"/>
                <a:gd name="connsiteY7" fmla="*/ 3580380 h 6554774"/>
                <a:gd name="connsiteX8" fmla="*/ 782411 w 2426659"/>
                <a:gd name="connsiteY8" fmla="*/ 3597388 h 6554774"/>
                <a:gd name="connsiteX9" fmla="*/ 1224643 w 2426659"/>
                <a:gd name="connsiteY9" fmla="*/ 3486830 h 6554774"/>
                <a:gd name="connsiteX10" fmla="*/ 1250157 w 2426659"/>
                <a:gd name="connsiteY10" fmla="*/ 3546362 h 6554774"/>
                <a:gd name="connsiteX11" fmla="*/ 1352210 w 2426659"/>
                <a:gd name="connsiteY11" fmla="*/ 3639911 h 6554774"/>
                <a:gd name="connsiteX12" fmla="*/ 1411742 w 2426659"/>
                <a:gd name="connsiteY12" fmla="*/ 3554866 h 6554774"/>
                <a:gd name="connsiteX13" fmla="*/ 1318192 w 2426659"/>
                <a:gd name="connsiteY13" fmla="*/ 3503839 h 6554774"/>
                <a:gd name="connsiteX14" fmla="*/ 1318192 w 2426659"/>
                <a:gd name="connsiteY14" fmla="*/ 3461317 h 6554774"/>
                <a:gd name="connsiteX15" fmla="*/ 2194152 w 2426659"/>
                <a:gd name="connsiteY15" fmla="*/ 3257210 h 6554774"/>
                <a:gd name="connsiteX16" fmla="*/ 2321420 w 2426659"/>
                <a:gd name="connsiteY16" fmla="*/ 3927997 h 6554774"/>
                <a:gd name="connsiteX17" fmla="*/ 1881328 w 2426659"/>
                <a:gd name="connsiteY17" fmla="*/ 6434646 h 6554774"/>
                <a:gd name="connsiteX18" fmla="*/ 1443662 w 2426659"/>
                <a:gd name="connsiteY18" fmla="*/ 6411930 h 6554774"/>
                <a:gd name="connsiteX19" fmla="*/ 1442602 w 2426659"/>
                <a:gd name="connsiteY19" fmla="*/ 6554774 h 6554774"/>
                <a:gd name="connsiteX20" fmla="*/ 1967433 w 2426659"/>
                <a:gd name="connsiteY20" fmla="*/ 6528178 h 6554774"/>
                <a:gd name="connsiteX21" fmla="*/ 2426659 w 2426659"/>
                <a:gd name="connsiteY21" fmla="*/ 3927997 h 6554774"/>
                <a:gd name="connsiteX22" fmla="*/ 2143125 w 2426659"/>
                <a:gd name="connsiteY22" fmla="*/ 2721429 h 6554774"/>
                <a:gd name="connsiteX23" fmla="*/ 2143125 w 2426659"/>
                <a:gd name="connsiteY23" fmla="*/ 2721429 h 6554774"/>
                <a:gd name="connsiteX24" fmla="*/ 2211161 w 2426659"/>
                <a:gd name="connsiteY24" fmla="*/ 2653393 h 6554774"/>
                <a:gd name="connsiteX25" fmla="*/ 2126117 w 2426659"/>
                <a:gd name="connsiteY25" fmla="*/ 2661897 h 6554774"/>
                <a:gd name="connsiteX26" fmla="*/ 722880 w 2426659"/>
                <a:gd name="connsiteY26" fmla="*/ 1241652 h 6554774"/>
                <a:gd name="connsiteX27" fmla="*/ 765402 w 2426659"/>
                <a:gd name="connsiteY27" fmla="*/ 1182121 h 6554774"/>
                <a:gd name="connsiteX28" fmla="*/ 1071563 w 2426659"/>
                <a:gd name="connsiteY28" fmla="*/ 884464 h 6554774"/>
                <a:gd name="connsiteX29" fmla="*/ 1071563 w 2426659"/>
                <a:gd name="connsiteY29" fmla="*/ 884464 h 6554774"/>
                <a:gd name="connsiteX30" fmla="*/ 697367 w 2426659"/>
                <a:gd name="connsiteY30" fmla="*/ 1207634 h 6554774"/>
                <a:gd name="connsiteX31" fmla="*/ 127567 w 2426659"/>
                <a:gd name="connsiteY31" fmla="*/ 629330 h 6554774"/>
                <a:gd name="connsiteX32" fmla="*/ 83280 w 2426659"/>
                <a:gd name="connsiteY32" fmla="*/ 190164 h 6554774"/>
                <a:gd name="connsiteX33" fmla="*/ 221893 w 2426659"/>
                <a:gd name="connsiteY33" fmla="*/ 52620 h 6554774"/>
                <a:gd name="connsiteX34" fmla="*/ 161585 w 2426659"/>
                <a:gd name="connsiteY34" fmla="*/ 0 h 6554774"/>
                <a:gd name="connsiteX0" fmla="*/ 161585 w 2426659"/>
                <a:gd name="connsiteY0" fmla="*/ 0 h 6554774"/>
                <a:gd name="connsiteX1" fmla="*/ 0 w 2426659"/>
                <a:gd name="connsiteY1" fmla="*/ 161585 h 6554774"/>
                <a:gd name="connsiteX2" fmla="*/ 42523 w 2426659"/>
                <a:gd name="connsiteY2" fmla="*/ 680357 h 6554774"/>
                <a:gd name="connsiteX3" fmla="*/ 2066585 w 2426659"/>
                <a:gd name="connsiteY3" fmla="*/ 2712924 h 6554774"/>
                <a:gd name="connsiteX4" fmla="*/ 2160134 w 2426659"/>
                <a:gd name="connsiteY4" fmla="*/ 3206183 h 6554774"/>
                <a:gd name="connsiteX5" fmla="*/ 782411 w 2426659"/>
                <a:gd name="connsiteY5" fmla="*/ 3529353 h 6554774"/>
                <a:gd name="connsiteX6" fmla="*/ 518773 w 2426659"/>
                <a:gd name="connsiteY6" fmla="*/ 3520848 h 6554774"/>
                <a:gd name="connsiteX7" fmla="*/ 527277 w 2426659"/>
                <a:gd name="connsiteY7" fmla="*/ 3580380 h 6554774"/>
                <a:gd name="connsiteX8" fmla="*/ 782411 w 2426659"/>
                <a:gd name="connsiteY8" fmla="*/ 3597388 h 6554774"/>
                <a:gd name="connsiteX9" fmla="*/ 1224643 w 2426659"/>
                <a:gd name="connsiteY9" fmla="*/ 3486830 h 6554774"/>
                <a:gd name="connsiteX10" fmla="*/ 1250157 w 2426659"/>
                <a:gd name="connsiteY10" fmla="*/ 3546362 h 6554774"/>
                <a:gd name="connsiteX11" fmla="*/ 1352210 w 2426659"/>
                <a:gd name="connsiteY11" fmla="*/ 3639911 h 6554774"/>
                <a:gd name="connsiteX12" fmla="*/ 1411742 w 2426659"/>
                <a:gd name="connsiteY12" fmla="*/ 3554866 h 6554774"/>
                <a:gd name="connsiteX13" fmla="*/ 1318192 w 2426659"/>
                <a:gd name="connsiteY13" fmla="*/ 3503839 h 6554774"/>
                <a:gd name="connsiteX14" fmla="*/ 1318192 w 2426659"/>
                <a:gd name="connsiteY14" fmla="*/ 3461317 h 6554774"/>
                <a:gd name="connsiteX15" fmla="*/ 2194152 w 2426659"/>
                <a:gd name="connsiteY15" fmla="*/ 3257210 h 6554774"/>
                <a:gd name="connsiteX16" fmla="*/ 2321420 w 2426659"/>
                <a:gd name="connsiteY16" fmla="*/ 3927997 h 6554774"/>
                <a:gd name="connsiteX17" fmla="*/ 1881328 w 2426659"/>
                <a:gd name="connsiteY17" fmla="*/ 6434646 h 6554774"/>
                <a:gd name="connsiteX18" fmla="*/ 1443662 w 2426659"/>
                <a:gd name="connsiteY18" fmla="*/ 6411930 h 6554774"/>
                <a:gd name="connsiteX19" fmla="*/ 1442602 w 2426659"/>
                <a:gd name="connsiteY19" fmla="*/ 6554774 h 6554774"/>
                <a:gd name="connsiteX20" fmla="*/ 1967433 w 2426659"/>
                <a:gd name="connsiteY20" fmla="*/ 6528178 h 6554774"/>
                <a:gd name="connsiteX21" fmla="*/ 2264017 w 2426659"/>
                <a:gd name="connsiteY21" fmla="*/ 4825901 h 6554774"/>
                <a:gd name="connsiteX22" fmla="*/ 2426659 w 2426659"/>
                <a:gd name="connsiteY22" fmla="*/ 3927997 h 6554774"/>
                <a:gd name="connsiteX23" fmla="*/ 2143125 w 2426659"/>
                <a:gd name="connsiteY23" fmla="*/ 2721429 h 6554774"/>
                <a:gd name="connsiteX24" fmla="*/ 2143125 w 2426659"/>
                <a:gd name="connsiteY24" fmla="*/ 2721429 h 6554774"/>
                <a:gd name="connsiteX25" fmla="*/ 2211161 w 2426659"/>
                <a:gd name="connsiteY25" fmla="*/ 2653393 h 6554774"/>
                <a:gd name="connsiteX26" fmla="*/ 2126117 w 2426659"/>
                <a:gd name="connsiteY26" fmla="*/ 2661897 h 6554774"/>
                <a:gd name="connsiteX27" fmla="*/ 722880 w 2426659"/>
                <a:gd name="connsiteY27" fmla="*/ 1241652 h 6554774"/>
                <a:gd name="connsiteX28" fmla="*/ 765402 w 2426659"/>
                <a:gd name="connsiteY28" fmla="*/ 1182121 h 6554774"/>
                <a:gd name="connsiteX29" fmla="*/ 1071563 w 2426659"/>
                <a:gd name="connsiteY29" fmla="*/ 884464 h 6554774"/>
                <a:gd name="connsiteX30" fmla="*/ 1071563 w 2426659"/>
                <a:gd name="connsiteY30" fmla="*/ 884464 h 6554774"/>
                <a:gd name="connsiteX31" fmla="*/ 697367 w 2426659"/>
                <a:gd name="connsiteY31" fmla="*/ 1207634 h 6554774"/>
                <a:gd name="connsiteX32" fmla="*/ 127567 w 2426659"/>
                <a:gd name="connsiteY32" fmla="*/ 629330 h 6554774"/>
                <a:gd name="connsiteX33" fmla="*/ 83280 w 2426659"/>
                <a:gd name="connsiteY33" fmla="*/ 190164 h 6554774"/>
                <a:gd name="connsiteX34" fmla="*/ 221893 w 2426659"/>
                <a:gd name="connsiteY34" fmla="*/ 52620 h 6554774"/>
                <a:gd name="connsiteX35" fmla="*/ 161585 w 2426659"/>
                <a:gd name="connsiteY35" fmla="*/ 0 h 6554774"/>
                <a:gd name="connsiteX0" fmla="*/ 161585 w 2608437"/>
                <a:gd name="connsiteY0" fmla="*/ 0 h 6554774"/>
                <a:gd name="connsiteX1" fmla="*/ 0 w 2608437"/>
                <a:gd name="connsiteY1" fmla="*/ 161585 h 6554774"/>
                <a:gd name="connsiteX2" fmla="*/ 42523 w 2608437"/>
                <a:gd name="connsiteY2" fmla="*/ 680357 h 6554774"/>
                <a:gd name="connsiteX3" fmla="*/ 2066585 w 2608437"/>
                <a:gd name="connsiteY3" fmla="*/ 2712924 h 6554774"/>
                <a:gd name="connsiteX4" fmla="*/ 2160134 w 2608437"/>
                <a:gd name="connsiteY4" fmla="*/ 3206183 h 6554774"/>
                <a:gd name="connsiteX5" fmla="*/ 782411 w 2608437"/>
                <a:gd name="connsiteY5" fmla="*/ 3529353 h 6554774"/>
                <a:gd name="connsiteX6" fmla="*/ 518773 w 2608437"/>
                <a:gd name="connsiteY6" fmla="*/ 3520848 h 6554774"/>
                <a:gd name="connsiteX7" fmla="*/ 527277 w 2608437"/>
                <a:gd name="connsiteY7" fmla="*/ 3580380 h 6554774"/>
                <a:gd name="connsiteX8" fmla="*/ 782411 w 2608437"/>
                <a:gd name="connsiteY8" fmla="*/ 3597388 h 6554774"/>
                <a:gd name="connsiteX9" fmla="*/ 1224643 w 2608437"/>
                <a:gd name="connsiteY9" fmla="*/ 3486830 h 6554774"/>
                <a:gd name="connsiteX10" fmla="*/ 1250157 w 2608437"/>
                <a:gd name="connsiteY10" fmla="*/ 3546362 h 6554774"/>
                <a:gd name="connsiteX11" fmla="*/ 1352210 w 2608437"/>
                <a:gd name="connsiteY11" fmla="*/ 3639911 h 6554774"/>
                <a:gd name="connsiteX12" fmla="*/ 1411742 w 2608437"/>
                <a:gd name="connsiteY12" fmla="*/ 3554866 h 6554774"/>
                <a:gd name="connsiteX13" fmla="*/ 1318192 w 2608437"/>
                <a:gd name="connsiteY13" fmla="*/ 3503839 h 6554774"/>
                <a:gd name="connsiteX14" fmla="*/ 1318192 w 2608437"/>
                <a:gd name="connsiteY14" fmla="*/ 3461317 h 6554774"/>
                <a:gd name="connsiteX15" fmla="*/ 2194152 w 2608437"/>
                <a:gd name="connsiteY15" fmla="*/ 3257210 h 6554774"/>
                <a:gd name="connsiteX16" fmla="*/ 2321420 w 2608437"/>
                <a:gd name="connsiteY16" fmla="*/ 3927997 h 6554774"/>
                <a:gd name="connsiteX17" fmla="*/ 1881328 w 2608437"/>
                <a:gd name="connsiteY17" fmla="*/ 6434646 h 6554774"/>
                <a:gd name="connsiteX18" fmla="*/ 1443662 w 2608437"/>
                <a:gd name="connsiteY18" fmla="*/ 6411930 h 6554774"/>
                <a:gd name="connsiteX19" fmla="*/ 1442602 w 2608437"/>
                <a:gd name="connsiteY19" fmla="*/ 6554774 h 6554774"/>
                <a:gd name="connsiteX20" fmla="*/ 1967433 w 2608437"/>
                <a:gd name="connsiteY20" fmla="*/ 6528178 h 6554774"/>
                <a:gd name="connsiteX21" fmla="*/ 2608437 w 2608437"/>
                <a:gd name="connsiteY21" fmla="*/ 4648191 h 6554774"/>
                <a:gd name="connsiteX22" fmla="*/ 2426659 w 2608437"/>
                <a:gd name="connsiteY22" fmla="*/ 3927997 h 6554774"/>
                <a:gd name="connsiteX23" fmla="*/ 2143125 w 2608437"/>
                <a:gd name="connsiteY23" fmla="*/ 2721429 h 6554774"/>
                <a:gd name="connsiteX24" fmla="*/ 2143125 w 2608437"/>
                <a:gd name="connsiteY24" fmla="*/ 2721429 h 6554774"/>
                <a:gd name="connsiteX25" fmla="*/ 2211161 w 2608437"/>
                <a:gd name="connsiteY25" fmla="*/ 2653393 h 6554774"/>
                <a:gd name="connsiteX26" fmla="*/ 2126117 w 2608437"/>
                <a:gd name="connsiteY26" fmla="*/ 2661897 h 6554774"/>
                <a:gd name="connsiteX27" fmla="*/ 722880 w 2608437"/>
                <a:gd name="connsiteY27" fmla="*/ 1241652 h 6554774"/>
                <a:gd name="connsiteX28" fmla="*/ 765402 w 2608437"/>
                <a:gd name="connsiteY28" fmla="*/ 1182121 h 6554774"/>
                <a:gd name="connsiteX29" fmla="*/ 1071563 w 2608437"/>
                <a:gd name="connsiteY29" fmla="*/ 884464 h 6554774"/>
                <a:gd name="connsiteX30" fmla="*/ 1071563 w 2608437"/>
                <a:gd name="connsiteY30" fmla="*/ 884464 h 6554774"/>
                <a:gd name="connsiteX31" fmla="*/ 697367 w 2608437"/>
                <a:gd name="connsiteY31" fmla="*/ 1207634 h 6554774"/>
                <a:gd name="connsiteX32" fmla="*/ 127567 w 2608437"/>
                <a:gd name="connsiteY32" fmla="*/ 629330 h 6554774"/>
                <a:gd name="connsiteX33" fmla="*/ 83280 w 2608437"/>
                <a:gd name="connsiteY33" fmla="*/ 190164 h 6554774"/>
                <a:gd name="connsiteX34" fmla="*/ 221893 w 2608437"/>
                <a:gd name="connsiteY34" fmla="*/ 52620 h 6554774"/>
                <a:gd name="connsiteX35" fmla="*/ 161585 w 2608437"/>
                <a:gd name="connsiteY35" fmla="*/ 0 h 6554774"/>
                <a:gd name="connsiteX0" fmla="*/ 161585 w 2608437"/>
                <a:gd name="connsiteY0" fmla="*/ 0 h 6554774"/>
                <a:gd name="connsiteX1" fmla="*/ 0 w 2608437"/>
                <a:gd name="connsiteY1" fmla="*/ 161585 h 6554774"/>
                <a:gd name="connsiteX2" fmla="*/ 42523 w 2608437"/>
                <a:gd name="connsiteY2" fmla="*/ 680357 h 6554774"/>
                <a:gd name="connsiteX3" fmla="*/ 2066585 w 2608437"/>
                <a:gd name="connsiteY3" fmla="*/ 2712924 h 6554774"/>
                <a:gd name="connsiteX4" fmla="*/ 2160134 w 2608437"/>
                <a:gd name="connsiteY4" fmla="*/ 3206183 h 6554774"/>
                <a:gd name="connsiteX5" fmla="*/ 782411 w 2608437"/>
                <a:gd name="connsiteY5" fmla="*/ 3529353 h 6554774"/>
                <a:gd name="connsiteX6" fmla="*/ 518773 w 2608437"/>
                <a:gd name="connsiteY6" fmla="*/ 3520848 h 6554774"/>
                <a:gd name="connsiteX7" fmla="*/ 527277 w 2608437"/>
                <a:gd name="connsiteY7" fmla="*/ 3580380 h 6554774"/>
                <a:gd name="connsiteX8" fmla="*/ 782411 w 2608437"/>
                <a:gd name="connsiteY8" fmla="*/ 3597388 h 6554774"/>
                <a:gd name="connsiteX9" fmla="*/ 1224643 w 2608437"/>
                <a:gd name="connsiteY9" fmla="*/ 3486830 h 6554774"/>
                <a:gd name="connsiteX10" fmla="*/ 1250157 w 2608437"/>
                <a:gd name="connsiteY10" fmla="*/ 3546362 h 6554774"/>
                <a:gd name="connsiteX11" fmla="*/ 1352210 w 2608437"/>
                <a:gd name="connsiteY11" fmla="*/ 3639911 h 6554774"/>
                <a:gd name="connsiteX12" fmla="*/ 1411742 w 2608437"/>
                <a:gd name="connsiteY12" fmla="*/ 3554866 h 6554774"/>
                <a:gd name="connsiteX13" fmla="*/ 1318192 w 2608437"/>
                <a:gd name="connsiteY13" fmla="*/ 3503839 h 6554774"/>
                <a:gd name="connsiteX14" fmla="*/ 1318192 w 2608437"/>
                <a:gd name="connsiteY14" fmla="*/ 3461317 h 6554774"/>
                <a:gd name="connsiteX15" fmla="*/ 2194152 w 2608437"/>
                <a:gd name="connsiteY15" fmla="*/ 3257210 h 6554774"/>
                <a:gd name="connsiteX16" fmla="*/ 2321420 w 2608437"/>
                <a:gd name="connsiteY16" fmla="*/ 3927997 h 6554774"/>
                <a:gd name="connsiteX17" fmla="*/ 2149210 w 2608437"/>
                <a:gd name="connsiteY17" fmla="*/ 4928786 h 6554774"/>
                <a:gd name="connsiteX18" fmla="*/ 1881328 w 2608437"/>
                <a:gd name="connsiteY18" fmla="*/ 6434646 h 6554774"/>
                <a:gd name="connsiteX19" fmla="*/ 1443662 w 2608437"/>
                <a:gd name="connsiteY19" fmla="*/ 6411930 h 6554774"/>
                <a:gd name="connsiteX20" fmla="*/ 1442602 w 2608437"/>
                <a:gd name="connsiteY20" fmla="*/ 6554774 h 6554774"/>
                <a:gd name="connsiteX21" fmla="*/ 1967433 w 2608437"/>
                <a:gd name="connsiteY21" fmla="*/ 6528178 h 6554774"/>
                <a:gd name="connsiteX22" fmla="*/ 2608437 w 2608437"/>
                <a:gd name="connsiteY22" fmla="*/ 4648191 h 6554774"/>
                <a:gd name="connsiteX23" fmla="*/ 2426659 w 2608437"/>
                <a:gd name="connsiteY23" fmla="*/ 3927997 h 6554774"/>
                <a:gd name="connsiteX24" fmla="*/ 2143125 w 2608437"/>
                <a:gd name="connsiteY24" fmla="*/ 2721429 h 6554774"/>
                <a:gd name="connsiteX25" fmla="*/ 2143125 w 2608437"/>
                <a:gd name="connsiteY25" fmla="*/ 2721429 h 6554774"/>
                <a:gd name="connsiteX26" fmla="*/ 2211161 w 2608437"/>
                <a:gd name="connsiteY26" fmla="*/ 2653393 h 6554774"/>
                <a:gd name="connsiteX27" fmla="*/ 2126117 w 2608437"/>
                <a:gd name="connsiteY27" fmla="*/ 2661897 h 6554774"/>
                <a:gd name="connsiteX28" fmla="*/ 722880 w 2608437"/>
                <a:gd name="connsiteY28" fmla="*/ 1241652 h 6554774"/>
                <a:gd name="connsiteX29" fmla="*/ 765402 w 2608437"/>
                <a:gd name="connsiteY29" fmla="*/ 1182121 h 6554774"/>
                <a:gd name="connsiteX30" fmla="*/ 1071563 w 2608437"/>
                <a:gd name="connsiteY30" fmla="*/ 884464 h 6554774"/>
                <a:gd name="connsiteX31" fmla="*/ 1071563 w 2608437"/>
                <a:gd name="connsiteY31" fmla="*/ 884464 h 6554774"/>
                <a:gd name="connsiteX32" fmla="*/ 697367 w 2608437"/>
                <a:gd name="connsiteY32" fmla="*/ 1207634 h 6554774"/>
                <a:gd name="connsiteX33" fmla="*/ 127567 w 2608437"/>
                <a:gd name="connsiteY33" fmla="*/ 629330 h 6554774"/>
                <a:gd name="connsiteX34" fmla="*/ 83280 w 2608437"/>
                <a:gd name="connsiteY34" fmla="*/ 190164 h 6554774"/>
                <a:gd name="connsiteX35" fmla="*/ 221893 w 2608437"/>
                <a:gd name="connsiteY35" fmla="*/ 52620 h 6554774"/>
                <a:gd name="connsiteX36" fmla="*/ 161585 w 2608437"/>
                <a:gd name="connsiteY36" fmla="*/ 0 h 6554774"/>
                <a:gd name="connsiteX0" fmla="*/ 161585 w 2608437"/>
                <a:gd name="connsiteY0" fmla="*/ 0 h 6554774"/>
                <a:gd name="connsiteX1" fmla="*/ 0 w 2608437"/>
                <a:gd name="connsiteY1" fmla="*/ 161585 h 6554774"/>
                <a:gd name="connsiteX2" fmla="*/ 42523 w 2608437"/>
                <a:gd name="connsiteY2" fmla="*/ 680357 h 6554774"/>
                <a:gd name="connsiteX3" fmla="*/ 2066585 w 2608437"/>
                <a:gd name="connsiteY3" fmla="*/ 2712924 h 6554774"/>
                <a:gd name="connsiteX4" fmla="*/ 2160134 w 2608437"/>
                <a:gd name="connsiteY4" fmla="*/ 3206183 h 6554774"/>
                <a:gd name="connsiteX5" fmla="*/ 782411 w 2608437"/>
                <a:gd name="connsiteY5" fmla="*/ 3529353 h 6554774"/>
                <a:gd name="connsiteX6" fmla="*/ 518773 w 2608437"/>
                <a:gd name="connsiteY6" fmla="*/ 3520848 h 6554774"/>
                <a:gd name="connsiteX7" fmla="*/ 527277 w 2608437"/>
                <a:gd name="connsiteY7" fmla="*/ 3580380 h 6554774"/>
                <a:gd name="connsiteX8" fmla="*/ 782411 w 2608437"/>
                <a:gd name="connsiteY8" fmla="*/ 3597388 h 6554774"/>
                <a:gd name="connsiteX9" fmla="*/ 1224643 w 2608437"/>
                <a:gd name="connsiteY9" fmla="*/ 3486830 h 6554774"/>
                <a:gd name="connsiteX10" fmla="*/ 1250157 w 2608437"/>
                <a:gd name="connsiteY10" fmla="*/ 3546362 h 6554774"/>
                <a:gd name="connsiteX11" fmla="*/ 1352210 w 2608437"/>
                <a:gd name="connsiteY11" fmla="*/ 3639911 h 6554774"/>
                <a:gd name="connsiteX12" fmla="*/ 1411742 w 2608437"/>
                <a:gd name="connsiteY12" fmla="*/ 3554866 h 6554774"/>
                <a:gd name="connsiteX13" fmla="*/ 1318192 w 2608437"/>
                <a:gd name="connsiteY13" fmla="*/ 3503839 h 6554774"/>
                <a:gd name="connsiteX14" fmla="*/ 1318192 w 2608437"/>
                <a:gd name="connsiteY14" fmla="*/ 3461317 h 6554774"/>
                <a:gd name="connsiteX15" fmla="*/ 2194152 w 2608437"/>
                <a:gd name="connsiteY15" fmla="*/ 3257210 h 6554774"/>
                <a:gd name="connsiteX16" fmla="*/ 2321420 w 2608437"/>
                <a:gd name="connsiteY16" fmla="*/ 3927997 h 6554774"/>
                <a:gd name="connsiteX17" fmla="*/ 2503198 w 2608437"/>
                <a:gd name="connsiteY17" fmla="*/ 4638838 h 6554774"/>
                <a:gd name="connsiteX18" fmla="*/ 1881328 w 2608437"/>
                <a:gd name="connsiteY18" fmla="*/ 6434646 h 6554774"/>
                <a:gd name="connsiteX19" fmla="*/ 1443662 w 2608437"/>
                <a:gd name="connsiteY19" fmla="*/ 6411930 h 6554774"/>
                <a:gd name="connsiteX20" fmla="*/ 1442602 w 2608437"/>
                <a:gd name="connsiteY20" fmla="*/ 6554774 h 6554774"/>
                <a:gd name="connsiteX21" fmla="*/ 1967433 w 2608437"/>
                <a:gd name="connsiteY21" fmla="*/ 6528178 h 6554774"/>
                <a:gd name="connsiteX22" fmla="*/ 2608437 w 2608437"/>
                <a:gd name="connsiteY22" fmla="*/ 4648191 h 6554774"/>
                <a:gd name="connsiteX23" fmla="*/ 2426659 w 2608437"/>
                <a:gd name="connsiteY23" fmla="*/ 3927997 h 6554774"/>
                <a:gd name="connsiteX24" fmla="*/ 2143125 w 2608437"/>
                <a:gd name="connsiteY24" fmla="*/ 2721429 h 6554774"/>
                <a:gd name="connsiteX25" fmla="*/ 2143125 w 2608437"/>
                <a:gd name="connsiteY25" fmla="*/ 2721429 h 6554774"/>
                <a:gd name="connsiteX26" fmla="*/ 2211161 w 2608437"/>
                <a:gd name="connsiteY26" fmla="*/ 2653393 h 6554774"/>
                <a:gd name="connsiteX27" fmla="*/ 2126117 w 2608437"/>
                <a:gd name="connsiteY27" fmla="*/ 2661897 h 6554774"/>
                <a:gd name="connsiteX28" fmla="*/ 722880 w 2608437"/>
                <a:gd name="connsiteY28" fmla="*/ 1241652 h 6554774"/>
                <a:gd name="connsiteX29" fmla="*/ 765402 w 2608437"/>
                <a:gd name="connsiteY29" fmla="*/ 1182121 h 6554774"/>
                <a:gd name="connsiteX30" fmla="*/ 1071563 w 2608437"/>
                <a:gd name="connsiteY30" fmla="*/ 884464 h 6554774"/>
                <a:gd name="connsiteX31" fmla="*/ 1071563 w 2608437"/>
                <a:gd name="connsiteY31" fmla="*/ 884464 h 6554774"/>
                <a:gd name="connsiteX32" fmla="*/ 697367 w 2608437"/>
                <a:gd name="connsiteY32" fmla="*/ 1207634 h 6554774"/>
                <a:gd name="connsiteX33" fmla="*/ 127567 w 2608437"/>
                <a:gd name="connsiteY33" fmla="*/ 629330 h 6554774"/>
                <a:gd name="connsiteX34" fmla="*/ 83280 w 2608437"/>
                <a:gd name="connsiteY34" fmla="*/ 190164 h 6554774"/>
                <a:gd name="connsiteX35" fmla="*/ 221893 w 2608437"/>
                <a:gd name="connsiteY35" fmla="*/ 52620 h 6554774"/>
                <a:gd name="connsiteX36" fmla="*/ 161585 w 2608437"/>
                <a:gd name="connsiteY36" fmla="*/ 0 h 6554774"/>
                <a:gd name="connsiteX0" fmla="*/ 161585 w 2608437"/>
                <a:gd name="connsiteY0" fmla="*/ 0 h 6531868"/>
                <a:gd name="connsiteX1" fmla="*/ 0 w 2608437"/>
                <a:gd name="connsiteY1" fmla="*/ 161585 h 6531868"/>
                <a:gd name="connsiteX2" fmla="*/ 42523 w 2608437"/>
                <a:gd name="connsiteY2" fmla="*/ 680357 h 6531868"/>
                <a:gd name="connsiteX3" fmla="*/ 2066585 w 2608437"/>
                <a:gd name="connsiteY3" fmla="*/ 2712924 h 6531868"/>
                <a:gd name="connsiteX4" fmla="*/ 2160134 w 2608437"/>
                <a:gd name="connsiteY4" fmla="*/ 3206183 h 6531868"/>
                <a:gd name="connsiteX5" fmla="*/ 782411 w 2608437"/>
                <a:gd name="connsiteY5" fmla="*/ 3529353 h 6531868"/>
                <a:gd name="connsiteX6" fmla="*/ 518773 w 2608437"/>
                <a:gd name="connsiteY6" fmla="*/ 3520848 h 6531868"/>
                <a:gd name="connsiteX7" fmla="*/ 527277 w 2608437"/>
                <a:gd name="connsiteY7" fmla="*/ 3580380 h 6531868"/>
                <a:gd name="connsiteX8" fmla="*/ 782411 w 2608437"/>
                <a:gd name="connsiteY8" fmla="*/ 3597388 h 6531868"/>
                <a:gd name="connsiteX9" fmla="*/ 1224643 w 2608437"/>
                <a:gd name="connsiteY9" fmla="*/ 3486830 h 6531868"/>
                <a:gd name="connsiteX10" fmla="*/ 1250157 w 2608437"/>
                <a:gd name="connsiteY10" fmla="*/ 3546362 h 6531868"/>
                <a:gd name="connsiteX11" fmla="*/ 1352210 w 2608437"/>
                <a:gd name="connsiteY11" fmla="*/ 3639911 h 6531868"/>
                <a:gd name="connsiteX12" fmla="*/ 1411742 w 2608437"/>
                <a:gd name="connsiteY12" fmla="*/ 3554866 h 6531868"/>
                <a:gd name="connsiteX13" fmla="*/ 1318192 w 2608437"/>
                <a:gd name="connsiteY13" fmla="*/ 3503839 h 6531868"/>
                <a:gd name="connsiteX14" fmla="*/ 1318192 w 2608437"/>
                <a:gd name="connsiteY14" fmla="*/ 3461317 h 6531868"/>
                <a:gd name="connsiteX15" fmla="*/ 2194152 w 2608437"/>
                <a:gd name="connsiteY15" fmla="*/ 3257210 h 6531868"/>
                <a:gd name="connsiteX16" fmla="*/ 2321420 w 2608437"/>
                <a:gd name="connsiteY16" fmla="*/ 3927997 h 6531868"/>
                <a:gd name="connsiteX17" fmla="*/ 2503198 w 2608437"/>
                <a:gd name="connsiteY17" fmla="*/ 4638838 h 6531868"/>
                <a:gd name="connsiteX18" fmla="*/ 1881328 w 2608437"/>
                <a:gd name="connsiteY18" fmla="*/ 6434646 h 6531868"/>
                <a:gd name="connsiteX19" fmla="*/ 1443662 w 2608437"/>
                <a:gd name="connsiteY19" fmla="*/ 6411930 h 6531868"/>
                <a:gd name="connsiteX20" fmla="*/ 1442602 w 2608437"/>
                <a:gd name="connsiteY20" fmla="*/ 6531868 h 6531868"/>
                <a:gd name="connsiteX21" fmla="*/ 1967433 w 2608437"/>
                <a:gd name="connsiteY21" fmla="*/ 6528178 h 6531868"/>
                <a:gd name="connsiteX22" fmla="*/ 2608437 w 2608437"/>
                <a:gd name="connsiteY22" fmla="*/ 4648191 h 6531868"/>
                <a:gd name="connsiteX23" fmla="*/ 2426659 w 2608437"/>
                <a:gd name="connsiteY23" fmla="*/ 3927997 h 6531868"/>
                <a:gd name="connsiteX24" fmla="*/ 2143125 w 2608437"/>
                <a:gd name="connsiteY24" fmla="*/ 2721429 h 6531868"/>
                <a:gd name="connsiteX25" fmla="*/ 2143125 w 2608437"/>
                <a:gd name="connsiteY25" fmla="*/ 2721429 h 6531868"/>
                <a:gd name="connsiteX26" fmla="*/ 2211161 w 2608437"/>
                <a:gd name="connsiteY26" fmla="*/ 2653393 h 6531868"/>
                <a:gd name="connsiteX27" fmla="*/ 2126117 w 2608437"/>
                <a:gd name="connsiteY27" fmla="*/ 2661897 h 6531868"/>
                <a:gd name="connsiteX28" fmla="*/ 722880 w 2608437"/>
                <a:gd name="connsiteY28" fmla="*/ 1241652 h 6531868"/>
                <a:gd name="connsiteX29" fmla="*/ 765402 w 2608437"/>
                <a:gd name="connsiteY29" fmla="*/ 1182121 h 6531868"/>
                <a:gd name="connsiteX30" fmla="*/ 1071563 w 2608437"/>
                <a:gd name="connsiteY30" fmla="*/ 884464 h 6531868"/>
                <a:gd name="connsiteX31" fmla="*/ 1071563 w 2608437"/>
                <a:gd name="connsiteY31" fmla="*/ 884464 h 6531868"/>
                <a:gd name="connsiteX32" fmla="*/ 697367 w 2608437"/>
                <a:gd name="connsiteY32" fmla="*/ 1207634 h 6531868"/>
                <a:gd name="connsiteX33" fmla="*/ 127567 w 2608437"/>
                <a:gd name="connsiteY33" fmla="*/ 629330 h 6531868"/>
                <a:gd name="connsiteX34" fmla="*/ 83280 w 2608437"/>
                <a:gd name="connsiteY34" fmla="*/ 190164 h 6531868"/>
                <a:gd name="connsiteX35" fmla="*/ 221893 w 2608437"/>
                <a:gd name="connsiteY35" fmla="*/ 52620 h 6531868"/>
                <a:gd name="connsiteX36" fmla="*/ 161585 w 2608437"/>
                <a:gd name="connsiteY36" fmla="*/ 0 h 6531868"/>
                <a:gd name="connsiteX0" fmla="*/ 161585 w 2608437"/>
                <a:gd name="connsiteY0" fmla="*/ 0 h 6531868"/>
                <a:gd name="connsiteX1" fmla="*/ 0 w 2608437"/>
                <a:gd name="connsiteY1" fmla="*/ 161585 h 6531868"/>
                <a:gd name="connsiteX2" fmla="*/ 42523 w 2608437"/>
                <a:gd name="connsiteY2" fmla="*/ 680357 h 6531868"/>
                <a:gd name="connsiteX3" fmla="*/ 2066585 w 2608437"/>
                <a:gd name="connsiteY3" fmla="*/ 2712924 h 6531868"/>
                <a:gd name="connsiteX4" fmla="*/ 2160134 w 2608437"/>
                <a:gd name="connsiteY4" fmla="*/ 3206183 h 6531868"/>
                <a:gd name="connsiteX5" fmla="*/ 782411 w 2608437"/>
                <a:gd name="connsiteY5" fmla="*/ 3529353 h 6531868"/>
                <a:gd name="connsiteX6" fmla="*/ 518773 w 2608437"/>
                <a:gd name="connsiteY6" fmla="*/ 3520848 h 6531868"/>
                <a:gd name="connsiteX7" fmla="*/ 527277 w 2608437"/>
                <a:gd name="connsiteY7" fmla="*/ 3580380 h 6531868"/>
                <a:gd name="connsiteX8" fmla="*/ 782411 w 2608437"/>
                <a:gd name="connsiteY8" fmla="*/ 3597388 h 6531868"/>
                <a:gd name="connsiteX9" fmla="*/ 1224643 w 2608437"/>
                <a:gd name="connsiteY9" fmla="*/ 3486830 h 6531868"/>
                <a:gd name="connsiteX10" fmla="*/ 1250157 w 2608437"/>
                <a:gd name="connsiteY10" fmla="*/ 3546362 h 6531868"/>
                <a:gd name="connsiteX11" fmla="*/ 1352210 w 2608437"/>
                <a:gd name="connsiteY11" fmla="*/ 3639911 h 6531868"/>
                <a:gd name="connsiteX12" fmla="*/ 1411742 w 2608437"/>
                <a:gd name="connsiteY12" fmla="*/ 3554866 h 6531868"/>
                <a:gd name="connsiteX13" fmla="*/ 1318192 w 2608437"/>
                <a:gd name="connsiteY13" fmla="*/ 3503839 h 6531868"/>
                <a:gd name="connsiteX14" fmla="*/ 1318192 w 2608437"/>
                <a:gd name="connsiteY14" fmla="*/ 3461317 h 6531868"/>
                <a:gd name="connsiteX15" fmla="*/ 2194152 w 2608437"/>
                <a:gd name="connsiteY15" fmla="*/ 3257210 h 6531868"/>
                <a:gd name="connsiteX16" fmla="*/ 2321420 w 2608437"/>
                <a:gd name="connsiteY16" fmla="*/ 3927997 h 6531868"/>
                <a:gd name="connsiteX17" fmla="*/ 2503198 w 2608437"/>
                <a:gd name="connsiteY17" fmla="*/ 4638838 h 6531868"/>
                <a:gd name="connsiteX18" fmla="*/ 1881328 w 2608437"/>
                <a:gd name="connsiteY18" fmla="*/ 6434646 h 6531868"/>
                <a:gd name="connsiteX19" fmla="*/ 1443663 w 2608437"/>
                <a:gd name="connsiteY19" fmla="*/ 6450107 h 6531868"/>
                <a:gd name="connsiteX20" fmla="*/ 1442602 w 2608437"/>
                <a:gd name="connsiteY20" fmla="*/ 6531868 h 6531868"/>
                <a:gd name="connsiteX21" fmla="*/ 1967433 w 2608437"/>
                <a:gd name="connsiteY21" fmla="*/ 6528178 h 6531868"/>
                <a:gd name="connsiteX22" fmla="*/ 2608437 w 2608437"/>
                <a:gd name="connsiteY22" fmla="*/ 4648191 h 6531868"/>
                <a:gd name="connsiteX23" fmla="*/ 2426659 w 2608437"/>
                <a:gd name="connsiteY23" fmla="*/ 3927997 h 6531868"/>
                <a:gd name="connsiteX24" fmla="*/ 2143125 w 2608437"/>
                <a:gd name="connsiteY24" fmla="*/ 2721429 h 6531868"/>
                <a:gd name="connsiteX25" fmla="*/ 2143125 w 2608437"/>
                <a:gd name="connsiteY25" fmla="*/ 2721429 h 6531868"/>
                <a:gd name="connsiteX26" fmla="*/ 2211161 w 2608437"/>
                <a:gd name="connsiteY26" fmla="*/ 2653393 h 6531868"/>
                <a:gd name="connsiteX27" fmla="*/ 2126117 w 2608437"/>
                <a:gd name="connsiteY27" fmla="*/ 2661897 h 6531868"/>
                <a:gd name="connsiteX28" fmla="*/ 722880 w 2608437"/>
                <a:gd name="connsiteY28" fmla="*/ 1241652 h 6531868"/>
                <a:gd name="connsiteX29" fmla="*/ 765402 w 2608437"/>
                <a:gd name="connsiteY29" fmla="*/ 1182121 h 6531868"/>
                <a:gd name="connsiteX30" fmla="*/ 1071563 w 2608437"/>
                <a:gd name="connsiteY30" fmla="*/ 884464 h 6531868"/>
                <a:gd name="connsiteX31" fmla="*/ 1071563 w 2608437"/>
                <a:gd name="connsiteY31" fmla="*/ 884464 h 6531868"/>
                <a:gd name="connsiteX32" fmla="*/ 697367 w 2608437"/>
                <a:gd name="connsiteY32" fmla="*/ 1207634 h 6531868"/>
                <a:gd name="connsiteX33" fmla="*/ 127567 w 2608437"/>
                <a:gd name="connsiteY33" fmla="*/ 629330 h 6531868"/>
                <a:gd name="connsiteX34" fmla="*/ 83280 w 2608437"/>
                <a:gd name="connsiteY34" fmla="*/ 190164 h 6531868"/>
                <a:gd name="connsiteX35" fmla="*/ 221893 w 2608437"/>
                <a:gd name="connsiteY35" fmla="*/ 52620 h 6531868"/>
                <a:gd name="connsiteX36" fmla="*/ 161585 w 2608437"/>
                <a:gd name="connsiteY36" fmla="*/ 0 h 6531868"/>
                <a:gd name="connsiteX0" fmla="*/ 161585 w 2608437"/>
                <a:gd name="connsiteY0" fmla="*/ 0 h 6531868"/>
                <a:gd name="connsiteX1" fmla="*/ 0 w 2608437"/>
                <a:gd name="connsiteY1" fmla="*/ 161585 h 6531868"/>
                <a:gd name="connsiteX2" fmla="*/ 42523 w 2608437"/>
                <a:gd name="connsiteY2" fmla="*/ 680357 h 6531868"/>
                <a:gd name="connsiteX3" fmla="*/ 2066585 w 2608437"/>
                <a:gd name="connsiteY3" fmla="*/ 2712924 h 6531868"/>
                <a:gd name="connsiteX4" fmla="*/ 2160134 w 2608437"/>
                <a:gd name="connsiteY4" fmla="*/ 3206183 h 6531868"/>
                <a:gd name="connsiteX5" fmla="*/ 782411 w 2608437"/>
                <a:gd name="connsiteY5" fmla="*/ 3529353 h 6531868"/>
                <a:gd name="connsiteX6" fmla="*/ 518773 w 2608437"/>
                <a:gd name="connsiteY6" fmla="*/ 3520848 h 6531868"/>
                <a:gd name="connsiteX7" fmla="*/ 527277 w 2608437"/>
                <a:gd name="connsiteY7" fmla="*/ 3580380 h 6531868"/>
                <a:gd name="connsiteX8" fmla="*/ 782411 w 2608437"/>
                <a:gd name="connsiteY8" fmla="*/ 3597388 h 6531868"/>
                <a:gd name="connsiteX9" fmla="*/ 1224643 w 2608437"/>
                <a:gd name="connsiteY9" fmla="*/ 3486830 h 6531868"/>
                <a:gd name="connsiteX10" fmla="*/ 1250157 w 2608437"/>
                <a:gd name="connsiteY10" fmla="*/ 3546362 h 6531868"/>
                <a:gd name="connsiteX11" fmla="*/ 1352210 w 2608437"/>
                <a:gd name="connsiteY11" fmla="*/ 3639911 h 6531868"/>
                <a:gd name="connsiteX12" fmla="*/ 1411742 w 2608437"/>
                <a:gd name="connsiteY12" fmla="*/ 3554866 h 6531868"/>
                <a:gd name="connsiteX13" fmla="*/ 1318192 w 2608437"/>
                <a:gd name="connsiteY13" fmla="*/ 3503839 h 6531868"/>
                <a:gd name="connsiteX14" fmla="*/ 1318192 w 2608437"/>
                <a:gd name="connsiteY14" fmla="*/ 3461317 h 6531868"/>
                <a:gd name="connsiteX15" fmla="*/ 2194152 w 2608437"/>
                <a:gd name="connsiteY15" fmla="*/ 3257210 h 6531868"/>
                <a:gd name="connsiteX16" fmla="*/ 2321420 w 2608437"/>
                <a:gd name="connsiteY16" fmla="*/ 3927997 h 6531868"/>
                <a:gd name="connsiteX17" fmla="*/ 2503198 w 2608437"/>
                <a:gd name="connsiteY17" fmla="*/ 4638838 h 6531868"/>
                <a:gd name="connsiteX18" fmla="*/ 1889179 w 2608437"/>
                <a:gd name="connsiteY18" fmla="*/ 6449916 h 6531868"/>
                <a:gd name="connsiteX19" fmla="*/ 1443663 w 2608437"/>
                <a:gd name="connsiteY19" fmla="*/ 6450107 h 6531868"/>
                <a:gd name="connsiteX20" fmla="*/ 1442602 w 2608437"/>
                <a:gd name="connsiteY20" fmla="*/ 6531868 h 6531868"/>
                <a:gd name="connsiteX21" fmla="*/ 1967433 w 2608437"/>
                <a:gd name="connsiteY21" fmla="*/ 6528178 h 6531868"/>
                <a:gd name="connsiteX22" fmla="*/ 2608437 w 2608437"/>
                <a:gd name="connsiteY22" fmla="*/ 4648191 h 6531868"/>
                <a:gd name="connsiteX23" fmla="*/ 2426659 w 2608437"/>
                <a:gd name="connsiteY23" fmla="*/ 3927997 h 6531868"/>
                <a:gd name="connsiteX24" fmla="*/ 2143125 w 2608437"/>
                <a:gd name="connsiteY24" fmla="*/ 2721429 h 6531868"/>
                <a:gd name="connsiteX25" fmla="*/ 2143125 w 2608437"/>
                <a:gd name="connsiteY25" fmla="*/ 2721429 h 6531868"/>
                <a:gd name="connsiteX26" fmla="*/ 2211161 w 2608437"/>
                <a:gd name="connsiteY26" fmla="*/ 2653393 h 6531868"/>
                <a:gd name="connsiteX27" fmla="*/ 2126117 w 2608437"/>
                <a:gd name="connsiteY27" fmla="*/ 2661897 h 6531868"/>
                <a:gd name="connsiteX28" fmla="*/ 722880 w 2608437"/>
                <a:gd name="connsiteY28" fmla="*/ 1241652 h 6531868"/>
                <a:gd name="connsiteX29" fmla="*/ 765402 w 2608437"/>
                <a:gd name="connsiteY29" fmla="*/ 1182121 h 6531868"/>
                <a:gd name="connsiteX30" fmla="*/ 1071563 w 2608437"/>
                <a:gd name="connsiteY30" fmla="*/ 884464 h 6531868"/>
                <a:gd name="connsiteX31" fmla="*/ 1071563 w 2608437"/>
                <a:gd name="connsiteY31" fmla="*/ 884464 h 6531868"/>
                <a:gd name="connsiteX32" fmla="*/ 697367 w 2608437"/>
                <a:gd name="connsiteY32" fmla="*/ 1207634 h 6531868"/>
                <a:gd name="connsiteX33" fmla="*/ 127567 w 2608437"/>
                <a:gd name="connsiteY33" fmla="*/ 629330 h 6531868"/>
                <a:gd name="connsiteX34" fmla="*/ 83280 w 2608437"/>
                <a:gd name="connsiteY34" fmla="*/ 190164 h 6531868"/>
                <a:gd name="connsiteX35" fmla="*/ 221893 w 2608437"/>
                <a:gd name="connsiteY35" fmla="*/ 52620 h 6531868"/>
                <a:gd name="connsiteX36" fmla="*/ 161585 w 2608437"/>
                <a:gd name="connsiteY36" fmla="*/ 0 h 6531868"/>
                <a:gd name="connsiteX0" fmla="*/ 161585 w 2608437"/>
                <a:gd name="connsiteY0" fmla="*/ 0 h 6531996"/>
                <a:gd name="connsiteX1" fmla="*/ 0 w 2608437"/>
                <a:gd name="connsiteY1" fmla="*/ 161585 h 6531996"/>
                <a:gd name="connsiteX2" fmla="*/ 42523 w 2608437"/>
                <a:gd name="connsiteY2" fmla="*/ 680357 h 6531996"/>
                <a:gd name="connsiteX3" fmla="*/ 2066585 w 2608437"/>
                <a:gd name="connsiteY3" fmla="*/ 2712924 h 6531996"/>
                <a:gd name="connsiteX4" fmla="*/ 2160134 w 2608437"/>
                <a:gd name="connsiteY4" fmla="*/ 3206183 h 6531996"/>
                <a:gd name="connsiteX5" fmla="*/ 782411 w 2608437"/>
                <a:gd name="connsiteY5" fmla="*/ 3529353 h 6531996"/>
                <a:gd name="connsiteX6" fmla="*/ 518773 w 2608437"/>
                <a:gd name="connsiteY6" fmla="*/ 3520848 h 6531996"/>
                <a:gd name="connsiteX7" fmla="*/ 527277 w 2608437"/>
                <a:gd name="connsiteY7" fmla="*/ 3580380 h 6531996"/>
                <a:gd name="connsiteX8" fmla="*/ 782411 w 2608437"/>
                <a:gd name="connsiteY8" fmla="*/ 3597388 h 6531996"/>
                <a:gd name="connsiteX9" fmla="*/ 1224643 w 2608437"/>
                <a:gd name="connsiteY9" fmla="*/ 3486830 h 6531996"/>
                <a:gd name="connsiteX10" fmla="*/ 1250157 w 2608437"/>
                <a:gd name="connsiteY10" fmla="*/ 3546362 h 6531996"/>
                <a:gd name="connsiteX11" fmla="*/ 1352210 w 2608437"/>
                <a:gd name="connsiteY11" fmla="*/ 3639911 h 6531996"/>
                <a:gd name="connsiteX12" fmla="*/ 1411742 w 2608437"/>
                <a:gd name="connsiteY12" fmla="*/ 3554866 h 6531996"/>
                <a:gd name="connsiteX13" fmla="*/ 1318192 w 2608437"/>
                <a:gd name="connsiteY13" fmla="*/ 3503839 h 6531996"/>
                <a:gd name="connsiteX14" fmla="*/ 1318192 w 2608437"/>
                <a:gd name="connsiteY14" fmla="*/ 3461317 h 6531996"/>
                <a:gd name="connsiteX15" fmla="*/ 2194152 w 2608437"/>
                <a:gd name="connsiteY15" fmla="*/ 3257210 h 6531996"/>
                <a:gd name="connsiteX16" fmla="*/ 2321420 w 2608437"/>
                <a:gd name="connsiteY16" fmla="*/ 3927997 h 6531996"/>
                <a:gd name="connsiteX17" fmla="*/ 2503198 w 2608437"/>
                <a:gd name="connsiteY17" fmla="*/ 4638838 h 6531996"/>
                <a:gd name="connsiteX18" fmla="*/ 1889179 w 2608437"/>
                <a:gd name="connsiteY18" fmla="*/ 6449916 h 6531996"/>
                <a:gd name="connsiteX19" fmla="*/ 1443663 w 2608437"/>
                <a:gd name="connsiteY19" fmla="*/ 6450107 h 6531996"/>
                <a:gd name="connsiteX20" fmla="*/ 1442602 w 2608437"/>
                <a:gd name="connsiteY20" fmla="*/ 6531868 h 6531996"/>
                <a:gd name="connsiteX21" fmla="*/ 1951734 w 2608437"/>
                <a:gd name="connsiteY21" fmla="*/ 6531996 h 6531996"/>
                <a:gd name="connsiteX22" fmla="*/ 2608437 w 2608437"/>
                <a:gd name="connsiteY22" fmla="*/ 4648191 h 6531996"/>
                <a:gd name="connsiteX23" fmla="*/ 2426659 w 2608437"/>
                <a:gd name="connsiteY23" fmla="*/ 3927997 h 6531996"/>
                <a:gd name="connsiteX24" fmla="*/ 2143125 w 2608437"/>
                <a:gd name="connsiteY24" fmla="*/ 2721429 h 6531996"/>
                <a:gd name="connsiteX25" fmla="*/ 2143125 w 2608437"/>
                <a:gd name="connsiteY25" fmla="*/ 2721429 h 6531996"/>
                <a:gd name="connsiteX26" fmla="*/ 2211161 w 2608437"/>
                <a:gd name="connsiteY26" fmla="*/ 2653393 h 6531996"/>
                <a:gd name="connsiteX27" fmla="*/ 2126117 w 2608437"/>
                <a:gd name="connsiteY27" fmla="*/ 2661897 h 6531996"/>
                <a:gd name="connsiteX28" fmla="*/ 722880 w 2608437"/>
                <a:gd name="connsiteY28" fmla="*/ 1241652 h 6531996"/>
                <a:gd name="connsiteX29" fmla="*/ 765402 w 2608437"/>
                <a:gd name="connsiteY29" fmla="*/ 1182121 h 6531996"/>
                <a:gd name="connsiteX30" fmla="*/ 1071563 w 2608437"/>
                <a:gd name="connsiteY30" fmla="*/ 884464 h 6531996"/>
                <a:gd name="connsiteX31" fmla="*/ 1071563 w 2608437"/>
                <a:gd name="connsiteY31" fmla="*/ 884464 h 6531996"/>
                <a:gd name="connsiteX32" fmla="*/ 697367 w 2608437"/>
                <a:gd name="connsiteY32" fmla="*/ 1207634 h 6531996"/>
                <a:gd name="connsiteX33" fmla="*/ 127567 w 2608437"/>
                <a:gd name="connsiteY33" fmla="*/ 629330 h 6531996"/>
                <a:gd name="connsiteX34" fmla="*/ 83280 w 2608437"/>
                <a:gd name="connsiteY34" fmla="*/ 190164 h 6531996"/>
                <a:gd name="connsiteX35" fmla="*/ 221893 w 2608437"/>
                <a:gd name="connsiteY35" fmla="*/ 52620 h 6531996"/>
                <a:gd name="connsiteX36" fmla="*/ 161585 w 2608437"/>
                <a:gd name="connsiteY36" fmla="*/ 0 h 6531996"/>
                <a:gd name="connsiteX0" fmla="*/ 161585 w 2624135"/>
                <a:gd name="connsiteY0" fmla="*/ 0 h 6531996"/>
                <a:gd name="connsiteX1" fmla="*/ 0 w 2624135"/>
                <a:gd name="connsiteY1" fmla="*/ 161585 h 6531996"/>
                <a:gd name="connsiteX2" fmla="*/ 42523 w 2624135"/>
                <a:gd name="connsiteY2" fmla="*/ 680357 h 6531996"/>
                <a:gd name="connsiteX3" fmla="*/ 2066585 w 2624135"/>
                <a:gd name="connsiteY3" fmla="*/ 2712924 h 6531996"/>
                <a:gd name="connsiteX4" fmla="*/ 2160134 w 2624135"/>
                <a:gd name="connsiteY4" fmla="*/ 3206183 h 6531996"/>
                <a:gd name="connsiteX5" fmla="*/ 782411 w 2624135"/>
                <a:gd name="connsiteY5" fmla="*/ 3529353 h 6531996"/>
                <a:gd name="connsiteX6" fmla="*/ 518773 w 2624135"/>
                <a:gd name="connsiteY6" fmla="*/ 3520848 h 6531996"/>
                <a:gd name="connsiteX7" fmla="*/ 527277 w 2624135"/>
                <a:gd name="connsiteY7" fmla="*/ 3580380 h 6531996"/>
                <a:gd name="connsiteX8" fmla="*/ 782411 w 2624135"/>
                <a:gd name="connsiteY8" fmla="*/ 3597388 h 6531996"/>
                <a:gd name="connsiteX9" fmla="*/ 1224643 w 2624135"/>
                <a:gd name="connsiteY9" fmla="*/ 3486830 h 6531996"/>
                <a:gd name="connsiteX10" fmla="*/ 1250157 w 2624135"/>
                <a:gd name="connsiteY10" fmla="*/ 3546362 h 6531996"/>
                <a:gd name="connsiteX11" fmla="*/ 1352210 w 2624135"/>
                <a:gd name="connsiteY11" fmla="*/ 3639911 h 6531996"/>
                <a:gd name="connsiteX12" fmla="*/ 1411742 w 2624135"/>
                <a:gd name="connsiteY12" fmla="*/ 3554866 h 6531996"/>
                <a:gd name="connsiteX13" fmla="*/ 1318192 w 2624135"/>
                <a:gd name="connsiteY13" fmla="*/ 3503839 h 6531996"/>
                <a:gd name="connsiteX14" fmla="*/ 1318192 w 2624135"/>
                <a:gd name="connsiteY14" fmla="*/ 3461317 h 6531996"/>
                <a:gd name="connsiteX15" fmla="*/ 2194152 w 2624135"/>
                <a:gd name="connsiteY15" fmla="*/ 3257210 h 6531996"/>
                <a:gd name="connsiteX16" fmla="*/ 2321420 w 2624135"/>
                <a:gd name="connsiteY16" fmla="*/ 3927997 h 6531996"/>
                <a:gd name="connsiteX17" fmla="*/ 2503198 w 2624135"/>
                <a:gd name="connsiteY17" fmla="*/ 4638838 h 6531996"/>
                <a:gd name="connsiteX18" fmla="*/ 1889179 w 2624135"/>
                <a:gd name="connsiteY18" fmla="*/ 6449916 h 6531996"/>
                <a:gd name="connsiteX19" fmla="*/ 1443663 w 2624135"/>
                <a:gd name="connsiteY19" fmla="*/ 6450107 h 6531996"/>
                <a:gd name="connsiteX20" fmla="*/ 1442602 w 2624135"/>
                <a:gd name="connsiteY20" fmla="*/ 6531868 h 6531996"/>
                <a:gd name="connsiteX21" fmla="*/ 1951734 w 2624135"/>
                <a:gd name="connsiteY21" fmla="*/ 6531996 h 6531996"/>
                <a:gd name="connsiteX22" fmla="*/ 2624135 w 2624135"/>
                <a:gd name="connsiteY22" fmla="*/ 4671096 h 6531996"/>
                <a:gd name="connsiteX23" fmla="*/ 2426659 w 2624135"/>
                <a:gd name="connsiteY23" fmla="*/ 3927997 h 6531996"/>
                <a:gd name="connsiteX24" fmla="*/ 2143125 w 2624135"/>
                <a:gd name="connsiteY24" fmla="*/ 2721429 h 6531996"/>
                <a:gd name="connsiteX25" fmla="*/ 2143125 w 2624135"/>
                <a:gd name="connsiteY25" fmla="*/ 2721429 h 6531996"/>
                <a:gd name="connsiteX26" fmla="*/ 2211161 w 2624135"/>
                <a:gd name="connsiteY26" fmla="*/ 2653393 h 6531996"/>
                <a:gd name="connsiteX27" fmla="*/ 2126117 w 2624135"/>
                <a:gd name="connsiteY27" fmla="*/ 2661897 h 6531996"/>
                <a:gd name="connsiteX28" fmla="*/ 722880 w 2624135"/>
                <a:gd name="connsiteY28" fmla="*/ 1241652 h 6531996"/>
                <a:gd name="connsiteX29" fmla="*/ 765402 w 2624135"/>
                <a:gd name="connsiteY29" fmla="*/ 1182121 h 6531996"/>
                <a:gd name="connsiteX30" fmla="*/ 1071563 w 2624135"/>
                <a:gd name="connsiteY30" fmla="*/ 884464 h 6531996"/>
                <a:gd name="connsiteX31" fmla="*/ 1071563 w 2624135"/>
                <a:gd name="connsiteY31" fmla="*/ 884464 h 6531996"/>
                <a:gd name="connsiteX32" fmla="*/ 697367 w 2624135"/>
                <a:gd name="connsiteY32" fmla="*/ 1207634 h 6531996"/>
                <a:gd name="connsiteX33" fmla="*/ 127567 w 2624135"/>
                <a:gd name="connsiteY33" fmla="*/ 629330 h 6531996"/>
                <a:gd name="connsiteX34" fmla="*/ 83280 w 2624135"/>
                <a:gd name="connsiteY34" fmla="*/ 190164 h 6531996"/>
                <a:gd name="connsiteX35" fmla="*/ 221893 w 2624135"/>
                <a:gd name="connsiteY35" fmla="*/ 52620 h 6531996"/>
                <a:gd name="connsiteX36" fmla="*/ 161585 w 2624135"/>
                <a:gd name="connsiteY36" fmla="*/ 0 h 6531996"/>
                <a:gd name="connsiteX0" fmla="*/ 161585 w 2624135"/>
                <a:gd name="connsiteY0" fmla="*/ 0 h 6531996"/>
                <a:gd name="connsiteX1" fmla="*/ 0 w 2624135"/>
                <a:gd name="connsiteY1" fmla="*/ 161585 h 6531996"/>
                <a:gd name="connsiteX2" fmla="*/ 42523 w 2624135"/>
                <a:gd name="connsiteY2" fmla="*/ 680357 h 6531996"/>
                <a:gd name="connsiteX3" fmla="*/ 2066585 w 2624135"/>
                <a:gd name="connsiteY3" fmla="*/ 2712924 h 6531996"/>
                <a:gd name="connsiteX4" fmla="*/ 2160134 w 2624135"/>
                <a:gd name="connsiteY4" fmla="*/ 3206183 h 6531996"/>
                <a:gd name="connsiteX5" fmla="*/ 782411 w 2624135"/>
                <a:gd name="connsiteY5" fmla="*/ 3529353 h 6531996"/>
                <a:gd name="connsiteX6" fmla="*/ 518773 w 2624135"/>
                <a:gd name="connsiteY6" fmla="*/ 3520848 h 6531996"/>
                <a:gd name="connsiteX7" fmla="*/ 527277 w 2624135"/>
                <a:gd name="connsiteY7" fmla="*/ 3580380 h 6531996"/>
                <a:gd name="connsiteX8" fmla="*/ 782411 w 2624135"/>
                <a:gd name="connsiteY8" fmla="*/ 3597388 h 6531996"/>
                <a:gd name="connsiteX9" fmla="*/ 1224643 w 2624135"/>
                <a:gd name="connsiteY9" fmla="*/ 3486830 h 6531996"/>
                <a:gd name="connsiteX10" fmla="*/ 1250157 w 2624135"/>
                <a:gd name="connsiteY10" fmla="*/ 3546362 h 6531996"/>
                <a:gd name="connsiteX11" fmla="*/ 1352210 w 2624135"/>
                <a:gd name="connsiteY11" fmla="*/ 3639911 h 6531996"/>
                <a:gd name="connsiteX12" fmla="*/ 1411742 w 2624135"/>
                <a:gd name="connsiteY12" fmla="*/ 3554866 h 6531996"/>
                <a:gd name="connsiteX13" fmla="*/ 1318192 w 2624135"/>
                <a:gd name="connsiteY13" fmla="*/ 3503839 h 6531996"/>
                <a:gd name="connsiteX14" fmla="*/ 1318192 w 2624135"/>
                <a:gd name="connsiteY14" fmla="*/ 3461317 h 6531996"/>
                <a:gd name="connsiteX15" fmla="*/ 2194152 w 2624135"/>
                <a:gd name="connsiteY15" fmla="*/ 3257210 h 6531996"/>
                <a:gd name="connsiteX16" fmla="*/ 2321420 w 2624135"/>
                <a:gd name="connsiteY16" fmla="*/ 3927997 h 6531996"/>
                <a:gd name="connsiteX17" fmla="*/ 2530672 w 2624135"/>
                <a:gd name="connsiteY17" fmla="*/ 4669379 h 6531996"/>
                <a:gd name="connsiteX18" fmla="*/ 1889179 w 2624135"/>
                <a:gd name="connsiteY18" fmla="*/ 6449916 h 6531996"/>
                <a:gd name="connsiteX19" fmla="*/ 1443663 w 2624135"/>
                <a:gd name="connsiteY19" fmla="*/ 6450107 h 6531996"/>
                <a:gd name="connsiteX20" fmla="*/ 1442602 w 2624135"/>
                <a:gd name="connsiteY20" fmla="*/ 6531868 h 6531996"/>
                <a:gd name="connsiteX21" fmla="*/ 1951734 w 2624135"/>
                <a:gd name="connsiteY21" fmla="*/ 6531996 h 6531996"/>
                <a:gd name="connsiteX22" fmla="*/ 2624135 w 2624135"/>
                <a:gd name="connsiteY22" fmla="*/ 4671096 h 6531996"/>
                <a:gd name="connsiteX23" fmla="*/ 2426659 w 2624135"/>
                <a:gd name="connsiteY23" fmla="*/ 3927997 h 6531996"/>
                <a:gd name="connsiteX24" fmla="*/ 2143125 w 2624135"/>
                <a:gd name="connsiteY24" fmla="*/ 2721429 h 6531996"/>
                <a:gd name="connsiteX25" fmla="*/ 2143125 w 2624135"/>
                <a:gd name="connsiteY25" fmla="*/ 2721429 h 6531996"/>
                <a:gd name="connsiteX26" fmla="*/ 2211161 w 2624135"/>
                <a:gd name="connsiteY26" fmla="*/ 2653393 h 6531996"/>
                <a:gd name="connsiteX27" fmla="*/ 2126117 w 2624135"/>
                <a:gd name="connsiteY27" fmla="*/ 2661897 h 6531996"/>
                <a:gd name="connsiteX28" fmla="*/ 722880 w 2624135"/>
                <a:gd name="connsiteY28" fmla="*/ 1241652 h 6531996"/>
                <a:gd name="connsiteX29" fmla="*/ 765402 w 2624135"/>
                <a:gd name="connsiteY29" fmla="*/ 1182121 h 6531996"/>
                <a:gd name="connsiteX30" fmla="*/ 1071563 w 2624135"/>
                <a:gd name="connsiteY30" fmla="*/ 884464 h 6531996"/>
                <a:gd name="connsiteX31" fmla="*/ 1071563 w 2624135"/>
                <a:gd name="connsiteY31" fmla="*/ 884464 h 6531996"/>
                <a:gd name="connsiteX32" fmla="*/ 697367 w 2624135"/>
                <a:gd name="connsiteY32" fmla="*/ 1207634 h 6531996"/>
                <a:gd name="connsiteX33" fmla="*/ 127567 w 2624135"/>
                <a:gd name="connsiteY33" fmla="*/ 629330 h 6531996"/>
                <a:gd name="connsiteX34" fmla="*/ 83280 w 2624135"/>
                <a:gd name="connsiteY34" fmla="*/ 190164 h 6531996"/>
                <a:gd name="connsiteX35" fmla="*/ 221893 w 2624135"/>
                <a:gd name="connsiteY35" fmla="*/ 52620 h 6531996"/>
                <a:gd name="connsiteX36" fmla="*/ 161585 w 2624135"/>
                <a:gd name="connsiteY36" fmla="*/ 0 h 6531996"/>
                <a:gd name="connsiteX0" fmla="*/ 161585 w 2624135"/>
                <a:gd name="connsiteY0" fmla="*/ 0 h 6531996"/>
                <a:gd name="connsiteX1" fmla="*/ 0 w 2624135"/>
                <a:gd name="connsiteY1" fmla="*/ 161585 h 6531996"/>
                <a:gd name="connsiteX2" fmla="*/ 42523 w 2624135"/>
                <a:gd name="connsiteY2" fmla="*/ 680357 h 6531996"/>
                <a:gd name="connsiteX3" fmla="*/ 2066585 w 2624135"/>
                <a:gd name="connsiteY3" fmla="*/ 2712924 h 6531996"/>
                <a:gd name="connsiteX4" fmla="*/ 2160134 w 2624135"/>
                <a:gd name="connsiteY4" fmla="*/ 3206183 h 6531996"/>
                <a:gd name="connsiteX5" fmla="*/ 782411 w 2624135"/>
                <a:gd name="connsiteY5" fmla="*/ 3529353 h 6531996"/>
                <a:gd name="connsiteX6" fmla="*/ 518773 w 2624135"/>
                <a:gd name="connsiteY6" fmla="*/ 3520848 h 6531996"/>
                <a:gd name="connsiteX7" fmla="*/ 527277 w 2624135"/>
                <a:gd name="connsiteY7" fmla="*/ 3580380 h 6531996"/>
                <a:gd name="connsiteX8" fmla="*/ 782411 w 2624135"/>
                <a:gd name="connsiteY8" fmla="*/ 3597388 h 6531996"/>
                <a:gd name="connsiteX9" fmla="*/ 1224643 w 2624135"/>
                <a:gd name="connsiteY9" fmla="*/ 3486830 h 6531996"/>
                <a:gd name="connsiteX10" fmla="*/ 1250157 w 2624135"/>
                <a:gd name="connsiteY10" fmla="*/ 3546362 h 6531996"/>
                <a:gd name="connsiteX11" fmla="*/ 1352210 w 2624135"/>
                <a:gd name="connsiteY11" fmla="*/ 3639911 h 6531996"/>
                <a:gd name="connsiteX12" fmla="*/ 1411742 w 2624135"/>
                <a:gd name="connsiteY12" fmla="*/ 3554866 h 6531996"/>
                <a:gd name="connsiteX13" fmla="*/ 1318192 w 2624135"/>
                <a:gd name="connsiteY13" fmla="*/ 3503839 h 6531996"/>
                <a:gd name="connsiteX14" fmla="*/ 1318192 w 2624135"/>
                <a:gd name="connsiteY14" fmla="*/ 3461317 h 6531996"/>
                <a:gd name="connsiteX15" fmla="*/ 2194152 w 2624135"/>
                <a:gd name="connsiteY15" fmla="*/ 3257210 h 6531996"/>
                <a:gd name="connsiteX16" fmla="*/ 2530672 w 2624135"/>
                <a:gd name="connsiteY16" fmla="*/ 4669379 h 6531996"/>
                <a:gd name="connsiteX17" fmla="*/ 1889179 w 2624135"/>
                <a:gd name="connsiteY17" fmla="*/ 6449916 h 6531996"/>
                <a:gd name="connsiteX18" fmla="*/ 1443663 w 2624135"/>
                <a:gd name="connsiteY18" fmla="*/ 6450107 h 6531996"/>
                <a:gd name="connsiteX19" fmla="*/ 1442602 w 2624135"/>
                <a:gd name="connsiteY19" fmla="*/ 6531868 h 6531996"/>
                <a:gd name="connsiteX20" fmla="*/ 1951734 w 2624135"/>
                <a:gd name="connsiteY20" fmla="*/ 6531996 h 6531996"/>
                <a:gd name="connsiteX21" fmla="*/ 2624135 w 2624135"/>
                <a:gd name="connsiteY21" fmla="*/ 4671096 h 6531996"/>
                <a:gd name="connsiteX22" fmla="*/ 2426659 w 2624135"/>
                <a:gd name="connsiteY22" fmla="*/ 3927997 h 6531996"/>
                <a:gd name="connsiteX23" fmla="*/ 2143125 w 2624135"/>
                <a:gd name="connsiteY23" fmla="*/ 2721429 h 6531996"/>
                <a:gd name="connsiteX24" fmla="*/ 2143125 w 2624135"/>
                <a:gd name="connsiteY24" fmla="*/ 2721429 h 6531996"/>
                <a:gd name="connsiteX25" fmla="*/ 2211161 w 2624135"/>
                <a:gd name="connsiteY25" fmla="*/ 2653393 h 6531996"/>
                <a:gd name="connsiteX26" fmla="*/ 2126117 w 2624135"/>
                <a:gd name="connsiteY26" fmla="*/ 2661897 h 6531996"/>
                <a:gd name="connsiteX27" fmla="*/ 722880 w 2624135"/>
                <a:gd name="connsiteY27" fmla="*/ 1241652 h 6531996"/>
                <a:gd name="connsiteX28" fmla="*/ 765402 w 2624135"/>
                <a:gd name="connsiteY28" fmla="*/ 1182121 h 6531996"/>
                <a:gd name="connsiteX29" fmla="*/ 1071563 w 2624135"/>
                <a:gd name="connsiteY29" fmla="*/ 884464 h 6531996"/>
                <a:gd name="connsiteX30" fmla="*/ 1071563 w 2624135"/>
                <a:gd name="connsiteY30" fmla="*/ 884464 h 6531996"/>
                <a:gd name="connsiteX31" fmla="*/ 697367 w 2624135"/>
                <a:gd name="connsiteY31" fmla="*/ 1207634 h 6531996"/>
                <a:gd name="connsiteX32" fmla="*/ 127567 w 2624135"/>
                <a:gd name="connsiteY32" fmla="*/ 629330 h 6531996"/>
                <a:gd name="connsiteX33" fmla="*/ 83280 w 2624135"/>
                <a:gd name="connsiteY33" fmla="*/ 190164 h 6531996"/>
                <a:gd name="connsiteX34" fmla="*/ 221893 w 2624135"/>
                <a:gd name="connsiteY34" fmla="*/ 52620 h 6531996"/>
                <a:gd name="connsiteX35" fmla="*/ 161585 w 2624135"/>
                <a:gd name="connsiteY35" fmla="*/ 0 h 6531996"/>
                <a:gd name="connsiteX0" fmla="*/ 161585 w 2624135"/>
                <a:gd name="connsiteY0" fmla="*/ 0 h 6531996"/>
                <a:gd name="connsiteX1" fmla="*/ 0 w 2624135"/>
                <a:gd name="connsiteY1" fmla="*/ 161585 h 6531996"/>
                <a:gd name="connsiteX2" fmla="*/ 42523 w 2624135"/>
                <a:gd name="connsiteY2" fmla="*/ 680357 h 6531996"/>
                <a:gd name="connsiteX3" fmla="*/ 2066585 w 2624135"/>
                <a:gd name="connsiteY3" fmla="*/ 2712924 h 6531996"/>
                <a:gd name="connsiteX4" fmla="*/ 2160134 w 2624135"/>
                <a:gd name="connsiteY4" fmla="*/ 3206183 h 6531996"/>
                <a:gd name="connsiteX5" fmla="*/ 782411 w 2624135"/>
                <a:gd name="connsiteY5" fmla="*/ 3529353 h 6531996"/>
                <a:gd name="connsiteX6" fmla="*/ 518773 w 2624135"/>
                <a:gd name="connsiteY6" fmla="*/ 3520848 h 6531996"/>
                <a:gd name="connsiteX7" fmla="*/ 527277 w 2624135"/>
                <a:gd name="connsiteY7" fmla="*/ 3580380 h 6531996"/>
                <a:gd name="connsiteX8" fmla="*/ 782411 w 2624135"/>
                <a:gd name="connsiteY8" fmla="*/ 3597388 h 6531996"/>
                <a:gd name="connsiteX9" fmla="*/ 1224643 w 2624135"/>
                <a:gd name="connsiteY9" fmla="*/ 3486830 h 6531996"/>
                <a:gd name="connsiteX10" fmla="*/ 1250157 w 2624135"/>
                <a:gd name="connsiteY10" fmla="*/ 3546362 h 6531996"/>
                <a:gd name="connsiteX11" fmla="*/ 1352210 w 2624135"/>
                <a:gd name="connsiteY11" fmla="*/ 3639911 h 6531996"/>
                <a:gd name="connsiteX12" fmla="*/ 1411742 w 2624135"/>
                <a:gd name="connsiteY12" fmla="*/ 3554866 h 6531996"/>
                <a:gd name="connsiteX13" fmla="*/ 1318192 w 2624135"/>
                <a:gd name="connsiteY13" fmla="*/ 3503839 h 6531996"/>
                <a:gd name="connsiteX14" fmla="*/ 1318192 w 2624135"/>
                <a:gd name="connsiteY14" fmla="*/ 3461317 h 6531996"/>
                <a:gd name="connsiteX15" fmla="*/ 2194152 w 2624135"/>
                <a:gd name="connsiteY15" fmla="*/ 3257210 h 6531996"/>
                <a:gd name="connsiteX16" fmla="*/ 2530672 w 2624135"/>
                <a:gd name="connsiteY16" fmla="*/ 4669379 h 6531996"/>
                <a:gd name="connsiteX17" fmla="*/ 1889179 w 2624135"/>
                <a:gd name="connsiteY17" fmla="*/ 6449916 h 6531996"/>
                <a:gd name="connsiteX18" fmla="*/ 1443663 w 2624135"/>
                <a:gd name="connsiteY18" fmla="*/ 6450107 h 6531996"/>
                <a:gd name="connsiteX19" fmla="*/ 1442602 w 2624135"/>
                <a:gd name="connsiteY19" fmla="*/ 6531868 h 6531996"/>
                <a:gd name="connsiteX20" fmla="*/ 1951734 w 2624135"/>
                <a:gd name="connsiteY20" fmla="*/ 6531996 h 6531996"/>
                <a:gd name="connsiteX21" fmla="*/ 2624135 w 2624135"/>
                <a:gd name="connsiteY21" fmla="*/ 4671096 h 6531996"/>
                <a:gd name="connsiteX22" fmla="*/ 2143125 w 2624135"/>
                <a:gd name="connsiteY22" fmla="*/ 2721429 h 6531996"/>
                <a:gd name="connsiteX23" fmla="*/ 2143125 w 2624135"/>
                <a:gd name="connsiteY23" fmla="*/ 2721429 h 6531996"/>
                <a:gd name="connsiteX24" fmla="*/ 2211161 w 2624135"/>
                <a:gd name="connsiteY24" fmla="*/ 2653393 h 6531996"/>
                <a:gd name="connsiteX25" fmla="*/ 2126117 w 2624135"/>
                <a:gd name="connsiteY25" fmla="*/ 2661897 h 6531996"/>
                <a:gd name="connsiteX26" fmla="*/ 722880 w 2624135"/>
                <a:gd name="connsiteY26" fmla="*/ 1241652 h 6531996"/>
                <a:gd name="connsiteX27" fmla="*/ 765402 w 2624135"/>
                <a:gd name="connsiteY27" fmla="*/ 1182121 h 6531996"/>
                <a:gd name="connsiteX28" fmla="*/ 1071563 w 2624135"/>
                <a:gd name="connsiteY28" fmla="*/ 884464 h 6531996"/>
                <a:gd name="connsiteX29" fmla="*/ 1071563 w 2624135"/>
                <a:gd name="connsiteY29" fmla="*/ 884464 h 6531996"/>
                <a:gd name="connsiteX30" fmla="*/ 697367 w 2624135"/>
                <a:gd name="connsiteY30" fmla="*/ 1207634 h 6531996"/>
                <a:gd name="connsiteX31" fmla="*/ 127567 w 2624135"/>
                <a:gd name="connsiteY31" fmla="*/ 629330 h 6531996"/>
                <a:gd name="connsiteX32" fmla="*/ 83280 w 2624135"/>
                <a:gd name="connsiteY32" fmla="*/ 190164 h 6531996"/>
                <a:gd name="connsiteX33" fmla="*/ 221893 w 2624135"/>
                <a:gd name="connsiteY33" fmla="*/ 52620 h 6531996"/>
                <a:gd name="connsiteX34" fmla="*/ 161585 w 2624135"/>
                <a:gd name="connsiteY34" fmla="*/ 0 h 6531996"/>
                <a:gd name="connsiteX0" fmla="*/ 161585 w 2612361"/>
                <a:gd name="connsiteY0" fmla="*/ 0 h 6531996"/>
                <a:gd name="connsiteX1" fmla="*/ 0 w 2612361"/>
                <a:gd name="connsiteY1" fmla="*/ 161585 h 6531996"/>
                <a:gd name="connsiteX2" fmla="*/ 42523 w 2612361"/>
                <a:gd name="connsiteY2" fmla="*/ 680357 h 6531996"/>
                <a:gd name="connsiteX3" fmla="*/ 2066585 w 2612361"/>
                <a:gd name="connsiteY3" fmla="*/ 2712924 h 6531996"/>
                <a:gd name="connsiteX4" fmla="*/ 2160134 w 2612361"/>
                <a:gd name="connsiteY4" fmla="*/ 3206183 h 6531996"/>
                <a:gd name="connsiteX5" fmla="*/ 782411 w 2612361"/>
                <a:gd name="connsiteY5" fmla="*/ 3529353 h 6531996"/>
                <a:gd name="connsiteX6" fmla="*/ 518773 w 2612361"/>
                <a:gd name="connsiteY6" fmla="*/ 3520848 h 6531996"/>
                <a:gd name="connsiteX7" fmla="*/ 527277 w 2612361"/>
                <a:gd name="connsiteY7" fmla="*/ 3580380 h 6531996"/>
                <a:gd name="connsiteX8" fmla="*/ 782411 w 2612361"/>
                <a:gd name="connsiteY8" fmla="*/ 3597388 h 6531996"/>
                <a:gd name="connsiteX9" fmla="*/ 1224643 w 2612361"/>
                <a:gd name="connsiteY9" fmla="*/ 3486830 h 6531996"/>
                <a:gd name="connsiteX10" fmla="*/ 1250157 w 2612361"/>
                <a:gd name="connsiteY10" fmla="*/ 3546362 h 6531996"/>
                <a:gd name="connsiteX11" fmla="*/ 1352210 w 2612361"/>
                <a:gd name="connsiteY11" fmla="*/ 3639911 h 6531996"/>
                <a:gd name="connsiteX12" fmla="*/ 1411742 w 2612361"/>
                <a:gd name="connsiteY12" fmla="*/ 3554866 h 6531996"/>
                <a:gd name="connsiteX13" fmla="*/ 1318192 w 2612361"/>
                <a:gd name="connsiteY13" fmla="*/ 3503839 h 6531996"/>
                <a:gd name="connsiteX14" fmla="*/ 1318192 w 2612361"/>
                <a:gd name="connsiteY14" fmla="*/ 3461317 h 6531996"/>
                <a:gd name="connsiteX15" fmla="*/ 2194152 w 2612361"/>
                <a:gd name="connsiteY15" fmla="*/ 3257210 h 6531996"/>
                <a:gd name="connsiteX16" fmla="*/ 2530672 w 2612361"/>
                <a:gd name="connsiteY16" fmla="*/ 4669379 h 6531996"/>
                <a:gd name="connsiteX17" fmla="*/ 1889179 w 2612361"/>
                <a:gd name="connsiteY17" fmla="*/ 6449916 h 6531996"/>
                <a:gd name="connsiteX18" fmla="*/ 1443663 w 2612361"/>
                <a:gd name="connsiteY18" fmla="*/ 6450107 h 6531996"/>
                <a:gd name="connsiteX19" fmla="*/ 1442602 w 2612361"/>
                <a:gd name="connsiteY19" fmla="*/ 6531868 h 6531996"/>
                <a:gd name="connsiteX20" fmla="*/ 1951734 w 2612361"/>
                <a:gd name="connsiteY20" fmla="*/ 6531996 h 6531996"/>
                <a:gd name="connsiteX21" fmla="*/ 2612361 w 2612361"/>
                <a:gd name="connsiteY21" fmla="*/ 4686366 h 6531996"/>
                <a:gd name="connsiteX22" fmla="*/ 2143125 w 2612361"/>
                <a:gd name="connsiteY22" fmla="*/ 2721429 h 6531996"/>
                <a:gd name="connsiteX23" fmla="*/ 2143125 w 2612361"/>
                <a:gd name="connsiteY23" fmla="*/ 2721429 h 6531996"/>
                <a:gd name="connsiteX24" fmla="*/ 2211161 w 2612361"/>
                <a:gd name="connsiteY24" fmla="*/ 2653393 h 6531996"/>
                <a:gd name="connsiteX25" fmla="*/ 2126117 w 2612361"/>
                <a:gd name="connsiteY25" fmla="*/ 2661897 h 6531996"/>
                <a:gd name="connsiteX26" fmla="*/ 722880 w 2612361"/>
                <a:gd name="connsiteY26" fmla="*/ 1241652 h 6531996"/>
                <a:gd name="connsiteX27" fmla="*/ 765402 w 2612361"/>
                <a:gd name="connsiteY27" fmla="*/ 1182121 h 6531996"/>
                <a:gd name="connsiteX28" fmla="*/ 1071563 w 2612361"/>
                <a:gd name="connsiteY28" fmla="*/ 884464 h 6531996"/>
                <a:gd name="connsiteX29" fmla="*/ 1071563 w 2612361"/>
                <a:gd name="connsiteY29" fmla="*/ 884464 h 6531996"/>
                <a:gd name="connsiteX30" fmla="*/ 697367 w 2612361"/>
                <a:gd name="connsiteY30" fmla="*/ 1207634 h 6531996"/>
                <a:gd name="connsiteX31" fmla="*/ 127567 w 2612361"/>
                <a:gd name="connsiteY31" fmla="*/ 629330 h 6531996"/>
                <a:gd name="connsiteX32" fmla="*/ 83280 w 2612361"/>
                <a:gd name="connsiteY32" fmla="*/ 190164 h 6531996"/>
                <a:gd name="connsiteX33" fmla="*/ 221893 w 2612361"/>
                <a:gd name="connsiteY33" fmla="*/ 52620 h 6531996"/>
                <a:gd name="connsiteX34" fmla="*/ 161585 w 2612361"/>
                <a:gd name="connsiteY34" fmla="*/ 0 h 6531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612361" h="6531996">
                  <a:moveTo>
                    <a:pt x="161585" y="0"/>
                  </a:moveTo>
                  <a:lnTo>
                    <a:pt x="0" y="161585"/>
                  </a:lnTo>
                  <a:lnTo>
                    <a:pt x="42523" y="680357"/>
                  </a:lnTo>
                  <a:lnTo>
                    <a:pt x="2066585" y="2712924"/>
                  </a:lnTo>
                  <a:lnTo>
                    <a:pt x="2160134" y="3206183"/>
                  </a:lnTo>
                  <a:lnTo>
                    <a:pt x="782411" y="3529353"/>
                  </a:lnTo>
                  <a:lnTo>
                    <a:pt x="518773" y="3520848"/>
                  </a:lnTo>
                  <a:lnTo>
                    <a:pt x="527277" y="3580380"/>
                  </a:lnTo>
                  <a:lnTo>
                    <a:pt x="782411" y="3597388"/>
                  </a:lnTo>
                  <a:lnTo>
                    <a:pt x="1224643" y="3486830"/>
                  </a:lnTo>
                  <a:lnTo>
                    <a:pt x="1250157" y="3546362"/>
                  </a:lnTo>
                  <a:lnTo>
                    <a:pt x="1352210" y="3639911"/>
                  </a:lnTo>
                  <a:lnTo>
                    <a:pt x="1411742" y="3554866"/>
                  </a:lnTo>
                  <a:lnTo>
                    <a:pt x="1318192" y="3503839"/>
                  </a:lnTo>
                  <a:lnTo>
                    <a:pt x="1318192" y="3461317"/>
                  </a:lnTo>
                  <a:lnTo>
                    <a:pt x="2194152" y="3257210"/>
                  </a:lnTo>
                  <a:lnTo>
                    <a:pt x="2530672" y="4669379"/>
                  </a:lnTo>
                  <a:lnTo>
                    <a:pt x="1889179" y="6449916"/>
                  </a:lnTo>
                  <a:lnTo>
                    <a:pt x="1443663" y="6450107"/>
                  </a:lnTo>
                  <a:cubicBezTo>
                    <a:pt x="1443310" y="6497722"/>
                    <a:pt x="1442955" y="6484253"/>
                    <a:pt x="1442602" y="6531868"/>
                  </a:cubicBezTo>
                  <a:lnTo>
                    <a:pt x="1951734" y="6531996"/>
                  </a:lnTo>
                  <a:lnTo>
                    <a:pt x="2612361" y="4686366"/>
                  </a:lnTo>
                  <a:lnTo>
                    <a:pt x="2143125" y="2721429"/>
                  </a:lnTo>
                  <a:lnTo>
                    <a:pt x="2143125" y="2721429"/>
                  </a:lnTo>
                  <a:lnTo>
                    <a:pt x="2211161" y="2653393"/>
                  </a:lnTo>
                  <a:lnTo>
                    <a:pt x="2126117" y="2661897"/>
                  </a:lnTo>
                  <a:lnTo>
                    <a:pt x="722880" y="1241652"/>
                  </a:lnTo>
                  <a:lnTo>
                    <a:pt x="765402" y="1182121"/>
                  </a:lnTo>
                  <a:lnTo>
                    <a:pt x="1071563" y="884464"/>
                  </a:lnTo>
                  <a:lnTo>
                    <a:pt x="1071563" y="884464"/>
                  </a:lnTo>
                  <a:lnTo>
                    <a:pt x="697367" y="1207634"/>
                  </a:lnTo>
                  <a:lnTo>
                    <a:pt x="127567" y="629330"/>
                  </a:lnTo>
                  <a:lnTo>
                    <a:pt x="83280" y="190164"/>
                  </a:lnTo>
                  <a:lnTo>
                    <a:pt x="221893" y="52620"/>
                  </a:lnTo>
                  <a:lnTo>
                    <a:pt x="161585" y="0"/>
                  </a:lnTo>
                  <a:close/>
                </a:path>
              </a:pathLst>
            </a:custGeom>
            <a:solidFill>
              <a:srgbClr val="FFFF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DE" sz="600" dirty="0">
                <a:solidFill>
                  <a:sysClr val="windowText" lastClr="000000"/>
                </a:solidFill>
              </a:endParaRPr>
            </a:p>
          </p:txBody>
        </p:sp>
        <p:grpSp>
          <p:nvGrpSpPr>
            <p:cNvPr id="55" name="Text_G007/T106">
              <a:extLst>
                <a:ext uri="{FF2B5EF4-FFF2-40B4-BE49-F238E27FC236}">
                  <a16:creationId xmlns:a16="http://schemas.microsoft.com/office/drawing/2014/main" id="{A1130BFD-21DF-4084-998C-054556F798A2}"/>
                </a:ext>
              </a:extLst>
            </p:cNvPr>
            <p:cNvGrpSpPr/>
            <p:nvPr/>
          </p:nvGrpSpPr>
          <p:grpSpPr>
            <a:xfrm>
              <a:off x="5702267" y="7611208"/>
              <a:ext cx="571365" cy="856124"/>
              <a:chOff x="1770146" y="2080340"/>
              <a:chExt cx="391839" cy="646517"/>
            </a:xfrm>
          </p:grpSpPr>
          <p:sp>
            <p:nvSpPr>
              <p:cNvPr id="97" name="Text_G007/T106">
                <a:extLst>
                  <a:ext uri="{FF2B5EF4-FFF2-40B4-BE49-F238E27FC236}">
                    <a16:creationId xmlns:a16="http://schemas.microsoft.com/office/drawing/2014/main" id="{8FD3CC93-6703-4EAA-99FF-760BC6FBACF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770146" y="2080340"/>
                <a:ext cx="17234" cy="18583"/>
              </a:xfrm>
              <a:prstGeom prst="ellipse">
                <a:avLst/>
              </a:prstGeom>
              <a:solidFill>
                <a:schemeClr val="tx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endParaRPr lang="de-DE" dirty="0"/>
              </a:p>
            </p:txBody>
          </p:sp>
          <p:sp>
            <p:nvSpPr>
              <p:cNvPr id="98" name="Text_G007/T106">
                <a:extLst>
                  <a:ext uri="{FF2B5EF4-FFF2-40B4-BE49-F238E27FC236}">
                    <a16:creationId xmlns:a16="http://schemas.microsoft.com/office/drawing/2014/main" id="{6CE26AF1-562D-4714-8407-0A12CBA8172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144751" y="2708274"/>
                <a:ext cx="17234" cy="18583"/>
              </a:xfrm>
              <a:prstGeom prst="ellipse">
                <a:avLst/>
              </a:prstGeom>
              <a:solidFill>
                <a:schemeClr val="tx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/>
                <a:endParaRPr lang="de-DE" dirty="0"/>
              </a:p>
            </p:txBody>
          </p:sp>
        </p:grpSp>
        <p:sp>
          <p:nvSpPr>
            <p:cNvPr id="56" name="Text_G020">
              <a:extLst>
                <a:ext uri="{FF2B5EF4-FFF2-40B4-BE49-F238E27FC236}">
                  <a16:creationId xmlns:a16="http://schemas.microsoft.com/office/drawing/2014/main" id="{665FDC27-3BD4-4DE8-BA19-8B757016916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330742" y="4853834"/>
              <a:ext cx="25031" cy="24464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de-DE" dirty="0"/>
            </a:p>
          </p:txBody>
        </p:sp>
        <p:sp>
          <p:nvSpPr>
            <p:cNvPr id="57" name="T110N_BA1">
              <a:extLst>
                <a:ext uri="{FF2B5EF4-FFF2-40B4-BE49-F238E27FC236}">
                  <a16:creationId xmlns:a16="http://schemas.microsoft.com/office/drawing/2014/main" id="{A6B69B3E-2F9E-403F-BF4D-51286CB681B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878382" y="3230491"/>
              <a:ext cx="505274" cy="983623"/>
            </a:xfrm>
            <a:custGeom>
              <a:avLst/>
              <a:gdLst>
                <a:gd name="connsiteX0" fmla="*/ 0 w 5234940"/>
                <a:gd name="connsiteY0" fmla="*/ 1219200 h 4191000"/>
                <a:gd name="connsiteX1" fmla="*/ 190500 w 5234940"/>
                <a:gd name="connsiteY1" fmla="*/ 990600 h 4191000"/>
                <a:gd name="connsiteX2" fmla="*/ 434340 w 5234940"/>
                <a:gd name="connsiteY2" fmla="*/ 792480 h 4191000"/>
                <a:gd name="connsiteX3" fmla="*/ 662940 w 5234940"/>
                <a:gd name="connsiteY3" fmla="*/ 624840 h 4191000"/>
                <a:gd name="connsiteX4" fmla="*/ 906780 w 5234940"/>
                <a:gd name="connsiteY4" fmla="*/ 533400 h 4191000"/>
                <a:gd name="connsiteX5" fmla="*/ 868680 w 5234940"/>
                <a:gd name="connsiteY5" fmla="*/ 426720 h 4191000"/>
                <a:gd name="connsiteX6" fmla="*/ 1051560 w 5234940"/>
                <a:gd name="connsiteY6" fmla="*/ 358140 h 4191000"/>
                <a:gd name="connsiteX7" fmla="*/ 1097280 w 5234940"/>
                <a:gd name="connsiteY7" fmla="*/ 464820 h 4191000"/>
                <a:gd name="connsiteX8" fmla="*/ 1219200 w 5234940"/>
                <a:gd name="connsiteY8" fmla="*/ 434340 h 4191000"/>
                <a:gd name="connsiteX9" fmla="*/ 1249680 w 5234940"/>
                <a:gd name="connsiteY9" fmla="*/ 365760 h 4191000"/>
                <a:gd name="connsiteX10" fmla="*/ 1508760 w 5234940"/>
                <a:gd name="connsiteY10" fmla="*/ 297180 h 4191000"/>
                <a:gd name="connsiteX11" fmla="*/ 1562100 w 5234940"/>
                <a:gd name="connsiteY11" fmla="*/ 327660 h 4191000"/>
                <a:gd name="connsiteX12" fmla="*/ 1691640 w 5234940"/>
                <a:gd name="connsiteY12" fmla="*/ 274320 h 4191000"/>
                <a:gd name="connsiteX13" fmla="*/ 1661160 w 5234940"/>
                <a:gd name="connsiteY13" fmla="*/ 114300 h 4191000"/>
                <a:gd name="connsiteX14" fmla="*/ 2065020 w 5234940"/>
                <a:gd name="connsiteY14" fmla="*/ 0 h 4191000"/>
                <a:gd name="connsiteX15" fmla="*/ 2110740 w 5234940"/>
                <a:gd name="connsiteY15" fmla="*/ 160020 h 4191000"/>
                <a:gd name="connsiteX16" fmla="*/ 2362200 w 5234940"/>
                <a:gd name="connsiteY16" fmla="*/ 106680 h 4191000"/>
                <a:gd name="connsiteX17" fmla="*/ 2621280 w 5234940"/>
                <a:gd name="connsiteY17" fmla="*/ 99060 h 4191000"/>
                <a:gd name="connsiteX18" fmla="*/ 2948940 w 5234940"/>
                <a:gd name="connsiteY18" fmla="*/ 152400 h 4191000"/>
                <a:gd name="connsiteX19" fmla="*/ 3276600 w 5234940"/>
                <a:gd name="connsiteY19" fmla="*/ 251460 h 4191000"/>
                <a:gd name="connsiteX20" fmla="*/ 3642360 w 5234940"/>
                <a:gd name="connsiteY20" fmla="*/ 464820 h 4191000"/>
                <a:gd name="connsiteX21" fmla="*/ 3931920 w 5234940"/>
                <a:gd name="connsiteY21" fmla="*/ 723900 h 4191000"/>
                <a:gd name="connsiteX22" fmla="*/ 4442460 w 5234940"/>
                <a:gd name="connsiteY22" fmla="*/ 1280160 h 4191000"/>
                <a:gd name="connsiteX23" fmla="*/ 4472940 w 5234940"/>
                <a:gd name="connsiteY23" fmla="*/ 1287780 h 4191000"/>
                <a:gd name="connsiteX24" fmla="*/ 4655820 w 5234940"/>
                <a:gd name="connsiteY24" fmla="*/ 1463040 h 4191000"/>
                <a:gd name="connsiteX25" fmla="*/ 4640580 w 5234940"/>
                <a:gd name="connsiteY25" fmla="*/ 1524000 h 4191000"/>
                <a:gd name="connsiteX26" fmla="*/ 4892040 w 5234940"/>
                <a:gd name="connsiteY26" fmla="*/ 1821180 h 4191000"/>
                <a:gd name="connsiteX27" fmla="*/ 5082540 w 5234940"/>
                <a:gd name="connsiteY27" fmla="*/ 2217420 h 4191000"/>
                <a:gd name="connsiteX28" fmla="*/ 5204460 w 5234940"/>
                <a:gd name="connsiteY28" fmla="*/ 2636520 h 4191000"/>
                <a:gd name="connsiteX29" fmla="*/ 5234940 w 5234940"/>
                <a:gd name="connsiteY29" fmla="*/ 3086100 h 4191000"/>
                <a:gd name="connsiteX30" fmla="*/ 5181600 w 5234940"/>
                <a:gd name="connsiteY30" fmla="*/ 3611880 h 4191000"/>
                <a:gd name="connsiteX31" fmla="*/ 5029200 w 5234940"/>
                <a:gd name="connsiteY31" fmla="*/ 4175760 h 4191000"/>
                <a:gd name="connsiteX32" fmla="*/ 4450080 w 5234940"/>
                <a:gd name="connsiteY32" fmla="*/ 4191000 h 4191000"/>
                <a:gd name="connsiteX33" fmla="*/ 4671060 w 5234940"/>
                <a:gd name="connsiteY33" fmla="*/ 3261360 h 4191000"/>
                <a:gd name="connsiteX34" fmla="*/ 4678680 w 5234940"/>
                <a:gd name="connsiteY34" fmla="*/ 2834640 h 4191000"/>
                <a:gd name="connsiteX35" fmla="*/ 4556760 w 5234940"/>
                <a:gd name="connsiteY35" fmla="*/ 2415540 h 4191000"/>
                <a:gd name="connsiteX36" fmla="*/ 4351020 w 5234940"/>
                <a:gd name="connsiteY36" fmla="*/ 2057400 h 4191000"/>
                <a:gd name="connsiteX37" fmla="*/ 3406140 w 5234940"/>
                <a:gd name="connsiteY37" fmla="*/ 1013460 h 4191000"/>
                <a:gd name="connsiteX38" fmla="*/ 3169920 w 5234940"/>
                <a:gd name="connsiteY38" fmla="*/ 853440 h 4191000"/>
                <a:gd name="connsiteX39" fmla="*/ 2887980 w 5234940"/>
                <a:gd name="connsiteY39" fmla="*/ 739140 h 4191000"/>
                <a:gd name="connsiteX40" fmla="*/ 2491740 w 5234940"/>
                <a:gd name="connsiteY40" fmla="*/ 693420 h 4191000"/>
                <a:gd name="connsiteX41" fmla="*/ 2209800 w 5234940"/>
                <a:gd name="connsiteY41" fmla="*/ 739140 h 4191000"/>
                <a:gd name="connsiteX42" fmla="*/ 1211580 w 5234940"/>
                <a:gd name="connsiteY42" fmla="*/ 1059180 h 4191000"/>
                <a:gd name="connsiteX43" fmla="*/ 937260 w 5234940"/>
                <a:gd name="connsiteY43" fmla="*/ 1165860 h 4191000"/>
                <a:gd name="connsiteX44" fmla="*/ 792480 w 5234940"/>
                <a:gd name="connsiteY44" fmla="*/ 1257300 h 4191000"/>
                <a:gd name="connsiteX45" fmla="*/ 0 w 5234940"/>
                <a:gd name="connsiteY45" fmla="*/ 1219200 h 4191000"/>
                <a:gd name="connsiteX0" fmla="*/ 0 w 5257800"/>
                <a:gd name="connsiteY0" fmla="*/ 1234440 h 4191000"/>
                <a:gd name="connsiteX1" fmla="*/ 213360 w 5257800"/>
                <a:gd name="connsiteY1" fmla="*/ 990600 h 4191000"/>
                <a:gd name="connsiteX2" fmla="*/ 457200 w 5257800"/>
                <a:gd name="connsiteY2" fmla="*/ 792480 h 4191000"/>
                <a:gd name="connsiteX3" fmla="*/ 685800 w 5257800"/>
                <a:gd name="connsiteY3" fmla="*/ 624840 h 4191000"/>
                <a:gd name="connsiteX4" fmla="*/ 929640 w 5257800"/>
                <a:gd name="connsiteY4" fmla="*/ 533400 h 4191000"/>
                <a:gd name="connsiteX5" fmla="*/ 891540 w 5257800"/>
                <a:gd name="connsiteY5" fmla="*/ 426720 h 4191000"/>
                <a:gd name="connsiteX6" fmla="*/ 1074420 w 5257800"/>
                <a:gd name="connsiteY6" fmla="*/ 358140 h 4191000"/>
                <a:gd name="connsiteX7" fmla="*/ 1120140 w 5257800"/>
                <a:gd name="connsiteY7" fmla="*/ 464820 h 4191000"/>
                <a:gd name="connsiteX8" fmla="*/ 1242060 w 5257800"/>
                <a:gd name="connsiteY8" fmla="*/ 434340 h 4191000"/>
                <a:gd name="connsiteX9" fmla="*/ 1272540 w 5257800"/>
                <a:gd name="connsiteY9" fmla="*/ 365760 h 4191000"/>
                <a:gd name="connsiteX10" fmla="*/ 1531620 w 5257800"/>
                <a:gd name="connsiteY10" fmla="*/ 297180 h 4191000"/>
                <a:gd name="connsiteX11" fmla="*/ 1584960 w 5257800"/>
                <a:gd name="connsiteY11" fmla="*/ 327660 h 4191000"/>
                <a:gd name="connsiteX12" fmla="*/ 1714500 w 5257800"/>
                <a:gd name="connsiteY12" fmla="*/ 274320 h 4191000"/>
                <a:gd name="connsiteX13" fmla="*/ 1684020 w 5257800"/>
                <a:gd name="connsiteY13" fmla="*/ 114300 h 4191000"/>
                <a:gd name="connsiteX14" fmla="*/ 2087880 w 5257800"/>
                <a:gd name="connsiteY14" fmla="*/ 0 h 4191000"/>
                <a:gd name="connsiteX15" fmla="*/ 2133600 w 5257800"/>
                <a:gd name="connsiteY15" fmla="*/ 160020 h 4191000"/>
                <a:gd name="connsiteX16" fmla="*/ 2385060 w 5257800"/>
                <a:gd name="connsiteY16" fmla="*/ 106680 h 4191000"/>
                <a:gd name="connsiteX17" fmla="*/ 2644140 w 5257800"/>
                <a:gd name="connsiteY17" fmla="*/ 99060 h 4191000"/>
                <a:gd name="connsiteX18" fmla="*/ 2971800 w 5257800"/>
                <a:gd name="connsiteY18" fmla="*/ 152400 h 4191000"/>
                <a:gd name="connsiteX19" fmla="*/ 3299460 w 5257800"/>
                <a:gd name="connsiteY19" fmla="*/ 251460 h 4191000"/>
                <a:gd name="connsiteX20" fmla="*/ 3665220 w 5257800"/>
                <a:gd name="connsiteY20" fmla="*/ 464820 h 4191000"/>
                <a:gd name="connsiteX21" fmla="*/ 3954780 w 5257800"/>
                <a:gd name="connsiteY21" fmla="*/ 723900 h 4191000"/>
                <a:gd name="connsiteX22" fmla="*/ 4465320 w 5257800"/>
                <a:gd name="connsiteY22" fmla="*/ 1280160 h 4191000"/>
                <a:gd name="connsiteX23" fmla="*/ 4495800 w 5257800"/>
                <a:gd name="connsiteY23" fmla="*/ 1287780 h 4191000"/>
                <a:gd name="connsiteX24" fmla="*/ 4678680 w 5257800"/>
                <a:gd name="connsiteY24" fmla="*/ 1463040 h 4191000"/>
                <a:gd name="connsiteX25" fmla="*/ 4663440 w 5257800"/>
                <a:gd name="connsiteY25" fmla="*/ 1524000 h 4191000"/>
                <a:gd name="connsiteX26" fmla="*/ 4914900 w 5257800"/>
                <a:gd name="connsiteY26" fmla="*/ 1821180 h 4191000"/>
                <a:gd name="connsiteX27" fmla="*/ 5105400 w 5257800"/>
                <a:gd name="connsiteY27" fmla="*/ 2217420 h 4191000"/>
                <a:gd name="connsiteX28" fmla="*/ 5227320 w 5257800"/>
                <a:gd name="connsiteY28" fmla="*/ 2636520 h 4191000"/>
                <a:gd name="connsiteX29" fmla="*/ 5257800 w 5257800"/>
                <a:gd name="connsiteY29" fmla="*/ 3086100 h 4191000"/>
                <a:gd name="connsiteX30" fmla="*/ 5204460 w 5257800"/>
                <a:gd name="connsiteY30" fmla="*/ 3611880 h 4191000"/>
                <a:gd name="connsiteX31" fmla="*/ 5052060 w 5257800"/>
                <a:gd name="connsiteY31" fmla="*/ 4175760 h 4191000"/>
                <a:gd name="connsiteX32" fmla="*/ 4472940 w 5257800"/>
                <a:gd name="connsiteY32" fmla="*/ 4191000 h 4191000"/>
                <a:gd name="connsiteX33" fmla="*/ 4693920 w 5257800"/>
                <a:gd name="connsiteY33" fmla="*/ 3261360 h 4191000"/>
                <a:gd name="connsiteX34" fmla="*/ 4701540 w 5257800"/>
                <a:gd name="connsiteY34" fmla="*/ 2834640 h 4191000"/>
                <a:gd name="connsiteX35" fmla="*/ 4579620 w 5257800"/>
                <a:gd name="connsiteY35" fmla="*/ 2415540 h 4191000"/>
                <a:gd name="connsiteX36" fmla="*/ 4373880 w 5257800"/>
                <a:gd name="connsiteY36" fmla="*/ 2057400 h 4191000"/>
                <a:gd name="connsiteX37" fmla="*/ 3429000 w 5257800"/>
                <a:gd name="connsiteY37" fmla="*/ 1013460 h 4191000"/>
                <a:gd name="connsiteX38" fmla="*/ 3192780 w 5257800"/>
                <a:gd name="connsiteY38" fmla="*/ 853440 h 4191000"/>
                <a:gd name="connsiteX39" fmla="*/ 2910840 w 5257800"/>
                <a:gd name="connsiteY39" fmla="*/ 739140 h 4191000"/>
                <a:gd name="connsiteX40" fmla="*/ 2514600 w 5257800"/>
                <a:gd name="connsiteY40" fmla="*/ 693420 h 4191000"/>
                <a:gd name="connsiteX41" fmla="*/ 2232660 w 5257800"/>
                <a:gd name="connsiteY41" fmla="*/ 739140 h 4191000"/>
                <a:gd name="connsiteX42" fmla="*/ 1234440 w 5257800"/>
                <a:gd name="connsiteY42" fmla="*/ 1059180 h 4191000"/>
                <a:gd name="connsiteX43" fmla="*/ 960120 w 5257800"/>
                <a:gd name="connsiteY43" fmla="*/ 1165860 h 4191000"/>
                <a:gd name="connsiteX44" fmla="*/ 815340 w 5257800"/>
                <a:gd name="connsiteY44" fmla="*/ 1257300 h 4191000"/>
                <a:gd name="connsiteX45" fmla="*/ 0 w 5257800"/>
                <a:gd name="connsiteY45" fmla="*/ 1234440 h 4191000"/>
                <a:gd name="connsiteX0" fmla="*/ 0 w 5257800"/>
                <a:gd name="connsiteY0" fmla="*/ 1234440 h 4206240"/>
                <a:gd name="connsiteX1" fmla="*/ 213360 w 5257800"/>
                <a:gd name="connsiteY1" fmla="*/ 990600 h 4206240"/>
                <a:gd name="connsiteX2" fmla="*/ 457200 w 5257800"/>
                <a:gd name="connsiteY2" fmla="*/ 792480 h 4206240"/>
                <a:gd name="connsiteX3" fmla="*/ 685800 w 5257800"/>
                <a:gd name="connsiteY3" fmla="*/ 624840 h 4206240"/>
                <a:gd name="connsiteX4" fmla="*/ 929640 w 5257800"/>
                <a:gd name="connsiteY4" fmla="*/ 533400 h 4206240"/>
                <a:gd name="connsiteX5" fmla="*/ 891540 w 5257800"/>
                <a:gd name="connsiteY5" fmla="*/ 426720 h 4206240"/>
                <a:gd name="connsiteX6" fmla="*/ 1074420 w 5257800"/>
                <a:gd name="connsiteY6" fmla="*/ 358140 h 4206240"/>
                <a:gd name="connsiteX7" fmla="*/ 1120140 w 5257800"/>
                <a:gd name="connsiteY7" fmla="*/ 464820 h 4206240"/>
                <a:gd name="connsiteX8" fmla="*/ 1242060 w 5257800"/>
                <a:gd name="connsiteY8" fmla="*/ 434340 h 4206240"/>
                <a:gd name="connsiteX9" fmla="*/ 1272540 w 5257800"/>
                <a:gd name="connsiteY9" fmla="*/ 365760 h 4206240"/>
                <a:gd name="connsiteX10" fmla="*/ 1531620 w 5257800"/>
                <a:gd name="connsiteY10" fmla="*/ 297180 h 4206240"/>
                <a:gd name="connsiteX11" fmla="*/ 1584960 w 5257800"/>
                <a:gd name="connsiteY11" fmla="*/ 327660 h 4206240"/>
                <a:gd name="connsiteX12" fmla="*/ 1714500 w 5257800"/>
                <a:gd name="connsiteY12" fmla="*/ 274320 h 4206240"/>
                <a:gd name="connsiteX13" fmla="*/ 1684020 w 5257800"/>
                <a:gd name="connsiteY13" fmla="*/ 114300 h 4206240"/>
                <a:gd name="connsiteX14" fmla="*/ 2087880 w 5257800"/>
                <a:gd name="connsiteY14" fmla="*/ 0 h 4206240"/>
                <a:gd name="connsiteX15" fmla="*/ 2133600 w 5257800"/>
                <a:gd name="connsiteY15" fmla="*/ 160020 h 4206240"/>
                <a:gd name="connsiteX16" fmla="*/ 2385060 w 5257800"/>
                <a:gd name="connsiteY16" fmla="*/ 106680 h 4206240"/>
                <a:gd name="connsiteX17" fmla="*/ 2644140 w 5257800"/>
                <a:gd name="connsiteY17" fmla="*/ 99060 h 4206240"/>
                <a:gd name="connsiteX18" fmla="*/ 2971800 w 5257800"/>
                <a:gd name="connsiteY18" fmla="*/ 152400 h 4206240"/>
                <a:gd name="connsiteX19" fmla="*/ 3299460 w 5257800"/>
                <a:gd name="connsiteY19" fmla="*/ 251460 h 4206240"/>
                <a:gd name="connsiteX20" fmla="*/ 3665220 w 5257800"/>
                <a:gd name="connsiteY20" fmla="*/ 464820 h 4206240"/>
                <a:gd name="connsiteX21" fmla="*/ 3954780 w 5257800"/>
                <a:gd name="connsiteY21" fmla="*/ 723900 h 4206240"/>
                <a:gd name="connsiteX22" fmla="*/ 4465320 w 5257800"/>
                <a:gd name="connsiteY22" fmla="*/ 1280160 h 4206240"/>
                <a:gd name="connsiteX23" fmla="*/ 4495800 w 5257800"/>
                <a:gd name="connsiteY23" fmla="*/ 1287780 h 4206240"/>
                <a:gd name="connsiteX24" fmla="*/ 4678680 w 5257800"/>
                <a:gd name="connsiteY24" fmla="*/ 1463040 h 4206240"/>
                <a:gd name="connsiteX25" fmla="*/ 4663440 w 5257800"/>
                <a:gd name="connsiteY25" fmla="*/ 1524000 h 4206240"/>
                <a:gd name="connsiteX26" fmla="*/ 4914900 w 5257800"/>
                <a:gd name="connsiteY26" fmla="*/ 1821180 h 4206240"/>
                <a:gd name="connsiteX27" fmla="*/ 5105400 w 5257800"/>
                <a:gd name="connsiteY27" fmla="*/ 2217420 h 4206240"/>
                <a:gd name="connsiteX28" fmla="*/ 5227320 w 5257800"/>
                <a:gd name="connsiteY28" fmla="*/ 2636520 h 4206240"/>
                <a:gd name="connsiteX29" fmla="*/ 5257800 w 5257800"/>
                <a:gd name="connsiteY29" fmla="*/ 3086100 h 4206240"/>
                <a:gd name="connsiteX30" fmla="*/ 5204460 w 5257800"/>
                <a:gd name="connsiteY30" fmla="*/ 3611880 h 4206240"/>
                <a:gd name="connsiteX31" fmla="*/ 5044440 w 5257800"/>
                <a:gd name="connsiteY31" fmla="*/ 4206240 h 4206240"/>
                <a:gd name="connsiteX32" fmla="*/ 4472940 w 5257800"/>
                <a:gd name="connsiteY32" fmla="*/ 4191000 h 4206240"/>
                <a:gd name="connsiteX33" fmla="*/ 4693920 w 5257800"/>
                <a:gd name="connsiteY33" fmla="*/ 3261360 h 4206240"/>
                <a:gd name="connsiteX34" fmla="*/ 4701540 w 5257800"/>
                <a:gd name="connsiteY34" fmla="*/ 2834640 h 4206240"/>
                <a:gd name="connsiteX35" fmla="*/ 4579620 w 5257800"/>
                <a:gd name="connsiteY35" fmla="*/ 2415540 h 4206240"/>
                <a:gd name="connsiteX36" fmla="*/ 4373880 w 5257800"/>
                <a:gd name="connsiteY36" fmla="*/ 2057400 h 4206240"/>
                <a:gd name="connsiteX37" fmla="*/ 3429000 w 5257800"/>
                <a:gd name="connsiteY37" fmla="*/ 1013460 h 4206240"/>
                <a:gd name="connsiteX38" fmla="*/ 3192780 w 5257800"/>
                <a:gd name="connsiteY38" fmla="*/ 853440 h 4206240"/>
                <a:gd name="connsiteX39" fmla="*/ 2910840 w 5257800"/>
                <a:gd name="connsiteY39" fmla="*/ 739140 h 4206240"/>
                <a:gd name="connsiteX40" fmla="*/ 2514600 w 5257800"/>
                <a:gd name="connsiteY40" fmla="*/ 693420 h 4206240"/>
                <a:gd name="connsiteX41" fmla="*/ 2232660 w 5257800"/>
                <a:gd name="connsiteY41" fmla="*/ 739140 h 4206240"/>
                <a:gd name="connsiteX42" fmla="*/ 1234440 w 5257800"/>
                <a:gd name="connsiteY42" fmla="*/ 1059180 h 4206240"/>
                <a:gd name="connsiteX43" fmla="*/ 960120 w 5257800"/>
                <a:gd name="connsiteY43" fmla="*/ 1165860 h 4206240"/>
                <a:gd name="connsiteX44" fmla="*/ 815340 w 5257800"/>
                <a:gd name="connsiteY44" fmla="*/ 1257300 h 4206240"/>
                <a:gd name="connsiteX45" fmla="*/ 0 w 5257800"/>
                <a:gd name="connsiteY45" fmla="*/ 1234440 h 4206240"/>
                <a:gd name="connsiteX0" fmla="*/ 0 w 5257800"/>
                <a:gd name="connsiteY0" fmla="*/ 1234440 h 4213860"/>
                <a:gd name="connsiteX1" fmla="*/ 213360 w 5257800"/>
                <a:gd name="connsiteY1" fmla="*/ 990600 h 4213860"/>
                <a:gd name="connsiteX2" fmla="*/ 457200 w 5257800"/>
                <a:gd name="connsiteY2" fmla="*/ 792480 h 4213860"/>
                <a:gd name="connsiteX3" fmla="*/ 685800 w 5257800"/>
                <a:gd name="connsiteY3" fmla="*/ 624840 h 4213860"/>
                <a:gd name="connsiteX4" fmla="*/ 929640 w 5257800"/>
                <a:gd name="connsiteY4" fmla="*/ 533400 h 4213860"/>
                <a:gd name="connsiteX5" fmla="*/ 891540 w 5257800"/>
                <a:gd name="connsiteY5" fmla="*/ 426720 h 4213860"/>
                <a:gd name="connsiteX6" fmla="*/ 1074420 w 5257800"/>
                <a:gd name="connsiteY6" fmla="*/ 358140 h 4213860"/>
                <a:gd name="connsiteX7" fmla="*/ 1120140 w 5257800"/>
                <a:gd name="connsiteY7" fmla="*/ 464820 h 4213860"/>
                <a:gd name="connsiteX8" fmla="*/ 1242060 w 5257800"/>
                <a:gd name="connsiteY8" fmla="*/ 434340 h 4213860"/>
                <a:gd name="connsiteX9" fmla="*/ 1272540 w 5257800"/>
                <a:gd name="connsiteY9" fmla="*/ 365760 h 4213860"/>
                <a:gd name="connsiteX10" fmla="*/ 1531620 w 5257800"/>
                <a:gd name="connsiteY10" fmla="*/ 297180 h 4213860"/>
                <a:gd name="connsiteX11" fmla="*/ 1584960 w 5257800"/>
                <a:gd name="connsiteY11" fmla="*/ 327660 h 4213860"/>
                <a:gd name="connsiteX12" fmla="*/ 1714500 w 5257800"/>
                <a:gd name="connsiteY12" fmla="*/ 274320 h 4213860"/>
                <a:gd name="connsiteX13" fmla="*/ 1684020 w 5257800"/>
                <a:gd name="connsiteY13" fmla="*/ 114300 h 4213860"/>
                <a:gd name="connsiteX14" fmla="*/ 2087880 w 5257800"/>
                <a:gd name="connsiteY14" fmla="*/ 0 h 4213860"/>
                <a:gd name="connsiteX15" fmla="*/ 2133600 w 5257800"/>
                <a:gd name="connsiteY15" fmla="*/ 160020 h 4213860"/>
                <a:gd name="connsiteX16" fmla="*/ 2385060 w 5257800"/>
                <a:gd name="connsiteY16" fmla="*/ 106680 h 4213860"/>
                <a:gd name="connsiteX17" fmla="*/ 2644140 w 5257800"/>
                <a:gd name="connsiteY17" fmla="*/ 99060 h 4213860"/>
                <a:gd name="connsiteX18" fmla="*/ 2971800 w 5257800"/>
                <a:gd name="connsiteY18" fmla="*/ 152400 h 4213860"/>
                <a:gd name="connsiteX19" fmla="*/ 3299460 w 5257800"/>
                <a:gd name="connsiteY19" fmla="*/ 251460 h 4213860"/>
                <a:gd name="connsiteX20" fmla="*/ 3665220 w 5257800"/>
                <a:gd name="connsiteY20" fmla="*/ 464820 h 4213860"/>
                <a:gd name="connsiteX21" fmla="*/ 3954780 w 5257800"/>
                <a:gd name="connsiteY21" fmla="*/ 723900 h 4213860"/>
                <a:gd name="connsiteX22" fmla="*/ 4465320 w 5257800"/>
                <a:gd name="connsiteY22" fmla="*/ 1280160 h 4213860"/>
                <a:gd name="connsiteX23" fmla="*/ 4495800 w 5257800"/>
                <a:gd name="connsiteY23" fmla="*/ 1287780 h 4213860"/>
                <a:gd name="connsiteX24" fmla="*/ 4678680 w 5257800"/>
                <a:gd name="connsiteY24" fmla="*/ 1463040 h 4213860"/>
                <a:gd name="connsiteX25" fmla="*/ 4663440 w 5257800"/>
                <a:gd name="connsiteY25" fmla="*/ 1524000 h 4213860"/>
                <a:gd name="connsiteX26" fmla="*/ 4914900 w 5257800"/>
                <a:gd name="connsiteY26" fmla="*/ 1821180 h 4213860"/>
                <a:gd name="connsiteX27" fmla="*/ 5105400 w 5257800"/>
                <a:gd name="connsiteY27" fmla="*/ 2217420 h 4213860"/>
                <a:gd name="connsiteX28" fmla="*/ 5227320 w 5257800"/>
                <a:gd name="connsiteY28" fmla="*/ 2636520 h 4213860"/>
                <a:gd name="connsiteX29" fmla="*/ 5257800 w 5257800"/>
                <a:gd name="connsiteY29" fmla="*/ 3086100 h 4213860"/>
                <a:gd name="connsiteX30" fmla="*/ 5204460 w 5257800"/>
                <a:gd name="connsiteY30" fmla="*/ 3611880 h 4213860"/>
                <a:gd name="connsiteX31" fmla="*/ 5044440 w 5257800"/>
                <a:gd name="connsiteY31" fmla="*/ 4206240 h 4213860"/>
                <a:gd name="connsiteX32" fmla="*/ 4495800 w 5257800"/>
                <a:gd name="connsiteY32" fmla="*/ 4213860 h 4213860"/>
                <a:gd name="connsiteX33" fmla="*/ 4693920 w 5257800"/>
                <a:gd name="connsiteY33" fmla="*/ 3261360 h 4213860"/>
                <a:gd name="connsiteX34" fmla="*/ 4701540 w 5257800"/>
                <a:gd name="connsiteY34" fmla="*/ 2834640 h 4213860"/>
                <a:gd name="connsiteX35" fmla="*/ 4579620 w 5257800"/>
                <a:gd name="connsiteY35" fmla="*/ 2415540 h 4213860"/>
                <a:gd name="connsiteX36" fmla="*/ 4373880 w 5257800"/>
                <a:gd name="connsiteY36" fmla="*/ 2057400 h 4213860"/>
                <a:gd name="connsiteX37" fmla="*/ 3429000 w 5257800"/>
                <a:gd name="connsiteY37" fmla="*/ 1013460 h 4213860"/>
                <a:gd name="connsiteX38" fmla="*/ 3192780 w 5257800"/>
                <a:gd name="connsiteY38" fmla="*/ 853440 h 4213860"/>
                <a:gd name="connsiteX39" fmla="*/ 2910840 w 5257800"/>
                <a:gd name="connsiteY39" fmla="*/ 739140 h 4213860"/>
                <a:gd name="connsiteX40" fmla="*/ 2514600 w 5257800"/>
                <a:gd name="connsiteY40" fmla="*/ 693420 h 4213860"/>
                <a:gd name="connsiteX41" fmla="*/ 2232660 w 5257800"/>
                <a:gd name="connsiteY41" fmla="*/ 739140 h 4213860"/>
                <a:gd name="connsiteX42" fmla="*/ 1234440 w 5257800"/>
                <a:gd name="connsiteY42" fmla="*/ 1059180 h 4213860"/>
                <a:gd name="connsiteX43" fmla="*/ 960120 w 5257800"/>
                <a:gd name="connsiteY43" fmla="*/ 1165860 h 4213860"/>
                <a:gd name="connsiteX44" fmla="*/ 815340 w 5257800"/>
                <a:gd name="connsiteY44" fmla="*/ 1257300 h 4213860"/>
                <a:gd name="connsiteX45" fmla="*/ 0 w 5257800"/>
                <a:gd name="connsiteY45" fmla="*/ 1234440 h 4213860"/>
                <a:gd name="connsiteX0" fmla="*/ 0 w 5257800"/>
                <a:gd name="connsiteY0" fmla="*/ 1234440 h 4213860"/>
                <a:gd name="connsiteX1" fmla="*/ 213360 w 5257800"/>
                <a:gd name="connsiteY1" fmla="*/ 990600 h 4213860"/>
                <a:gd name="connsiteX2" fmla="*/ 457200 w 5257800"/>
                <a:gd name="connsiteY2" fmla="*/ 792480 h 4213860"/>
                <a:gd name="connsiteX3" fmla="*/ 685800 w 5257800"/>
                <a:gd name="connsiteY3" fmla="*/ 624840 h 4213860"/>
                <a:gd name="connsiteX4" fmla="*/ 929640 w 5257800"/>
                <a:gd name="connsiteY4" fmla="*/ 533400 h 4213860"/>
                <a:gd name="connsiteX5" fmla="*/ 891540 w 5257800"/>
                <a:gd name="connsiteY5" fmla="*/ 426720 h 4213860"/>
                <a:gd name="connsiteX6" fmla="*/ 1074420 w 5257800"/>
                <a:gd name="connsiteY6" fmla="*/ 358140 h 4213860"/>
                <a:gd name="connsiteX7" fmla="*/ 1120140 w 5257800"/>
                <a:gd name="connsiteY7" fmla="*/ 464820 h 4213860"/>
                <a:gd name="connsiteX8" fmla="*/ 1242060 w 5257800"/>
                <a:gd name="connsiteY8" fmla="*/ 434340 h 4213860"/>
                <a:gd name="connsiteX9" fmla="*/ 1272540 w 5257800"/>
                <a:gd name="connsiteY9" fmla="*/ 365760 h 4213860"/>
                <a:gd name="connsiteX10" fmla="*/ 1531620 w 5257800"/>
                <a:gd name="connsiteY10" fmla="*/ 297180 h 4213860"/>
                <a:gd name="connsiteX11" fmla="*/ 1584960 w 5257800"/>
                <a:gd name="connsiteY11" fmla="*/ 327660 h 4213860"/>
                <a:gd name="connsiteX12" fmla="*/ 1714500 w 5257800"/>
                <a:gd name="connsiteY12" fmla="*/ 274320 h 4213860"/>
                <a:gd name="connsiteX13" fmla="*/ 1684020 w 5257800"/>
                <a:gd name="connsiteY13" fmla="*/ 114300 h 4213860"/>
                <a:gd name="connsiteX14" fmla="*/ 2087880 w 5257800"/>
                <a:gd name="connsiteY14" fmla="*/ 0 h 4213860"/>
                <a:gd name="connsiteX15" fmla="*/ 2133600 w 5257800"/>
                <a:gd name="connsiteY15" fmla="*/ 160020 h 4213860"/>
                <a:gd name="connsiteX16" fmla="*/ 2385060 w 5257800"/>
                <a:gd name="connsiteY16" fmla="*/ 106680 h 4213860"/>
                <a:gd name="connsiteX17" fmla="*/ 2644140 w 5257800"/>
                <a:gd name="connsiteY17" fmla="*/ 99060 h 4213860"/>
                <a:gd name="connsiteX18" fmla="*/ 2971800 w 5257800"/>
                <a:gd name="connsiteY18" fmla="*/ 152400 h 4213860"/>
                <a:gd name="connsiteX19" fmla="*/ 3299460 w 5257800"/>
                <a:gd name="connsiteY19" fmla="*/ 251460 h 4213860"/>
                <a:gd name="connsiteX20" fmla="*/ 3665220 w 5257800"/>
                <a:gd name="connsiteY20" fmla="*/ 464820 h 4213860"/>
                <a:gd name="connsiteX21" fmla="*/ 3954780 w 5257800"/>
                <a:gd name="connsiteY21" fmla="*/ 723900 h 4213860"/>
                <a:gd name="connsiteX22" fmla="*/ 4465320 w 5257800"/>
                <a:gd name="connsiteY22" fmla="*/ 1280160 h 4213860"/>
                <a:gd name="connsiteX23" fmla="*/ 4495800 w 5257800"/>
                <a:gd name="connsiteY23" fmla="*/ 1287780 h 4213860"/>
                <a:gd name="connsiteX24" fmla="*/ 4678680 w 5257800"/>
                <a:gd name="connsiteY24" fmla="*/ 1463040 h 4213860"/>
                <a:gd name="connsiteX25" fmla="*/ 4663440 w 5257800"/>
                <a:gd name="connsiteY25" fmla="*/ 1524000 h 4213860"/>
                <a:gd name="connsiteX26" fmla="*/ 4914900 w 5257800"/>
                <a:gd name="connsiteY26" fmla="*/ 1821180 h 4213860"/>
                <a:gd name="connsiteX27" fmla="*/ 5105400 w 5257800"/>
                <a:gd name="connsiteY27" fmla="*/ 2217420 h 4213860"/>
                <a:gd name="connsiteX28" fmla="*/ 5227320 w 5257800"/>
                <a:gd name="connsiteY28" fmla="*/ 2636520 h 4213860"/>
                <a:gd name="connsiteX29" fmla="*/ 5257800 w 5257800"/>
                <a:gd name="connsiteY29" fmla="*/ 3086100 h 4213860"/>
                <a:gd name="connsiteX30" fmla="*/ 5204460 w 5257800"/>
                <a:gd name="connsiteY30" fmla="*/ 3611880 h 4213860"/>
                <a:gd name="connsiteX31" fmla="*/ 5044440 w 5257800"/>
                <a:gd name="connsiteY31" fmla="*/ 4206240 h 4213860"/>
                <a:gd name="connsiteX32" fmla="*/ 4495800 w 5257800"/>
                <a:gd name="connsiteY32" fmla="*/ 4213860 h 4213860"/>
                <a:gd name="connsiteX33" fmla="*/ 4693920 w 5257800"/>
                <a:gd name="connsiteY33" fmla="*/ 3261360 h 4213860"/>
                <a:gd name="connsiteX34" fmla="*/ 4701540 w 5257800"/>
                <a:gd name="connsiteY34" fmla="*/ 2834640 h 4213860"/>
                <a:gd name="connsiteX35" fmla="*/ 4579620 w 5257800"/>
                <a:gd name="connsiteY35" fmla="*/ 2415540 h 4213860"/>
                <a:gd name="connsiteX36" fmla="*/ 4373880 w 5257800"/>
                <a:gd name="connsiteY36" fmla="*/ 2057400 h 4213860"/>
                <a:gd name="connsiteX37" fmla="*/ 3429000 w 5257800"/>
                <a:gd name="connsiteY37" fmla="*/ 1013460 h 4213860"/>
                <a:gd name="connsiteX38" fmla="*/ 3192780 w 5257800"/>
                <a:gd name="connsiteY38" fmla="*/ 853440 h 4213860"/>
                <a:gd name="connsiteX39" fmla="*/ 2910840 w 5257800"/>
                <a:gd name="connsiteY39" fmla="*/ 739140 h 4213860"/>
                <a:gd name="connsiteX40" fmla="*/ 2514600 w 5257800"/>
                <a:gd name="connsiteY40" fmla="*/ 693420 h 4213860"/>
                <a:gd name="connsiteX41" fmla="*/ 2232660 w 5257800"/>
                <a:gd name="connsiteY41" fmla="*/ 739140 h 4213860"/>
                <a:gd name="connsiteX42" fmla="*/ 1234440 w 5257800"/>
                <a:gd name="connsiteY42" fmla="*/ 1059180 h 4213860"/>
                <a:gd name="connsiteX43" fmla="*/ 960120 w 5257800"/>
                <a:gd name="connsiteY43" fmla="*/ 1165860 h 4213860"/>
                <a:gd name="connsiteX44" fmla="*/ 815340 w 5257800"/>
                <a:gd name="connsiteY44" fmla="*/ 1257300 h 4213860"/>
                <a:gd name="connsiteX45" fmla="*/ 0 w 5257800"/>
                <a:gd name="connsiteY45" fmla="*/ 1234440 h 4213860"/>
                <a:gd name="connsiteX0" fmla="*/ 0 w 5257800"/>
                <a:gd name="connsiteY0" fmla="*/ 1234440 h 4213860"/>
                <a:gd name="connsiteX1" fmla="*/ 213360 w 5257800"/>
                <a:gd name="connsiteY1" fmla="*/ 990600 h 4213860"/>
                <a:gd name="connsiteX2" fmla="*/ 457200 w 5257800"/>
                <a:gd name="connsiteY2" fmla="*/ 792480 h 4213860"/>
                <a:gd name="connsiteX3" fmla="*/ 685800 w 5257800"/>
                <a:gd name="connsiteY3" fmla="*/ 624840 h 4213860"/>
                <a:gd name="connsiteX4" fmla="*/ 929640 w 5257800"/>
                <a:gd name="connsiteY4" fmla="*/ 533400 h 4213860"/>
                <a:gd name="connsiteX5" fmla="*/ 891540 w 5257800"/>
                <a:gd name="connsiteY5" fmla="*/ 426720 h 4213860"/>
                <a:gd name="connsiteX6" fmla="*/ 1074420 w 5257800"/>
                <a:gd name="connsiteY6" fmla="*/ 358140 h 4213860"/>
                <a:gd name="connsiteX7" fmla="*/ 1120140 w 5257800"/>
                <a:gd name="connsiteY7" fmla="*/ 464820 h 4213860"/>
                <a:gd name="connsiteX8" fmla="*/ 1242060 w 5257800"/>
                <a:gd name="connsiteY8" fmla="*/ 434340 h 4213860"/>
                <a:gd name="connsiteX9" fmla="*/ 1272540 w 5257800"/>
                <a:gd name="connsiteY9" fmla="*/ 365760 h 4213860"/>
                <a:gd name="connsiteX10" fmla="*/ 1531620 w 5257800"/>
                <a:gd name="connsiteY10" fmla="*/ 297180 h 4213860"/>
                <a:gd name="connsiteX11" fmla="*/ 1584960 w 5257800"/>
                <a:gd name="connsiteY11" fmla="*/ 327660 h 4213860"/>
                <a:gd name="connsiteX12" fmla="*/ 1714500 w 5257800"/>
                <a:gd name="connsiteY12" fmla="*/ 274320 h 4213860"/>
                <a:gd name="connsiteX13" fmla="*/ 1684020 w 5257800"/>
                <a:gd name="connsiteY13" fmla="*/ 114300 h 4213860"/>
                <a:gd name="connsiteX14" fmla="*/ 2087880 w 5257800"/>
                <a:gd name="connsiteY14" fmla="*/ 0 h 4213860"/>
                <a:gd name="connsiteX15" fmla="*/ 2133600 w 5257800"/>
                <a:gd name="connsiteY15" fmla="*/ 160020 h 4213860"/>
                <a:gd name="connsiteX16" fmla="*/ 2385060 w 5257800"/>
                <a:gd name="connsiteY16" fmla="*/ 106680 h 4213860"/>
                <a:gd name="connsiteX17" fmla="*/ 2644140 w 5257800"/>
                <a:gd name="connsiteY17" fmla="*/ 99060 h 4213860"/>
                <a:gd name="connsiteX18" fmla="*/ 2971800 w 5257800"/>
                <a:gd name="connsiteY18" fmla="*/ 152400 h 4213860"/>
                <a:gd name="connsiteX19" fmla="*/ 3299460 w 5257800"/>
                <a:gd name="connsiteY19" fmla="*/ 251460 h 4213860"/>
                <a:gd name="connsiteX20" fmla="*/ 3665220 w 5257800"/>
                <a:gd name="connsiteY20" fmla="*/ 464820 h 4213860"/>
                <a:gd name="connsiteX21" fmla="*/ 3954780 w 5257800"/>
                <a:gd name="connsiteY21" fmla="*/ 723900 h 4213860"/>
                <a:gd name="connsiteX22" fmla="*/ 4465320 w 5257800"/>
                <a:gd name="connsiteY22" fmla="*/ 1280160 h 4213860"/>
                <a:gd name="connsiteX23" fmla="*/ 4495800 w 5257800"/>
                <a:gd name="connsiteY23" fmla="*/ 1287780 h 4213860"/>
                <a:gd name="connsiteX24" fmla="*/ 4678680 w 5257800"/>
                <a:gd name="connsiteY24" fmla="*/ 1463040 h 4213860"/>
                <a:gd name="connsiteX25" fmla="*/ 4663440 w 5257800"/>
                <a:gd name="connsiteY25" fmla="*/ 1524000 h 4213860"/>
                <a:gd name="connsiteX26" fmla="*/ 4914900 w 5257800"/>
                <a:gd name="connsiteY26" fmla="*/ 1821180 h 4213860"/>
                <a:gd name="connsiteX27" fmla="*/ 5105400 w 5257800"/>
                <a:gd name="connsiteY27" fmla="*/ 2217420 h 4213860"/>
                <a:gd name="connsiteX28" fmla="*/ 5227320 w 5257800"/>
                <a:gd name="connsiteY28" fmla="*/ 2636520 h 4213860"/>
                <a:gd name="connsiteX29" fmla="*/ 5257800 w 5257800"/>
                <a:gd name="connsiteY29" fmla="*/ 3086100 h 4213860"/>
                <a:gd name="connsiteX30" fmla="*/ 5204460 w 5257800"/>
                <a:gd name="connsiteY30" fmla="*/ 3611880 h 4213860"/>
                <a:gd name="connsiteX31" fmla="*/ 5044440 w 5257800"/>
                <a:gd name="connsiteY31" fmla="*/ 4206240 h 4213860"/>
                <a:gd name="connsiteX32" fmla="*/ 4495800 w 5257800"/>
                <a:gd name="connsiteY32" fmla="*/ 4213860 h 4213860"/>
                <a:gd name="connsiteX33" fmla="*/ 4693920 w 5257800"/>
                <a:gd name="connsiteY33" fmla="*/ 3261360 h 4213860"/>
                <a:gd name="connsiteX34" fmla="*/ 4701540 w 5257800"/>
                <a:gd name="connsiteY34" fmla="*/ 2834640 h 4213860"/>
                <a:gd name="connsiteX35" fmla="*/ 4579620 w 5257800"/>
                <a:gd name="connsiteY35" fmla="*/ 2415540 h 4213860"/>
                <a:gd name="connsiteX36" fmla="*/ 4373880 w 5257800"/>
                <a:gd name="connsiteY36" fmla="*/ 2057400 h 4213860"/>
                <a:gd name="connsiteX37" fmla="*/ 3429000 w 5257800"/>
                <a:gd name="connsiteY37" fmla="*/ 1013460 h 4213860"/>
                <a:gd name="connsiteX38" fmla="*/ 3192780 w 5257800"/>
                <a:gd name="connsiteY38" fmla="*/ 853440 h 4213860"/>
                <a:gd name="connsiteX39" fmla="*/ 2910840 w 5257800"/>
                <a:gd name="connsiteY39" fmla="*/ 739140 h 4213860"/>
                <a:gd name="connsiteX40" fmla="*/ 2514600 w 5257800"/>
                <a:gd name="connsiteY40" fmla="*/ 693420 h 4213860"/>
                <a:gd name="connsiteX41" fmla="*/ 2232660 w 5257800"/>
                <a:gd name="connsiteY41" fmla="*/ 739140 h 4213860"/>
                <a:gd name="connsiteX42" fmla="*/ 1234440 w 5257800"/>
                <a:gd name="connsiteY42" fmla="*/ 1059180 h 4213860"/>
                <a:gd name="connsiteX43" fmla="*/ 960120 w 5257800"/>
                <a:gd name="connsiteY43" fmla="*/ 1165860 h 4213860"/>
                <a:gd name="connsiteX44" fmla="*/ 815340 w 5257800"/>
                <a:gd name="connsiteY44" fmla="*/ 1257300 h 4213860"/>
                <a:gd name="connsiteX45" fmla="*/ 0 w 5257800"/>
                <a:gd name="connsiteY45" fmla="*/ 1234440 h 4213860"/>
                <a:gd name="connsiteX0" fmla="*/ 0 w 5257800"/>
                <a:gd name="connsiteY0" fmla="*/ 1234440 h 4213860"/>
                <a:gd name="connsiteX1" fmla="*/ 213360 w 5257800"/>
                <a:gd name="connsiteY1" fmla="*/ 990600 h 4213860"/>
                <a:gd name="connsiteX2" fmla="*/ 457200 w 5257800"/>
                <a:gd name="connsiteY2" fmla="*/ 792480 h 4213860"/>
                <a:gd name="connsiteX3" fmla="*/ 685800 w 5257800"/>
                <a:gd name="connsiteY3" fmla="*/ 624840 h 4213860"/>
                <a:gd name="connsiteX4" fmla="*/ 929640 w 5257800"/>
                <a:gd name="connsiteY4" fmla="*/ 533400 h 4213860"/>
                <a:gd name="connsiteX5" fmla="*/ 891540 w 5257800"/>
                <a:gd name="connsiteY5" fmla="*/ 426720 h 4213860"/>
                <a:gd name="connsiteX6" fmla="*/ 1074420 w 5257800"/>
                <a:gd name="connsiteY6" fmla="*/ 358140 h 4213860"/>
                <a:gd name="connsiteX7" fmla="*/ 1120140 w 5257800"/>
                <a:gd name="connsiteY7" fmla="*/ 464820 h 4213860"/>
                <a:gd name="connsiteX8" fmla="*/ 1242060 w 5257800"/>
                <a:gd name="connsiteY8" fmla="*/ 434340 h 4213860"/>
                <a:gd name="connsiteX9" fmla="*/ 1272540 w 5257800"/>
                <a:gd name="connsiteY9" fmla="*/ 365760 h 4213860"/>
                <a:gd name="connsiteX10" fmla="*/ 1531620 w 5257800"/>
                <a:gd name="connsiteY10" fmla="*/ 297180 h 4213860"/>
                <a:gd name="connsiteX11" fmla="*/ 1584960 w 5257800"/>
                <a:gd name="connsiteY11" fmla="*/ 327660 h 4213860"/>
                <a:gd name="connsiteX12" fmla="*/ 1714500 w 5257800"/>
                <a:gd name="connsiteY12" fmla="*/ 274320 h 4213860"/>
                <a:gd name="connsiteX13" fmla="*/ 1684020 w 5257800"/>
                <a:gd name="connsiteY13" fmla="*/ 114300 h 4213860"/>
                <a:gd name="connsiteX14" fmla="*/ 2087880 w 5257800"/>
                <a:gd name="connsiteY14" fmla="*/ 0 h 4213860"/>
                <a:gd name="connsiteX15" fmla="*/ 2133600 w 5257800"/>
                <a:gd name="connsiteY15" fmla="*/ 160020 h 4213860"/>
                <a:gd name="connsiteX16" fmla="*/ 2385060 w 5257800"/>
                <a:gd name="connsiteY16" fmla="*/ 106680 h 4213860"/>
                <a:gd name="connsiteX17" fmla="*/ 2644140 w 5257800"/>
                <a:gd name="connsiteY17" fmla="*/ 99060 h 4213860"/>
                <a:gd name="connsiteX18" fmla="*/ 2971800 w 5257800"/>
                <a:gd name="connsiteY18" fmla="*/ 152400 h 4213860"/>
                <a:gd name="connsiteX19" fmla="*/ 3299460 w 5257800"/>
                <a:gd name="connsiteY19" fmla="*/ 251460 h 4213860"/>
                <a:gd name="connsiteX20" fmla="*/ 3665220 w 5257800"/>
                <a:gd name="connsiteY20" fmla="*/ 464820 h 4213860"/>
                <a:gd name="connsiteX21" fmla="*/ 3954780 w 5257800"/>
                <a:gd name="connsiteY21" fmla="*/ 723900 h 4213860"/>
                <a:gd name="connsiteX22" fmla="*/ 4465320 w 5257800"/>
                <a:gd name="connsiteY22" fmla="*/ 1280160 h 4213860"/>
                <a:gd name="connsiteX23" fmla="*/ 4495800 w 5257800"/>
                <a:gd name="connsiteY23" fmla="*/ 1287780 h 4213860"/>
                <a:gd name="connsiteX24" fmla="*/ 4678680 w 5257800"/>
                <a:gd name="connsiteY24" fmla="*/ 1463040 h 4213860"/>
                <a:gd name="connsiteX25" fmla="*/ 4663440 w 5257800"/>
                <a:gd name="connsiteY25" fmla="*/ 1524000 h 4213860"/>
                <a:gd name="connsiteX26" fmla="*/ 4914900 w 5257800"/>
                <a:gd name="connsiteY26" fmla="*/ 1821180 h 4213860"/>
                <a:gd name="connsiteX27" fmla="*/ 5105400 w 5257800"/>
                <a:gd name="connsiteY27" fmla="*/ 2217420 h 4213860"/>
                <a:gd name="connsiteX28" fmla="*/ 5227320 w 5257800"/>
                <a:gd name="connsiteY28" fmla="*/ 2636520 h 4213860"/>
                <a:gd name="connsiteX29" fmla="*/ 5257800 w 5257800"/>
                <a:gd name="connsiteY29" fmla="*/ 3086100 h 4213860"/>
                <a:gd name="connsiteX30" fmla="*/ 5204460 w 5257800"/>
                <a:gd name="connsiteY30" fmla="*/ 3611880 h 4213860"/>
                <a:gd name="connsiteX31" fmla="*/ 5044440 w 5257800"/>
                <a:gd name="connsiteY31" fmla="*/ 4206240 h 4213860"/>
                <a:gd name="connsiteX32" fmla="*/ 4495800 w 5257800"/>
                <a:gd name="connsiteY32" fmla="*/ 4213860 h 4213860"/>
                <a:gd name="connsiteX33" fmla="*/ 4693920 w 5257800"/>
                <a:gd name="connsiteY33" fmla="*/ 3261360 h 4213860"/>
                <a:gd name="connsiteX34" fmla="*/ 4701540 w 5257800"/>
                <a:gd name="connsiteY34" fmla="*/ 2834640 h 4213860"/>
                <a:gd name="connsiteX35" fmla="*/ 4579620 w 5257800"/>
                <a:gd name="connsiteY35" fmla="*/ 2415540 h 4213860"/>
                <a:gd name="connsiteX36" fmla="*/ 4373880 w 5257800"/>
                <a:gd name="connsiteY36" fmla="*/ 2057400 h 4213860"/>
                <a:gd name="connsiteX37" fmla="*/ 3429000 w 5257800"/>
                <a:gd name="connsiteY37" fmla="*/ 1013460 h 4213860"/>
                <a:gd name="connsiteX38" fmla="*/ 3192780 w 5257800"/>
                <a:gd name="connsiteY38" fmla="*/ 853440 h 4213860"/>
                <a:gd name="connsiteX39" fmla="*/ 2910840 w 5257800"/>
                <a:gd name="connsiteY39" fmla="*/ 739140 h 4213860"/>
                <a:gd name="connsiteX40" fmla="*/ 2514600 w 5257800"/>
                <a:gd name="connsiteY40" fmla="*/ 693420 h 4213860"/>
                <a:gd name="connsiteX41" fmla="*/ 2232660 w 5257800"/>
                <a:gd name="connsiteY41" fmla="*/ 739140 h 4213860"/>
                <a:gd name="connsiteX42" fmla="*/ 1234440 w 5257800"/>
                <a:gd name="connsiteY42" fmla="*/ 1059180 h 4213860"/>
                <a:gd name="connsiteX43" fmla="*/ 960120 w 5257800"/>
                <a:gd name="connsiteY43" fmla="*/ 1165860 h 4213860"/>
                <a:gd name="connsiteX44" fmla="*/ 815340 w 5257800"/>
                <a:gd name="connsiteY44" fmla="*/ 1257300 h 4213860"/>
                <a:gd name="connsiteX45" fmla="*/ 0 w 5257800"/>
                <a:gd name="connsiteY45" fmla="*/ 1234440 h 4213860"/>
                <a:gd name="connsiteX0" fmla="*/ 0 w 5257800"/>
                <a:gd name="connsiteY0" fmla="*/ 1234440 h 4574791"/>
                <a:gd name="connsiteX1" fmla="*/ 213360 w 5257800"/>
                <a:gd name="connsiteY1" fmla="*/ 990600 h 4574791"/>
                <a:gd name="connsiteX2" fmla="*/ 457200 w 5257800"/>
                <a:gd name="connsiteY2" fmla="*/ 792480 h 4574791"/>
                <a:gd name="connsiteX3" fmla="*/ 685800 w 5257800"/>
                <a:gd name="connsiteY3" fmla="*/ 624840 h 4574791"/>
                <a:gd name="connsiteX4" fmla="*/ 929640 w 5257800"/>
                <a:gd name="connsiteY4" fmla="*/ 533400 h 4574791"/>
                <a:gd name="connsiteX5" fmla="*/ 891540 w 5257800"/>
                <a:gd name="connsiteY5" fmla="*/ 426720 h 4574791"/>
                <a:gd name="connsiteX6" fmla="*/ 1074420 w 5257800"/>
                <a:gd name="connsiteY6" fmla="*/ 358140 h 4574791"/>
                <a:gd name="connsiteX7" fmla="*/ 1120140 w 5257800"/>
                <a:gd name="connsiteY7" fmla="*/ 464820 h 4574791"/>
                <a:gd name="connsiteX8" fmla="*/ 1242060 w 5257800"/>
                <a:gd name="connsiteY8" fmla="*/ 434340 h 4574791"/>
                <a:gd name="connsiteX9" fmla="*/ 1272540 w 5257800"/>
                <a:gd name="connsiteY9" fmla="*/ 365760 h 4574791"/>
                <a:gd name="connsiteX10" fmla="*/ 1531620 w 5257800"/>
                <a:gd name="connsiteY10" fmla="*/ 297180 h 4574791"/>
                <a:gd name="connsiteX11" fmla="*/ 1584960 w 5257800"/>
                <a:gd name="connsiteY11" fmla="*/ 327660 h 4574791"/>
                <a:gd name="connsiteX12" fmla="*/ 1714500 w 5257800"/>
                <a:gd name="connsiteY12" fmla="*/ 274320 h 4574791"/>
                <a:gd name="connsiteX13" fmla="*/ 1684020 w 5257800"/>
                <a:gd name="connsiteY13" fmla="*/ 114300 h 4574791"/>
                <a:gd name="connsiteX14" fmla="*/ 2087880 w 5257800"/>
                <a:gd name="connsiteY14" fmla="*/ 0 h 4574791"/>
                <a:gd name="connsiteX15" fmla="*/ 2133600 w 5257800"/>
                <a:gd name="connsiteY15" fmla="*/ 160020 h 4574791"/>
                <a:gd name="connsiteX16" fmla="*/ 2385060 w 5257800"/>
                <a:gd name="connsiteY16" fmla="*/ 106680 h 4574791"/>
                <a:gd name="connsiteX17" fmla="*/ 2644140 w 5257800"/>
                <a:gd name="connsiteY17" fmla="*/ 99060 h 4574791"/>
                <a:gd name="connsiteX18" fmla="*/ 2971800 w 5257800"/>
                <a:gd name="connsiteY18" fmla="*/ 152400 h 4574791"/>
                <a:gd name="connsiteX19" fmla="*/ 3299460 w 5257800"/>
                <a:gd name="connsiteY19" fmla="*/ 251460 h 4574791"/>
                <a:gd name="connsiteX20" fmla="*/ 3665220 w 5257800"/>
                <a:gd name="connsiteY20" fmla="*/ 464820 h 4574791"/>
                <a:gd name="connsiteX21" fmla="*/ 3954780 w 5257800"/>
                <a:gd name="connsiteY21" fmla="*/ 723900 h 4574791"/>
                <a:gd name="connsiteX22" fmla="*/ 4465320 w 5257800"/>
                <a:gd name="connsiteY22" fmla="*/ 1280160 h 4574791"/>
                <a:gd name="connsiteX23" fmla="*/ 4495800 w 5257800"/>
                <a:gd name="connsiteY23" fmla="*/ 1287780 h 4574791"/>
                <a:gd name="connsiteX24" fmla="*/ 4678680 w 5257800"/>
                <a:gd name="connsiteY24" fmla="*/ 1463040 h 4574791"/>
                <a:gd name="connsiteX25" fmla="*/ 4663440 w 5257800"/>
                <a:gd name="connsiteY25" fmla="*/ 1524000 h 4574791"/>
                <a:gd name="connsiteX26" fmla="*/ 4914900 w 5257800"/>
                <a:gd name="connsiteY26" fmla="*/ 1821180 h 4574791"/>
                <a:gd name="connsiteX27" fmla="*/ 5105400 w 5257800"/>
                <a:gd name="connsiteY27" fmla="*/ 2217420 h 4574791"/>
                <a:gd name="connsiteX28" fmla="*/ 5227320 w 5257800"/>
                <a:gd name="connsiteY28" fmla="*/ 2636520 h 4574791"/>
                <a:gd name="connsiteX29" fmla="*/ 5257800 w 5257800"/>
                <a:gd name="connsiteY29" fmla="*/ 3086100 h 4574791"/>
                <a:gd name="connsiteX30" fmla="*/ 5204460 w 5257800"/>
                <a:gd name="connsiteY30" fmla="*/ 3611880 h 4574791"/>
                <a:gd name="connsiteX31" fmla="*/ 5044440 w 5257800"/>
                <a:gd name="connsiteY31" fmla="*/ 4206240 h 4574791"/>
                <a:gd name="connsiteX32" fmla="*/ 4382946 w 5257800"/>
                <a:gd name="connsiteY32" fmla="*/ 4574791 h 4574791"/>
                <a:gd name="connsiteX33" fmla="*/ 4693920 w 5257800"/>
                <a:gd name="connsiteY33" fmla="*/ 3261360 h 4574791"/>
                <a:gd name="connsiteX34" fmla="*/ 4701540 w 5257800"/>
                <a:gd name="connsiteY34" fmla="*/ 2834640 h 4574791"/>
                <a:gd name="connsiteX35" fmla="*/ 4579620 w 5257800"/>
                <a:gd name="connsiteY35" fmla="*/ 2415540 h 4574791"/>
                <a:gd name="connsiteX36" fmla="*/ 4373880 w 5257800"/>
                <a:gd name="connsiteY36" fmla="*/ 2057400 h 4574791"/>
                <a:gd name="connsiteX37" fmla="*/ 3429000 w 5257800"/>
                <a:gd name="connsiteY37" fmla="*/ 1013460 h 4574791"/>
                <a:gd name="connsiteX38" fmla="*/ 3192780 w 5257800"/>
                <a:gd name="connsiteY38" fmla="*/ 853440 h 4574791"/>
                <a:gd name="connsiteX39" fmla="*/ 2910840 w 5257800"/>
                <a:gd name="connsiteY39" fmla="*/ 739140 h 4574791"/>
                <a:gd name="connsiteX40" fmla="*/ 2514600 w 5257800"/>
                <a:gd name="connsiteY40" fmla="*/ 693420 h 4574791"/>
                <a:gd name="connsiteX41" fmla="*/ 2232660 w 5257800"/>
                <a:gd name="connsiteY41" fmla="*/ 739140 h 4574791"/>
                <a:gd name="connsiteX42" fmla="*/ 1234440 w 5257800"/>
                <a:gd name="connsiteY42" fmla="*/ 1059180 h 4574791"/>
                <a:gd name="connsiteX43" fmla="*/ 960120 w 5257800"/>
                <a:gd name="connsiteY43" fmla="*/ 1165860 h 4574791"/>
                <a:gd name="connsiteX44" fmla="*/ 815340 w 5257800"/>
                <a:gd name="connsiteY44" fmla="*/ 1257300 h 4574791"/>
                <a:gd name="connsiteX45" fmla="*/ 0 w 5257800"/>
                <a:gd name="connsiteY45" fmla="*/ 1234440 h 4574791"/>
                <a:gd name="connsiteX0" fmla="*/ 0 w 5257800"/>
                <a:gd name="connsiteY0" fmla="*/ 1234440 h 4785630"/>
                <a:gd name="connsiteX1" fmla="*/ 213360 w 5257800"/>
                <a:gd name="connsiteY1" fmla="*/ 990600 h 4785630"/>
                <a:gd name="connsiteX2" fmla="*/ 457200 w 5257800"/>
                <a:gd name="connsiteY2" fmla="*/ 792480 h 4785630"/>
                <a:gd name="connsiteX3" fmla="*/ 685800 w 5257800"/>
                <a:gd name="connsiteY3" fmla="*/ 624840 h 4785630"/>
                <a:gd name="connsiteX4" fmla="*/ 929640 w 5257800"/>
                <a:gd name="connsiteY4" fmla="*/ 533400 h 4785630"/>
                <a:gd name="connsiteX5" fmla="*/ 891540 w 5257800"/>
                <a:gd name="connsiteY5" fmla="*/ 426720 h 4785630"/>
                <a:gd name="connsiteX6" fmla="*/ 1074420 w 5257800"/>
                <a:gd name="connsiteY6" fmla="*/ 358140 h 4785630"/>
                <a:gd name="connsiteX7" fmla="*/ 1120140 w 5257800"/>
                <a:gd name="connsiteY7" fmla="*/ 464820 h 4785630"/>
                <a:gd name="connsiteX8" fmla="*/ 1242060 w 5257800"/>
                <a:gd name="connsiteY8" fmla="*/ 434340 h 4785630"/>
                <a:gd name="connsiteX9" fmla="*/ 1272540 w 5257800"/>
                <a:gd name="connsiteY9" fmla="*/ 365760 h 4785630"/>
                <a:gd name="connsiteX10" fmla="*/ 1531620 w 5257800"/>
                <a:gd name="connsiteY10" fmla="*/ 297180 h 4785630"/>
                <a:gd name="connsiteX11" fmla="*/ 1584960 w 5257800"/>
                <a:gd name="connsiteY11" fmla="*/ 327660 h 4785630"/>
                <a:gd name="connsiteX12" fmla="*/ 1714500 w 5257800"/>
                <a:gd name="connsiteY12" fmla="*/ 274320 h 4785630"/>
                <a:gd name="connsiteX13" fmla="*/ 1684020 w 5257800"/>
                <a:gd name="connsiteY13" fmla="*/ 114300 h 4785630"/>
                <a:gd name="connsiteX14" fmla="*/ 2087880 w 5257800"/>
                <a:gd name="connsiteY14" fmla="*/ 0 h 4785630"/>
                <a:gd name="connsiteX15" fmla="*/ 2133600 w 5257800"/>
                <a:gd name="connsiteY15" fmla="*/ 160020 h 4785630"/>
                <a:gd name="connsiteX16" fmla="*/ 2385060 w 5257800"/>
                <a:gd name="connsiteY16" fmla="*/ 106680 h 4785630"/>
                <a:gd name="connsiteX17" fmla="*/ 2644140 w 5257800"/>
                <a:gd name="connsiteY17" fmla="*/ 99060 h 4785630"/>
                <a:gd name="connsiteX18" fmla="*/ 2971800 w 5257800"/>
                <a:gd name="connsiteY18" fmla="*/ 152400 h 4785630"/>
                <a:gd name="connsiteX19" fmla="*/ 3299460 w 5257800"/>
                <a:gd name="connsiteY19" fmla="*/ 251460 h 4785630"/>
                <a:gd name="connsiteX20" fmla="*/ 3665220 w 5257800"/>
                <a:gd name="connsiteY20" fmla="*/ 464820 h 4785630"/>
                <a:gd name="connsiteX21" fmla="*/ 3954780 w 5257800"/>
                <a:gd name="connsiteY21" fmla="*/ 723900 h 4785630"/>
                <a:gd name="connsiteX22" fmla="*/ 4465320 w 5257800"/>
                <a:gd name="connsiteY22" fmla="*/ 1280160 h 4785630"/>
                <a:gd name="connsiteX23" fmla="*/ 4495800 w 5257800"/>
                <a:gd name="connsiteY23" fmla="*/ 1287780 h 4785630"/>
                <a:gd name="connsiteX24" fmla="*/ 4678680 w 5257800"/>
                <a:gd name="connsiteY24" fmla="*/ 1463040 h 4785630"/>
                <a:gd name="connsiteX25" fmla="*/ 4663440 w 5257800"/>
                <a:gd name="connsiteY25" fmla="*/ 1524000 h 4785630"/>
                <a:gd name="connsiteX26" fmla="*/ 4914900 w 5257800"/>
                <a:gd name="connsiteY26" fmla="*/ 1821180 h 4785630"/>
                <a:gd name="connsiteX27" fmla="*/ 5105400 w 5257800"/>
                <a:gd name="connsiteY27" fmla="*/ 2217420 h 4785630"/>
                <a:gd name="connsiteX28" fmla="*/ 5227320 w 5257800"/>
                <a:gd name="connsiteY28" fmla="*/ 2636520 h 4785630"/>
                <a:gd name="connsiteX29" fmla="*/ 5257800 w 5257800"/>
                <a:gd name="connsiteY29" fmla="*/ 3086100 h 4785630"/>
                <a:gd name="connsiteX30" fmla="*/ 5204460 w 5257800"/>
                <a:gd name="connsiteY30" fmla="*/ 3611880 h 4785630"/>
                <a:gd name="connsiteX31" fmla="*/ 4905544 w 5257800"/>
                <a:gd name="connsiteY31" fmla="*/ 4785630 h 4785630"/>
                <a:gd name="connsiteX32" fmla="*/ 4382946 w 5257800"/>
                <a:gd name="connsiteY32" fmla="*/ 4574791 h 4785630"/>
                <a:gd name="connsiteX33" fmla="*/ 4693920 w 5257800"/>
                <a:gd name="connsiteY33" fmla="*/ 3261360 h 4785630"/>
                <a:gd name="connsiteX34" fmla="*/ 4701540 w 5257800"/>
                <a:gd name="connsiteY34" fmla="*/ 2834640 h 4785630"/>
                <a:gd name="connsiteX35" fmla="*/ 4579620 w 5257800"/>
                <a:gd name="connsiteY35" fmla="*/ 2415540 h 4785630"/>
                <a:gd name="connsiteX36" fmla="*/ 4373880 w 5257800"/>
                <a:gd name="connsiteY36" fmla="*/ 2057400 h 4785630"/>
                <a:gd name="connsiteX37" fmla="*/ 3429000 w 5257800"/>
                <a:gd name="connsiteY37" fmla="*/ 1013460 h 4785630"/>
                <a:gd name="connsiteX38" fmla="*/ 3192780 w 5257800"/>
                <a:gd name="connsiteY38" fmla="*/ 853440 h 4785630"/>
                <a:gd name="connsiteX39" fmla="*/ 2910840 w 5257800"/>
                <a:gd name="connsiteY39" fmla="*/ 739140 h 4785630"/>
                <a:gd name="connsiteX40" fmla="*/ 2514600 w 5257800"/>
                <a:gd name="connsiteY40" fmla="*/ 693420 h 4785630"/>
                <a:gd name="connsiteX41" fmla="*/ 2232660 w 5257800"/>
                <a:gd name="connsiteY41" fmla="*/ 739140 h 4785630"/>
                <a:gd name="connsiteX42" fmla="*/ 1234440 w 5257800"/>
                <a:gd name="connsiteY42" fmla="*/ 1059180 h 4785630"/>
                <a:gd name="connsiteX43" fmla="*/ 960120 w 5257800"/>
                <a:gd name="connsiteY43" fmla="*/ 1165860 h 4785630"/>
                <a:gd name="connsiteX44" fmla="*/ 815340 w 5257800"/>
                <a:gd name="connsiteY44" fmla="*/ 1257300 h 4785630"/>
                <a:gd name="connsiteX45" fmla="*/ 0 w 5257800"/>
                <a:gd name="connsiteY45" fmla="*/ 1234440 h 4785630"/>
                <a:gd name="connsiteX0" fmla="*/ 0 w 5257800"/>
                <a:gd name="connsiteY0" fmla="*/ 1234440 h 4785630"/>
                <a:gd name="connsiteX1" fmla="*/ 213360 w 5257800"/>
                <a:gd name="connsiteY1" fmla="*/ 990600 h 4785630"/>
                <a:gd name="connsiteX2" fmla="*/ 457200 w 5257800"/>
                <a:gd name="connsiteY2" fmla="*/ 792480 h 4785630"/>
                <a:gd name="connsiteX3" fmla="*/ 685800 w 5257800"/>
                <a:gd name="connsiteY3" fmla="*/ 624840 h 4785630"/>
                <a:gd name="connsiteX4" fmla="*/ 929640 w 5257800"/>
                <a:gd name="connsiteY4" fmla="*/ 533400 h 4785630"/>
                <a:gd name="connsiteX5" fmla="*/ 891540 w 5257800"/>
                <a:gd name="connsiteY5" fmla="*/ 426720 h 4785630"/>
                <a:gd name="connsiteX6" fmla="*/ 1074420 w 5257800"/>
                <a:gd name="connsiteY6" fmla="*/ 358140 h 4785630"/>
                <a:gd name="connsiteX7" fmla="*/ 1120140 w 5257800"/>
                <a:gd name="connsiteY7" fmla="*/ 464820 h 4785630"/>
                <a:gd name="connsiteX8" fmla="*/ 1242060 w 5257800"/>
                <a:gd name="connsiteY8" fmla="*/ 434340 h 4785630"/>
                <a:gd name="connsiteX9" fmla="*/ 1272540 w 5257800"/>
                <a:gd name="connsiteY9" fmla="*/ 365760 h 4785630"/>
                <a:gd name="connsiteX10" fmla="*/ 1531620 w 5257800"/>
                <a:gd name="connsiteY10" fmla="*/ 297180 h 4785630"/>
                <a:gd name="connsiteX11" fmla="*/ 1584960 w 5257800"/>
                <a:gd name="connsiteY11" fmla="*/ 327660 h 4785630"/>
                <a:gd name="connsiteX12" fmla="*/ 1714500 w 5257800"/>
                <a:gd name="connsiteY12" fmla="*/ 274320 h 4785630"/>
                <a:gd name="connsiteX13" fmla="*/ 1684020 w 5257800"/>
                <a:gd name="connsiteY13" fmla="*/ 114300 h 4785630"/>
                <a:gd name="connsiteX14" fmla="*/ 2087880 w 5257800"/>
                <a:gd name="connsiteY14" fmla="*/ 0 h 4785630"/>
                <a:gd name="connsiteX15" fmla="*/ 2133600 w 5257800"/>
                <a:gd name="connsiteY15" fmla="*/ 160020 h 4785630"/>
                <a:gd name="connsiteX16" fmla="*/ 2385060 w 5257800"/>
                <a:gd name="connsiteY16" fmla="*/ 106680 h 4785630"/>
                <a:gd name="connsiteX17" fmla="*/ 2644140 w 5257800"/>
                <a:gd name="connsiteY17" fmla="*/ 99060 h 4785630"/>
                <a:gd name="connsiteX18" fmla="*/ 2971800 w 5257800"/>
                <a:gd name="connsiteY18" fmla="*/ 152400 h 4785630"/>
                <a:gd name="connsiteX19" fmla="*/ 3299460 w 5257800"/>
                <a:gd name="connsiteY19" fmla="*/ 251460 h 4785630"/>
                <a:gd name="connsiteX20" fmla="*/ 3665220 w 5257800"/>
                <a:gd name="connsiteY20" fmla="*/ 464820 h 4785630"/>
                <a:gd name="connsiteX21" fmla="*/ 3954780 w 5257800"/>
                <a:gd name="connsiteY21" fmla="*/ 723900 h 4785630"/>
                <a:gd name="connsiteX22" fmla="*/ 4465320 w 5257800"/>
                <a:gd name="connsiteY22" fmla="*/ 1280160 h 4785630"/>
                <a:gd name="connsiteX23" fmla="*/ 4495800 w 5257800"/>
                <a:gd name="connsiteY23" fmla="*/ 1287780 h 4785630"/>
                <a:gd name="connsiteX24" fmla="*/ 4678680 w 5257800"/>
                <a:gd name="connsiteY24" fmla="*/ 1463040 h 4785630"/>
                <a:gd name="connsiteX25" fmla="*/ 4663440 w 5257800"/>
                <a:gd name="connsiteY25" fmla="*/ 1524000 h 4785630"/>
                <a:gd name="connsiteX26" fmla="*/ 4914900 w 5257800"/>
                <a:gd name="connsiteY26" fmla="*/ 1821180 h 4785630"/>
                <a:gd name="connsiteX27" fmla="*/ 5105400 w 5257800"/>
                <a:gd name="connsiteY27" fmla="*/ 2217420 h 4785630"/>
                <a:gd name="connsiteX28" fmla="*/ 5227320 w 5257800"/>
                <a:gd name="connsiteY28" fmla="*/ 2636520 h 4785630"/>
                <a:gd name="connsiteX29" fmla="*/ 5257800 w 5257800"/>
                <a:gd name="connsiteY29" fmla="*/ 3086100 h 4785630"/>
                <a:gd name="connsiteX30" fmla="*/ 5204460 w 5257800"/>
                <a:gd name="connsiteY30" fmla="*/ 3611880 h 4785630"/>
                <a:gd name="connsiteX31" fmla="*/ 4958901 w 5257800"/>
                <a:gd name="connsiteY31" fmla="*/ 4553471 h 4785630"/>
                <a:gd name="connsiteX32" fmla="*/ 4905544 w 5257800"/>
                <a:gd name="connsiteY32" fmla="*/ 4785630 h 4785630"/>
                <a:gd name="connsiteX33" fmla="*/ 4382946 w 5257800"/>
                <a:gd name="connsiteY33" fmla="*/ 4574791 h 4785630"/>
                <a:gd name="connsiteX34" fmla="*/ 4693920 w 5257800"/>
                <a:gd name="connsiteY34" fmla="*/ 3261360 h 4785630"/>
                <a:gd name="connsiteX35" fmla="*/ 4701540 w 5257800"/>
                <a:gd name="connsiteY35" fmla="*/ 2834640 h 4785630"/>
                <a:gd name="connsiteX36" fmla="*/ 4579620 w 5257800"/>
                <a:gd name="connsiteY36" fmla="*/ 2415540 h 4785630"/>
                <a:gd name="connsiteX37" fmla="*/ 4373880 w 5257800"/>
                <a:gd name="connsiteY37" fmla="*/ 2057400 h 4785630"/>
                <a:gd name="connsiteX38" fmla="*/ 3429000 w 5257800"/>
                <a:gd name="connsiteY38" fmla="*/ 1013460 h 4785630"/>
                <a:gd name="connsiteX39" fmla="*/ 3192780 w 5257800"/>
                <a:gd name="connsiteY39" fmla="*/ 853440 h 4785630"/>
                <a:gd name="connsiteX40" fmla="*/ 2910840 w 5257800"/>
                <a:gd name="connsiteY40" fmla="*/ 739140 h 4785630"/>
                <a:gd name="connsiteX41" fmla="*/ 2514600 w 5257800"/>
                <a:gd name="connsiteY41" fmla="*/ 693420 h 4785630"/>
                <a:gd name="connsiteX42" fmla="*/ 2232660 w 5257800"/>
                <a:gd name="connsiteY42" fmla="*/ 739140 h 4785630"/>
                <a:gd name="connsiteX43" fmla="*/ 1234440 w 5257800"/>
                <a:gd name="connsiteY43" fmla="*/ 1059180 h 4785630"/>
                <a:gd name="connsiteX44" fmla="*/ 960120 w 5257800"/>
                <a:gd name="connsiteY44" fmla="*/ 1165860 h 4785630"/>
                <a:gd name="connsiteX45" fmla="*/ 815340 w 5257800"/>
                <a:gd name="connsiteY45" fmla="*/ 1257300 h 4785630"/>
                <a:gd name="connsiteX46" fmla="*/ 0 w 5257800"/>
                <a:gd name="connsiteY46" fmla="*/ 1234440 h 4785630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63073 w 5257800"/>
                <a:gd name="connsiteY31" fmla="*/ 4847915 h 4847915"/>
                <a:gd name="connsiteX32" fmla="*/ 4905544 w 5257800"/>
                <a:gd name="connsiteY32" fmla="*/ 4785630 h 4847915"/>
                <a:gd name="connsiteX33" fmla="*/ 4382946 w 5257800"/>
                <a:gd name="connsiteY33" fmla="*/ 4574791 h 4847915"/>
                <a:gd name="connsiteX34" fmla="*/ 4693920 w 5257800"/>
                <a:gd name="connsiteY34" fmla="*/ 3261360 h 4847915"/>
                <a:gd name="connsiteX35" fmla="*/ 4701540 w 5257800"/>
                <a:gd name="connsiteY35" fmla="*/ 2834640 h 4847915"/>
                <a:gd name="connsiteX36" fmla="*/ 4579620 w 5257800"/>
                <a:gd name="connsiteY36" fmla="*/ 2415540 h 4847915"/>
                <a:gd name="connsiteX37" fmla="*/ 4373880 w 5257800"/>
                <a:gd name="connsiteY37" fmla="*/ 2057400 h 4847915"/>
                <a:gd name="connsiteX38" fmla="*/ 3429000 w 5257800"/>
                <a:gd name="connsiteY38" fmla="*/ 1013460 h 4847915"/>
                <a:gd name="connsiteX39" fmla="*/ 3192780 w 5257800"/>
                <a:gd name="connsiteY39" fmla="*/ 853440 h 4847915"/>
                <a:gd name="connsiteX40" fmla="*/ 2910840 w 5257800"/>
                <a:gd name="connsiteY40" fmla="*/ 739140 h 4847915"/>
                <a:gd name="connsiteX41" fmla="*/ 2514600 w 5257800"/>
                <a:gd name="connsiteY41" fmla="*/ 693420 h 4847915"/>
                <a:gd name="connsiteX42" fmla="*/ 2232660 w 5257800"/>
                <a:gd name="connsiteY42" fmla="*/ 739140 h 4847915"/>
                <a:gd name="connsiteX43" fmla="*/ 1234440 w 5257800"/>
                <a:gd name="connsiteY43" fmla="*/ 1059180 h 4847915"/>
                <a:gd name="connsiteX44" fmla="*/ 960120 w 5257800"/>
                <a:gd name="connsiteY44" fmla="*/ 1165860 h 4847915"/>
                <a:gd name="connsiteX45" fmla="*/ 815340 w 5257800"/>
                <a:gd name="connsiteY45" fmla="*/ 1257300 h 4847915"/>
                <a:gd name="connsiteX46" fmla="*/ 0 w 5257800"/>
                <a:gd name="connsiteY46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132522 w 5257800"/>
                <a:gd name="connsiteY31" fmla="*/ 4173543 h 4847915"/>
                <a:gd name="connsiteX32" fmla="*/ 5063073 w 5257800"/>
                <a:gd name="connsiteY32" fmla="*/ 4847915 h 4847915"/>
                <a:gd name="connsiteX33" fmla="*/ 4905544 w 5257800"/>
                <a:gd name="connsiteY33" fmla="*/ 4785630 h 4847915"/>
                <a:gd name="connsiteX34" fmla="*/ 4382946 w 5257800"/>
                <a:gd name="connsiteY34" fmla="*/ 4574791 h 4847915"/>
                <a:gd name="connsiteX35" fmla="*/ 4693920 w 5257800"/>
                <a:gd name="connsiteY35" fmla="*/ 3261360 h 4847915"/>
                <a:gd name="connsiteX36" fmla="*/ 4701540 w 5257800"/>
                <a:gd name="connsiteY36" fmla="*/ 2834640 h 4847915"/>
                <a:gd name="connsiteX37" fmla="*/ 4579620 w 5257800"/>
                <a:gd name="connsiteY37" fmla="*/ 2415540 h 4847915"/>
                <a:gd name="connsiteX38" fmla="*/ 4373880 w 5257800"/>
                <a:gd name="connsiteY38" fmla="*/ 2057400 h 4847915"/>
                <a:gd name="connsiteX39" fmla="*/ 3429000 w 5257800"/>
                <a:gd name="connsiteY39" fmla="*/ 1013460 h 4847915"/>
                <a:gd name="connsiteX40" fmla="*/ 3192780 w 5257800"/>
                <a:gd name="connsiteY40" fmla="*/ 853440 h 4847915"/>
                <a:gd name="connsiteX41" fmla="*/ 2910840 w 5257800"/>
                <a:gd name="connsiteY41" fmla="*/ 739140 h 4847915"/>
                <a:gd name="connsiteX42" fmla="*/ 2514600 w 5257800"/>
                <a:gd name="connsiteY42" fmla="*/ 693420 h 4847915"/>
                <a:gd name="connsiteX43" fmla="*/ 2232660 w 5257800"/>
                <a:gd name="connsiteY43" fmla="*/ 739140 h 4847915"/>
                <a:gd name="connsiteX44" fmla="*/ 1234440 w 5257800"/>
                <a:gd name="connsiteY44" fmla="*/ 1059180 h 4847915"/>
                <a:gd name="connsiteX45" fmla="*/ 960120 w 5257800"/>
                <a:gd name="connsiteY45" fmla="*/ 1165860 h 4847915"/>
                <a:gd name="connsiteX46" fmla="*/ 815340 w 5257800"/>
                <a:gd name="connsiteY46" fmla="*/ 1257300 h 4847915"/>
                <a:gd name="connsiteX47" fmla="*/ 0 w 5257800"/>
                <a:gd name="connsiteY47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02306 w 5257800"/>
                <a:gd name="connsiteY31" fmla="*/ 4363507 h 4847915"/>
                <a:gd name="connsiteX32" fmla="*/ 5063073 w 5257800"/>
                <a:gd name="connsiteY32" fmla="*/ 4847915 h 4847915"/>
                <a:gd name="connsiteX33" fmla="*/ 4905544 w 5257800"/>
                <a:gd name="connsiteY33" fmla="*/ 4785630 h 4847915"/>
                <a:gd name="connsiteX34" fmla="*/ 4382946 w 5257800"/>
                <a:gd name="connsiteY34" fmla="*/ 4574791 h 4847915"/>
                <a:gd name="connsiteX35" fmla="*/ 4693920 w 5257800"/>
                <a:gd name="connsiteY35" fmla="*/ 3261360 h 4847915"/>
                <a:gd name="connsiteX36" fmla="*/ 4701540 w 5257800"/>
                <a:gd name="connsiteY36" fmla="*/ 2834640 h 4847915"/>
                <a:gd name="connsiteX37" fmla="*/ 4579620 w 5257800"/>
                <a:gd name="connsiteY37" fmla="*/ 2415540 h 4847915"/>
                <a:gd name="connsiteX38" fmla="*/ 4373880 w 5257800"/>
                <a:gd name="connsiteY38" fmla="*/ 2057400 h 4847915"/>
                <a:gd name="connsiteX39" fmla="*/ 3429000 w 5257800"/>
                <a:gd name="connsiteY39" fmla="*/ 1013460 h 4847915"/>
                <a:gd name="connsiteX40" fmla="*/ 3192780 w 5257800"/>
                <a:gd name="connsiteY40" fmla="*/ 853440 h 4847915"/>
                <a:gd name="connsiteX41" fmla="*/ 2910840 w 5257800"/>
                <a:gd name="connsiteY41" fmla="*/ 739140 h 4847915"/>
                <a:gd name="connsiteX42" fmla="*/ 2514600 w 5257800"/>
                <a:gd name="connsiteY42" fmla="*/ 693420 h 4847915"/>
                <a:gd name="connsiteX43" fmla="*/ 2232660 w 5257800"/>
                <a:gd name="connsiteY43" fmla="*/ 739140 h 4847915"/>
                <a:gd name="connsiteX44" fmla="*/ 1234440 w 5257800"/>
                <a:gd name="connsiteY44" fmla="*/ 1059180 h 4847915"/>
                <a:gd name="connsiteX45" fmla="*/ 960120 w 5257800"/>
                <a:gd name="connsiteY45" fmla="*/ 1165860 h 4847915"/>
                <a:gd name="connsiteX46" fmla="*/ 815340 w 5257800"/>
                <a:gd name="connsiteY46" fmla="*/ 1257300 h 4847915"/>
                <a:gd name="connsiteX47" fmla="*/ 0 w 5257800"/>
                <a:gd name="connsiteY47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02306 w 5257800"/>
                <a:gd name="connsiteY31" fmla="*/ 4363507 h 4847915"/>
                <a:gd name="connsiteX32" fmla="*/ 5010987 w 5257800"/>
                <a:gd name="connsiteY32" fmla="*/ 4600961 h 4847915"/>
                <a:gd name="connsiteX33" fmla="*/ 5063073 w 5257800"/>
                <a:gd name="connsiteY33" fmla="*/ 4847915 h 4847915"/>
                <a:gd name="connsiteX34" fmla="*/ 4905544 w 5257800"/>
                <a:gd name="connsiteY34" fmla="*/ 4785630 h 4847915"/>
                <a:gd name="connsiteX35" fmla="*/ 4382946 w 5257800"/>
                <a:gd name="connsiteY35" fmla="*/ 4574791 h 4847915"/>
                <a:gd name="connsiteX36" fmla="*/ 4693920 w 5257800"/>
                <a:gd name="connsiteY36" fmla="*/ 3261360 h 4847915"/>
                <a:gd name="connsiteX37" fmla="*/ 4701540 w 5257800"/>
                <a:gd name="connsiteY37" fmla="*/ 2834640 h 4847915"/>
                <a:gd name="connsiteX38" fmla="*/ 4579620 w 5257800"/>
                <a:gd name="connsiteY38" fmla="*/ 2415540 h 4847915"/>
                <a:gd name="connsiteX39" fmla="*/ 4373880 w 5257800"/>
                <a:gd name="connsiteY39" fmla="*/ 2057400 h 4847915"/>
                <a:gd name="connsiteX40" fmla="*/ 3429000 w 5257800"/>
                <a:gd name="connsiteY40" fmla="*/ 1013460 h 4847915"/>
                <a:gd name="connsiteX41" fmla="*/ 3192780 w 5257800"/>
                <a:gd name="connsiteY41" fmla="*/ 853440 h 4847915"/>
                <a:gd name="connsiteX42" fmla="*/ 2910840 w 5257800"/>
                <a:gd name="connsiteY42" fmla="*/ 739140 h 4847915"/>
                <a:gd name="connsiteX43" fmla="*/ 2514600 w 5257800"/>
                <a:gd name="connsiteY43" fmla="*/ 693420 h 4847915"/>
                <a:gd name="connsiteX44" fmla="*/ 2232660 w 5257800"/>
                <a:gd name="connsiteY44" fmla="*/ 739140 h 4847915"/>
                <a:gd name="connsiteX45" fmla="*/ 1234440 w 5257800"/>
                <a:gd name="connsiteY45" fmla="*/ 1059180 h 4847915"/>
                <a:gd name="connsiteX46" fmla="*/ 960120 w 5257800"/>
                <a:gd name="connsiteY46" fmla="*/ 1165860 h 4847915"/>
                <a:gd name="connsiteX47" fmla="*/ 815340 w 5257800"/>
                <a:gd name="connsiteY47" fmla="*/ 1257300 h 4847915"/>
                <a:gd name="connsiteX48" fmla="*/ 0 w 5257800"/>
                <a:gd name="connsiteY48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02306 w 5257800"/>
                <a:gd name="connsiteY31" fmla="*/ 4363507 h 4847915"/>
                <a:gd name="connsiteX32" fmla="*/ 5132522 w 5257800"/>
                <a:gd name="connsiteY32" fmla="*/ 4429994 h 4847915"/>
                <a:gd name="connsiteX33" fmla="*/ 5063073 w 5257800"/>
                <a:gd name="connsiteY33" fmla="*/ 4847915 h 4847915"/>
                <a:gd name="connsiteX34" fmla="*/ 4905544 w 5257800"/>
                <a:gd name="connsiteY34" fmla="*/ 4785630 h 4847915"/>
                <a:gd name="connsiteX35" fmla="*/ 4382946 w 5257800"/>
                <a:gd name="connsiteY35" fmla="*/ 4574791 h 4847915"/>
                <a:gd name="connsiteX36" fmla="*/ 4693920 w 5257800"/>
                <a:gd name="connsiteY36" fmla="*/ 3261360 h 4847915"/>
                <a:gd name="connsiteX37" fmla="*/ 4701540 w 5257800"/>
                <a:gd name="connsiteY37" fmla="*/ 2834640 h 4847915"/>
                <a:gd name="connsiteX38" fmla="*/ 4579620 w 5257800"/>
                <a:gd name="connsiteY38" fmla="*/ 2415540 h 4847915"/>
                <a:gd name="connsiteX39" fmla="*/ 4373880 w 5257800"/>
                <a:gd name="connsiteY39" fmla="*/ 2057400 h 4847915"/>
                <a:gd name="connsiteX40" fmla="*/ 3429000 w 5257800"/>
                <a:gd name="connsiteY40" fmla="*/ 1013460 h 4847915"/>
                <a:gd name="connsiteX41" fmla="*/ 3192780 w 5257800"/>
                <a:gd name="connsiteY41" fmla="*/ 853440 h 4847915"/>
                <a:gd name="connsiteX42" fmla="*/ 2910840 w 5257800"/>
                <a:gd name="connsiteY42" fmla="*/ 739140 h 4847915"/>
                <a:gd name="connsiteX43" fmla="*/ 2514600 w 5257800"/>
                <a:gd name="connsiteY43" fmla="*/ 693420 h 4847915"/>
                <a:gd name="connsiteX44" fmla="*/ 2232660 w 5257800"/>
                <a:gd name="connsiteY44" fmla="*/ 739140 h 4847915"/>
                <a:gd name="connsiteX45" fmla="*/ 1234440 w 5257800"/>
                <a:gd name="connsiteY45" fmla="*/ 1059180 h 4847915"/>
                <a:gd name="connsiteX46" fmla="*/ 960120 w 5257800"/>
                <a:gd name="connsiteY46" fmla="*/ 1165860 h 4847915"/>
                <a:gd name="connsiteX47" fmla="*/ 815340 w 5257800"/>
                <a:gd name="connsiteY47" fmla="*/ 1257300 h 4847915"/>
                <a:gd name="connsiteX48" fmla="*/ 0 w 5257800"/>
                <a:gd name="connsiteY48" fmla="*/ 1234440 h 4847915"/>
                <a:gd name="connsiteX0" fmla="*/ 0 w 5257800"/>
                <a:gd name="connsiteY0" fmla="*/ 1234440 h 4847915"/>
                <a:gd name="connsiteX1" fmla="*/ 213360 w 5257800"/>
                <a:gd name="connsiteY1" fmla="*/ 990600 h 4847915"/>
                <a:gd name="connsiteX2" fmla="*/ 457200 w 5257800"/>
                <a:gd name="connsiteY2" fmla="*/ 792480 h 4847915"/>
                <a:gd name="connsiteX3" fmla="*/ 685800 w 5257800"/>
                <a:gd name="connsiteY3" fmla="*/ 624840 h 4847915"/>
                <a:gd name="connsiteX4" fmla="*/ 929640 w 5257800"/>
                <a:gd name="connsiteY4" fmla="*/ 533400 h 4847915"/>
                <a:gd name="connsiteX5" fmla="*/ 891540 w 5257800"/>
                <a:gd name="connsiteY5" fmla="*/ 426720 h 4847915"/>
                <a:gd name="connsiteX6" fmla="*/ 1074420 w 5257800"/>
                <a:gd name="connsiteY6" fmla="*/ 358140 h 4847915"/>
                <a:gd name="connsiteX7" fmla="*/ 1120140 w 5257800"/>
                <a:gd name="connsiteY7" fmla="*/ 464820 h 4847915"/>
                <a:gd name="connsiteX8" fmla="*/ 1242060 w 5257800"/>
                <a:gd name="connsiteY8" fmla="*/ 434340 h 4847915"/>
                <a:gd name="connsiteX9" fmla="*/ 1272540 w 5257800"/>
                <a:gd name="connsiteY9" fmla="*/ 365760 h 4847915"/>
                <a:gd name="connsiteX10" fmla="*/ 1531620 w 5257800"/>
                <a:gd name="connsiteY10" fmla="*/ 297180 h 4847915"/>
                <a:gd name="connsiteX11" fmla="*/ 1584960 w 5257800"/>
                <a:gd name="connsiteY11" fmla="*/ 327660 h 4847915"/>
                <a:gd name="connsiteX12" fmla="*/ 1714500 w 5257800"/>
                <a:gd name="connsiteY12" fmla="*/ 274320 h 4847915"/>
                <a:gd name="connsiteX13" fmla="*/ 1684020 w 5257800"/>
                <a:gd name="connsiteY13" fmla="*/ 114300 h 4847915"/>
                <a:gd name="connsiteX14" fmla="*/ 2087880 w 5257800"/>
                <a:gd name="connsiteY14" fmla="*/ 0 h 4847915"/>
                <a:gd name="connsiteX15" fmla="*/ 2133600 w 5257800"/>
                <a:gd name="connsiteY15" fmla="*/ 160020 h 4847915"/>
                <a:gd name="connsiteX16" fmla="*/ 2385060 w 5257800"/>
                <a:gd name="connsiteY16" fmla="*/ 106680 h 4847915"/>
                <a:gd name="connsiteX17" fmla="*/ 2644140 w 5257800"/>
                <a:gd name="connsiteY17" fmla="*/ 99060 h 4847915"/>
                <a:gd name="connsiteX18" fmla="*/ 2971800 w 5257800"/>
                <a:gd name="connsiteY18" fmla="*/ 152400 h 4847915"/>
                <a:gd name="connsiteX19" fmla="*/ 3299460 w 5257800"/>
                <a:gd name="connsiteY19" fmla="*/ 251460 h 4847915"/>
                <a:gd name="connsiteX20" fmla="*/ 3665220 w 5257800"/>
                <a:gd name="connsiteY20" fmla="*/ 464820 h 4847915"/>
                <a:gd name="connsiteX21" fmla="*/ 3954780 w 5257800"/>
                <a:gd name="connsiteY21" fmla="*/ 723900 h 4847915"/>
                <a:gd name="connsiteX22" fmla="*/ 4465320 w 5257800"/>
                <a:gd name="connsiteY22" fmla="*/ 1280160 h 4847915"/>
                <a:gd name="connsiteX23" fmla="*/ 4495800 w 5257800"/>
                <a:gd name="connsiteY23" fmla="*/ 1287780 h 4847915"/>
                <a:gd name="connsiteX24" fmla="*/ 4678680 w 5257800"/>
                <a:gd name="connsiteY24" fmla="*/ 1463040 h 4847915"/>
                <a:gd name="connsiteX25" fmla="*/ 4663440 w 5257800"/>
                <a:gd name="connsiteY25" fmla="*/ 1524000 h 4847915"/>
                <a:gd name="connsiteX26" fmla="*/ 4914900 w 5257800"/>
                <a:gd name="connsiteY26" fmla="*/ 1821180 h 4847915"/>
                <a:gd name="connsiteX27" fmla="*/ 5105400 w 5257800"/>
                <a:gd name="connsiteY27" fmla="*/ 2217420 h 4847915"/>
                <a:gd name="connsiteX28" fmla="*/ 5227320 w 5257800"/>
                <a:gd name="connsiteY28" fmla="*/ 2636520 h 4847915"/>
                <a:gd name="connsiteX29" fmla="*/ 5257800 w 5257800"/>
                <a:gd name="connsiteY29" fmla="*/ 3086100 h 4847915"/>
                <a:gd name="connsiteX30" fmla="*/ 5204460 w 5257800"/>
                <a:gd name="connsiteY30" fmla="*/ 3611880 h 4847915"/>
                <a:gd name="connsiteX31" fmla="*/ 5002306 w 5257800"/>
                <a:gd name="connsiteY31" fmla="*/ 4363507 h 4847915"/>
                <a:gd name="connsiteX32" fmla="*/ 5132522 w 5257800"/>
                <a:gd name="connsiteY32" fmla="*/ 4429994 h 4847915"/>
                <a:gd name="connsiteX33" fmla="*/ 5063073 w 5257800"/>
                <a:gd name="connsiteY33" fmla="*/ 4847915 h 4847915"/>
                <a:gd name="connsiteX34" fmla="*/ 4905544 w 5257800"/>
                <a:gd name="connsiteY34" fmla="*/ 4785630 h 4847915"/>
                <a:gd name="connsiteX35" fmla="*/ 4655065 w 5257800"/>
                <a:gd name="connsiteY35" fmla="*/ 4676947 h 4847915"/>
                <a:gd name="connsiteX36" fmla="*/ 4382946 w 5257800"/>
                <a:gd name="connsiteY36" fmla="*/ 4574791 h 4847915"/>
                <a:gd name="connsiteX37" fmla="*/ 4693920 w 5257800"/>
                <a:gd name="connsiteY37" fmla="*/ 3261360 h 4847915"/>
                <a:gd name="connsiteX38" fmla="*/ 4701540 w 5257800"/>
                <a:gd name="connsiteY38" fmla="*/ 2834640 h 4847915"/>
                <a:gd name="connsiteX39" fmla="*/ 4579620 w 5257800"/>
                <a:gd name="connsiteY39" fmla="*/ 2415540 h 4847915"/>
                <a:gd name="connsiteX40" fmla="*/ 4373880 w 5257800"/>
                <a:gd name="connsiteY40" fmla="*/ 2057400 h 4847915"/>
                <a:gd name="connsiteX41" fmla="*/ 3429000 w 5257800"/>
                <a:gd name="connsiteY41" fmla="*/ 1013460 h 4847915"/>
                <a:gd name="connsiteX42" fmla="*/ 3192780 w 5257800"/>
                <a:gd name="connsiteY42" fmla="*/ 853440 h 4847915"/>
                <a:gd name="connsiteX43" fmla="*/ 2910840 w 5257800"/>
                <a:gd name="connsiteY43" fmla="*/ 739140 h 4847915"/>
                <a:gd name="connsiteX44" fmla="*/ 2514600 w 5257800"/>
                <a:gd name="connsiteY44" fmla="*/ 693420 h 4847915"/>
                <a:gd name="connsiteX45" fmla="*/ 2232660 w 5257800"/>
                <a:gd name="connsiteY45" fmla="*/ 739140 h 4847915"/>
                <a:gd name="connsiteX46" fmla="*/ 1234440 w 5257800"/>
                <a:gd name="connsiteY46" fmla="*/ 1059180 h 4847915"/>
                <a:gd name="connsiteX47" fmla="*/ 960120 w 5257800"/>
                <a:gd name="connsiteY47" fmla="*/ 1165860 h 4847915"/>
                <a:gd name="connsiteX48" fmla="*/ 815340 w 5257800"/>
                <a:gd name="connsiteY48" fmla="*/ 1257300 h 4847915"/>
                <a:gd name="connsiteX49" fmla="*/ 0 w 5257800"/>
                <a:gd name="connsiteY49" fmla="*/ 1234440 h 4847915"/>
                <a:gd name="connsiteX0" fmla="*/ 0 w 5257800"/>
                <a:gd name="connsiteY0" fmla="*/ 1234440 h 5588772"/>
                <a:gd name="connsiteX1" fmla="*/ 213360 w 5257800"/>
                <a:gd name="connsiteY1" fmla="*/ 990600 h 5588772"/>
                <a:gd name="connsiteX2" fmla="*/ 457200 w 5257800"/>
                <a:gd name="connsiteY2" fmla="*/ 792480 h 5588772"/>
                <a:gd name="connsiteX3" fmla="*/ 685800 w 5257800"/>
                <a:gd name="connsiteY3" fmla="*/ 624840 h 5588772"/>
                <a:gd name="connsiteX4" fmla="*/ 929640 w 5257800"/>
                <a:gd name="connsiteY4" fmla="*/ 533400 h 5588772"/>
                <a:gd name="connsiteX5" fmla="*/ 891540 w 5257800"/>
                <a:gd name="connsiteY5" fmla="*/ 426720 h 5588772"/>
                <a:gd name="connsiteX6" fmla="*/ 1074420 w 5257800"/>
                <a:gd name="connsiteY6" fmla="*/ 358140 h 5588772"/>
                <a:gd name="connsiteX7" fmla="*/ 1120140 w 5257800"/>
                <a:gd name="connsiteY7" fmla="*/ 464820 h 5588772"/>
                <a:gd name="connsiteX8" fmla="*/ 1242060 w 5257800"/>
                <a:gd name="connsiteY8" fmla="*/ 434340 h 5588772"/>
                <a:gd name="connsiteX9" fmla="*/ 1272540 w 5257800"/>
                <a:gd name="connsiteY9" fmla="*/ 365760 h 5588772"/>
                <a:gd name="connsiteX10" fmla="*/ 1531620 w 5257800"/>
                <a:gd name="connsiteY10" fmla="*/ 297180 h 5588772"/>
                <a:gd name="connsiteX11" fmla="*/ 1584960 w 5257800"/>
                <a:gd name="connsiteY11" fmla="*/ 327660 h 5588772"/>
                <a:gd name="connsiteX12" fmla="*/ 1714500 w 5257800"/>
                <a:gd name="connsiteY12" fmla="*/ 274320 h 5588772"/>
                <a:gd name="connsiteX13" fmla="*/ 1684020 w 5257800"/>
                <a:gd name="connsiteY13" fmla="*/ 114300 h 5588772"/>
                <a:gd name="connsiteX14" fmla="*/ 2087880 w 5257800"/>
                <a:gd name="connsiteY14" fmla="*/ 0 h 5588772"/>
                <a:gd name="connsiteX15" fmla="*/ 2133600 w 5257800"/>
                <a:gd name="connsiteY15" fmla="*/ 160020 h 5588772"/>
                <a:gd name="connsiteX16" fmla="*/ 2385060 w 5257800"/>
                <a:gd name="connsiteY16" fmla="*/ 106680 h 5588772"/>
                <a:gd name="connsiteX17" fmla="*/ 2644140 w 5257800"/>
                <a:gd name="connsiteY17" fmla="*/ 99060 h 5588772"/>
                <a:gd name="connsiteX18" fmla="*/ 2971800 w 5257800"/>
                <a:gd name="connsiteY18" fmla="*/ 152400 h 5588772"/>
                <a:gd name="connsiteX19" fmla="*/ 3299460 w 5257800"/>
                <a:gd name="connsiteY19" fmla="*/ 251460 h 5588772"/>
                <a:gd name="connsiteX20" fmla="*/ 3665220 w 5257800"/>
                <a:gd name="connsiteY20" fmla="*/ 464820 h 5588772"/>
                <a:gd name="connsiteX21" fmla="*/ 3954780 w 5257800"/>
                <a:gd name="connsiteY21" fmla="*/ 723900 h 5588772"/>
                <a:gd name="connsiteX22" fmla="*/ 4465320 w 5257800"/>
                <a:gd name="connsiteY22" fmla="*/ 1280160 h 5588772"/>
                <a:gd name="connsiteX23" fmla="*/ 4495800 w 5257800"/>
                <a:gd name="connsiteY23" fmla="*/ 1287780 h 5588772"/>
                <a:gd name="connsiteX24" fmla="*/ 4678680 w 5257800"/>
                <a:gd name="connsiteY24" fmla="*/ 1463040 h 5588772"/>
                <a:gd name="connsiteX25" fmla="*/ 4663440 w 5257800"/>
                <a:gd name="connsiteY25" fmla="*/ 1524000 h 5588772"/>
                <a:gd name="connsiteX26" fmla="*/ 4914900 w 5257800"/>
                <a:gd name="connsiteY26" fmla="*/ 1821180 h 5588772"/>
                <a:gd name="connsiteX27" fmla="*/ 5105400 w 5257800"/>
                <a:gd name="connsiteY27" fmla="*/ 2217420 h 5588772"/>
                <a:gd name="connsiteX28" fmla="*/ 5227320 w 5257800"/>
                <a:gd name="connsiteY28" fmla="*/ 2636520 h 5588772"/>
                <a:gd name="connsiteX29" fmla="*/ 5257800 w 5257800"/>
                <a:gd name="connsiteY29" fmla="*/ 3086100 h 5588772"/>
                <a:gd name="connsiteX30" fmla="*/ 5204460 w 5257800"/>
                <a:gd name="connsiteY30" fmla="*/ 3611880 h 5588772"/>
                <a:gd name="connsiteX31" fmla="*/ 5002306 w 5257800"/>
                <a:gd name="connsiteY31" fmla="*/ 4363507 h 5588772"/>
                <a:gd name="connsiteX32" fmla="*/ 5132522 w 5257800"/>
                <a:gd name="connsiteY32" fmla="*/ 4429994 h 5588772"/>
                <a:gd name="connsiteX33" fmla="*/ 5063073 w 5257800"/>
                <a:gd name="connsiteY33" fmla="*/ 4847915 h 5588772"/>
                <a:gd name="connsiteX34" fmla="*/ 4905544 w 5257800"/>
                <a:gd name="connsiteY34" fmla="*/ 4785630 h 5588772"/>
                <a:gd name="connsiteX35" fmla="*/ 3595980 w 5257800"/>
                <a:gd name="connsiteY35" fmla="*/ 5588772 h 5588772"/>
                <a:gd name="connsiteX36" fmla="*/ 4382946 w 5257800"/>
                <a:gd name="connsiteY36" fmla="*/ 4574791 h 5588772"/>
                <a:gd name="connsiteX37" fmla="*/ 4693920 w 5257800"/>
                <a:gd name="connsiteY37" fmla="*/ 3261360 h 5588772"/>
                <a:gd name="connsiteX38" fmla="*/ 4701540 w 5257800"/>
                <a:gd name="connsiteY38" fmla="*/ 2834640 h 5588772"/>
                <a:gd name="connsiteX39" fmla="*/ 4579620 w 5257800"/>
                <a:gd name="connsiteY39" fmla="*/ 2415540 h 5588772"/>
                <a:gd name="connsiteX40" fmla="*/ 4373880 w 5257800"/>
                <a:gd name="connsiteY40" fmla="*/ 2057400 h 5588772"/>
                <a:gd name="connsiteX41" fmla="*/ 3429000 w 5257800"/>
                <a:gd name="connsiteY41" fmla="*/ 1013460 h 5588772"/>
                <a:gd name="connsiteX42" fmla="*/ 3192780 w 5257800"/>
                <a:gd name="connsiteY42" fmla="*/ 853440 h 5588772"/>
                <a:gd name="connsiteX43" fmla="*/ 2910840 w 5257800"/>
                <a:gd name="connsiteY43" fmla="*/ 739140 h 5588772"/>
                <a:gd name="connsiteX44" fmla="*/ 2514600 w 5257800"/>
                <a:gd name="connsiteY44" fmla="*/ 693420 h 5588772"/>
                <a:gd name="connsiteX45" fmla="*/ 2232660 w 5257800"/>
                <a:gd name="connsiteY45" fmla="*/ 739140 h 5588772"/>
                <a:gd name="connsiteX46" fmla="*/ 1234440 w 5257800"/>
                <a:gd name="connsiteY46" fmla="*/ 1059180 h 5588772"/>
                <a:gd name="connsiteX47" fmla="*/ 960120 w 5257800"/>
                <a:gd name="connsiteY47" fmla="*/ 1165860 h 5588772"/>
                <a:gd name="connsiteX48" fmla="*/ 815340 w 5257800"/>
                <a:gd name="connsiteY48" fmla="*/ 1257300 h 5588772"/>
                <a:gd name="connsiteX49" fmla="*/ 0 w 5257800"/>
                <a:gd name="connsiteY49" fmla="*/ 1234440 h 5588772"/>
                <a:gd name="connsiteX0" fmla="*/ 0 w 5257800"/>
                <a:gd name="connsiteY0" fmla="*/ 1234440 h 5588772"/>
                <a:gd name="connsiteX1" fmla="*/ 213360 w 5257800"/>
                <a:gd name="connsiteY1" fmla="*/ 990600 h 5588772"/>
                <a:gd name="connsiteX2" fmla="*/ 457200 w 5257800"/>
                <a:gd name="connsiteY2" fmla="*/ 792480 h 5588772"/>
                <a:gd name="connsiteX3" fmla="*/ 685800 w 5257800"/>
                <a:gd name="connsiteY3" fmla="*/ 624840 h 5588772"/>
                <a:gd name="connsiteX4" fmla="*/ 929640 w 5257800"/>
                <a:gd name="connsiteY4" fmla="*/ 533400 h 5588772"/>
                <a:gd name="connsiteX5" fmla="*/ 891540 w 5257800"/>
                <a:gd name="connsiteY5" fmla="*/ 426720 h 5588772"/>
                <a:gd name="connsiteX6" fmla="*/ 1074420 w 5257800"/>
                <a:gd name="connsiteY6" fmla="*/ 358140 h 5588772"/>
                <a:gd name="connsiteX7" fmla="*/ 1120140 w 5257800"/>
                <a:gd name="connsiteY7" fmla="*/ 464820 h 5588772"/>
                <a:gd name="connsiteX8" fmla="*/ 1242060 w 5257800"/>
                <a:gd name="connsiteY8" fmla="*/ 434340 h 5588772"/>
                <a:gd name="connsiteX9" fmla="*/ 1272540 w 5257800"/>
                <a:gd name="connsiteY9" fmla="*/ 365760 h 5588772"/>
                <a:gd name="connsiteX10" fmla="*/ 1531620 w 5257800"/>
                <a:gd name="connsiteY10" fmla="*/ 297180 h 5588772"/>
                <a:gd name="connsiteX11" fmla="*/ 1584960 w 5257800"/>
                <a:gd name="connsiteY11" fmla="*/ 327660 h 5588772"/>
                <a:gd name="connsiteX12" fmla="*/ 1714500 w 5257800"/>
                <a:gd name="connsiteY12" fmla="*/ 274320 h 5588772"/>
                <a:gd name="connsiteX13" fmla="*/ 1684020 w 5257800"/>
                <a:gd name="connsiteY13" fmla="*/ 114300 h 5588772"/>
                <a:gd name="connsiteX14" fmla="*/ 2087880 w 5257800"/>
                <a:gd name="connsiteY14" fmla="*/ 0 h 5588772"/>
                <a:gd name="connsiteX15" fmla="*/ 2133600 w 5257800"/>
                <a:gd name="connsiteY15" fmla="*/ 160020 h 5588772"/>
                <a:gd name="connsiteX16" fmla="*/ 2385060 w 5257800"/>
                <a:gd name="connsiteY16" fmla="*/ 106680 h 5588772"/>
                <a:gd name="connsiteX17" fmla="*/ 2644140 w 5257800"/>
                <a:gd name="connsiteY17" fmla="*/ 99060 h 5588772"/>
                <a:gd name="connsiteX18" fmla="*/ 2971800 w 5257800"/>
                <a:gd name="connsiteY18" fmla="*/ 152400 h 5588772"/>
                <a:gd name="connsiteX19" fmla="*/ 3299460 w 5257800"/>
                <a:gd name="connsiteY19" fmla="*/ 251460 h 5588772"/>
                <a:gd name="connsiteX20" fmla="*/ 3665220 w 5257800"/>
                <a:gd name="connsiteY20" fmla="*/ 464820 h 5588772"/>
                <a:gd name="connsiteX21" fmla="*/ 3954780 w 5257800"/>
                <a:gd name="connsiteY21" fmla="*/ 723900 h 5588772"/>
                <a:gd name="connsiteX22" fmla="*/ 4465320 w 5257800"/>
                <a:gd name="connsiteY22" fmla="*/ 1280160 h 5588772"/>
                <a:gd name="connsiteX23" fmla="*/ 4495800 w 5257800"/>
                <a:gd name="connsiteY23" fmla="*/ 1287780 h 5588772"/>
                <a:gd name="connsiteX24" fmla="*/ 4678680 w 5257800"/>
                <a:gd name="connsiteY24" fmla="*/ 1463040 h 5588772"/>
                <a:gd name="connsiteX25" fmla="*/ 4663440 w 5257800"/>
                <a:gd name="connsiteY25" fmla="*/ 1524000 h 5588772"/>
                <a:gd name="connsiteX26" fmla="*/ 4914900 w 5257800"/>
                <a:gd name="connsiteY26" fmla="*/ 1821180 h 5588772"/>
                <a:gd name="connsiteX27" fmla="*/ 5105400 w 5257800"/>
                <a:gd name="connsiteY27" fmla="*/ 2217420 h 5588772"/>
                <a:gd name="connsiteX28" fmla="*/ 5227320 w 5257800"/>
                <a:gd name="connsiteY28" fmla="*/ 2636520 h 5588772"/>
                <a:gd name="connsiteX29" fmla="*/ 5257800 w 5257800"/>
                <a:gd name="connsiteY29" fmla="*/ 3086100 h 5588772"/>
                <a:gd name="connsiteX30" fmla="*/ 5204460 w 5257800"/>
                <a:gd name="connsiteY30" fmla="*/ 3611880 h 5588772"/>
                <a:gd name="connsiteX31" fmla="*/ 5002306 w 5257800"/>
                <a:gd name="connsiteY31" fmla="*/ 4363507 h 5588772"/>
                <a:gd name="connsiteX32" fmla="*/ 5132522 w 5257800"/>
                <a:gd name="connsiteY32" fmla="*/ 4429994 h 5588772"/>
                <a:gd name="connsiteX33" fmla="*/ 5063073 w 5257800"/>
                <a:gd name="connsiteY33" fmla="*/ 4847915 h 5588772"/>
                <a:gd name="connsiteX34" fmla="*/ 4905544 w 5257800"/>
                <a:gd name="connsiteY34" fmla="*/ 4785630 h 5588772"/>
                <a:gd name="connsiteX35" fmla="*/ 4385953 w 5257800"/>
                <a:gd name="connsiteY35" fmla="*/ 5104365 h 5588772"/>
                <a:gd name="connsiteX36" fmla="*/ 3595980 w 5257800"/>
                <a:gd name="connsiteY36" fmla="*/ 5588772 h 5588772"/>
                <a:gd name="connsiteX37" fmla="*/ 4382946 w 5257800"/>
                <a:gd name="connsiteY37" fmla="*/ 4574791 h 5588772"/>
                <a:gd name="connsiteX38" fmla="*/ 4693920 w 5257800"/>
                <a:gd name="connsiteY38" fmla="*/ 3261360 h 5588772"/>
                <a:gd name="connsiteX39" fmla="*/ 4701540 w 5257800"/>
                <a:gd name="connsiteY39" fmla="*/ 2834640 h 5588772"/>
                <a:gd name="connsiteX40" fmla="*/ 4579620 w 5257800"/>
                <a:gd name="connsiteY40" fmla="*/ 2415540 h 5588772"/>
                <a:gd name="connsiteX41" fmla="*/ 4373880 w 5257800"/>
                <a:gd name="connsiteY41" fmla="*/ 2057400 h 5588772"/>
                <a:gd name="connsiteX42" fmla="*/ 3429000 w 5257800"/>
                <a:gd name="connsiteY42" fmla="*/ 1013460 h 5588772"/>
                <a:gd name="connsiteX43" fmla="*/ 3192780 w 5257800"/>
                <a:gd name="connsiteY43" fmla="*/ 853440 h 5588772"/>
                <a:gd name="connsiteX44" fmla="*/ 2910840 w 5257800"/>
                <a:gd name="connsiteY44" fmla="*/ 739140 h 5588772"/>
                <a:gd name="connsiteX45" fmla="*/ 2514600 w 5257800"/>
                <a:gd name="connsiteY45" fmla="*/ 693420 h 5588772"/>
                <a:gd name="connsiteX46" fmla="*/ 2232660 w 5257800"/>
                <a:gd name="connsiteY46" fmla="*/ 739140 h 5588772"/>
                <a:gd name="connsiteX47" fmla="*/ 1234440 w 5257800"/>
                <a:gd name="connsiteY47" fmla="*/ 1059180 h 5588772"/>
                <a:gd name="connsiteX48" fmla="*/ 960120 w 5257800"/>
                <a:gd name="connsiteY48" fmla="*/ 1165860 h 5588772"/>
                <a:gd name="connsiteX49" fmla="*/ 815340 w 5257800"/>
                <a:gd name="connsiteY49" fmla="*/ 1257300 h 5588772"/>
                <a:gd name="connsiteX50" fmla="*/ 0 w 5257800"/>
                <a:gd name="connsiteY50" fmla="*/ 1234440 h 5588772"/>
                <a:gd name="connsiteX0" fmla="*/ 0 w 5257800"/>
                <a:gd name="connsiteY0" fmla="*/ 1234440 h 6187157"/>
                <a:gd name="connsiteX1" fmla="*/ 213360 w 5257800"/>
                <a:gd name="connsiteY1" fmla="*/ 990600 h 6187157"/>
                <a:gd name="connsiteX2" fmla="*/ 457200 w 5257800"/>
                <a:gd name="connsiteY2" fmla="*/ 792480 h 6187157"/>
                <a:gd name="connsiteX3" fmla="*/ 685800 w 5257800"/>
                <a:gd name="connsiteY3" fmla="*/ 624840 h 6187157"/>
                <a:gd name="connsiteX4" fmla="*/ 929640 w 5257800"/>
                <a:gd name="connsiteY4" fmla="*/ 533400 h 6187157"/>
                <a:gd name="connsiteX5" fmla="*/ 891540 w 5257800"/>
                <a:gd name="connsiteY5" fmla="*/ 426720 h 6187157"/>
                <a:gd name="connsiteX6" fmla="*/ 1074420 w 5257800"/>
                <a:gd name="connsiteY6" fmla="*/ 358140 h 6187157"/>
                <a:gd name="connsiteX7" fmla="*/ 1120140 w 5257800"/>
                <a:gd name="connsiteY7" fmla="*/ 464820 h 6187157"/>
                <a:gd name="connsiteX8" fmla="*/ 1242060 w 5257800"/>
                <a:gd name="connsiteY8" fmla="*/ 434340 h 6187157"/>
                <a:gd name="connsiteX9" fmla="*/ 1272540 w 5257800"/>
                <a:gd name="connsiteY9" fmla="*/ 365760 h 6187157"/>
                <a:gd name="connsiteX10" fmla="*/ 1531620 w 5257800"/>
                <a:gd name="connsiteY10" fmla="*/ 297180 h 6187157"/>
                <a:gd name="connsiteX11" fmla="*/ 1584960 w 5257800"/>
                <a:gd name="connsiteY11" fmla="*/ 327660 h 6187157"/>
                <a:gd name="connsiteX12" fmla="*/ 1714500 w 5257800"/>
                <a:gd name="connsiteY12" fmla="*/ 274320 h 6187157"/>
                <a:gd name="connsiteX13" fmla="*/ 1684020 w 5257800"/>
                <a:gd name="connsiteY13" fmla="*/ 114300 h 6187157"/>
                <a:gd name="connsiteX14" fmla="*/ 2087880 w 5257800"/>
                <a:gd name="connsiteY14" fmla="*/ 0 h 6187157"/>
                <a:gd name="connsiteX15" fmla="*/ 2133600 w 5257800"/>
                <a:gd name="connsiteY15" fmla="*/ 160020 h 6187157"/>
                <a:gd name="connsiteX16" fmla="*/ 2385060 w 5257800"/>
                <a:gd name="connsiteY16" fmla="*/ 106680 h 6187157"/>
                <a:gd name="connsiteX17" fmla="*/ 2644140 w 5257800"/>
                <a:gd name="connsiteY17" fmla="*/ 99060 h 6187157"/>
                <a:gd name="connsiteX18" fmla="*/ 2971800 w 5257800"/>
                <a:gd name="connsiteY18" fmla="*/ 152400 h 6187157"/>
                <a:gd name="connsiteX19" fmla="*/ 3299460 w 5257800"/>
                <a:gd name="connsiteY19" fmla="*/ 251460 h 6187157"/>
                <a:gd name="connsiteX20" fmla="*/ 3665220 w 5257800"/>
                <a:gd name="connsiteY20" fmla="*/ 464820 h 6187157"/>
                <a:gd name="connsiteX21" fmla="*/ 3954780 w 5257800"/>
                <a:gd name="connsiteY21" fmla="*/ 723900 h 6187157"/>
                <a:gd name="connsiteX22" fmla="*/ 4465320 w 5257800"/>
                <a:gd name="connsiteY22" fmla="*/ 1280160 h 6187157"/>
                <a:gd name="connsiteX23" fmla="*/ 4495800 w 5257800"/>
                <a:gd name="connsiteY23" fmla="*/ 1287780 h 6187157"/>
                <a:gd name="connsiteX24" fmla="*/ 4678680 w 5257800"/>
                <a:gd name="connsiteY24" fmla="*/ 1463040 h 6187157"/>
                <a:gd name="connsiteX25" fmla="*/ 4663440 w 5257800"/>
                <a:gd name="connsiteY25" fmla="*/ 1524000 h 6187157"/>
                <a:gd name="connsiteX26" fmla="*/ 4914900 w 5257800"/>
                <a:gd name="connsiteY26" fmla="*/ 1821180 h 6187157"/>
                <a:gd name="connsiteX27" fmla="*/ 5105400 w 5257800"/>
                <a:gd name="connsiteY27" fmla="*/ 2217420 h 6187157"/>
                <a:gd name="connsiteX28" fmla="*/ 5227320 w 5257800"/>
                <a:gd name="connsiteY28" fmla="*/ 2636520 h 6187157"/>
                <a:gd name="connsiteX29" fmla="*/ 5257800 w 5257800"/>
                <a:gd name="connsiteY29" fmla="*/ 3086100 h 6187157"/>
                <a:gd name="connsiteX30" fmla="*/ 5204460 w 5257800"/>
                <a:gd name="connsiteY30" fmla="*/ 3611880 h 6187157"/>
                <a:gd name="connsiteX31" fmla="*/ 5002306 w 5257800"/>
                <a:gd name="connsiteY31" fmla="*/ 4363507 h 6187157"/>
                <a:gd name="connsiteX32" fmla="*/ 5132522 w 5257800"/>
                <a:gd name="connsiteY32" fmla="*/ 4429994 h 6187157"/>
                <a:gd name="connsiteX33" fmla="*/ 5063073 w 5257800"/>
                <a:gd name="connsiteY33" fmla="*/ 4847915 h 6187157"/>
                <a:gd name="connsiteX34" fmla="*/ 4905544 w 5257800"/>
                <a:gd name="connsiteY34" fmla="*/ 4785630 h 6187157"/>
                <a:gd name="connsiteX35" fmla="*/ 3743556 w 5257800"/>
                <a:gd name="connsiteY35" fmla="*/ 6187157 h 6187157"/>
                <a:gd name="connsiteX36" fmla="*/ 3595980 w 5257800"/>
                <a:gd name="connsiteY36" fmla="*/ 5588772 h 6187157"/>
                <a:gd name="connsiteX37" fmla="*/ 4382946 w 5257800"/>
                <a:gd name="connsiteY37" fmla="*/ 4574791 h 6187157"/>
                <a:gd name="connsiteX38" fmla="*/ 4693920 w 5257800"/>
                <a:gd name="connsiteY38" fmla="*/ 3261360 h 6187157"/>
                <a:gd name="connsiteX39" fmla="*/ 4701540 w 5257800"/>
                <a:gd name="connsiteY39" fmla="*/ 2834640 h 6187157"/>
                <a:gd name="connsiteX40" fmla="*/ 4579620 w 5257800"/>
                <a:gd name="connsiteY40" fmla="*/ 2415540 h 6187157"/>
                <a:gd name="connsiteX41" fmla="*/ 4373880 w 5257800"/>
                <a:gd name="connsiteY41" fmla="*/ 2057400 h 6187157"/>
                <a:gd name="connsiteX42" fmla="*/ 3429000 w 5257800"/>
                <a:gd name="connsiteY42" fmla="*/ 1013460 h 6187157"/>
                <a:gd name="connsiteX43" fmla="*/ 3192780 w 5257800"/>
                <a:gd name="connsiteY43" fmla="*/ 853440 h 6187157"/>
                <a:gd name="connsiteX44" fmla="*/ 2910840 w 5257800"/>
                <a:gd name="connsiteY44" fmla="*/ 739140 h 6187157"/>
                <a:gd name="connsiteX45" fmla="*/ 2514600 w 5257800"/>
                <a:gd name="connsiteY45" fmla="*/ 693420 h 6187157"/>
                <a:gd name="connsiteX46" fmla="*/ 2232660 w 5257800"/>
                <a:gd name="connsiteY46" fmla="*/ 739140 h 6187157"/>
                <a:gd name="connsiteX47" fmla="*/ 1234440 w 5257800"/>
                <a:gd name="connsiteY47" fmla="*/ 1059180 h 6187157"/>
                <a:gd name="connsiteX48" fmla="*/ 960120 w 5257800"/>
                <a:gd name="connsiteY48" fmla="*/ 1165860 h 6187157"/>
                <a:gd name="connsiteX49" fmla="*/ 815340 w 5257800"/>
                <a:gd name="connsiteY49" fmla="*/ 1257300 h 6187157"/>
                <a:gd name="connsiteX50" fmla="*/ 0 w 5257800"/>
                <a:gd name="connsiteY50" fmla="*/ 1234440 h 6187157"/>
                <a:gd name="connsiteX0" fmla="*/ 0 w 5257800"/>
                <a:gd name="connsiteY0" fmla="*/ 1234440 h 6187157"/>
                <a:gd name="connsiteX1" fmla="*/ 213360 w 5257800"/>
                <a:gd name="connsiteY1" fmla="*/ 990600 h 6187157"/>
                <a:gd name="connsiteX2" fmla="*/ 457200 w 5257800"/>
                <a:gd name="connsiteY2" fmla="*/ 792480 h 6187157"/>
                <a:gd name="connsiteX3" fmla="*/ 685800 w 5257800"/>
                <a:gd name="connsiteY3" fmla="*/ 624840 h 6187157"/>
                <a:gd name="connsiteX4" fmla="*/ 929640 w 5257800"/>
                <a:gd name="connsiteY4" fmla="*/ 533400 h 6187157"/>
                <a:gd name="connsiteX5" fmla="*/ 891540 w 5257800"/>
                <a:gd name="connsiteY5" fmla="*/ 426720 h 6187157"/>
                <a:gd name="connsiteX6" fmla="*/ 1074420 w 5257800"/>
                <a:gd name="connsiteY6" fmla="*/ 358140 h 6187157"/>
                <a:gd name="connsiteX7" fmla="*/ 1120140 w 5257800"/>
                <a:gd name="connsiteY7" fmla="*/ 464820 h 6187157"/>
                <a:gd name="connsiteX8" fmla="*/ 1242060 w 5257800"/>
                <a:gd name="connsiteY8" fmla="*/ 434340 h 6187157"/>
                <a:gd name="connsiteX9" fmla="*/ 1272540 w 5257800"/>
                <a:gd name="connsiteY9" fmla="*/ 365760 h 6187157"/>
                <a:gd name="connsiteX10" fmla="*/ 1531620 w 5257800"/>
                <a:gd name="connsiteY10" fmla="*/ 297180 h 6187157"/>
                <a:gd name="connsiteX11" fmla="*/ 1584960 w 5257800"/>
                <a:gd name="connsiteY11" fmla="*/ 327660 h 6187157"/>
                <a:gd name="connsiteX12" fmla="*/ 1714500 w 5257800"/>
                <a:gd name="connsiteY12" fmla="*/ 274320 h 6187157"/>
                <a:gd name="connsiteX13" fmla="*/ 1684020 w 5257800"/>
                <a:gd name="connsiteY13" fmla="*/ 114300 h 6187157"/>
                <a:gd name="connsiteX14" fmla="*/ 2087880 w 5257800"/>
                <a:gd name="connsiteY14" fmla="*/ 0 h 6187157"/>
                <a:gd name="connsiteX15" fmla="*/ 2133600 w 5257800"/>
                <a:gd name="connsiteY15" fmla="*/ 160020 h 6187157"/>
                <a:gd name="connsiteX16" fmla="*/ 2385060 w 5257800"/>
                <a:gd name="connsiteY16" fmla="*/ 106680 h 6187157"/>
                <a:gd name="connsiteX17" fmla="*/ 2644140 w 5257800"/>
                <a:gd name="connsiteY17" fmla="*/ 99060 h 6187157"/>
                <a:gd name="connsiteX18" fmla="*/ 2971800 w 5257800"/>
                <a:gd name="connsiteY18" fmla="*/ 152400 h 6187157"/>
                <a:gd name="connsiteX19" fmla="*/ 3299460 w 5257800"/>
                <a:gd name="connsiteY19" fmla="*/ 251460 h 6187157"/>
                <a:gd name="connsiteX20" fmla="*/ 3665220 w 5257800"/>
                <a:gd name="connsiteY20" fmla="*/ 464820 h 6187157"/>
                <a:gd name="connsiteX21" fmla="*/ 3954780 w 5257800"/>
                <a:gd name="connsiteY21" fmla="*/ 723900 h 6187157"/>
                <a:gd name="connsiteX22" fmla="*/ 4465320 w 5257800"/>
                <a:gd name="connsiteY22" fmla="*/ 1280160 h 6187157"/>
                <a:gd name="connsiteX23" fmla="*/ 4495800 w 5257800"/>
                <a:gd name="connsiteY23" fmla="*/ 1287780 h 6187157"/>
                <a:gd name="connsiteX24" fmla="*/ 4678680 w 5257800"/>
                <a:gd name="connsiteY24" fmla="*/ 1463040 h 6187157"/>
                <a:gd name="connsiteX25" fmla="*/ 4663440 w 5257800"/>
                <a:gd name="connsiteY25" fmla="*/ 1524000 h 6187157"/>
                <a:gd name="connsiteX26" fmla="*/ 4914900 w 5257800"/>
                <a:gd name="connsiteY26" fmla="*/ 1821180 h 6187157"/>
                <a:gd name="connsiteX27" fmla="*/ 5105400 w 5257800"/>
                <a:gd name="connsiteY27" fmla="*/ 2217420 h 6187157"/>
                <a:gd name="connsiteX28" fmla="*/ 5227320 w 5257800"/>
                <a:gd name="connsiteY28" fmla="*/ 2636520 h 6187157"/>
                <a:gd name="connsiteX29" fmla="*/ 5257800 w 5257800"/>
                <a:gd name="connsiteY29" fmla="*/ 3086100 h 6187157"/>
                <a:gd name="connsiteX30" fmla="*/ 5204460 w 5257800"/>
                <a:gd name="connsiteY30" fmla="*/ 3611880 h 6187157"/>
                <a:gd name="connsiteX31" fmla="*/ 5002306 w 5257800"/>
                <a:gd name="connsiteY31" fmla="*/ 4363507 h 6187157"/>
                <a:gd name="connsiteX32" fmla="*/ 5132522 w 5257800"/>
                <a:gd name="connsiteY32" fmla="*/ 4429994 h 6187157"/>
                <a:gd name="connsiteX33" fmla="*/ 5063073 w 5257800"/>
                <a:gd name="connsiteY33" fmla="*/ 4847915 h 6187157"/>
                <a:gd name="connsiteX34" fmla="*/ 4905544 w 5257800"/>
                <a:gd name="connsiteY34" fmla="*/ 4785630 h 6187157"/>
                <a:gd name="connsiteX35" fmla="*/ 3743556 w 5257800"/>
                <a:gd name="connsiteY35" fmla="*/ 6187157 h 6187157"/>
                <a:gd name="connsiteX36" fmla="*/ 3595980 w 5257800"/>
                <a:gd name="connsiteY36" fmla="*/ 5588772 h 6187157"/>
                <a:gd name="connsiteX37" fmla="*/ 4382946 w 5257800"/>
                <a:gd name="connsiteY37" fmla="*/ 4574791 h 6187157"/>
                <a:gd name="connsiteX38" fmla="*/ 4693920 w 5257800"/>
                <a:gd name="connsiteY38" fmla="*/ 3261360 h 6187157"/>
                <a:gd name="connsiteX39" fmla="*/ 4701540 w 5257800"/>
                <a:gd name="connsiteY39" fmla="*/ 2834640 h 6187157"/>
                <a:gd name="connsiteX40" fmla="*/ 4579620 w 5257800"/>
                <a:gd name="connsiteY40" fmla="*/ 2415540 h 6187157"/>
                <a:gd name="connsiteX41" fmla="*/ 4373880 w 5257800"/>
                <a:gd name="connsiteY41" fmla="*/ 2057400 h 6187157"/>
                <a:gd name="connsiteX42" fmla="*/ 3429000 w 5257800"/>
                <a:gd name="connsiteY42" fmla="*/ 1013460 h 6187157"/>
                <a:gd name="connsiteX43" fmla="*/ 3192780 w 5257800"/>
                <a:gd name="connsiteY43" fmla="*/ 853440 h 6187157"/>
                <a:gd name="connsiteX44" fmla="*/ 2910840 w 5257800"/>
                <a:gd name="connsiteY44" fmla="*/ 739140 h 6187157"/>
                <a:gd name="connsiteX45" fmla="*/ 2514600 w 5257800"/>
                <a:gd name="connsiteY45" fmla="*/ 693420 h 6187157"/>
                <a:gd name="connsiteX46" fmla="*/ 2232660 w 5257800"/>
                <a:gd name="connsiteY46" fmla="*/ 739140 h 6187157"/>
                <a:gd name="connsiteX47" fmla="*/ 1234440 w 5257800"/>
                <a:gd name="connsiteY47" fmla="*/ 1059180 h 6187157"/>
                <a:gd name="connsiteX48" fmla="*/ 960120 w 5257800"/>
                <a:gd name="connsiteY48" fmla="*/ 1165860 h 6187157"/>
                <a:gd name="connsiteX49" fmla="*/ 815340 w 5257800"/>
                <a:gd name="connsiteY49" fmla="*/ 1257300 h 6187157"/>
                <a:gd name="connsiteX50" fmla="*/ 0 w 5257800"/>
                <a:gd name="connsiteY50" fmla="*/ 1234440 h 6187157"/>
                <a:gd name="connsiteX0" fmla="*/ 0 w 5257800"/>
                <a:gd name="connsiteY0" fmla="*/ 1234440 h 6187157"/>
                <a:gd name="connsiteX1" fmla="*/ 213360 w 5257800"/>
                <a:gd name="connsiteY1" fmla="*/ 990600 h 6187157"/>
                <a:gd name="connsiteX2" fmla="*/ 457200 w 5257800"/>
                <a:gd name="connsiteY2" fmla="*/ 792480 h 6187157"/>
                <a:gd name="connsiteX3" fmla="*/ 685800 w 5257800"/>
                <a:gd name="connsiteY3" fmla="*/ 624840 h 6187157"/>
                <a:gd name="connsiteX4" fmla="*/ 929640 w 5257800"/>
                <a:gd name="connsiteY4" fmla="*/ 533400 h 6187157"/>
                <a:gd name="connsiteX5" fmla="*/ 891540 w 5257800"/>
                <a:gd name="connsiteY5" fmla="*/ 426720 h 6187157"/>
                <a:gd name="connsiteX6" fmla="*/ 1074420 w 5257800"/>
                <a:gd name="connsiteY6" fmla="*/ 358140 h 6187157"/>
                <a:gd name="connsiteX7" fmla="*/ 1120140 w 5257800"/>
                <a:gd name="connsiteY7" fmla="*/ 464820 h 6187157"/>
                <a:gd name="connsiteX8" fmla="*/ 1242060 w 5257800"/>
                <a:gd name="connsiteY8" fmla="*/ 434340 h 6187157"/>
                <a:gd name="connsiteX9" fmla="*/ 1272540 w 5257800"/>
                <a:gd name="connsiteY9" fmla="*/ 365760 h 6187157"/>
                <a:gd name="connsiteX10" fmla="*/ 1531620 w 5257800"/>
                <a:gd name="connsiteY10" fmla="*/ 297180 h 6187157"/>
                <a:gd name="connsiteX11" fmla="*/ 1584960 w 5257800"/>
                <a:gd name="connsiteY11" fmla="*/ 327660 h 6187157"/>
                <a:gd name="connsiteX12" fmla="*/ 1714500 w 5257800"/>
                <a:gd name="connsiteY12" fmla="*/ 274320 h 6187157"/>
                <a:gd name="connsiteX13" fmla="*/ 1684020 w 5257800"/>
                <a:gd name="connsiteY13" fmla="*/ 114300 h 6187157"/>
                <a:gd name="connsiteX14" fmla="*/ 2087880 w 5257800"/>
                <a:gd name="connsiteY14" fmla="*/ 0 h 6187157"/>
                <a:gd name="connsiteX15" fmla="*/ 2133600 w 5257800"/>
                <a:gd name="connsiteY15" fmla="*/ 160020 h 6187157"/>
                <a:gd name="connsiteX16" fmla="*/ 2385060 w 5257800"/>
                <a:gd name="connsiteY16" fmla="*/ 106680 h 6187157"/>
                <a:gd name="connsiteX17" fmla="*/ 2644140 w 5257800"/>
                <a:gd name="connsiteY17" fmla="*/ 99060 h 6187157"/>
                <a:gd name="connsiteX18" fmla="*/ 2971800 w 5257800"/>
                <a:gd name="connsiteY18" fmla="*/ 152400 h 6187157"/>
                <a:gd name="connsiteX19" fmla="*/ 3299460 w 5257800"/>
                <a:gd name="connsiteY19" fmla="*/ 251460 h 6187157"/>
                <a:gd name="connsiteX20" fmla="*/ 3665220 w 5257800"/>
                <a:gd name="connsiteY20" fmla="*/ 464820 h 6187157"/>
                <a:gd name="connsiteX21" fmla="*/ 3954780 w 5257800"/>
                <a:gd name="connsiteY21" fmla="*/ 723900 h 6187157"/>
                <a:gd name="connsiteX22" fmla="*/ 4465320 w 5257800"/>
                <a:gd name="connsiteY22" fmla="*/ 1280160 h 6187157"/>
                <a:gd name="connsiteX23" fmla="*/ 4495800 w 5257800"/>
                <a:gd name="connsiteY23" fmla="*/ 1287780 h 6187157"/>
                <a:gd name="connsiteX24" fmla="*/ 4678680 w 5257800"/>
                <a:gd name="connsiteY24" fmla="*/ 1463040 h 6187157"/>
                <a:gd name="connsiteX25" fmla="*/ 4663440 w 5257800"/>
                <a:gd name="connsiteY25" fmla="*/ 1524000 h 6187157"/>
                <a:gd name="connsiteX26" fmla="*/ 4914900 w 5257800"/>
                <a:gd name="connsiteY26" fmla="*/ 1821180 h 6187157"/>
                <a:gd name="connsiteX27" fmla="*/ 5105400 w 5257800"/>
                <a:gd name="connsiteY27" fmla="*/ 2217420 h 6187157"/>
                <a:gd name="connsiteX28" fmla="*/ 5227320 w 5257800"/>
                <a:gd name="connsiteY28" fmla="*/ 2636520 h 6187157"/>
                <a:gd name="connsiteX29" fmla="*/ 5257800 w 5257800"/>
                <a:gd name="connsiteY29" fmla="*/ 3086100 h 6187157"/>
                <a:gd name="connsiteX30" fmla="*/ 5204460 w 5257800"/>
                <a:gd name="connsiteY30" fmla="*/ 3611880 h 6187157"/>
                <a:gd name="connsiteX31" fmla="*/ 5002306 w 5257800"/>
                <a:gd name="connsiteY31" fmla="*/ 4363507 h 6187157"/>
                <a:gd name="connsiteX32" fmla="*/ 5132522 w 5257800"/>
                <a:gd name="connsiteY32" fmla="*/ 4429994 h 6187157"/>
                <a:gd name="connsiteX33" fmla="*/ 5063073 w 5257800"/>
                <a:gd name="connsiteY33" fmla="*/ 4847915 h 6187157"/>
                <a:gd name="connsiteX34" fmla="*/ 4905544 w 5257800"/>
                <a:gd name="connsiteY34" fmla="*/ 4785630 h 6187157"/>
                <a:gd name="connsiteX35" fmla="*/ 3743556 w 5257800"/>
                <a:gd name="connsiteY35" fmla="*/ 6187157 h 6187157"/>
                <a:gd name="connsiteX36" fmla="*/ 3595980 w 5257800"/>
                <a:gd name="connsiteY36" fmla="*/ 5588772 h 6187157"/>
                <a:gd name="connsiteX37" fmla="*/ 4382946 w 5257800"/>
                <a:gd name="connsiteY37" fmla="*/ 4574791 h 6187157"/>
                <a:gd name="connsiteX38" fmla="*/ 4693920 w 5257800"/>
                <a:gd name="connsiteY38" fmla="*/ 3261360 h 6187157"/>
                <a:gd name="connsiteX39" fmla="*/ 4701540 w 5257800"/>
                <a:gd name="connsiteY39" fmla="*/ 2834640 h 6187157"/>
                <a:gd name="connsiteX40" fmla="*/ 4579620 w 5257800"/>
                <a:gd name="connsiteY40" fmla="*/ 2415540 h 6187157"/>
                <a:gd name="connsiteX41" fmla="*/ 4373880 w 5257800"/>
                <a:gd name="connsiteY41" fmla="*/ 2057400 h 6187157"/>
                <a:gd name="connsiteX42" fmla="*/ 3429000 w 5257800"/>
                <a:gd name="connsiteY42" fmla="*/ 1013460 h 6187157"/>
                <a:gd name="connsiteX43" fmla="*/ 3192780 w 5257800"/>
                <a:gd name="connsiteY43" fmla="*/ 853440 h 6187157"/>
                <a:gd name="connsiteX44" fmla="*/ 2910840 w 5257800"/>
                <a:gd name="connsiteY44" fmla="*/ 739140 h 6187157"/>
                <a:gd name="connsiteX45" fmla="*/ 2514600 w 5257800"/>
                <a:gd name="connsiteY45" fmla="*/ 693420 h 6187157"/>
                <a:gd name="connsiteX46" fmla="*/ 2232660 w 5257800"/>
                <a:gd name="connsiteY46" fmla="*/ 739140 h 6187157"/>
                <a:gd name="connsiteX47" fmla="*/ 1234440 w 5257800"/>
                <a:gd name="connsiteY47" fmla="*/ 1059180 h 6187157"/>
                <a:gd name="connsiteX48" fmla="*/ 960120 w 5257800"/>
                <a:gd name="connsiteY48" fmla="*/ 1165860 h 6187157"/>
                <a:gd name="connsiteX49" fmla="*/ 815340 w 5257800"/>
                <a:gd name="connsiteY49" fmla="*/ 1257300 h 6187157"/>
                <a:gd name="connsiteX50" fmla="*/ 0 w 5257800"/>
                <a:gd name="connsiteY50" fmla="*/ 1234440 h 6187157"/>
                <a:gd name="connsiteX0" fmla="*/ 0 w 5257800"/>
                <a:gd name="connsiteY0" fmla="*/ 1234440 h 6187157"/>
                <a:gd name="connsiteX1" fmla="*/ 213360 w 5257800"/>
                <a:gd name="connsiteY1" fmla="*/ 990600 h 6187157"/>
                <a:gd name="connsiteX2" fmla="*/ 457200 w 5257800"/>
                <a:gd name="connsiteY2" fmla="*/ 792480 h 6187157"/>
                <a:gd name="connsiteX3" fmla="*/ 685800 w 5257800"/>
                <a:gd name="connsiteY3" fmla="*/ 624840 h 6187157"/>
                <a:gd name="connsiteX4" fmla="*/ 929640 w 5257800"/>
                <a:gd name="connsiteY4" fmla="*/ 533400 h 6187157"/>
                <a:gd name="connsiteX5" fmla="*/ 891540 w 5257800"/>
                <a:gd name="connsiteY5" fmla="*/ 426720 h 6187157"/>
                <a:gd name="connsiteX6" fmla="*/ 1074420 w 5257800"/>
                <a:gd name="connsiteY6" fmla="*/ 358140 h 6187157"/>
                <a:gd name="connsiteX7" fmla="*/ 1120140 w 5257800"/>
                <a:gd name="connsiteY7" fmla="*/ 464820 h 6187157"/>
                <a:gd name="connsiteX8" fmla="*/ 1242060 w 5257800"/>
                <a:gd name="connsiteY8" fmla="*/ 434340 h 6187157"/>
                <a:gd name="connsiteX9" fmla="*/ 1272540 w 5257800"/>
                <a:gd name="connsiteY9" fmla="*/ 365760 h 6187157"/>
                <a:gd name="connsiteX10" fmla="*/ 1531620 w 5257800"/>
                <a:gd name="connsiteY10" fmla="*/ 297180 h 6187157"/>
                <a:gd name="connsiteX11" fmla="*/ 1584960 w 5257800"/>
                <a:gd name="connsiteY11" fmla="*/ 327660 h 6187157"/>
                <a:gd name="connsiteX12" fmla="*/ 1714500 w 5257800"/>
                <a:gd name="connsiteY12" fmla="*/ 274320 h 6187157"/>
                <a:gd name="connsiteX13" fmla="*/ 1684020 w 5257800"/>
                <a:gd name="connsiteY13" fmla="*/ 114300 h 6187157"/>
                <a:gd name="connsiteX14" fmla="*/ 2087880 w 5257800"/>
                <a:gd name="connsiteY14" fmla="*/ 0 h 6187157"/>
                <a:gd name="connsiteX15" fmla="*/ 2133600 w 5257800"/>
                <a:gd name="connsiteY15" fmla="*/ 160020 h 6187157"/>
                <a:gd name="connsiteX16" fmla="*/ 2385060 w 5257800"/>
                <a:gd name="connsiteY16" fmla="*/ 106680 h 6187157"/>
                <a:gd name="connsiteX17" fmla="*/ 2644140 w 5257800"/>
                <a:gd name="connsiteY17" fmla="*/ 99060 h 6187157"/>
                <a:gd name="connsiteX18" fmla="*/ 2971800 w 5257800"/>
                <a:gd name="connsiteY18" fmla="*/ 152400 h 6187157"/>
                <a:gd name="connsiteX19" fmla="*/ 3299460 w 5257800"/>
                <a:gd name="connsiteY19" fmla="*/ 251460 h 6187157"/>
                <a:gd name="connsiteX20" fmla="*/ 3665220 w 5257800"/>
                <a:gd name="connsiteY20" fmla="*/ 464820 h 6187157"/>
                <a:gd name="connsiteX21" fmla="*/ 3954780 w 5257800"/>
                <a:gd name="connsiteY21" fmla="*/ 723900 h 6187157"/>
                <a:gd name="connsiteX22" fmla="*/ 4465320 w 5257800"/>
                <a:gd name="connsiteY22" fmla="*/ 1280160 h 6187157"/>
                <a:gd name="connsiteX23" fmla="*/ 4495800 w 5257800"/>
                <a:gd name="connsiteY23" fmla="*/ 1287780 h 6187157"/>
                <a:gd name="connsiteX24" fmla="*/ 4678680 w 5257800"/>
                <a:gd name="connsiteY24" fmla="*/ 1463040 h 6187157"/>
                <a:gd name="connsiteX25" fmla="*/ 4663440 w 5257800"/>
                <a:gd name="connsiteY25" fmla="*/ 1524000 h 6187157"/>
                <a:gd name="connsiteX26" fmla="*/ 4914900 w 5257800"/>
                <a:gd name="connsiteY26" fmla="*/ 1821180 h 6187157"/>
                <a:gd name="connsiteX27" fmla="*/ 5105400 w 5257800"/>
                <a:gd name="connsiteY27" fmla="*/ 2217420 h 6187157"/>
                <a:gd name="connsiteX28" fmla="*/ 5227320 w 5257800"/>
                <a:gd name="connsiteY28" fmla="*/ 2636520 h 6187157"/>
                <a:gd name="connsiteX29" fmla="*/ 5257800 w 5257800"/>
                <a:gd name="connsiteY29" fmla="*/ 3086100 h 6187157"/>
                <a:gd name="connsiteX30" fmla="*/ 5204460 w 5257800"/>
                <a:gd name="connsiteY30" fmla="*/ 3611880 h 6187157"/>
                <a:gd name="connsiteX31" fmla="*/ 5002306 w 5257800"/>
                <a:gd name="connsiteY31" fmla="*/ 4363507 h 6187157"/>
                <a:gd name="connsiteX32" fmla="*/ 5132522 w 5257800"/>
                <a:gd name="connsiteY32" fmla="*/ 4429994 h 6187157"/>
                <a:gd name="connsiteX33" fmla="*/ 5063073 w 5257800"/>
                <a:gd name="connsiteY33" fmla="*/ 4847915 h 6187157"/>
                <a:gd name="connsiteX34" fmla="*/ 4905544 w 5257800"/>
                <a:gd name="connsiteY34" fmla="*/ 4785630 h 6187157"/>
                <a:gd name="connsiteX35" fmla="*/ 3743556 w 5257800"/>
                <a:gd name="connsiteY35" fmla="*/ 6187157 h 6187157"/>
                <a:gd name="connsiteX36" fmla="*/ 3595980 w 5257800"/>
                <a:gd name="connsiteY36" fmla="*/ 5588772 h 6187157"/>
                <a:gd name="connsiteX37" fmla="*/ 4382946 w 5257800"/>
                <a:gd name="connsiteY37" fmla="*/ 4574791 h 6187157"/>
                <a:gd name="connsiteX38" fmla="*/ 4693920 w 5257800"/>
                <a:gd name="connsiteY38" fmla="*/ 3261360 h 6187157"/>
                <a:gd name="connsiteX39" fmla="*/ 4701540 w 5257800"/>
                <a:gd name="connsiteY39" fmla="*/ 2834640 h 6187157"/>
                <a:gd name="connsiteX40" fmla="*/ 4579620 w 5257800"/>
                <a:gd name="connsiteY40" fmla="*/ 2415540 h 6187157"/>
                <a:gd name="connsiteX41" fmla="*/ 4373880 w 5257800"/>
                <a:gd name="connsiteY41" fmla="*/ 2057400 h 6187157"/>
                <a:gd name="connsiteX42" fmla="*/ 3429000 w 5257800"/>
                <a:gd name="connsiteY42" fmla="*/ 1013460 h 6187157"/>
                <a:gd name="connsiteX43" fmla="*/ 3192780 w 5257800"/>
                <a:gd name="connsiteY43" fmla="*/ 853440 h 6187157"/>
                <a:gd name="connsiteX44" fmla="*/ 2910840 w 5257800"/>
                <a:gd name="connsiteY44" fmla="*/ 739140 h 6187157"/>
                <a:gd name="connsiteX45" fmla="*/ 2514600 w 5257800"/>
                <a:gd name="connsiteY45" fmla="*/ 693420 h 6187157"/>
                <a:gd name="connsiteX46" fmla="*/ 2232660 w 5257800"/>
                <a:gd name="connsiteY46" fmla="*/ 739140 h 6187157"/>
                <a:gd name="connsiteX47" fmla="*/ 1234440 w 5257800"/>
                <a:gd name="connsiteY47" fmla="*/ 1059180 h 6187157"/>
                <a:gd name="connsiteX48" fmla="*/ 960120 w 5257800"/>
                <a:gd name="connsiteY48" fmla="*/ 1165860 h 6187157"/>
                <a:gd name="connsiteX49" fmla="*/ 815340 w 5257800"/>
                <a:gd name="connsiteY49" fmla="*/ 1257300 h 6187157"/>
                <a:gd name="connsiteX50" fmla="*/ 0 w 5257800"/>
                <a:gd name="connsiteY50" fmla="*/ 1234440 h 6187157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701540 w 5257800"/>
                <a:gd name="connsiteY39" fmla="*/ 2834640 h 6177659"/>
                <a:gd name="connsiteX40" fmla="*/ 4579620 w 5257800"/>
                <a:gd name="connsiteY40" fmla="*/ 2415540 h 6177659"/>
                <a:gd name="connsiteX41" fmla="*/ 4373880 w 5257800"/>
                <a:gd name="connsiteY41" fmla="*/ 2057400 h 6177659"/>
                <a:gd name="connsiteX42" fmla="*/ 3429000 w 5257800"/>
                <a:gd name="connsiteY42" fmla="*/ 1013460 h 6177659"/>
                <a:gd name="connsiteX43" fmla="*/ 3192780 w 5257800"/>
                <a:gd name="connsiteY43" fmla="*/ 853440 h 6177659"/>
                <a:gd name="connsiteX44" fmla="*/ 2910840 w 5257800"/>
                <a:gd name="connsiteY44" fmla="*/ 739140 h 6177659"/>
                <a:gd name="connsiteX45" fmla="*/ 2514600 w 5257800"/>
                <a:gd name="connsiteY45" fmla="*/ 693420 h 6177659"/>
                <a:gd name="connsiteX46" fmla="*/ 2232660 w 5257800"/>
                <a:gd name="connsiteY46" fmla="*/ 739140 h 6177659"/>
                <a:gd name="connsiteX47" fmla="*/ 1234440 w 5257800"/>
                <a:gd name="connsiteY47" fmla="*/ 1059180 h 6177659"/>
                <a:gd name="connsiteX48" fmla="*/ 960120 w 5257800"/>
                <a:gd name="connsiteY48" fmla="*/ 1165860 h 6177659"/>
                <a:gd name="connsiteX49" fmla="*/ 815340 w 5257800"/>
                <a:gd name="connsiteY49" fmla="*/ 1257300 h 6177659"/>
                <a:gd name="connsiteX50" fmla="*/ 0 w 5257800"/>
                <a:gd name="connsiteY50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701540 w 5257800"/>
                <a:gd name="connsiteY39" fmla="*/ 2834640 h 6177659"/>
                <a:gd name="connsiteX40" fmla="*/ 4579620 w 5257800"/>
                <a:gd name="connsiteY40" fmla="*/ 2415540 h 6177659"/>
                <a:gd name="connsiteX41" fmla="*/ 4373880 w 5257800"/>
                <a:gd name="connsiteY41" fmla="*/ 2057400 h 6177659"/>
                <a:gd name="connsiteX42" fmla="*/ 3429000 w 5257800"/>
                <a:gd name="connsiteY42" fmla="*/ 1013460 h 6177659"/>
                <a:gd name="connsiteX43" fmla="*/ 3192780 w 5257800"/>
                <a:gd name="connsiteY43" fmla="*/ 853440 h 6177659"/>
                <a:gd name="connsiteX44" fmla="*/ 2910840 w 5257800"/>
                <a:gd name="connsiteY44" fmla="*/ 739140 h 6177659"/>
                <a:gd name="connsiteX45" fmla="*/ 2514600 w 5257800"/>
                <a:gd name="connsiteY45" fmla="*/ 693420 h 6177659"/>
                <a:gd name="connsiteX46" fmla="*/ 2232660 w 5257800"/>
                <a:gd name="connsiteY46" fmla="*/ 739140 h 6177659"/>
                <a:gd name="connsiteX47" fmla="*/ 1234440 w 5257800"/>
                <a:gd name="connsiteY47" fmla="*/ 1059180 h 6177659"/>
                <a:gd name="connsiteX48" fmla="*/ 960120 w 5257800"/>
                <a:gd name="connsiteY48" fmla="*/ 1165860 h 6177659"/>
                <a:gd name="connsiteX49" fmla="*/ 815340 w 5257800"/>
                <a:gd name="connsiteY49" fmla="*/ 1257300 h 6177659"/>
                <a:gd name="connsiteX50" fmla="*/ 0 w 5257800"/>
                <a:gd name="connsiteY50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701540 w 5257800"/>
                <a:gd name="connsiteY39" fmla="*/ 2834640 h 6177659"/>
                <a:gd name="connsiteX40" fmla="*/ 4579620 w 5257800"/>
                <a:gd name="connsiteY40" fmla="*/ 2415540 h 6177659"/>
                <a:gd name="connsiteX41" fmla="*/ 4373880 w 5257800"/>
                <a:gd name="connsiteY41" fmla="*/ 2057400 h 6177659"/>
                <a:gd name="connsiteX42" fmla="*/ 3429000 w 5257800"/>
                <a:gd name="connsiteY42" fmla="*/ 1013460 h 6177659"/>
                <a:gd name="connsiteX43" fmla="*/ 3192780 w 5257800"/>
                <a:gd name="connsiteY43" fmla="*/ 853440 h 6177659"/>
                <a:gd name="connsiteX44" fmla="*/ 2910840 w 5257800"/>
                <a:gd name="connsiteY44" fmla="*/ 739140 h 6177659"/>
                <a:gd name="connsiteX45" fmla="*/ 2514600 w 5257800"/>
                <a:gd name="connsiteY45" fmla="*/ 693420 h 6177659"/>
                <a:gd name="connsiteX46" fmla="*/ 2232660 w 5257800"/>
                <a:gd name="connsiteY46" fmla="*/ 739140 h 6177659"/>
                <a:gd name="connsiteX47" fmla="*/ 1234440 w 5257800"/>
                <a:gd name="connsiteY47" fmla="*/ 1059180 h 6177659"/>
                <a:gd name="connsiteX48" fmla="*/ 960120 w 5257800"/>
                <a:gd name="connsiteY48" fmla="*/ 1165860 h 6177659"/>
                <a:gd name="connsiteX49" fmla="*/ 815340 w 5257800"/>
                <a:gd name="connsiteY49" fmla="*/ 1257300 h 6177659"/>
                <a:gd name="connsiteX50" fmla="*/ 0 w 5257800"/>
                <a:gd name="connsiteY50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579620 w 5257800"/>
                <a:gd name="connsiteY39" fmla="*/ 2415540 h 6177659"/>
                <a:gd name="connsiteX40" fmla="*/ 4373880 w 5257800"/>
                <a:gd name="connsiteY40" fmla="*/ 2057400 h 6177659"/>
                <a:gd name="connsiteX41" fmla="*/ 3429000 w 5257800"/>
                <a:gd name="connsiteY41" fmla="*/ 1013460 h 6177659"/>
                <a:gd name="connsiteX42" fmla="*/ 3192780 w 5257800"/>
                <a:gd name="connsiteY42" fmla="*/ 853440 h 6177659"/>
                <a:gd name="connsiteX43" fmla="*/ 2910840 w 5257800"/>
                <a:gd name="connsiteY43" fmla="*/ 739140 h 6177659"/>
                <a:gd name="connsiteX44" fmla="*/ 2514600 w 5257800"/>
                <a:gd name="connsiteY44" fmla="*/ 693420 h 6177659"/>
                <a:gd name="connsiteX45" fmla="*/ 2232660 w 5257800"/>
                <a:gd name="connsiteY45" fmla="*/ 739140 h 6177659"/>
                <a:gd name="connsiteX46" fmla="*/ 1234440 w 5257800"/>
                <a:gd name="connsiteY46" fmla="*/ 1059180 h 6177659"/>
                <a:gd name="connsiteX47" fmla="*/ 960120 w 5257800"/>
                <a:gd name="connsiteY47" fmla="*/ 1165860 h 6177659"/>
                <a:gd name="connsiteX48" fmla="*/ 815340 w 5257800"/>
                <a:gd name="connsiteY48" fmla="*/ 1257300 h 6177659"/>
                <a:gd name="connsiteX49" fmla="*/ 0 w 5257800"/>
                <a:gd name="connsiteY49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373880 w 5257800"/>
                <a:gd name="connsiteY39" fmla="*/ 2057400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408604 w 5257800"/>
                <a:gd name="connsiteY39" fmla="*/ 2104892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408604 w 5257800"/>
                <a:gd name="connsiteY39" fmla="*/ 2104892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93920 w 5257800"/>
                <a:gd name="connsiteY38" fmla="*/ 3261360 h 6177659"/>
                <a:gd name="connsiteX39" fmla="*/ 4408604 w 5257800"/>
                <a:gd name="connsiteY39" fmla="*/ 2104892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408604 w 5257800"/>
                <a:gd name="connsiteY39" fmla="*/ 2104892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344179 w 5257800"/>
                <a:gd name="connsiteY39" fmla="*/ 2027325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344179 w 5257800"/>
                <a:gd name="connsiteY39" fmla="*/ 2027325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914900 w 5257800"/>
                <a:gd name="connsiteY26" fmla="*/ 1821180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344179 w 5257800"/>
                <a:gd name="connsiteY39" fmla="*/ 2027325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814397 w 5257800"/>
                <a:gd name="connsiteY26" fmla="*/ 1704828 h 6177659"/>
                <a:gd name="connsiteX27" fmla="*/ 5105400 w 5257800"/>
                <a:gd name="connsiteY27" fmla="*/ 2217420 h 6177659"/>
                <a:gd name="connsiteX28" fmla="*/ 5227320 w 5257800"/>
                <a:gd name="connsiteY28" fmla="*/ 2636520 h 6177659"/>
                <a:gd name="connsiteX29" fmla="*/ 5257800 w 5257800"/>
                <a:gd name="connsiteY29" fmla="*/ 3086100 h 6177659"/>
                <a:gd name="connsiteX30" fmla="*/ 5204460 w 5257800"/>
                <a:gd name="connsiteY30" fmla="*/ 3611880 h 6177659"/>
                <a:gd name="connsiteX31" fmla="*/ 5002306 w 5257800"/>
                <a:gd name="connsiteY31" fmla="*/ 4363507 h 6177659"/>
                <a:gd name="connsiteX32" fmla="*/ 5132522 w 5257800"/>
                <a:gd name="connsiteY32" fmla="*/ 4429994 h 6177659"/>
                <a:gd name="connsiteX33" fmla="*/ 5063073 w 5257800"/>
                <a:gd name="connsiteY33" fmla="*/ 4847915 h 6177659"/>
                <a:gd name="connsiteX34" fmla="*/ 4905544 w 5257800"/>
                <a:gd name="connsiteY34" fmla="*/ 4785630 h 6177659"/>
                <a:gd name="connsiteX35" fmla="*/ 3778281 w 5257800"/>
                <a:gd name="connsiteY35" fmla="*/ 6177659 h 6177659"/>
                <a:gd name="connsiteX36" fmla="*/ 3595980 w 5257800"/>
                <a:gd name="connsiteY36" fmla="*/ 5588772 h 6177659"/>
                <a:gd name="connsiteX37" fmla="*/ 4382946 w 5257800"/>
                <a:gd name="connsiteY37" fmla="*/ 4574791 h 6177659"/>
                <a:gd name="connsiteX38" fmla="*/ 4662995 w 5257800"/>
                <a:gd name="connsiteY38" fmla="*/ 3330617 h 6177659"/>
                <a:gd name="connsiteX39" fmla="*/ 4344179 w 5257800"/>
                <a:gd name="connsiteY39" fmla="*/ 2027325 h 6177659"/>
                <a:gd name="connsiteX40" fmla="*/ 3429000 w 5257800"/>
                <a:gd name="connsiteY40" fmla="*/ 1013460 h 6177659"/>
                <a:gd name="connsiteX41" fmla="*/ 3192780 w 5257800"/>
                <a:gd name="connsiteY41" fmla="*/ 853440 h 6177659"/>
                <a:gd name="connsiteX42" fmla="*/ 2910840 w 5257800"/>
                <a:gd name="connsiteY42" fmla="*/ 739140 h 6177659"/>
                <a:gd name="connsiteX43" fmla="*/ 2514600 w 5257800"/>
                <a:gd name="connsiteY43" fmla="*/ 693420 h 6177659"/>
                <a:gd name="connsiteX44" fmla="*/ 2232660 w 5257800"/>
                <a:gd name="connsiteY44" fmla="*/ 739140 h 6177659"/>
                <a:gd name="connsiteX45" fmla="*/ 1234440 w 5257800"/>
                <a:gd name="connsiteY45" fmla="*/ 1059180 h 6177659"/>
                <a:gd name="connsiteX46" fmla="*/ 960120 w 5257800"/>
                <a:gd name="connsiteY46" fmla="*/ 1165860 h 6177659"/>
                <a:gd name="connsiteX47" fmla="*/ 815340 w 5257800"/>
                <a:gd name="connsiteY47" fmla="*/ 1257300 h 6177659"/>
                <a:gd name="connsiteX48" fmla="*/ 0 w 5257800"/>
                <a:gd name="connsiteY48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814397 w 5257800"/>
                <a:gd name="connsiteY26" fmla="*/ 1704828 h 6177659"/>
                <a:gd name="connsiteX27" fmla="*/ 5227320 w 5257800"/>
                <a:gd name="connsiteY27" fmla="*/ 2636520 h 6177659"/>
                <a:gd name="connsiteX28" fmla="*/ 5257800 w 5257800"/>
                <a:gd name="connsiteY28" fmla="*/ 3086100 h 6177659"/>
                <a:gd name="connsiteX29" fmla="*/ 5204460 w 5257800"/>
                <a:gd name="connsiteY29" fmla="*/ 3611880 h 6177659"/>
                <a:gd name="connsiteX30" fmla="*/ 5002306 w 5257800"/>
                <a:gd name="connsiteY30" fmla="*/ 4363507 h 6177659"/>
                <a:gd name="connsiteX31" fmla="*/ 5132522 w 5257800"/>
                <a:gd name="connsiteY31" fmla="*/ 4429994 h 6177659"/>
                <a:gd name="connsiteX32" fmla="*/ 5063073 w 5257800"/>
                <a:gd name="connsiteY32" fmla="*/ 4847915 h 6177659"/>
                <a:gd name="connsiteX33" fmla="*/ 4905544 w 5257800"/>
                <a:gd name="connsiteY33" fmla="*/ 4785630 h 6177659"/>
                <a:gd name="connsiteX34" fmla="*/ 3778281 w 5257800"/>
                <a:gd name="connsiteY34" fmla="*/ 6177659 h 6177659"/>
                <a:gd name="connsiteX35" fmla="*/ 3595980 w 5257800"/>
                <a:gd name="connsiteY35" fmla="*/ 5588772 h 6177659"/>
                <a:gd name="connsiteX36" fmla="*/ 4382946 w 5257800"/>
                <a:gd name="connsiteY36" fmla="*/ 4574791 h 6177659"/>
                <a:gd name="connsiteX37" fmla="*/ 4662995 w 5257800"/>
                <a:gd name="connsiteY37" fmla="*/ 3330617 h 6177659"/>
                <a:gd name="connsiteX38" fmla="*/ 4344179 w 5257800"/>
                <a:gd name="connsiteY38" fmla="*/ 2027325 h 6177659"/>
                <a:gd name="connsiteX39" fmla="*/ 3429000 w 5257800"/>
                <a:gd name="connsiteY39" fmla="*/ 1013460 h 6177659"/>
                <a:gd name="connsiteX40" fmla="*/ 3192780 w 5257800"/>
                <a:gd name="connsiteY40" fmla="*/ 853440 h 6177659"/>
                <a:gd name="connsiteX41" fmla="*/ 2910840 w 5257800"/>
                <a:gd name="connsiteY41" fmla="*/ 739140 h 6177659"/>
                <a:gd name="connsiteX42" fmla="*/ 2514600 w 5257800"/>
                <a:gd name="connsiteY42" fmla="*/ 693420 h 6177659"/>
                <a:gd name="connsiteX43" fmla="*/ 2232660 w 5257800"/>
                <a:gd name="connsiteY43" fmla="*/ 739140 h 6177659"/>
                <a:gd name="connsiteX44" fmla="*/ 1234440 w 5257800"/>
                <a:gd name="connsiteY44" fmla="*/ 1059180 h 6177659"/>
                <a:gd name="connsiteX45" fmla="*/ 960120 w 5257800"/>
                <a:gd name="connsiteY45" fmla="*/ 1165860 h 6177659"/>
                <a:gd name="connsiteX46" fmla="*/ 815340 w 5257800"/>
                <a:gd name="connsiteY46" fmla="*/ 1257300 h 6177659"/>
                <a:gd name="connsiteX47" fmla="*/ 0 w 5257800"/>
                <a:gd name="connsiteY47" fmla="*/ 1234440 h 6177659"/>
                <a:gd name="connsiteX0" fmla="*/ 0 w 5257800"/>
                <a:gd name="connsiteY0" fmla="*/ 1234440 h 6177659"/>
                <a:gd name="connsiteX1" fmla="*/ 213360 w 5257800"/>
                <a:gd name="connsiteY1" fmla="*/ 990600 h 6177659"/>
                <a:gd name="connsiteX2" fmla="*/ 457200 w 5257800"/>
                <a:gd name="connsiteY2" fmla="*/ 792480 h 6177659"/>
                <a:gd name="connsiteX3" fmla="*/ 685800 w 5257800"/>
                <a:gd name="connsiteY3" fmla="*/ 624840 h 6177659"/>
                <a:gd name="connsiteX4" fmla="*/ 929640 w 5257800"/>
                <a:gd name="connsiteY4" fmla="*/ 533400 h 6177659"/>
                <a:gd name="connsiteX5" fmla="*/ 891540 w 5257800"/>
                <a:gd name="connsiteY5" fmla="*/ 426720 h 6177659"/>
                <a:gd name="connsiteX6" fmla="*/ 1074420 w 5257800"/>
                <a:gd name="connsiteY6" fmla="*/ 358140 h 6177659"/>
                <a:gd name="connsiteX7" fmla="*/ 1120140 w 5257800"/>
                <a:gd name="connsiteY7" fmla="*/ 464820 h 6177659"/>
                <a:gd name="connsiteX8" fmla="*/ 1242060 w 5257800"/>
                <a:gd name="connsiteY8" fmla="*/ 434340 h 6177659"/>
                <a:gd name="connsiteX9" fmla="*/ 1272540 w 5257800"/>
                <a:gd name="connsiteY9" fmla="*/ 365760 h 6177659"/>
                <a:gd name="connsiteX10" fmla="*/ 1531620 w 5257800"/>
                <a:gd name="connsiteY10" fmla="*/ 297180 h 6177659"/>
                <a:gd name="connsiteX11" fmla="*/ 1584960 w 5257800"/>
                <a:gd name="connsiteY11" fmla="*/ 327660 h 6177659"/>
                <a:gd name="connsiteX12" fmla="*/ 1714500 w 5257800"/>
                <a:gd name="connsiteY12" fmla="*/ 274320 h 6177659"/>
                <a:gd name="connsiteX13" fmla="*/ 1684020 w 5257800"/>
                <a:gd name="connsiteY13" fmla="*/ 114300 h 6177659"/>
                <a:gd name="connsiteX14" fmla="*/ 2087880 w 5257800"/>
                <a:gd name="connsiteY14" fmla="*/ 0 h 6177659"/>
                <a:gd name="connsiteX15" fmla="*/ 2133600 w 5257800"/>
                <a:gd name="connsiteY15" fmla="*/ 160020 h 6177659"/>
                <a:gd name="connsiteX16" fmla="*/ 2385060 w 5257800"/>
                <a:gd name="connsiteY16" fmla="*/ 106680 h 6177659"/>
                <a:gd name="connsiteX17" fmla="*/ 2644140 w 5257800"/>
                <a:gd name="connsiteY17" fmla="*/ 99060 h 6177659"/>
                <a:gd name="connsiteX18" fmla="*/ 2971800 w 5257800"/>
                <a:gd name="connsiteY18" fmla="*/ 152400 h 6177659"/>
                <a:gd name="connsiteX19" fmla="*/ 3299460 w 5257800"/>
                <a:gd name="connsiteY19" fmla="*/ 251460 h 6177659"/>
                <a:gd name="connsiteX20" fmla="*/ 3665220 w 5257800"/>
                <a:gd name="connsiteY20" fmla="*/ 464820 h 6177659"/>
                <a:gd name="connsiteX21" fmla="*/ 3954780 w 5257800"/>
                <a:gd name="connsiteY21" fmla="*/ 723900 h 6177659"/>
                <a:gd name="connsiteX22" fmla="*/ 4465320 w 5257800"/>
                <a:gd name="connsiteY22" fmla="*/ 1280160 h 6177659"/>
                <a:gd name="connsiteX23" fmla="*/ 4495800 w 5257800"/>
                <a:gd name="connsiteY23" fmla="*/ 1287780 h 6177659"/>
                <a:gd name="connsiteX24" fmla="*/ 4678680 w 5257800"/>
                <a:gd name="connsiteY24" fmla="*/ 1463040 h 6177659"/>
                <a:gd name="connsiteX25" fmla="*/ 4663440 w 5257800"/>
                <a:gd name="connsiteY25" fmla="*/ 1524000 h 6177659"/>
                <a:gd name="connsiteX26" fmla="*/ 4814397 w 5257800"/>
                <a:gd name="connsiteY26" fmla="*/ 1704828 h 6177659"/>
                <a:gd name="connsiteX27" fmla="*/ 5257800 w 5257800"/>
                <a:gd name="connsiteY27" fmla="*/ 3086100 h 6177659"/>
                <a:gd name="connsiteX28" fmla="*/ 5204460 w 5257800"/>
                <a:gd name="connsiteY28" fmla="*/ 3611880 h 6177659"/>
                <a:gd name="connsiteX29" fmla="*/ 5002306 w 5257800"/>
                <a:gd name="connsiteY29" fmla="*/ 4363507 h 6177659"/>
                <a:gd name="connsiteX30" fmla="*/ 5132522 w 5257800"/>
                <a:gd name="connsiteY30" fmla="*/ 4429994 h 6177659"/>
                <a:gd name="connsiteX31" fmla="*/ 5063073 w 5257800"/>
                <a:gd name="connsiteY31" fmla="*/ 4847915 h 6177659"/>
                <a:gd name="connsiteX32" fmla="*/ 4905544 w 5257800"/>
                <a:gd name="connsiteY32" fmla="*/ 4785630 h 6177659"/>
                <a:gd name="connsiteX33" fmla="*/ 3778281 w 5257800"/>
                <a:gd name="connsiteY33" fmla="*/ 6177659 h 6177659"/>
                <a:gd name="connsiteX34" fmla="*/ 3595980 w 5257800"/>
                <a:gd name="connsiteY34" fmla="*/ 5588772 h 6177659"/>
                <a:gd name="connsiteX35" fmla="*/ 4382946 w 5257800"/>
                <a:gd name="connsiteY35" fmla="*/ 4574791 h 6177659"/>
                <a:gd name="connsiteX36" fmla="*/ 4662995 w 5257800"/>
                <a:gd name="connsiteY36" fmla="*/ 3330617 h 6177659"/>
                <a:gd name="connsiteX37" fmla="*/ 4344179 w 5257800"/>
                <a:gd name="connsiteY37" fmla="*/ 2027325 h 6177659"/>
                <a:gd name="connsiteX38" fmla="*/ 3429000 w 5257800"/>
                <a:gd name="connsiteY38" fmla="*/ 1013460 h 6177659"/>
                <a:gd name="connsiteX39" fmla="*/ 3192780 w 5257800"/>
                <a:gd name="connsiteY39" fmla="*/ 853440 h 6177659"/>
                <a:gd name="connsiteX40" fmla="*/ 2910840 w 5257800"/>
                <a:gd name="connsiteY40" fmla="*/ 739140 h 6177659"/>
                <a:gd name="connsiteX41" fmla="*/ 2514600 w 5257800"/>
                <a:gd name="connsiteY41" fmla="*/ 693420 h 6177659"/>
                <a:gd name="connsiteX42" fmla="*/ 2232660 w 5257800"/>
                <a:gd name="connsiteY42" fmla="*/ 739140 h 6177659"/>
                <a:gd name="connsiteX43" fmla="*/ 1234440 w 5257800"/>
                <a:gd name="connsiteY43" fmla="*/ 1059180 h 6177659"/>
                <a:gd name="connsiteX44" fmla="*/ 960120 w 5257800"/>
                <a:gd name="connsiteY44" fmla="*/ 1165860 h 6177659"/>
                <a:gd name="connsiteX45" fmla="*/ 815340 w 5257800"/>
                <a:gd name="connsiteY45" fmla="*/ 1257300 h 6177659"/>
                <a:gd name="connsiteX46" fmla="*/ 0 w 5257800"/>
                <a:gd name="connsiteY46" fmla="*/ 1234440 h 6177659"/>
                <a:gd name="connsiteX0" fmla="*/ 0 w 5204460"/>
                <a:gd name="connsiteY0" fmla="*/ 1234440 h 6177659"/>
                <a:gd name="connsiteX1" fmla="*/ 213360 w 5204460"/>
                <a:gd name="connsiteY1" fmla="*/ 990600 h 6177659"/>
                <a:gd name="connsiteX2" fmla="*/ 457200 w 5204460"/>
                <a:gd name="connsiteY2" fmla="*/ 792480 h 6177659"/>
                <a:gd name="connsiteX3" fmla="*/ 685800 w 5204460"/>
                <a:gd name="connsiteY3" fmla="*/ 624840 h 6177659"/>
                <a:gd name="connsiteX4" fmla="*/ 929640 w 5204460"/>
                <a:gd name="connsiteY4" fmla="*/ 533400 h 6177659"/>
                <a:gd name="connsiteX5" fmla="*/ 891540 w 5204460"/>
                <a:gd name="connsiteY5" fmla="*/ 426720 h 6177659"/>
                <a:gd name="connsiteX6" fmla="*/ 1074420 w 5204460"/>
                <a:gd name="connsiteY6" fmla="*/ 358140 h 6177659"/>
                <a:gd name="connsiteX7" fmla="*/ 1120140 w 5204460"/>
                <a:gd name="connsiteY7" fmla="*/ 464820 h 6177659"/>
                <a:gd name="connsiteX8" fmla="*/ 1242060 w 5204460"/>
                <a:gd name="connsiteY8" fmla="*/ 434340 h 6177659"/>
                <a:gd name="connsiteX9" fmla="*/ 1272540 w 5204460"/>
                <a:gd name="connsiteY9" fmla="*/ 365760 h 6177659"/>
                <a:gd name="connsiteX10" fmla="*/ 1531620 w 5204460"/>
                <a:gd name="connsiteY10" fmla="*/ 297180 h 6177659"/>
                <a:gd name="connsiteX11" fmla="*/ 1584960 w 5204460"/>
                <a:gd name="connsiteY11" fmla="*/ 327660 h 6177659"/>
                <a:gd name="connsiteX12" fmla="*/ 1714500 w 5204460"/>
                <a:gd name="connsiteY12" fmla="*/ 274320 h 6177659"/>
                <a:gd name="connsiteX13" fmla="*/ 1684020 w 5204460"/>
                <a:gd name="connsiteY13" fmla="*/ 114300 h 6177659"/>
                <a:gd name="connsiteX14" fmla="*/ 2087880 w 5204460"/>
                <a:gd name="connsiteY14" fmla="*/ 0 h 6177659"/>
                <a:gd name="connsiteX15" fmla="*/ 2133600 w 5204460"/>
                <a:gd name="connsiteY15" fmla="*/ 160020 h 6177659"/>
                <a:gd name="connsiteX16" fmla="*/ 2385060 w 5204460"/>
                <a:gd name="connsiteY16" fmla="*/ 106680 h 6177659"/>
                <a:gd name="connsiteX17" fmla="*/ 2644140 w 5204460"/>
                <a:gd name="connsiteY17" fmla="*/ 99060 h 6177659"/>
                <a:gd name="connsiteX18" fmla="*/ 2971800 w 5204460"/>
                <a:gd name="connsiteY18" fmla="*/ 152400 h 6177659"/>
                <a:gd name="connsiteX19" fmla="*/ 3299460 w 5204460"/>
                <a:gd name="connsiteY19" fmla="*/ 251460 h 6177659"/>
                <a:gd name="connsiteX20" fmla="*/ 3665220 w 5204460"/>
                <a:gd name="connsiteY20" fmla="*/ 464820 h 6177659"/>
                <a:gd name="connsiteX21" fmla="*/ 3954780 w 5204460"/>
                <a:gd name="connsiteY21" fmla="*/ 723900 h 6177659"/>
                <a:gd name="connsiteX22" fmla="*/ 4465320 w 5204460"/>
                <a:gd name="connsiteY22" fmla="*/ 1280160 h 6177659"/>
                <a:gd name="connsiteX23" fmla="*/ 4495800 w 5204460"/>
                <a:gd name="connsiteY23" fmla="*/ 1287780 h 6177659"/>
                <a:gd name="connsiteX24" fmla="*/ 4678680 w 5204460"/>
                <a:gd name="connsiteY24" fmla="*/ 1463040 h 6177659"/>
                <a:gd name="connsiteX25" fmla="*/ 4663440 w 5204460"/>
                <a:gd name="connsiteY25" fmla="*/ 1524000 h 6177659"/>
                <a:gd name="connsiteX26" fmla="*/ 4814397 w 5204460"/>
                <a:gd name="connsiteY26" fmla="*/ 1704828 h 6177659"/>
                <a:gd name="connsiteX27" fmla="*/ 5204460 w 5204460"/>
                <a:gd name="connsiteY27" fmla="*/ 3611880 h 6177659"/>
                <a:gd name="connsiteX28" fmla="*/ 5002306 w 5204460"/>
                <a:gd name="connsiteY28" fmla="*/ 4363507 h 6177659"/>
                <a:gd name="connsiteX29" fmla="*/ 5132522 w 5204460"/>
                <a:gd name="connsiteY29" fmla="*/ 4429994 h 6177659"/>
                <a:gd name="connsiteX30" fmla="*/ 5063073 w 5204460"/>
                <a:gd name="connsiteY30" fmla="*/ 4847915 h 6177659"/>
                <a:gd name="connsiteX31" fmla="*/ 4905544 w 5204460"/>
                <a:gd name="connsiteY31" fmla="*/ 4785630 h 6177659"/>
                <a:gd name="connsiteX32" fmla="*/ 3778281 w 5204460"/>
                <a:gd name="connsiteY32" fmla="*/ 6177659 h 6177659"/>
                <a:gd name="connsiteX33" fmla="*/ 3595980 w 5204460"/>
                <a:gd name="connsiteY33" fmla="*/ 5588772 h 6177659"/>
                <a:gd name="connsiteX34" fmla="*/ 4382946 w 5204460"/>
                <a:gd name="connsiteY34" fmla="*/ 4574791 h 6177659"/>
                <a:gd name="connsiteX35" fmla="*/ 4662995 w 5204460"/>
                <a:gd name="connsiteY35" fmla="*/ 3330617 h 6177659"/>
                <a:gd name="connsiteX36" fmla="*/ 4344179 w 5204460"/>
                <a:gd name="connsiteY36" fmla="*/ 2027325 h 6177659"/>
                <a:gd name="connsiteX37" fmla="*/ 3429000 w 5204460"/>
                <a:gd name="connsiteY37" fmla="*/ 1013460 h 6177659"/>
                <a:gd name="connsiteX38" fmla="*/ 3192780 w 5204460"/>
                <a:gd name="connsiteY38" fmla="*/ 853440 h 6177659"/>
                <a:gd name="connsiteX39" fmla="*/ 2910840 w 5204460"/>
                <a:gd name="connsiteY39" fmla="*/ 739140 h 6177659"/>
                <a:gd name="connsiteX40" fmla="*/ 2514600 w 5204460"/>
                <a:gd name="connsiteY40" fmla="*/ 693420 h 6177659"/>
                <a:gd name="connsiteX41" fmla="*/ 2232660 w 5204460"/>
                <a:gd name="connsiteY41" fmla="*/ 739140 h 6177659"/>
                <a:gd name="connsiteX42" fmla="*/ 1234440 w 5204460"/>
                <a:gd name="connsiteY42" fmla="*/ 1059180 h 6177659"/>
                <a:gd name="connsiteX43" fmla="*/ 960120 w 5204460"/>
                <a:gd name="connsiteY43" fmla="*/ 1165860 h 6177659"/>
                <a:gd name="connsiteX44" fmla="*/ 815340 w 5204460"/>
                <a:gd name="connsiteY44" fmla="*/ 1257300 h 6177659"/>
                <a:gd name="connsiteX45" fmla="*/ 0 w 5204460"/>
                <a:gd name="connsiteY45" fmla="*/ 1234440 h 6177659"/>
                <a:gd name="connsiteX0" fmla="*/ 0 w 5132522"/>
                <a:gd name="connsiteY0" fmla="*/ 1234440 h 6177659"/>
                <a:gd name="connsiteX1" fmla="*/ 213360 w 5132522"/>
                <a:gd name="connsiteY1" fmla="*/ 990600 h 6177659"/>
                <a:gd name="connsiteX2" fmla="*/ 457200 w 5132522"/>
                <a:gd name="connsiteY2" fmla="*/ 792480 h 6177659"/>
                <a:gd name="connsiteX3" fmla="*/ 685800 w 5132522"/>
                <a:gd name="connsiteY3" fmla="*/ 624840 h 6177659"/>
                <a:gd name="connsiteX4" fmla="*/ 929640 w 5132522"/>
                <a:gd name="connsiteY4" fmla="*/ 533400 h 6177659"/>
                <a:gd name="connsiteX5" fmla="*/ 891540 w 5132522"/>
                <a:gd name="connsiteY5" fmla="*/ 426720 h 6177659"/>
                <a:gd name="connsiteX6" fmla="*/ 1074420 w 5132522"/>
                <a:gd name="connsiteY6" fmla="*/ 358140 h 6177659"/>
                <a:gd name="connsiteX7" fmla="*/ 1120140 w 5132522"/>
                <a:gd name="connsiteY7" fmla="*/ 464820 h 6177659"/>
                <a:gd name="connsiteX8" fmla="*/ 1242060 w 5132522"/>
                <a:gd name="connsiteY8" fmla="*/ 434340 h 6177659"/>
                <a:gd name="connsiteX9" fmla="*/ 1272540 w 5132522"/>
                <a:gd name="connsiteY9" fmla="*/ 365760 h 6177659"/>
                <a:gd name="connsiteX10" fmla="*/ 1531620 w 5132522"/>
                <a:gd name="connsiteY10" fmla="*/ 297180 h 6177659"/>
                <a:gd name="connsiteX11" fmla="*/ 1584960 w 5132522"/>
                <a:gd name="connsiteY11" fmla="*/ 327660 h 6177659"/>
                <a:gd name="connsiteX12" fmla="*/ 1714500 w 5132522"/>
                <a:gd name="connsiteY12" fmla="*/ 274320 h 6177659"/>
                <a:gd name="connsiteX13" fmla="*/ 1684020 w 5132522"/>
                <a:gd name="connsiteY13" fmla="*/ 114300 h 6177659"/>
                <a:gd name="connsiteX14" fmla="*/ 2087880 w 5132522"/>
                <a:gd name="connsiteY14" fmla="*/ 0 h 6177659"/>
                <a:gd name="connsiteX15" fmla="*/ 2133600 w 5132522"/>
                <a:gd name="connsiteY15" fmla="*/ 160020 h 6177659"/>
                <a:gd name="connsiteX16" fmla="*/ 2385060 w 5132522"/>
                <a:gd name="connsiteY16" fmla="*/ 106680 h 6177659"/>
                <a:gd name="connsiteX17" fmla="*/ 2644140 w 5132522"/>
                <a:gd name="connsiteY17" fmla="*/ 99060 h 6177659"/>
                <a:gd name="connsiteX18" fmla="*/ 2971800 w 5132522"/>
                <a:gd name="connsiteY18" fmla="*/ 152400 h 6177659"/>
                <a:gd name="connsiteX19" fmla="*/ 3299460 w 5132522"/>
                <a:gd name="connsiteY19" fmla="*/ 251460 h 6177659"/>
                <a:gd name="connsiteX20" fmla="*/ 3665220 w 5132522"/>
                <a:gd name="connsiteY20" fmla="*/ 464820 h 6177659"/>
                <a:gd name="connsiteX21" fmla="*/ 3954780 w 5132522"/>
                <a:gd name="connsiteY21" fmla="*/ 723900 h 6177659"/>
                <a:gd name="connsiteX22" fmla="*/ 4465320 w 5132522"/>
                <a:gd name="connsiteY22" fmla="*/ 1280160 h 6177659"/>
                <a:gd name="connsiteX23" fmla="*/ 4495800 w 5132522"/>
                <a:gd name="connsiteY23" fmla="*/ 1287780 h 6177659"/>
                <a:gd name="connsiteX24" fmla="*/ 4678680 w 5132522"/>
                <a:gd name="connsiteY24" fmla="*/ 1463040 h 6177659"/>
                <a:gd name="connsiteX25" fmla="*/ 4663440 w 5132522"/>
                <a:gd name="connsiteY25" fmla="*/ 1524000 h 6177659"/>
                <a:gd name="connsiteX26" fmla="*/ 4814397 w 5132522"/>
                <a:gd name="connsiteY26" fmla="*/ 1704828 h 6177659"/>
                <a:gd name="connsiteX27" fmla="*/ 5002306 w 5132522"/>
                <a:gd name="connsiteY27" fmla="*/ 4363507 h 6177659"/>
                <a:gd name="connsiteX28" fmla="*/ 5132522 w 5132522"/>
                <a:gd name="connsiteY28" fmla="*/ 4429994 h 6177659"/>
                <a:gd name="connsiteX29" fmla="*/ 5063073 w 5132522"/>
                <a:gd name="connsiteY29" fmla="*/ 4847915 h 6177659"/>
                <a:gd name="connsiteX30" fmla="*/ 4905544 w 5132522"/>
                <a:gd name="connsiteY30" fmla="*/ 4785630 h 6177659"/>
                <a:gd name="connsiteX31" fmla="*/ 3778281 w 5132522"/>
                <a:gd name="connsiteY31" fmla="*/ 6177659 h 6177659"/>
                <a:gd name="connsiteX32" fmla="*/ 3595980 w 5132522"/>
                <a:gd name="connsiteY32" fmla="*/ 5588772 h 6177659"/>
                <a:gd name="connsiteX33" fmla="*/ 4382946 w 5132522"/>
                <a:gd name="connsiteY33" fmla="*/ 4574791 h 6177659"/>
                <a:gd name="connsiteX34" fmla="*/ 4662995 w 5132522"/>
                <a:gd name="connsiteY34" fmla="*/ 3330617 h 6177659"/>
                <a:gd name="connsiteX35" fmla="*/ 4344179 w 5132522"/>
                <a:gd name="connsiteY35" fmla="*/ 2027325 h 6177659"/>
                <a:gd name="connsiteX36" fmla="*/ 3429000 w 5132522"/>
                <a:gd name="connsiteY36" fmla="*/ 1013460 h 6177659"/>
                <a:gd name="connsiteX37" fmla="*/ 3192780 w 5132522"/>
                <a:gd name="connsiteY37" fmla="*/ 853440 h 6177659"/>
                <a:gd name="connsiteX38" fmla="*/ 2910840 w 5132522"/>
                <a:gd name="connsiteY38" fmla="*/ 739140 h 6177659"/>
                <a:gd name="connsiteX39" fmla="*/ 2514600 w 5132522"/>
                <a:gd name="connsiteY39" fmla="*/ 693420 h 6177659"/>
                <a:gd name="connsiteX40" fmla="*/ 2232660 w 5132522"/>
                <a:gd name="connsiteY40" fmla="*/ 739140 h 6177659"/>
                <a:gd name="connsiteX41" fmla="*/ 1234440 w 5132522"/>
                <a:gd name="connsiteY41" fmla="*/ 1059180 h 6177659"/>
                <a:gd name="connsiteX42" fmla="*/ 960120 w 5132522"/>
                <a:gd name="connsiteY42" fmla="*/ 1165860 h 6177659"/>
                <a:gd name="connsiteX43" fmla="*/ 815340 w 5132522"/>
                <a:gd name="connsiteY43" fmla="*/ 1257300 h 6177659"/>
                <a:gd name="connsiteX44" fmla="*/ 0 w 5132522"/>
                <a:gd name="connsiteY44" fmla="*/ 1234440 h 6177659"/>
                <a:gd name="connsiteX0" fmla="*/ 0 w 5132522"/>
                <a:gd name="connsiteY0" fmla="*/ 1234440 h 6177659"/>
                <a:gd name="connsiteX1" fmla="*/ 213360 w 5132522"/>
                <a:gd name="connsiteY1" fmla="*/ 990600 h 6177659"/>
                <a:gd name="connsiteX2" fmla="*/ 457200 w 5132522"/>
                <a:gd name="connsiteY2" fmla="*/ 792480 h 6177659"/>
                <a:gd name="connsiteX3" fmla="*/ 685800 w 5132522"/>
                <a:gd name="connsiteY3" fmla="*/ 624840 h 6177659"/>
                <a:gd name="connsiteX4" fmla="*/ 929640 w 5132522"/>
                <a:gd name="connsiteY4" fmla="*/ 533400 h 6177659"/>
                <a:gd name="connsiteX5" fmla="*/ 891540 w 5132522"/>
                <a:gd name="connsiteY5" fmla="*/ 426720 h 6177659"/>
                <a:gd name="connsiteX6" fmla="*/ 1074420 w 5132522"/>
                <a:gd name="connsiteY6" fmla="*/ 358140 h 6177659"/>
                <a:gd name="connsiteX7" fmla="*/ 1120140 w 5132522"/>
                <a:gd name="connsiteY7" fmla="*/ 464820 h 6177659"/>
                <a:gd name="connsiteX8" fmla="*/ 1242060 w 5132522"/>
                <a:gd name="connsiteY8" fmla="*/ 434340 h 6177659"/>
                <a:gd name="connsiteX9" fmla="*/ 1272540 w 5132522"/>
                <a:gd name="connsiteY9" fmla="*/ 365760 h 6177659"/>
                <a:gd name="connsiteX10" fmla="*/ 1531620 w 5132522"/>
                <a:gd name="connsiteY10" fmla="*/ 297180 h 6177659"/>
                <a:gd name="connsiteX11" fmla="*/ 1584960 w 5132522"/>
                <a:gd name="connsiteY11" fmla="*/ 327660 h 6177659"/>
                <a:gd name="connsiteX12" fmla="*/ 1714500 w 5132522"/>
                <a:gd name="connsiteY12" fmla="*/ 274320 h 6177659"/>
                <a:gd name="connsiteX13" fmla="*/ 1684020 w 5132522"/>
                <a:gd name="connsiteY13" fmla="*/ 114300 h 6177659"/>
                <a:gd name="connsiteX14" fmla="*/ 2087880 w 5132522"/>
                <a:gd name="connsiteY14" fmla="*/ 0 h 6177659"/>
                <a:gd name="connsiteX15" fmla="*/ 2133600 w 5132522"/>
                <a:gd name="connsiteY15" fmla="*/ 160020 h 6177659"/>
                <a:gd name="connsiteX16" fmla="*/ 2385060 w 5132522"/>
                <a:gd name="connsiteY16" fmla="*/ 106680 h 6177659"/>
                <a:gd name="connsiteX17" fmla="*/ 2644140 w 5132522"/>
                <a:gd name="connsiteY17" fmla="*/ 99060 h 6177659"/>
                <a:gd name="connsiteX18" fmla="*/ 2971800 w 5132522"/>
                <a:gd name="connsiteY18" fmla="*/ 152400 h 6177659"/>
                <a:gd name="connsiteX19" fmla="*/ 3299460 w 5132522"/>
                <a:gd name="connsiteY19" fmla="*/ 251460 h 6177659"/>
                <a:gd name="connsiteX20" fmla="*/ 3665220 w 5132522"/>
                <a:gd name="connsiteY20" fmla="*/ 464820 h 6177659"/>
                <a:gd name="connsiteX21" fmla="*/ 3954780 w 5132522"/>
                <a:gd name="connsiteY21" fmla="*/ 723900 h 6177659"/>
                <a:gd name="connsiteX22" fmla="*/ 4465320 w 5132522"/>
                <a:gd name="connsiteY22" fmla="*/ 1280160 h 6177659"/>
                <a:gd name="connsiteX23" fmla="*/ 4495800 w 5132522"/>
                <a:gd name="connsiteY23" fmla="*/ 1287780 h 6177659"/>
                <a:gd name="connsiteX24" fmla="*/ 4678680 w 5132522"/>
                <a:gd name="connsiteY24" fmla="*/ 1463040 h 6177659"/>
                <a:gd name="connsiteX25" fmla="*/ 4663440 w 5132522"/>
                <a:gd name="connsiteY25" fmla="*/ 1524000 h 6177659"/>
                <a:gd name="connsiteX26" fmla="*/ 4814397 w 5132522"/>
                <a:gd name="connsiteY26" fmla="*/ 1704828 h 6177659"/>
                <a:gd name="connsiteX27" fmla="*/ 4965031 w 5132522"/>
                <a:gd name="connsiteY27" fmla="*/ 3813160 h 6177659"/>
                <a:gd name="connsiteX28" fmla="*/ 5002306 w 5132522"/>
                <a:gd name="connsiteY28" fmla="*/ 4363507 h 6177659"/>
                <a:gd name="connsiteX29" fmla="*/ 5132522 w 5132522"/>
                <a:gd name="connsiteY29" fmla="*/ 4429994 h 6177659"/>
                <a:gd name="connsiteX30" fmla="*/ 5063073 w 5132522"/>
                <a:gd name="connsiteY30" fmla="*/ 4847915 h 6177659"/>
                <a:gd name="connsiteX31" fmla="*/ 4905544 w 5132522"/>
                <a:gd name="connsiteY31" fmla="*/ 4785630 h 6177659"/>
                <a:gd name="connsiteX32" fmla="*/ 3778281 w 5132522"/>
                <a:gd name="connsiteY32" fmla="*/ 6177659 h 6177659"/>
                <a:gd name="connsiteX33" fmla="*/ 3595980 w 5132522"/>
                <a:gd name="connsiteY33" fmla="*/ 5588772 h 6177659"/>
                <a:gd name="connsiteX34" fmla="*/ 4382946 w 5132522"/>
                <a:gd name="connsiteY34" fmla="*/ 4574791 h 6177659"/>
                <a:gd name="connsiteX35" fmla="*/ 4662995 w 5132522"/>
                <a:gd name="connsiteY35" fmla="*/ 3330617 h 6177659"/>
                <a:gd name="connsiteX36" fmla="*/ 4344179 w 5132522"/>
                <a:gd name="connsiteY36" fmla="*/ 2027325 h 6177659"/>
                <a:gd name="connsiteX37" fmla="*/ 3429000 w 5132522"/>
                <a:gd name="connsiteY37" fmla="*/ 1013460 h 6177659"/>
                <a:gd name="connsiteX38" fmla="*/ 3192780 w 5132522"/>
                <a:gd name="connsiteY38" fmla="*/ 853440 h 6177659"/>
                <a:gd name="connsiteX39" fmla="*/ 2910840 w 5132522"/>
                <a:gd name="connsiteY39" fmla="*/ 739140 h 6177659"/>
                <a:gd name="connsiteX40" fmla="*/ 2514600 w 5132522"/>
                <a:gd name="connsiteY40" fmla="*/ 693420 h 6177659"/>
                <a:gd name="connsiteX41" fmla="*/ 2232660 w 5132522"/>
                <a:gd name="connsiteY41" fmla="*/ 739140 h 6177659"/>
                <a:gd name="connsiteX42" fmla="*/ 1234440 w 5132522"/>
                <a:gd name="connsiteY42" fmla="*/ 1059180 h 6177659"/>
                <a:gd name="connsiteX43" fmla="*/ 960120 w 5132522"/>
                <a:gd name="connsiteY43" fmla="*/ 1165860 h 6177659"/>
                <a:gd name="connsiteX44" fmla="*/ 815340 w 5132522"/>
                <a:gd name="connsiteY44" fmla="*/ 1257300 h 6177659"/>
                <a:gd name="connsiteX45" fmla="*/ 0 w 5132522"/>
                <a:gd name="connsiteY45" fmla="*/ 1234440 h 6177659"/>
                <a:gd name="connsiteX0" fmla="*/ 0 w 5194385"/>
                <a:gd name="connsiteY0" fmla="*/ 1234440 h 6177659"/>
                <a:gd name="connsiteX1" fmla="*/ 213360 w 5194385"/>
                <a:gd name="connsiteY1" fmla="*/ 990600 h 6177659"/>
                <a:gd name="connsiteX2" fmla="*/ 457200 w 5194385"/>
                <a:gd name="connsiteY2" fmla="*/ 792480 h 6177659"/>
                <a:gd name="connsiteX3" fmla="*/ 685800 w 5194385"/>
                <a:gd name="connsiteY3" fmla="*/ 624840 h 6177659"/>
                <a:gd name="connsiteX4" fmla="*/ 929640 w 5194385"/>
                <a:gd name="connsiteY4" fmla="*/ 533400 h 6177659"/>
                <a:gd name="connsiteX5" fmla="*/ 891540 w 5194385"/>
                <a:gd name="connsiteY5" fmla="*/ 426720 h 6177659"/>
                <a:gd name="connsiteX6" fmla="*/ 1074420 w 5194385"/>
                <a:gd name="connsiteY6" fmla="*/ 358140 h 6177659"/>
                <a:gd name="connsiteX7" fmla="*/ 1120140 w 5194385"/>
                <a:gd name="connsiteY7" fmla="*/ 464820 h 6177659"/>
                <a:gd name="connsiteX8" fmla="*/ 1242060 w 5194385"/>
                <a:gd name="connsiteY8" fmla="*/ 434340 h 6177659"/>
                <a:gd name="connsiteX9" fmla="*/ 1272540 w 5194385"/>
                <a:gd name="connsiteY9" fmla="*/ 365760 h 6177659"/>
                <a:gd name="connsiteX10" fmla="*/ 1531620 w 5194385"/>
                <a:gd name="connsiteY10" fmla="*/ 297180 h 6177659"/>
                <a:gd name="connsiteX11" fmla="*/ 1584960 w 5194385"/>
                <a:gd name="connsiteY11" fmla="*/ 327660 h 6177659"/>
                <a:gd name="connsiteX12" fmla="*/ 1714500 w 5194385"/>
                <a:gd name="connsiteY12" fmla="*/ 274320 h 6177659"/>
                <a:gd name="connsiteX13" fmla="*/ 1684020 w 5194385"/>
                <a:gd name="connsiteY13" fmla="*/ 114300 h 6177659"/>
                <a:gd name="connsiteX14" fmla="*/ 2087880 w 5194385"/>
                <a:gd name="connsiteY14" fmla="*/ 0 h 6177659"/>
                <a:gd name="connsiteX15" fmla="*/ 2133600 w 5194385"/>
                <a:gd name="connsiteY15" fmla="*/ 160020 h 6177659"/>
                <a:gd name="connsiteX16" fmla="*/ 2385060 w 5194385"/>
                <a:gd name="connsiteY16" fmla="*/ 106680 h 6177659"/>
                <a:gd name="connsiteX17" fmla="*/ 2644140 w 5194385"/>
                <a:gd name="connsiteY17" fmla="*/ 99060 h 6177659"/>
                <a:gd name="connsiteX18" fmla="*/ 2971800 w 5194385"/>
                <a:gd name="connsiteY18" fmla="*/ 152400 h 6177659"/>
                <a:gd name="connsiteX19" fmla="*/ 3299460 w 5194385"/>
                <a:gd name="connsiteY19" fmla="*/ 251460 h 6177659"/>
                <a:gd name="connsiteX20" fmla="*/ 3665220 w 5194385"/>
                <a:gd name="connsiteY20" fmla="*/ 464820 h 6177659"/>
                <a:gd name="connsiteX21" fmla="*/ 3954780 w 5194385"/>
                <a:gd name="connsiteY21" fmla="*/ 723900 h 6177659"/>
                <a:gd name="connsiteX22" fmla="*/ 4465320 w 5194385"/>
                <a:gd name="connsiteY22" fmla="*/ 1280160 h 6177659"/>
                <a:gd name="connsiteX23" fmla="*/ 4495800 w 5194385"/>
                <a:gd name="connsiteY23" fmla="*/ 1287780 h 6177659"/>
                <a:gd name="connsiteX24" fmla="*/ 4678680 w 5194385"/>
                <a:gd name="connsiteY24" fmla="*/ 1463040 h 6177659"/>
                <a:gd name="connsiteX25" fmla="*/ 4663440 w 5194385"/>
                <a:gd name="connsiteY25" fmla="*/ 1524000 h 6177659"/>
                <a:gd name="connsiteX26" fmla="*/ 4814397 w 5194385"/>
                <a:gd name="connsiteY26" fmla="*/ 1704828 h 6177659"/>
                <a:gd name="connsiteX27" fmla="*/ 5194385 w 5194385"/>
                <a:gd name="connsiteY27" fmla="*/ 3497350 h 6177659"/>
                <a:gd name="connsiteX28" fmla="*/ 5002306 w 5194385"/>
                <a:gd name="connsiteY28" fmla="*/ 4363507 h 6177659"/>
                <a:gd name="connsiteX29" fmla="*/ 5132522 w 5194385"/>
                <a:gd name="connsiteY29" fmla="*/ 4429994 h 6177659"/>
                <a:gd name="connsiteX30" fmla="*/ 5063073 w 5194385"/>
                <a:gd name="connsiteY30" fmla="*/ 4847915 h 6177659"/>
                <a:gd name="connsiteX31" fmla="*/ 4905544 w 5194385"/>
                <a:gd name="connsiteY31" fmla="*/ 4785630 h 6177659"/>
                <a:gd name="connsiteX32" fmla="*/ 3778281 w 5194385"/>
                <a:gd name="connsiteY32" fmla="*/ 6177659 h 6177659"/>
                <a:gd name="connsiteX33" fmla="*/ 3595980 w 5194385"/>
                <a:gd name="connsiteY33" fmla="*/ 5588772 h 6177659"/>
                <a:gd name="connsiteX34" fmla="*/ 4382946 w 5194385"/>
                <a:gd name="connsiteY34" fmla="*/ 4574791 h 6177659"/>
                <a:gd name="connsiteX35" fmla="*/ 4662995 w 5194385"/>
                <a:gd name="connsiteY35" fmla="*/ 3330617 h 6177659"/>
                <a:gd name="connsiteX36" fmla="*/ 4344179 w 5194385"/>
                <a:gd name="connsiteY36" fmla="*/ 2027325 h 6177659"/>
                <a:gd name="connsiteX37" fmla="*/ 3429000 w 5194385"/>
                <a:gd name="connsiteY37" fmla="*/ 1013460 h 6177659"/>
                <a:gd name="connsiteX38" fmla="*/ 3192780 w 5194385"/>
                <a:gd name="connsiteY38" fmla="*/ 853440 h 6177659"/>
                <a:gd name="connsiteX39" fmla="*/ 2910840 w 5194385"/>
                <a:gd name="connsiteY39" fmla="*/ 739140 h 6177659"/>
                <a:gd name="connsiteX40" fmla="*/ 2514600 w 5194385"/>
                <a:gd name="connsiteY40" fmla="*/ 693420 h 6177659"/>
                <a:gd name="connsiteX41" fmla="*/ 2232660 w 5194385"/>
                <a:gd name="connsiteY41" fmla="*/ 739140 h 6177659"/>
                <a:gd name="connsiteX42" fmla="*/ 1234440 w 5194385"/>
                <a:gd name="connsiteY42" fmla="*/ 1059180 h 6177659"/>
                <a:gd name="connsiteX43" fmla="*/ 960120 w 5194385"/>
                <a:gd name="connsiteY43" fmla="*/ 1165860 h 6177659"/>
                <a:gd name="connsiteX44" fmla="*/ 815340 w 5194385"/>
                <a:gd name="connsiteY44" fmla="*/ 1257300 h 6177659"/>
                <a:gd name="connsiteX45" fmla="*/ 0 w 5194385"/>
                <a:gd name="connsiteY45" fmla="*/ 1234440 h 6177659"/>
                <a:gd name="connsiteX0" fmla="*/ 0 w 5222873"/>
                <a:gd name="connsiteY0" fmla="*/ 1234440 h 6177659"/>
                <a:gd name="connsiteX1" fmla="*/ 213360 w 5222873"/>
                <a:gd name="connsiteY1" fmla="*/ 990600 h 6177659"/>
                <a:gd name="connsiteX2" fmla="*/ 457200 w 5222873"/>
                <a:gd name="connsiteY2" fmla="*/ 792480 h 6177659"/>
                <a:gd name="connsiteX3" fmla="*/ 685800 w 5222873"/>
                <a:gd name="connsiteY3" fmla="*/ 624840 h 6177659"/>
                <a:gd name="connsiteX4" fmla="*/ 929640 w 5222873"/>
                <a:gd name="connsiteY4" fmla="*/ 533400 h 6177659"/>
                <a:gd name="connsiteX5" fmla="*/ 891540 w 5222873"/>
                <a:gd name="connsiteY5" fmla="*/ 426720 h 6177659"/>
                <a:gd name="connsiteX6" fmla="*/ 1074420 w 5222873"/>
                <a:gd name="connsiteY6" fmla="*/ 358140 h 6177659"/>
                <a:gd name="connsiteX7" fmla="*/ 1120140 w 5222873"/>
                <a:gd name="connsiteY7" fmla="*/ 464820 h 6177659"/>
                <a:gd name="connsiteX8" fmla="*/ 1242060 w 5222873"/>
                <a:gd name="connsiteY8" fmla="*/ 434340 h 6177659"/>
                <a:gd name="connsiteX9" fmla="*/ 1272540 w 5222873"/>
                <a:gd name="connsiteY9" fmla="*/ 365760 h 6177659"/>
                <a:gd name="connsiteX10" fmla="*/ 1531620 w 5222873"/>
                <a:gd name="connsiteY10" fmla="*/ 297180 h 6177659"/>
                <a:gd name="connsiteX11" fmla="*/ 1584960 w 5222873"/>
                <a:gd name="connsiteY11" fmla="*/ 327660 h 6177659"/>
                <a:gd name="connsiteX12" fmla="*/ 1714500 w 5222873"/>
                <a:gd name="connsiteY12" fmla="*/ 274320 h 6177659"/>
                <a:gd name="connsiteX13" fmla="*/ 1684020 w 5222873"/>
                <a:gd name="connsiteY13" fmla="*/ 114300 h 6177659"/>
                <a:gd name="connsiteX14" fmla="*/ 2087880 w 5222873"/>
                <a:gd name="connsiteY14" fmla="*/ 0 h 6177659"/>
                <a:gd name="connsiteX15" fmla="*/ 2133600 w 5222873"/>
                <a:gd name="connsiteY15" fmla="*/ 160020 h 6177659"/>
                <a:gd name="connsiteX16" fmla="*/ 2385060 w 5222873"/>
                <a:gd name="connsiteY16" fmla="*/ 106680 h 6177659"/>
                <a:gd name="connsiteX17" fmla="*/ 2644140 w 5222873"/>
                <a:gd name="connsiteY17" fmla="*/ 99060 h 6177659"/>
                <a:gd name="connsiteX18" fmla="*/ 2971800 w 5222873"/>
                <a:gd name="connsiteY18" fmla="*/ 152400 h 6177659"/>
                <a:gd name="connsiteX19" fmla="*/ 3299460 w 5222873"/>
                <a:gd name="connsiteY19" fmla="*/ 251460 h 6177659"/>
                <a:gd name="connsiteX20" fmla="*/ 3665220 w 5222873"/>
                <a:gd name="connsiteY20" fmla="*/ 464820 h 6177659"/>
                <a:gd name="connsiteX21" fmla="*/ 3954780 w 5222873"/>
                <a:gd name="connsiteY21" fmla="*/ 723900 h 6177659"/>
                <a:gd name="connsiteX22" fmla="*/ 4465320 w 5222873"/>
                <a:gd name="connsiteY22" fmla="*/ 1280160 h 6177659"/>
                <a:gd name="connsiteX23" fmla="*/ 4495800 w 5222873"/>
                <a:gd name="connsiteY23" fmla="*/ 1287780 h 6177659"/>
                <a:gd name="connsiteX24" fmla="*/ 4678680 w 5222873"/>
                <a:gd name="connsiteY24" fmla="*/ 1463040 h 6177659"/>
                <a:gd name="connsiteX25" fmla="*/ 4663440 w 5222873"/>
                <a:gd name="connsiteY25" fmla="*/ 1524000 h 6177659"/>
                <a:gd name="connsiteX26" fmla="*/ 4814397 w 5222873"/>
                <a:gd name="connsiteY26" fmla="*/ 1704828 h 6177659"/>
                <a:gd name="connsiteX27" fmla="*/ 5194385 w 5222873"/>
                <a:gd name="connsiteY27" fmla="*/ 3497350 h 6177659"/>
                <a:gd name="connsiteX28" fmla="*/ 5002306 w 5222873"/>
                <a:gd name="connsiteY28" fmla="*/ 4363507 h 6177659"/>
                <a:gd name="connsiteX29" fmla="*/ 5132522 w 5222873"/>
                <a:gd name="connsiteY29" fmla="*/ 4429994 h 6177659"/>
                <a:gd name="connsiteX30" fmla="*/ 5063073 w 5222873"/>
                <a:gd name="connsiteY30" fmla="*/ 4847915 h 6177659"/>
                <a:gd name="connsiteX31" fmla="*/ 4905544 w 5222873"/>
                <a:gd name="connsiteY31" fmla="*/ 4785630 h 6177659"/>
                <a:gd name="connsiteX32" fmla="*/ 3778281 w 5222873"/>
                <a:gd name="connsiteY32" fmla="*/ 6177659 h 6177659"/>
                <a:gd name="connsiteX33" fmla="*/ 3595980 w 5222873"/>
                <a:gd name="connsiteY33" fmla="*/ 5588772 h 6177659"/>
                <a:gd name="connsiteX34" fmla="*/ 4382946 w 5222873"/>
                <a:gd name="connsiteY34" fmla="*/ 4574791 h 6177659"/>
                <a:gd name="connsiteX35" fmla="*/ 4662995 w 5222873"/>
                <a:gd name="connsiteY35" fmla="*/ 3330617 h 6177659"/>
                <a:gd name="connsiteX36" fmla="*/ 4344179 w 5222873"/>
                <a:gd name="connsiteY36" fmla="*/ 2027325 h 6177659"/>
                <a:gd name="connsiteX37" fmla="*/ 3429000 w 5222873"/>
                <a:gd name="connsiteY37" fmla="*/ 1013460 h 6177659"/>
                <a:gd name="connsiteX38" fmla="*/ 3192780 w 5222873"/>
                <a:gd name="connsiteY38" fmla="*/ 853440 h 6177659"/>
                <a:gd name="connsiteX39" fmla="*/ 2910840 w 5222873"/>
                <a:gd name="connsiteY39" fmla="*/ 739140 h 6177659"/>
                <a:gd name="connsiteX40" fmla="*/ 2514600 w 5222873"/>
                <a:gd name="connsiteY40" fmla="*/ 693420 h 6177659"/>
                <a:gd name="connsiteX41" fmla="*/ 2232660 w 5222873"/>
                <a:gd name="connsiteY41" fmla="*/ 739140 h 6177659"/>
                <a:gd name="connsiteX42" fmla="*/ 1234440 w 5222873"/>
                <a:gd name="connsiteY42" fmla="*/ 1059180 h 6177659"/>
                <a:gd name="connsiteX43" fmla="*/ 960120 w 5222873"/>
                <a:gd name="connsiteY43" fmla="*/ 1165860 h 6177659"/>
                <a:gd name="connsiteX44" fmla="*/ 815340 w 5222873"/>
                <a:gd name="connsiteY44" fmla="*/ 1257300 h 6177659"/>
                <a:gd name="connsiteX45" fmla="*/ 0 w 5222873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65320 w 5236526"/>
                <a:gd name="connsiteY22" fmla="*/ 1280160 h 6177659"/>
                <a:gd name="connsiteX23" fmla="*/ 4495800 w 5236526"/>
                <a:gd name="connsiteY23" fmla="*/ 1287780 h 6177659"/>
                <a:gd name="connsiteX24" fmla="*/ 4678680 w 5236526"/>
                <a:gd name="connsiteY24" fmla="*/ 1463040 h 6177659"/>
                <a:gd name="connsiteX25" fmla="*/ 4663440 w 5236526"/>
                <a:gd name="connsiteY25" fmla="*/ 1524000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65320 w 5236526"/>
                <a:gd name="connsiteY22" fmla="*/ 1280160 h 6177659"/>
                <a:gd name="connsiteX23" fmla="*/ 4495800 w 5236526"/>
                <a:gd name="connsiteY23" fmla="*/ 1287780 h 6177659"/>
                <a:gd name="connsiteX24" fmla="*/ 4678680 w 5236526"/>
                <a:gd name="connsiteY24" fmla="*/ 1463040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65320 w 5236526"/>
                <a:gd name="connsiteY22" fmla="*/ 1280160 h 6177659"/>
                <a:gd name="connsiteX23" fmla="*/ 4495800 w 5236526"/>
                <a:gd name="connsiteY23" fmla="*/ 1287780 h 6177659"/>
                <a:gd name="connsiteX24" fmla="*/ 4652910 w 5236526"/>
                <a:gd name="connsiteY24" fmla="*/ 1457499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26665 w 5236526"/>
                <a:gd name="connsiteY22" fmla="*/ 1269080 h 6177659"/>
                <a:gd name="connsiteX23" fmla="*/ 4495800 w 5236526"/>
                <a:gd name="connsiteY23" fmla="*/ 1287780 h 6177659"/>
                <a:gd name="connsiteX24" fmla="*/ 4652910 w 5236526"/>
                <a:gd name="connsiteY24" fmla="*/ 1457499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23900 h 6177659"/>
                <a:gd name="connsiteX22" fmla="*/ 4426665 w 5236526"/>
                <a:gd name="connsiteY22" fmla="*/ 1269080 h 6177659"/>
                <a:gd name="connsiteX23" fmla="*/ 4488069 w 5236526"/>
                <a:gd name="connsiteY23" fmla="*/ 1276698 h 6177659"/>
                <a:gd name="connsiteX24" fmla="*/ 4652910 w 5236526"/>
                <a:gd name="connsiteY24" fmla="*/ 1457499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3954780 w 5236526"/>
                <a:gd name="connsiteY21" fmla="*/ 734982 h 6177659"/>
                <a:gd name="connsiteX22" fmla="*/ 4426665 w 5236526"/>
                <a:gd name="connsiteY22" fmla="*/ 1269080 h 6177659"/>
                <a:gd name="connsiteX23" fmla="*/ 4488069 w 5236526"/>
                <a:gd name="connsiteY23" fmla="*/ 1276698 h 6177659"/>
                <a:gd name="connsiteX24" fmla="*/ 4652910 w 5236526"/>
                <a:gd name="connsiteY24" fmla="*/ 1457499 h 6177659"/>
                <a:gd name="connsiteX25" fmla="*/ 4653133 w 5236526"/>
                <a:gd name="connsiteY25" fmla="*/ 1512918 h 6177659"/>
                <a:gd name="connsiteX26" fmla="*/ 4814397 w 5236526"/>
                <a:gd name="connsiteY26" fmla="*/ 1704828 h 6177659"/>
                <a:gd name="connsiteX27" fmla="*/ 5194385 w 5236526"/>
                <a:gd name="connsiteY27" fmla="*/ 3497350 h 6177659"/>
                <a:gd name="connsiteX28" fmla="*/ 5002306 w 5236526"/>
                <a:gd name="connsiteY28" fmla="*/ 4363507 h 6177659"/>
                <a:gd name="connsiteX29" fmla="*/ 5132522 w 5236526"/>
                <a:gd name="connsiteY29" fmla="*/ 4429994 h 6177659"/>
                <a:gd name="connsiteX30" fmla="*/ 5063073 w 5236526"/>
                <a:gd name="connsiteY30" fmla="*/ 4847915 h 6177659"/>
                <a:gd name="connsiteX31" fmla="*/ 4905544 w 5236526"/>
                <a:gd name="connsiteY31" fmla="*/ 4785630 h 6177659"/>
                <a:gd name="connsiteX32" fmla="*/ 3778281 w 5236526"/>
                <a:gd name="connsiteY32" fmla="*/ 6177659 h 6177659"/>
                <a:gd name="connsiteX33" fmla="*/ 3595980 w 5236526"/>
                <a:gd name="connsiteY33" fmla="*/ 5588772 h 6177659"/>
                <a:gd name="connsiteX34" fmla="*/ 4382946 w 5236526"/>
                <a:gd name="connsiteY34" fmla="*/ 4574791 h 6177659"/>
                <a:gd name="connsiteX35" fmla="*/ 4662995 w 5236526"/>
                <a:gd name="connsiteY35" fmla="*/ 3330617 h 6177659"/>
                <a:gd name="connsiteX36" fmla="*/ 4344179 w 5236526"/>
                <a:gd name="connsiteY36" fmla="*/ 2027325 h 6177659"/>
                <a:gd name="connsiteX37" fmla="*/ 3429000 w 5236526"/>
                <a:gd name="connsiteY37" fmla="*/ 1013460 h 6177659"/>
                <a:gd name="connsiteX38" fmla="*/ 3192780 w 5236526"/>
                <a:gd name="connsiteY38" fmla="*/ 853440 h 6177659"/>
                <a:gd name="connsiteX39" fmla="*/ 2910840 w 5236526"/>
                <a:gd name="connsiteY39" fmla="*/ 739140 h 6177659"/>
                <a:gd name="connsiteX40" fmla="*/ 2514600 w 5236526"/>
                <a:gd name="connsiteY40" fmla="*/ 693420 h 6177659"/>
                <a:gd name="connsiteX41" fmla="*/ 2232660 w 5236526"/>
                <a:gd name="connsiteY41" fmla="*/ 739140 h 6177659"/>
                <a:gd name="connsiteX42" fmla="*/ 1234440 w 5236526"/>
                <a:gd name="connsiteY42" fmla="*/ 1059180 h 6177659"/>
                <a:gd name="connsiteX43" fmla="*/ 960120 w 5236526"/>
                <a:gd name="connsiteY43" fmla="*/ 1165860 h 6177659"/>
                <a:gd name="connsiteX44" fmla="*/ 815340 w 5236526"/>
                <a:gd name="connsiteY44" fmla="*/ 1257300 h 6177659"/>
                <a:gd name="connsiteX45" fmla="*/ 0 w 5236526"/>
                <a:gd name="connsiteY45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665220 w 5236526"/>
                <a:gd name="connsiteY20" fmla="*/ 464820 h 6177659"/>
                <a:gd name="connsiteX21" fmla="*/ 4426665 w 5236526"/>
                <a:gd name="connsiteY21" fmla="*/ 1269080 h 6177659"/>
                <a:gd name="connsiteX22" fmla="*/ 4488069 w 5236526"/>
                <a:gd name="connsiteY22" fmla="*/ 1276698 h 6177659"/>
                <a:gd name="connsiteX23" fmla="*/ 4652910 w 5236526"/>
                <a:gd name="connsiteY23" fmla="*/ 1457499 h 6177659"/>
                <a:gd name="connsiteX24" fmla="*/ 4653133 w 5236526"/>
                <a:gd name="connsiteY24" fmla="*/ 1512918 h 6177659"/>
                <a:gd name="connsiteX25" fmla="*/ 4814397 w 5236526"/>
                <a:gd name="connsiteY25" fmla="*/ 1704828 h 6177659"/>
                <a:gd name="connsiteX26" fmla="*/ 5194385 w 5236526"/>
                <a:gd name="connsiteY26" fmla="*/ 3497350 h 6177659"/>
                <a:gd name="connsiteX27" fmla="*/ 5002306 w 5236526"/>
                <a:gd name="connsiteY27" fmla="*/ 4363507 h 6177659"/>
                <a:gd name="connsiteX28" fmla="*/ 5132522 w 5236526"/>
                <a:gd name="connsiteY28" fmla="*/ 4429994 h 6177659"/>
                <a:gd name="connsiteX29" fmla="*/ 5063073 w 5236526"/>
                <a:gd name="connsiteY29" fmla="*/ 4847915 h 6177659"/>
                <a:gd name="connsiteX30" fmla="*/ 4905544 w 5236526"/>
                <a:gd name="connsiteY30" fmla="*/ 4785630 h 6177659"/>
                <a:gd name="connsiteX31" fmla="*/ 3778281 w 5236526"/>
                <a:gd name="connsiteY31" fmla="*/ 6177659 h 6177659"/>
                <a:gd name="connsiteX32" fmla="*/ 3595980 w 5236526"/>
                <a:gd name="connsiteY32" fmla="*/ 5588772 h 6177659"/>
                <a:gd name="connsiteX33" fmla="*/ 4382946 w 5236526"/>
                <a:gd name="connsiteY33" fmla="*/ 4574791 h 6177659"/>
                <a:gd name="connsiteX34" fmla="*/ 4662995 w 5236526"/>
                <a:gd name="connsiteY34" fmla="*/ 3330617 h 6177659"/>
                <a:gd name="connsiteX35" fmla="*/ 4344179 w 5236526"/>
                <a:gd name="connsiteY35" fmla="*/ 2027325 h 6177659"/>
                <a:gd name="connsiteX36" fmla="*/ 3429000 w 5236526"/>
                <a:gd name="connsiteY36" fmla="*/ 1013460 h 6177659"/>
                <a:gd name="connsiteX37" fmla="*/ 3192780 w 5236526"/>
                <a:gd name="connsiteY37" fmla="*/ 853440 h 6177659"/>
                <a:gd name="connsiteX38" fmla="*/ 2910840 w 5236526"/>
                <a:gd name="connsiteY38" fmla="*/ 739140 h 6177659"/>
                <a:gd name="connsiteX39" fmla="*/ 2514600 w 5236526"/>
                <a:gd name="connsiteY39" fmla="*/ 693420 h 6177659"/>
                <a:gd name="connsiteX40" fmla="*/ 2232660 w 5236526"/>
                <a:gd name="connsiteY40" fmla="*/ 739140 h 6177659"/>
                <a:gd name="connsiteX41" fmla="*/ 1234440 w 5236526"/>
                <a:gd name="connsiteY41" fmla="*/ 1059180 h 6177659"/>
                <a:gd name="connsiteX42" fmla="*/ 960120 w 5236526"/>
                <a:gd name="connsiteY42" fmla="*/ 1165860 h 6177659"/>
                <a:gd name="connsiteX43" fmla="*/ 815340 w 5236526"/>
                <a:gd name="connsiteY43" fmla="*/ 1257300 h 6177659"/>
                <a:gd name="connsiteX44" fmla="*/ 0 w 5236526"/>
                <a:gd name="connsiteY44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830149 w 5236526"/>
                <a:gd name="connsiteY20" fmla="*/ 619955 h 6177659"/>
                <a:gd name="connsiteX21" fmla="*/ 4426665 w 5236526"/>
                <a:gd name="connsiteY21" fmla="*/ 1269080 h 6177659"/>
                <a:gd name="connsiteX22" fmla="*/ 4488069 w 5236526"/>
                <a:gd name="connsiteY22" fmla="*/ 1276698 h 6177659"/>
                <a:gd name="connsiteX23" fmla="*/ 4652910 w 5236526"/>
                <a:gd name="connsiteY23" fmla="*/ 1457499 h 6177659"/>
                <a:gd name="connsiteX24" fmla="*/ 4653133 w 5236526"/>
                <a:gd name="connsiteY24" fmla="*/ 1512918 h 6177659"/>
                <a:gd name="connsiteX25" fmla="*/ 4814397 w 5236526"/>
                <a:gd name="connsiteY25" fmla="*/ 1704828 h 6177659"/>
                <a:gd name="connsiteX26" fmla="*/ 5194385 w 5236526"/>
                <a:gd name="connsiteY26" fmla="*/ 3497350 h 6177659"/>
                <a:gd name="connsiteX27" fmla="*/ 5002306 w 5236526"/>
                <a:gd name="connsiteY27" fmla="*/ 4363507 h 6177659"/>
                <a:gd name="connsiteX28" fmla="*/ 5132522 w 5236526"/>
                <a:gd name="connsiteY28" fmla="*/ 4429994 h 6177659"/>
                <a:gd name="connsiteX29" fmla="*/ 5063073 w 5236526"/>
                <a:gd name="connsiteY29" fmla="*/ 4847915 h 6177659"/>
                <a:gd name="connsiteX30" fmla="*/ 4905544 w 5236526"/>
                <a:gd name="connsiteY30" fmla="*/ 4785630 h 6177659"/>
                <a:gd name="connsiteX31" fmla="*/ 3778281 w 5236526"/>
                <a:gd name="connsiteY31" fmla="*/ 6177659 h 6177659"/>
                <a:gd name="connsiteX32" fmla="*/ 3595980 w 5236526"/>
                <a:gd name="connsiteY32" fmla="*/ 5588772 h 6177659"/>
                <a:gd name="connsiteX33" fmla="*/ 4382946 w 5236526"/>
                <a:gd name="connsiteY33" fmla="*/ 4574791 h 6177659"/>
                <a:gd name="connsiteX34" fmla="*/ 4662995 w 5236526"/>
                <a:gd name="connsiteY34" fmla="*/ 3330617 h 6177659"/>
                <a:gd name="connsiteX35" fmla="*/ 4344179 w 5236526"/>
                <a:gd name="connsiteY35" fmla="*/ 2027325 h 6177659"/>
                <a:gd name="connsiteX36" fmla="*/ 3429000 w 5236526"/>
                <a:gd name="connsiteY36" fmla="*/ 1013460 h 6177659"/>
                <a:gd name="connsiteX37" fmla="*/ 3192780 w 5236526"/>
                <a:gd name="connsiteY37" fmla="*/ 853440 h 6177659"/>
                <a:gd name="connsiteX38" fmla="*/ 2910840 w 5236526"/>
                <a:gd name="connsiteY38" fmla="*/ 739140 h 6177659"/>
                <a:gd name="connsiteX39" fmla="*/ 2514600 w 5236526"/>
                <a:gd name="connsiteY39" fmla="*/ 693420 h 6177659"/>
                <a:gd name="connsiteX40" fmla="*/ 2232660 w 5236526"/>
                <a:gd name="connsiteY40" fmla="*/ 739140 h 6177659"/>
                <a:gd name="connsiteX41" fmla="*/ 1234440 w 5236526"/>
                <a:gd name="connsiteY41" fmla="*/ 1059180 h 6177659"/>
                <a:gd name="connsiteX42" fmla="*/ 960120 w 5236526"/>
                <a:gd name="connsiteY42" fmla="*/ 1165860 h 6177659"/>
                <a:gd name="connsiteX43" fmla="*/ 815340 w 5236526"/>
                <a:gd name="connsiteY43" fmla="*/ 1257300 h 6177659"/>
                <a:gd name="connsiteX44" fmla="*/ 0 w 5236526"/>
                <a:gd name="connsiteY44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299460 w 5236526"/>
                <a:gd name="connsiteY19" fmla="*/ 251460 h 6177659"/>
                <a:gd name="connsiteX20" fmla="*/ 3876535 w 5236526"/>
                <a:gd name="connsiteY20" fmla="*/ 658738 h 6177659"/>
                <a:gd name="connsiteX21" fmla="*/ 4426665 w 5236526"/>
                <a:gd name="connsiteY21" fmla="*/ 1269080 h 6177659"/>
                <a:gd name="connsiteX22" fmla="*/ 4488069 w 5236526"/>
                <a:gd name="connsiteY22" fmla="*/ 1276698 h 6177659"/>
                <a:gd name="connsiteX23" fmla="*/ 4652910 w 5236526"/>
                <a:gd name="connsiteY23" fmla="*/ 1457499 h 6177659"/>
                <a:gd name="connsiteX24" fmla="*/ 4653133 w 5236526"/>
                <a:gd name="connsiteY24" fmla="*/ 1512918 h 6177659"/>
                <a:gd name="connsiteX25" fmla="*/ 4814397 w 5236526"/>
                <a:gd name="connsiteY25" fmla="*/ 1704828 h 6177659"/>
                <a:gd name="connsiteX26" fmla="*/ 5194385 w 5236526"/>
                <a:gd name="connsiteY26" fmla="*/ 3497350 h 6177659"/>
                <a:gd name="connsiteX27" fmla="*/ 5002306 w 5236526"/>
                <a:gd name="connsiteY27" fmla="*/ 4363507 h 6177659"/>
                <a:gd name="connsiteX28" fmla="*/ 5132522 w 5236526"/>
                <a:gd name="connsiteY28" fmla="*/ 4429994 h 6177659"/>
                <a:gd name="connsiteX29" fmla="*/ 5063073 w 5236526"/>
                <a:gd name="connsiteY29" fmla="*/ 4847915 h 6177659"/>
                <a:gd name="connsiteX30" fmla="*/ 4905544 w 5236526"/>
                <a:gd name="connsiteY30" fmla="*/ 4785630 h 6177659"/>
                <a:gd name="connsiteX31" fmla="*/ 3778281 w 5236526"/>
                <a:gd name="connsiteY31" fmla="*/ 6177659 h 6177659"/>
                <a:gd name="connsiteX32" fmla="*/ 3595980 w 5236526"/>
                <a:gd name="connsiteY32" fmla="*/ 5588772 h 6177659"/>
                <a:gd name="connsiteX33" fmla="*/ 4382946 w 5236526"/>
                <a:gd name="connsiteY33" fmla="*/ 4574791 h 6177659"/>
                <a:gd name="connsiteX34" fmla="*/ 4662995 w 5236526"/>
                <a:gd name="connsiteY34" fmla="*/ 3330617 h 6177659"/>
                <a:gd name="connsiteX35" fmla="*/ 4344179 w 5236526"/>
                <a:gd name="connsiteY35" fmla="*/ 2027325 h 6177659"/>
                <a:gd name="connsiteX36" fmla="*/ 3429000 w 5236526"/>
                <a:gd name="connsiteY36" fmla="*/ 1013460 h 6177659"/>
                <a:gd name="connsiteX37" fmla="*/ 3192780 w 5236526"/>
                <a:gd name="connsiteY37" fmla="*/ 853440 h 6177659"/>
                <a:gd name="connsiteX38" fmla="*/ 2910840 w 5236526"/>
                <a:gd name="connsiteY38" fmla="*/ 739140 h 6177659"/>
                <a:gd name="connsiteX39" fmla="*/ 2514600 w 5236526"/>
                <a:gd name="connsiteY39" fmla="*/ 693420 h 6177659"/>
                <a:gd name="connsiteX40" fmla="*/ 2232660 w 5236526"/>
                <a:gd name="connsiteY40" fmla="*/ 739140 h 6177659"/>
                <a:gd name="connsiteX41" fmla="*/ 1234440 w 5236526"/>
                <a:gd name="connsiteY41" fmla="*/ 1059180 h 6177659"/>
                <a:gd name="connsiteX42" fmla="*/ 960120 w 5236526"/>
                <a:gd name="connsiteY42" fmla="*/ 1165860 h 6177659"/>
                <a:gd name="connsiteX43" fmla="*/ 815340 w 5236526"/>
                <a:gd name="connsiteY43" fmla="*/ 1257300 h 6177659"/>
                <a:gd name="connsiteX44" fmla="*/ 0 w 5236526"/>
                <a:gd name="connsiteY44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2971800 w 5236526"/>
                <a:gd name="connsiteY18" fmla="*/ 152400 h 6177659"/>
                <a:gd name="connsiteX19" fmla="*/ 3876535 w 5236526"/>
                <a:gd name="connsiteY19" fmla="*/ 658738 h 6177659"/>
                <a:gd name="connsiteX20" fmla="*/ 4426665 w 5236526"/>
                <a:gd name="connsiteY20" fmla="*/ 1269080 h 6177659"/>
                <a:gd name="connsiteX21" fmla="*/ 4488069 w 5236526"/>
                <a:gd name="connsiteY21" fmla="*/ 1276698 h 6177659"/>
                <a:gd name="connsiteX22" fmla="*/ 4652910 w 5236526"/>
                <a:gd name="connsiteY22" fmla="*/ 1457499 h 6177659"/>
                <a:gd name="connsiteX23" fmla="*/ 4653133 w 5236526"/>
                <a:gd name="connsiteY23" fmla="*/ 1512918 h 6177659"/>
                <a:gd name="connsiteX24" fmla="*/ 4814397 w 5236526"/>
                <a:gd name="connsiteY24" fmla="*/ 1704828 h 6177659"/>
                <a:gd name="connsiteX25" fmla="*/ 5194385 w 5236526"/>
                <a:gd name="connsiteY25" fmla="*/ 3497350 h 6177659"/>
                <a:gd name="connsiteX26" fmla="*/ 5002306 w 5236526"/>
                <a:gd name="connsiteY26" fmla="*/ 4363507 h 6177659"/>
                <a:gd name="connsiteX27" fmla="*/ 5132522 w 5236526"/>
                <a:gd name="connsiteY27" fmla="*/ 4429994 h 6177659"/>
                <a:gd name="connsiteX28" fmla="*/ 5063073 w 5236526"/>
                <a:gd name="connsiteY28" fmla="*/ 4847915 h 6177659"/>
                <a:gd name="connsiteX29" fmla="*/ 4905544 w 5236526"/>
                <a:gd name="connsiteY29" fmla="*/ 4785630 h 6177659"/>
                <a:gd name="connsiteX30" fmla="*/ 3778281 w 5236526"/>
                <a:gd name="connsiteY30" fmla="*/ 6177659 h 6177659"/>
                <a:gd name="connsiteX31" fmla="*/ 3595980 w 5236526"/>
                <a:gd name="connsiteY31" fmla="*/ 5588772 h 6177659"/>
                <a:gd name="connsiteX32" fmla="*/ 4382946 w 5236526"/>
                <a:gd name="connsiteY32" fmla="*/ 4574791 h 6177659"/>
                <a:gd name="connsiteX33" fmla="*/ 4662995 w 5236526"/>
                <a:gd name="connsiteY33" fmla="*/ 3330617 h 6177659"/>
                <a:gd name="connsiteX34" fmla="*/ 4344179 w 5236526"/>
                <a:gd name="connsiteY34" fmla="*/ 2027325 h 6177659"/>
                <a:gd name="connsiteX35" fmla="*/ 3429000 w 5236526"/>
                <a:gd name="connsiteY35" fmla="*/ 1013460 h 6177659"/>
                <a:gd name="connsiteX36" fmla="*/ 3192780 w 5236526"/>
                <a:gd name="connsiteY36" fmla="*/ 853440 h 6177659"/>
                <a:gd name="connsiteX37" fmla="*/ 2910840 w 5236526"/>
                <a:gd name="connsiteY37" fmla="*/ 739140 h 6177659"/>
                <a:gd name="connsiteX38" fmla="*/ 2514600 w 5236526"/>
                <a:gd name="connsiteY38" fmla="*/ 693420 h 6177659"/>
                <a:gd name="connsiteX39" fmla="*/ 2232660 w 5236526"/>
                <a:gd name="connsiteY39" fmla="*/ 739140 h 6177659"/>
                <a:gd name="connsiteX40" fmla="*/ 1234440 w 5236526"/>
                <a:gd name="connsiteY40" fmla="*/ 1059180 h 6177659"/>
                <a:gd name="connsiteX41" fmla="*/ 960120 w 5236526"/>
                <a:gd name="connsiteY41" fmla="*/ 1165860 h 6177659"/>
                <a:gd name="connsiteX42" fmla="*/ 815340 w 5236526"/>
                <a:gd name="connsiteY42" fmla="*/ 1257300 h 6177659"/>
                <a:gd name="connsiteX43" fmla="*/ 0 w 5236526"/>
                <a:gd name="connsiteY43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2644140 w 5236526"/>
                <a:gd name="connsiteY17" fmla="*/ 99060 h 6177659"/>
                <a:gd name="connsiteX18" fmla="*/ 3876535 w 5236526"/>
                <a:gd name="connsiteY18" fmla="*/ 658738 h 6177659"/>
                <a:gd name="connsiteX19" fmla="*/ 4426665 w 5236526"/>
                <a:gd name="connsiteY19" fmla="*/ 1269080 h 6177659"/>
                <a:gd name="connsiteX20" fmla="*/ 4488069 w 5236526"/>
                <a:gd name="connsiteY20" fmla="*/ 1276698 h 6177659"/>
                <a:gd name="connsiteX21" fmla="*/ 4652910 w 5236526"/>
                <a:gd name="connsiteY21" fmla="*/ 1457499 h 6177659"/>
                <a:gd name="connsiteX22" fmla="*/ 4653133 w 5236526"/>
                <a:gd name="connsiteY22" fmla="*/ 1512918 h 6177659"/>
                <a:gd name="connsiteX23" fmla="*/ 4814397 w 5236526"/>
                <a:gd name="connsiteY23" fmla="*/ 1704828 h 6177659"/>
                <a:gd name="connsiteX24" fmla="*/ 5194385 w 5236526"/>
                <a:gd name="connsiteY24" fmla="*/ 3497350 h 6177659"/>
                <a:gd name="connsiteX25" fmla="*/ 5002306 w 5236526"/>
                <a:gd name="connsiteY25" fmla="*/ 4363507 h 6177659"/>
                <a:gd name="connsiteX26" fmla="*/ 5132522 w 5236526"/>
                <a:gd name="connsiteY26" fmla="*/ 4429994 h 6177659"/>
                <a:gd name="connsiteX27" fmla="*/ 5063073 w 5236526"/>
                <a:gd name="connsiteY27" fmla="*/ 4847915 h 6177659"/>
                <a:gd name="connsiteX28" fmla="*/ 4905544 w 5236526"/>
                <a:gd name="connsiteY28" fmla="*/ 4785630 h 6177659"/>
                <a:gd name="connsiteX29" fmla="*/ 3778281 w 5236526"/>
                <a:gd name="connsiteY29" fmla="*/ 6177659 h 6177659"/>
                <a:gd name="connsiteX30" fmla="*/ 3595980 w 5236526"/>
                <a:gd name="connsiteY30" fmla="*/ 5588772 h 6177659"/>
                <a:gd name="connsiteX31" fmla="*/ 4382946 w 5236526"/>
                <a:gd name="connsiteY31" fmla="*/ 4574791 h 6177659"/>
                <a:gd name="connsiteX32" fmla="*/ 4662995 w 5236526"/>
                <a:gd name="connsiteY32" fmla="*/ 3330617 h 6177659"/>
                <a:gd name="connsiteX33" fmla="*/ 4344179 w 5236526"/>
                <a:gd name="connsiteY33" fmla="*/ 2027325 h 6177659"/>
                <a:gd name="connsiteX34" fmla="*/ 3429000 w 5236526"/>
                <a:gd name="connsiteY34" fmla="*/ 1013460 h 6177659"/>
                <a:gd name="connsiteX35" fmla="*/ 3192780 w 5236526"/>
                <a:gd name="connsiteY35" fmla="*/ 853440 h 6177659"/>
                <a:gd name="connsiteX36" fmla="*/ 2910840 w 5236526"/>
                <a:gd name="connsiteY36" fmla="*/ 739140 h 6177659"/>
                <a:gd name="connsiteX37" fmla="*/ 2514600 w 5236526"/>
                <a:gd name="connsiteY37" fmla="*/ 693420 h 6177659"/>
                <a:gd name="connsiteX38" fmla="*/ 2232660 w 5236526"/>
                <a:gd name="connsiteY38" fmla="*/ 739140 h 6177659"/>
                <a:gd name="connsiteX39" fmla="*/ 1234440 w 5236526"/>
                <a:gd name="connsiteY39" fmla="*/ 1059180 h 6177659"/>
                <a:gd name="connsiteX40" fmla="*/ 960120 w 5236526"/>
                <a:gd name="connsiteY40" fmla="*/ 1165860 h 6177659"/>
                <a:gd name="connsiteX41" fmla="*/ 815340 w 5236526"/>
                <a:gd name="connsiteY41" fmla="*/ 1257300 h 6177659"/>
                <a:gd name="connsiteX42" fmla="*/ 0 w 5236526"/>
                <a:gd name="connsiteY42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2385060 w 5236526"/>
                <a:gd name="connsiteY16" fmla="*/ 106680 h 6177659"/>
                <a:gd name="connsiteX17" fmla="*/ 3876535 w 5236526"/>
                <a:gd name="connsiteY17" fmla="*/ 658738 h 6177659"/>
                <a:gd name="connsiteX18" fmla="*/ 4426665 w 5236526"/>
                <a:gd name="connsiteY18" fmla="*/ 1269080 h 6177659"/>
                <a:gd name="connsiteX19" fmla="*/ 4488069 w 5236526"/>
                <a:gd name="connsiteY19" fmla="*/ 1276698 h 6177659"/>
                <a:gd name="connsiteX20" fmla="*/ 4652910 w 5236526"/>
                <a:gd name="connsiteY20" fmla="*/ 1457499 h 6177659"/>
                <a:gd name="connsiteX21" fmla="*/ 4653133 w 5236526"/>
                <a:gd name="connsiteY21" fmla="*/ 1512918 h 6177659"/>
                <a:gd name="connsiteX22" fmla="*/ 4814397 w 5236526"/>
                <a:gd name="connsiteY22" fmla="*/ 1704828 h 6177659"/>
                <a:gd name="connsiteX23" fmla="*/ 5194385 w 5236526"/>
                <a:gd name="connsiteY23" fmla="*/ 3497350 h 6177659"/>
                <a:gd name="connsiteX24" fmla="*/ 5002306 w 5236526"/>
                <a:gd name="connsiteY24" fmla="*/ 4363507 h 6177659"/>
                <a:gd name="connsiteX25" fmla="*/ 5132522 w 5236526"/>
                <a:gd name="connsiteY25" fmla="*/ 4429994 h 6177659"/>
                <a:gd name="connsiteX26" fmla="*/ 5063073 w 5236526"/>
                <a:gd name="connsiteY26" fmla="*/ 4847915 h 6177659"/>
                <a:gd name="connsiteX27" fmla="*/ 4905544 w 5236526"/>
                <a:gd name="connsiteY27" fmla="*/ 4785630 h 6177659"/>
                <a:gd name="connsiteX28" fmla="*/ 3778281 w 5236526"/>
                <a:gd name="connsiteY28" fmla="*/ 6177659 h 6177659"/>
                <a:gd name="connsiteX29" fmla="*/ 3595980 w 5236526"/>
                <a:gd name="connsiteY29" fmla="*/ 5588772 h 6177659"/>
                <a:gd name="connsiteX30" fmla="*/ 4382946 w 5236526"/>
                <a:gd name="connsiteY30" fmla="*/ 4574791 h 6177659"/>
                <a:gd name="connsiteX31" fmla="*/ 4662995 w 5236526"/>
                <a:gd name="connsiteY31" fmla="*/ 3330617 h 6177659"/>
                <a:gd name="connsiteX32" fmla="*/ 4344179 w 5236526"/>
                <a:gd name="connsiteY32" fmla="*/ 2027325 h 6177659"/>
                <a:gd name="connsiteX33" fmla="*/ 3429000 w 5236526"/>
                <a:gd name="connsiteY33" fmla="*/ 1013460 h 6177659"/>
                <a:gd name="connsiteX34" fmla="*/ 3192780 w 5236526"/>
                <a:gd name="connsiteY34" fmla="*/ 853440 h 6177659"/>
                <a:gd name="connsiteX35" fmla="*/ 2910840 w 5236526"/>
                <a:gd name="connsiteY35" fmla="*/ 739140 h 6177659"/>
                <a:gd name="connsiteX36" fmla="*/ 2514600 w 5236526"/>
                <a:gd name="connsiteY36" fmla="*/ 693420 h 6177659"/>
                <a:gd name="connsiteX37" fmla="*/ 2232660 w 5236526"/>
                <a:gd name="connsiteY37" fmla="*/ 739140 h 6177659"/>
                <a:gd name="connsiteX38" fmla="*/ 1234440 w 5236526"/>
                <a:gd name="connsiteY38" fmla="*/ 1059180 h 6177659"/>
                <a:gd name="connsiteX39" fmla="*/ 960120 w 5236526"/>
                <a:gd name="connsiteY39" fmla="*/ 1165860 h 6177659"/>
                <a:gd name="connsiteX40" fmla="*/ 815340 w 5236526"/>
                <a:gd name="connsiteY40" fmla="*/ 1257300 h 6177659"/>
                <a:gd name="connsiteX41" fmla="*/ 0 w 5236526"/>
                <a:gd name="connsiteY41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33600 w 5236526"/>
                <a:gd name="connsiteY15" fmla="*/ 160020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29000 w 5236526"/>
                <a:gd name="connsiteY32" fmla="*/ 1013460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62501 w 5236526"/>
                <a:gd name="connsiteY32" fmla="*/ 1085487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462501 w 5236526"/>
                <a:gd name="connsiteY32" fmla="*/ 1085487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3192780 w 5236526"/>
                <a:gd name="connsiteY33" fmla="*/ 853440 h 6177659"/>
                <a:gd name="connsiteX34" fmla="*/ 2910840 w 5236526"/>
                <a:gd name="connsiteY34" fmla="*/ 739140 h 6177659"/>
                <a:gd name="connsiteX35" fmla="*/ 2514600 w 5236526"/>
                <a:gd name="connsiteY35" fmla="*/ 693420 h 6177659"/>
                <a:gd name="connsiteX36" fmla="*/ 2232660 w 5236526"/>
                <a:gd name="connsiteY36" fmla="*/ 739140 h 6177659"/>
                <a:gd name="connsiteX37" fmla="*/ 1234440 w 5236526"/>
                <a:gd name="connsiteY37" fmla="*/ 1059180 h 6177659"/>
                <a:gd name="connsiteX38" fmla="*/ 960120 w 5236526"/>
                <a:gd name="connsiteY38" fmla="*/ 1165860 h 6177659"/>
                <a:gd name="connsiteX39" fmla="*/ 815340 w 5236526"/>
                <a:gd name="connsiteY39" fmla="*/ 1257300 h 6177659"/>
                <a:gd name="connsiteX40" fmla="*/ 0 w 5236526"/>
                <a:gd name="connsiteY40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910840 w 5236526"/>
                <a:gd name="connsiteY33" fmla="*/ 739140 h 6177659"/>
                <a:gd name="connsiteX34" fmla="*/ 2514600 w 5236526"/>
                <a:gd name="connsiteY34" fmla="*/ 693420 h 6177659"/>
                <a:gd name="connsiteX35" fmla="*/ 2232660 w 5236526"/>
                <a:gd name="connsiteY35" fmla="*/ 739140 h 6177659"/>
                <a:gd name="connsiteX36" fmla="*/ 1234440 w 5236526"/>
                <a:gd name="connsiteY36" fmla="*/ 1059180 h 6177659"/>
                <a:gd name="connsiteX37" fmla="*/ 960120 w 5236526"/>
                <a:gd name="connsiteY37" fmla="*/ 1165860 h 6177659"/>
                <a:gd name="connsiteX38" fmla="*/ 815340 w 5236526"/>
                <a:gd name="connsiteY38" fmla="*/ 1257300 h 6177659"/>
                <a:gd name="connsiteX39" fmla="*/ 0 w 5236526"/>
                <a:gd name="connsiteY39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514600 w 5236526"/>
                <a:gd name="connsiteY33" fmla="*/ 693420 h 6177659"/>
                <a:gd name="connsiteX34" fmla="*/ 2232660 w 5236526"/>
                <a:gd name="connsiteY34" fmla="*/ 739140 h 6177659"/>
                <a:gd name="connsiteX35" fmla="*/ 1234440 w 5236526"/>
                <a:gd name="connsiteY35" fmla="*/ 1059180 h 6177659"/>
                <a:gd name="connsiteX36" fmla="*/ 960120 w 5236526"/>
                <a:gd name="connsiteY36" fmla="*/ 1165860 h 6177659"/>
                <a:gd name="connsiteX37" fmla="*/ 815340 w 5236526"/>
                <a:gd name="connsiteY37" fmla="*/ 1257300 h 6177659"/>
                <a:gd name="connsiteX38" fmla="*/ 0 w 5236526"/>
                <a:gd name="connsiteY38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232660 w 5236526"/>
                <a:gd name="connsiteY33" fmla="*/ 739140 h 6177659"/>
                <a:gd name="connsiteX34" fmla="*/ 1234440 w 5236526"/>
                <a:gd name="connsiteY34" fmla="*/ 1059180 h 6177659"/>
                <a:gd name="connsiteX35" fmla="*/ 960120 w 5236526"/>
                <a:gd name="connsiteY35" fmla="*/ 1165860 h 6177659"/>
                <a:gd name="connsiteX36" fmla="*/ 815340 w 5236526"/>
                <a:gd name="connsiteY36" fmla="*/ 1257300 h 6177659"/>
                <a:gd name="connsiteX37" fmla="*/ 0 w 5236526"/>
                <a:gd name="connsiteY37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232660 w 5236526"/>
                <a:gd name="connsiteY33" fmla="*/ 739140 h 6177659"/>
                <a:gd name="connsiteX34" fmla="*/ 1234440 w 5236526"/>
                <a:gd name="connsiteY34" fmla="*/ 1059180 h 6177659"/>
                <a:gd name="connsiteX35" fmla="*/ 960120 w 5236526"/>
                <a:gd name="connsiteY35" fmla="*/ 1165860 h 6177659"/>
                <a:gd name="connsiteX36" fmla="*/ 815340 w 5236526"/>
                <a:gd name="connsiteY36" fmla="*/ 1257300 h 6177659"/>
                <a:gd name="connsiteX37" fmla="*/ 0 w 5236526"/>
                <a:gd name="connsiteY37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232660 w 5236526"/>
                <a:gd name="connsiteY33" fmla="*/ 739140 h 6177659"/>
                <a:gd name="connsiteX34" fmla="*/ 1234440 w 5236526"/>
                <a:gd name="connsiteY34" fmla="*/ 1059180 h 6177659"/>
                <a:gd name="connsiteX35" fmla="*/ 960120 w 5236526"/>
                <a:gd name="connsiteY35" fmla="*/ 1165860 h 6177659"/>
                <a:gd name="connsiteX36" fmla="*/ 815340 w 5236526"/>
                <a:gd name="connsiteY36" fmla="*/ 1257300 h 6177659"/>
                <a:gd name="connsiteX37" fmla="*/ 0 w 5236526"/>
                <a:gd name="connsiteY37" fmla="*/ 1234440 h 6177659"/>
                <a:gd name="connsiteX0" fmla="*/ 0 w 5236526"/>
                <a:gd name="connsiteY0" fmla="*/ 1234440 h 6177659"/>
                <a:gd name="connsiteX1" fmla="*/ 213360 w 5236526"/>
                <a:gd name="connsiteY1" fmla="*/ 990600 h 6177659"/>
                <a:gd name="connsiteX2" fmla="*/ 457200 w 5236526"/>
                <a:gd name="connsiteY2" fmla="*/ 792480 h 6177659"/>
                <a:gd name="connsiteX3" fmla="*/ 685800 w 5236526"/>
                <a:gd name="connsiteY3" fmla="*/ 624840 h 6177659"/>
                <a:gd name="connsiteX4" fmla="*/ 929640 w 5236526"/>
                <a:gd name="connsiteY4" fmla="*/ 533400 h 6177659"/>
                <a:gd name="connsiteX5" fmla="*/ 891540 w 5236526"/>
                <a:gd name="connsiteY5" fmla="*/ 426720 h 6177659"/>
                <a:gd name="connsiteX6" fmla="*/ 1074420 w 5236526"/>
                <a:gd name="connsiteY6" fmla="*/ 358140 h 6177659"/>
                <a:gd name="connsiteX7" fmla="*/ 1120140 w 5236526"/>
                <a:gd name="connsiteY7" fmla="*/ 464820 h 6177659"/>
                <a:gd name="connsiteX8" fmla="*/ 1242060 w 5236526"/>
                <a:gd name="connsiteY8" fmla="*/ 434340 h 6177659"/>
                <a:gd name="connsiteX9" fmla="*/ 1272540 w 5236526"/>
                <a:gd name="connsiteY9" fmla="*/ 365760 h 6177659"/>
                <a:gd name="connsiteX10" fmla="*/ 1531620 w 5236526"/>
                <a:gd name="connsiteY10" fmla="*/ 297180 h 6177659"/>
                <a:gd name="connsiteX11" fmla="*/ 1584960 w 5236526"/>
                <a:gd name="connsiteY11" fmla="*/ 327660 h 6177659"/>
                <a:gd name="connsiteX12" fmla="*/ 1714500 w 5236526"/>
                <a:gd name="connsiteY12" fmla="*/ 274320 h 6177659"/>
                <a:gd name="connsiteX13" fmla="*/ 1684020 w 5236526"/>
                <a:gd name="connsiteY13" fmla="*/ 114300 h 6177659"/>
                <a:gd name="connsiteX14" fmla="*/ 2087880 w 5236526"/>
                <a:gd name="connsiteY14" fmla="*/ 0 h 6177659"/>
                <a:gd name="connsiteX15" fmla="*/ 2112984 w 5236526"/>
                <a:gd name="connsiteY15" fmla="*/ 143398 h 6177659"/>
                <a:gd name="connsiteX16" fmla="*/ 3876535 w 5236526"/>
                <a:gd name="connsiteY16" fmla="*/ 658738 h 6177659"/>
                <a:gd name="connsiteX17" fmla="*/ 4426665 w 5236526"/>
                <a:gd name="connsiteY17" fmla="*/ 1269080 h 6177659"/>
                <a:gd name="connsiteX18" fmla="*/ 4488069 w 5236526"/>
                <a:gd name="connsiteY18" fmla="*/ 1276698 h 6177659"/>
                <a:gd name="connsiteX19" fmla="*/ 4652910 w 5236526"/>
                <a:gd name="connsiteY19" fmla="*/ 1457499 h 6177659"/>
                <a:gd name="connsiteX20" fmla="*/ 4653133 w 5236526"/>
                <a:gd name="connsiteY20" fmla="*/ 1512918 h 6177659"/>
                <a:gd name="connsiteX21" fmla="*/ 4814397 w 5236526"/>
                <a:gd name="connsiteY21" fmla="*/ 1704828 h 6177659"/>
                <a:gd name="connsiteX22" fmla="*/ 5194385 w 5236526"/>
                <a:gd name="connsiteY22" fmla="*/ 3497350 h 6177659"/>
                <a:gd name="connsiteX23" fmla="*/ 5002306 w 5236526"/>
                <a:gd name="connsiteY23" fmla="*/ 4363507 h 6177659"/>
                <a:gd name="connsiteX24" fmla="*/ 5132522 w 5236526"/>
                <a:gd name="connsiteY24" fmla="*/ 4429994 h 6177659"/>
                <a:gd name="connsiteX25" fmla="*/ 5063073 w 5236526"/>
                <a:gd name="connsiteY25" fmla="*/ 4847915 h 6177659"/>
                <a:gd name="connsiteX26" fmla="*/ 4905544 w 5236526"/>
                <a:gd name="connsiteY26" fmla="*/ 4785630 h 6177659"/>
                <a:gd name="connsiteX27" fmla="*/ 3778281 w 5236526"/>
                <a:gd name="connsiteY27" fmla="*/ 6177659 h 6177659"/>
                <a:gd name="connsiteX28" fmla="*/ 3595980 w 5236526"/>
                <a:gd name="connsiteY28" fmla="*/ 5588772 h 6177659"/>
                <a:gd name="connsiteX29" fmla="*/ 4382946 w 5236526"/>
                <a:gd name="connsiteY29" fmla="*/ 4574791 h 6177659"/>
                <a:gd name="connsiteX30" fmla="*/ 4662995 w 5236526"/>
                <a:gd name="connsiteY30" fmla="*/ 3330617 h 6177659"/>
                <a:gd name="connsiteX31" fmla="*/ 4344179 w 5236526"/>
                <a:gd name="connsiteY31" fmla="*/ 2027325 h 6177659"/>
                <a:gd name="connsiteX32" fmla="*/ 3526926 w 5236526"/>
                <a:gd name="connsiteY32" fmla="*/ 1140893 h 6177659"/>
                <a:gd name="connsiteX33" fmla="*/ 2232660 w 5236526"/>
                <a:gd name="connsiteY33" fmla="*/ 739140 h 6177659"/>
                <a:gd name="connsiteX34" fmla="*/ 1234440 w 5236526"/>
                <a:gd name="connsiteY34" fmla="*/ 1059180 h 6177659"/>
                <a:gd name="connsiteX35" fmla="*/ 960120 w 5236526"/>
                <a:gd name="connsiteY35" fmla="*/ 1165860 h 6177659"/>
                <a:gd name="connsiteX36" fmla="*/ 815340 w 5236526"/>
                <a:gd name="connsiteY36" fmla="*/ 1257300 h 6177659"/>
                <a:gd name="connsiteX37" fmla="*/ 0 w 5236526"/>
                <a:gd name="connsiteY37" fmla="*/ 1234440 h 6177659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531620 w 5236526"/>
                <a:gd name="connsiteY10" fmla="*/ 319342 h 6199821"/>
                <a:gd name="connsiteX11" fmla="*/ 1584960 w 5236526"/>
                <a:gd name="connsiteY11" fmla="*/ 349822 h 6199821"/>
                <a:gd name="connsiteX12" fmla="*/ 1714500 w 5236526"/>
                <a:gd name="connsiteY12" fmla="*/ 296482 h 6199821"/>
                <a:gd name="connsiteX13" fmla="*/ 1684020 w 5236526"/>
                <a:gd name="connsiteY13" fmla="*/ 136462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531620 w 5236526"/>
                <a:gd name="connsiteY10" fmla="*/ 319342 h 6199821"/>
                <a:gd name="connsiteX11" fmla="*/ 1584960 w 5236526"/>
                <a:gd name="connsiteY11" fmla="*/ 349822 h 6199821"/>
                <a:gd name="connsiteX12" fmla="*/ 1714500 w 5236526"/>
                <a:gd name="connsiteY12" fmla="*/ 296482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531620 w 5236526"/>
                <a:gd name="connsiteY10" fmla="*/ 319342 h 6199821"/>
                <a:gd name="connsiteX11" fmla="*/ 1584960 w 5236526"/>
                <a:gd name="connsiteY11" fmla="*/ 34982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531620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72540 w 5236526"/>
                <a:gd name="connsiteY9" fmla="*/ 387922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42060 w 5236526"/>
                <a:gd name="connsiteY8" fmla="*/ 456502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120140 w 5236526"/>
                <a:gd name="connsiteY7" fmla="*/ 486982 h 6199821"/>
                <a:gd name="connsiteX8" fmla="*/ 1218868 w 5236526"/>
                <a:gd name="connsiteY8" fmla="*/ 442651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91540 w 5236526"/>
                <a:gd name="connsiteY5" fmla="*/ 448882 h 6199821"/>
                <a:gd name="connsiteX6" fmla="*/ 1074420 w 5236526"/>
                <a:gd name="connsiteY6" fmla="*/ 380302 h 6199821"/>
                <a:gd name="connsiteX7" fmla="*/ 1091793 w 5236526"/>
                <a:gd name="connsiteY7" fmla="*/ 481442 h 6199821"/>
                <a:gd name="connsiteX8" fmla="*/ 1218868 w 5236526"/>
                <a:gd name="connsiteY8" fmla="*/ 442651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929640 w 5236526"/>
                <a:gd name="connsiteY4" fmla="*/ 555562 h 6199821"/>
                <a:gd name="connsiteX5" fmla="*/ 878655 w 5236526"/>
                <a:gd name="connsiteY5" fmla="*/ 432260 h 6199821"/>
                <a:gd name="connsiteX6" fmla="*/ 1074420 w 5236526"/>
                <a:gd name="connsiteY6" fmla="*/ 380302 h 6199821"/>
                <a:gd name="connsiteX7" fmla="*/ 1091793 w 5236526"/>
                <a:gd name="connsiteY7" fmla="*/ 481442 h 6199821"/>
                <a:gd name="connsiteX8" fmla="*/ 1218868 w 5236526"/>
                <a:gd name="connsiteY8" fmla="*/ 442651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0 w 5236526"/>
                <a:gd name="connsiteY0" fmla="*/ 1256602 h 6199821"/>
                <a:gd name="connsiteX1" fmla="*/ 213360 w 5236526"/>
                <a:gd name="connsiteY1" fmla="*/ 1012762 h 6199821"/>
                <a:gd name="connsiteX2" fmla="*/ 457200 w 5236526"/>
                <a:gd name="connsiteY2" fmla="*/ 814642 h 6199821"/>
                <a:gd name="connsiteX3" fmla="*/ 685800 w 5236526"/>
                <a:gd name="connsiteY3" fmla="*/ 647002 h 6199821"/>
                <a:gd name="connsiteX4" fmla="*/ 898716 w 5236526"/>
                <a:gd name="connsiteY4" fmla="*/ 547251 h 6199821"/>
                <a:gd name="connsiteX5" fmla="*/ 878655 w 5236526"/>
                <a:gd name="connsiteY5" fmla="*/ 432260 h 6199821"/>
                <a:gd name="connsiteX6" fmla="*/ 1074420 w 5236526"/>
                <a:gd name="connsiteY6" fmla="*/ 380302 h 6199821"/>
                <a:gd name="connsiteX7" fmla="*/ 1091793 w 5236526"/>
                <a:gd name="connsiteY7" fmla="*/ 481442 h 6199821"/>
                <a:gd name="connsiteX8" fmla="*/ 1218868 w 5236526"/>
                <a:gd name="connsiteY8" fmla="*/ 442651 h 6199821"/>
                <a:gd name="connsiteX9" fmla="*/ 1249347 w 5236526"/>
                <a:gd name="connsiteY9" fmla="*/ 393463 h 6199821"/>
                <a:gd name="connsiteX10" fmla="*/ 1485234 w 5236526"/>
                <a:gd name="connsiteY10" fmla="*/ 319342 h 6199821"/>
                <a:gd name="connsiteX11" fmla="*/ 1525689 w 5236526"/>
                <a:gd name="connsiteY11" fmla="*/ 352592 h 6199821"/>
                <a:gd name="connsiteX12" fmla="*/ 1722231 w 5236526"/>
                <a:gd name="connsiteY12" fmla="*/ 288171 h 6199821"/>
                <a:gd name="connsiteX13" fmla="*/ 1681443 w 5236526"/>
                <a:gd name="connsiteY13" fmla="*/ 119840 h 6199821"/>
                <a:gd name="connsiteX14" fmla="*/ 2064686 w 5236526"/>
                <a:gd name="connsiteY14" fmla="*/ 0 h 6199821"/>
                <a:gd name="connsiteX15" fmla="*/ 2112984 w 5236526"/>
                <a:gd name="connsiteY15" fmla="*/ 165560 h 6199821"/>
                <a:gd name="connsiteX16" fmla="*/ 3876535 w 5236526"/>
                <a:gd name="connsiteY16" fmla="*/ 680900 h 6199821"/>
                <a:gd name="connsiteX17" fmla="*/ 4426665 w 5236526"/>
                <a:gd name="connsiteY17" fmla="*/ 1291242 h 6199821"/>
                <a:gd name="connsiteX18" fmla="*/ 4488069 w 5236526"/>
                <a:gd name="connsiteY18" fmla="*/ 1298860 h 6199821"/>
                <a:gd name="connsiteX19" fmla="*/ 4652910 w 5236526"/>
                <a:gd name="connsiteY19" fmla="*/ 1479661 h 6199821"/>
                <a:gd name="connsiteX20" fmla="*/ 4653133 w 5236526"/>
                <a:gd name="connsiteY20" fmla="*/ 1535080 h 6199821"/>
                <a:gd name="connsiteX21" fmla="*/ 4814397 w 5236526"/>
                <a:gd name="connsiteY21" fmla="*/ 1726990 h 6199821"/>
                <a:gd name="connsiteX22" fmla="*/ 5194385 w 5236526"/>
                <a:gd name="connsiteY22" fmla="*/ 3519512 h 6199821"/>
                <a:gd name="connsiteX23" fmla="*/ 5002306 w 5236526"/>
                <a:gd name="connsiteY23" fmla="*/ 4385669 h 6199821"/>
                <a:gd name="connsiteX24" fmla="*/ 5132522 w 5236526"/>
                <a:gd name="connsiteY24" fmla="*/ 4452156 h 6199821"/>
                <a:gd name="connsiteX25" fmla="*/ 5063073 w 5236526"/>
                <a:gd name="connsiteY25" fmla="*/ 4870077 h 6199821"/>
                <a:gd name="connsiteX26" fmla="*/ 4905544 w 5236526"/>
                <a:gd name="connsiteY26" fmla="*/ 4807792 h 6199821"/>
                <a:gd name="connsiteX27" fmla="*/ 3778281 w 5236526"/>
                <a:gd name="connsiteY27" fmla="*/ 6199821 h 6199821"/>
                <a:gd name="connsiteX28" fmla="*/ 3595980 w 5236526"/>
                <a:gd name="connsiteY28" fmla="*/ 5610934 h 6199821"/>
                <a:gd name="connsiteX29" fmla="*/ 4382946 w 5236526"/>
                <a:gd name="connsiteY29" fmla="*/ 4596953 h 6199821"/>
                <a:gd name="connsiteX30" fmla="*/ 4662995 w 5236526"/>
                <a:gd name="connsiteY30" fmla="*/ 3352779 h 6199821"/>
                <a:gd name="connsiteX31" fmla="*/ 4344179 w 5236526"/>
                <a:gd name="connsiteY31" fmla="*/ 2049487 h 6199821"/>
                <a:gd name="connsiteX32" fmla="*/ 3526926 w 5236526"/>
                <a:gd name="connsiteY32" fmla="*/ 1163055 h 6199821"/>
                <a:gd name="connsiteX33" fmla="*/ 2232660 w 5236526"/>
                <a:gd name="connsiteY33" fmla="*/ 761302 h 6199821"/>
                <a:gd name="connsiteX34" fmla="*/ 1234440 w 5236526"/>
                <a:gd name="connsiteY34" fmla="*/ 1081342 h 6199821"/>
                <a:gd name="connsiteX35" fmla="*/ 960120 w 5236526"/>
                <a:gd name="connsiteY35" fmla="*/ 1188022 h 6199821"/>
                <a:gd name="connsiteX36" fmla="*/ 815340 w 5236526"/>
                <a:gd name="connsiteY36" fmla="*/ 1279462 h 6199821"/>
                <a:gd name="connsiteX37" fmla="*/ 0 w 5236526"/>
                <a:gd name="connsiteY37" fmla="*/ 1256602 h 6199821"/>
                <a:gd name="connsiteX0" fmla="*/ 75815 w 5312341"/>
                <a:gd name="connsiteY0" fmla="*/ 1256602 h 6199821"/>
                <a:gd name="connsiteX1" fmla="*/ 289175 w 5312341"/>
                <a:gd name="connsiteY1" fmla="*/ 1012762 h 6199821"/>
                <a:gd name="connsiteX2" fmla="*/ 533015 w 5312341"/>
                <a:gd name="connsiteY2" fmla="*/ 814642 h 6199821"/>
                <a:gd name="connsiteX3" fmla="*/ 761615 w 5312341"/>
                <a:gd name="connsiteY3" fmla="*/ 647002 h 6199821"/>
                <a:gd name="connsiteX4" fmla="*/ 974531 w 5312341"/>
                <a:gd name="connsiteY4" fmla="*/ 547251 h 6199821"/>
                <a:gd name="connsiteX5" fmla="*/ 954470 w 5312341"/>
                <a:gd name="connsiteY5" fmla="*/ 432260 h 6199821"/>
                <a:gd name="connsiteX6" fmla="*/ 1150235 w 5312341"/>
                <a:gd name="connsiteY6" fmla="*/ 380302 h 6199821"/>
                <a:gd name="connsiteX7" fmla="*/ 1167608 w 5312341"/>
                <a:gd name="connsiteY7" fmla="*/ 481442 h 6199821"/>
                <a:gd name="connsiteX8" fmla="*/ 1294683 w 5312341"/>
                <a:gd name="connsiteY8" fmla="*/ 442651 h 6199821"/>
                <a:gd name="connsiteX9" fmla="*/ 1325162 w 5312341"/>
                <a:gd name="connsiteY9" fmla="*/ 393463 h 6199821"/>
                <a:gd name="connsiteX10" fmla="*/ 1561049 w 5312341"/>
                <a:gd name="connsiteY10" fmla="*/ 319342 h 6199821"/>
                <a:gd name="connsiteX11" fmla="*/ 1601504 w 5312341"/>
                <a:gd name="connsiteY11" fmla="*/ 352592 h 6199821"/>
                <a:gd name="connsiteX12" fmla="*/ 1798046 w 5312341"/>
                <a:gd name="connsiteY12" fmla="*/ 288171 h 6199821"/>
                <a:gd name="connsiteX13" fmla="*/ 1757258 w 5312341"/>
                <a:gd name="connsiteY13" fmla="*/ 119840 h 6199821"/>
                <a:gd name="connsiteX14" fmla="*/ 2140501 w 5312341"/>
                <a:gd name="connsiteY14" fmla="*/ 0 h 6199821"/>
                <a:gd name="connsiteX15" fmla="*/ 2188799 w 5312341"/>
                <a:gd name="connsiteY15" fmla="*/ 165560 h 6199821"/>
                <a:gd name="connsiteX16" fmla="*/ 3952350 w 5312341"/>
                <a:gd name="connsiteY16" fmla="*/ 680900 h 6199821"/>
                <a:gd name="connsiteX17" fmla="*/ 4502480 w 5312341"/>
                <a:gd name="connsiteY17" fmla="*/ 1291242 h 6199821"/>
                <a:gd name="connsiteX18" fmla="*/ 4563884 w 5312341"/>
                <a:gd name="connsiteY18" fmla="*/ 1298860 h 6199821"/>
                <a:gd name="connsiteX19" fmla="*/ 4728725 w 5312341"/>
                <a:gd name="connsiteY19" fmla="*/ 1479661 h 6199821"/>
                <a:gd name="connsiteX20" fmla="*/ 4728948 w 5312341"/>
                <a:gd name="connsiteY20" fmla="*/ 1535080 h 6199821"/>
                <a:gd name="connsiteX21" fmla="*/ 4890212 w 5312341"/>
                <a:gd name="connsiteY21" fmla="*/ 1726990 h 6199821"/>
                <a:gd name="connsiteX22" fmla="*/ 5270200 w 5312341"/>
                <a:gd name="connsiteY22" fmla="*/ 3519512 h 6199821"/>
                <a:gd name="connsiteX23" fmla="*/ 5078121 w 5312341"/>
                <a:gd name="connsiteY23" fmla="*/ 4385669 h 6199821"/>
                <a:gd name="connsiteX24" fmla="*/ 5208337 w 5312341"/>
                <a:gd name="connsiteY24" fmla="*/ 4452156 h 6199821"/>
                <a:gd name="connsiteX25" fmla="*/ 5138888 w 5312341"/>
                <a:gd name="connsiteY25" fmla="*/ 4870077 h 6199821"/>
                <a:gd name="connsiteX26" fmla="*/ 4981359 w 5312341"/>
                <a:gd name="connsiteY26" fmla="*/ 4807792 h 6199821"/>
                <a:gd name="connsiteX27" fmla="*/ 3854096 w 5312341"/>
                <a:gd name="connsiteY27" fmla="*/ 6199821 h 6199821"/>
                <a:gd name="connsiteX28" fmla="*/ 3671795 w 5312341"/>
                <a:gd name="connsiteY28" fmla="*/ 5610934 h 6199821"/>
                <a:gd name="connsiteX29" fmla="*/ 4458761 w 5312341"/>
                <a:gd name="connsiteY29" fmla="*/ 4596953 h 6199821"/>
                <a:gd name="connsiteX30" fmla="*/ 4738810 w 5312341"/>
                <a:gd name="connsiteY30" fmla="*/ 3352779 h 6199821"/>
                <a:gd name="connsiteX31" fmla="*/ 4419994 w 5312341"/>
                <a:gd name="connsiteY31" fmla="*/ 2049487 h 6199821"/>
                <a:gd name="connsiteX32" fmla="*/ 3602741 w 5312341"/>
                <a:gd name="connsiteY32" fmla="*/ 1163055 h 6199821"/>
                <a:gd name="connsiteX33" fmla="*/ 2308475 w 5312341"/>
                <a:gd name="connsiteY33" fmla="*/ 761302 h 6199821"/>
                <a:gd name="connsiteX34" fmla="*/ 1310255 w 5312341"/>
                <a:gd name="connsiteY34" fmla="*/ 1081342 h 6199821"/>
                <a:gd name="connsiteX35" fmla="*/ 1035935 w 5312341"/>
                <a:gd name="connsiteY35" fmla="*/ 1188022 h 6199821"/>
                <a:gd name="connsiteX36" fmla="*/ 0 w 5312341"/>
                <a:gd name="connsiteY36" fmla="*/ 3464807 h 6199821"/>
                <a:gd name="connsiteX37" fmla="*/ 75815 w 5312341"/>
                <a:gd name="connsiteY37" fmla="*/ 1256602 h 6199821"/>
                <a:gd name="connsiteX0" fmla="*/ 0 w 5842672"/>
                <a:gd name="connsiteY0" fmla="*/ 3281515 h 6199821"/>
                <a:gd name="connsiteX1" fmla="*/ 819506 w 5842672"/>
                <a:gd name="connsiteY1" fmla="*/ 1012762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1566266 w 5842672"/>
                <a:gd name="connsiteY35" fmla="*/ 1188022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819506 w 5842672"/>
                <a:gd name="connsiteY1" fmla="*/ 1012762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819506 w 5842672"/>
                <a:gd name="connsiteY1" fmla="*/ 1012762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819506 w 5842672"/>
                <a:gd name="connsiteY1" fmla="*/ 1012762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063346 w 5842672"/>
                <a:gd name="connsiteY2" fmla="*/ 814642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84589 w 5842672"/>
                <a:gd name="connsiteY2" fmla="*/ 2050403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84589 w 5842672"/>
                <a:gd name="connsiteY2" fmla="*/ 2050403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84589 w 5842672"/>
                <a:gd name="connsiteY2" fmla="*/ 2050403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84589 w 5842672"/>
                <a:gd name="connsiteY2" fmla="*/ 2050403 h 6199821"/>
                <a:gd name="connsiteX3" fmla="*/ 1291946 w 5842672"/>
                <a:gd name="connsiteY3" fmla="*/ 647002 h 6199821"/>
                <a:gd name="connsiteX4" fmla="*/ 1504862 w 5842672"/>
                <a:gd name="connsiteY4" fmla="*/ 547251 h 6199821"/>
                <a:gd name="connsiteX5" fmla="*/ 1484801 w 5842672"/>
                <a:gd name="connsiteY5" fmla="*/ 432260 h 6199821"/>
                <a:gd name="connsiteX6" fmla="*/ 1680566 w 5842672"/>
                <a:gd name="connsiteY6" fmla="*/ 380302 h 6199821"/>
                <a:gd name="connsiteX7" fmla="*/ 1697939 w 5842672"/>
                <a:gd name="connsiteY7" fmla="*/ 481442 h 6199821"/>
                <a:gd name="connsiteX8" fmla="*/ 1825014 w 5842672"/>
                <a:gd name="connsiteY8" fmla="*/ 442651 h 6199821"/>
                <a:gd name="connsiteX9" fmla="*/ 1855493 w 5842672"/>
                <a:gd name="connsiteY9" fmla="*/ 393463 h 6199821"/>
                <a:gd name="connsiteX10" fmla="*/ 2091380 w 5842672"/>
                <a:gd name="connsiteY10" fmla="*/ 319342 h 6199821"/>
                <a:gd name="connsiteX11" fmla="*/ 2131835 w 5842672"/>
                <a:gd name="connsiteY11" fmla="*/ 352592 h 6199821"/>
                <a:gd name="connsiteX12" fmla="*/ 2328377 w 5842672"/>
                <a:gd name="connsiteY12" fmla="*/ 288171 h 6199821"/>
                <a:gd name="connsiteX13" fmla="*/ 2287589 w 5842672"/>
                <a:gd name="connsiteY13" fmla="*/ 119840 h 6199821"/>
                <a:gd name="connsiteX14" fmla="*/ 2670832 w 5842672"/>
                <a:gd name="connsiteY14" fmla="*/ 0 h 6199821"/>
                <a:gd name="connsiteX15" fmla="*/ 2719130 w 5842672"/>
                <a:gd name="connsiteY15" fmla="*/ 165560 h 6199821"/>
                <a:gd name="connsiteX16" fmla="*/ 4482681 w 5842672"/>
                <a:gd name="connsiteY16" fmla="*/ 680900 h 6199821"/>
                <a:gd name="connsiteX17" fmla="*/ 5032811 w 5842672"/>
                <a:gd name="connsiteY17" fmla="*/ 1291242 h 6199821"/>
                <a:gd name="connsiteX18" fmla="*/ 5094215 w 5842672"/>
                <a:gd name="connsiteY18" fmla="*/ 1298860 h 6199821"/>
                <a:gd name="connsiteX19" fmla="*/ 5259056 w 5842672"/>
                <a:gd name="connsiteY19" fmla="*/ 1479661 h 6199821"/>
                <a:gd name="connsiteX20" fmla="*/ 5259279 w 5842672"/>
                <a:gd name="connsiteY20" fmla="*/ 1535080 h 6199821"/>
                <a:gd name="connsiteX21" fmla="*/ 5420543 w 5842672"/>
                <a:gd name="connsiteY21" fmla="*/ 1726990 h 6199821"/>
                <a:gd name="connsiteX22" fmla="*/ 5800531 w 5842672"/>
                <a:gd name="connsiteY22" fmla="*/ 3519512 h 6199821"/>
                <a:gd name="connsiteX23" fmla="*/ 5608452 w 5842672"/>
                <a:gd name="connsiteY23" fmla="*/ 4385669 h 6199821"/>
                <a:gd name="connsiteX24" fmla="*/ 5738668 w 5842672"/>
                <a:gd name="connsiteY24" fmla="*/ 4452156 h 6199821"/>
                <a:gd name="connsiteX25" fmla="*/ 5669219 w 5842672"/>
                <a:gd name="connsiteY25" fmla="*/ 4870077 h 6199821"/>
                <a:gd name="connsiteX26" fmla="*/ 5511690 w 5842672"/>
                <a:gd name="connsiteY26" fmla="*/ 4807792 h 6199821"/>
                <a:gd name="connsiteX27" fmla="*/ 4384427 w 5842672"/>
                <a:gd name="connsiteY27" fmla="*/ 6199821 h 6199821"/>
                <a:gd name="connsiteX28" fmla="*/ 4202126 w 5842672"/>
                <a:gd name="connsiteY28" fmla="*/ 5610934 h 6199821"/>
                <a:gd name="connsiteX29" fmla="*/ 4989092 w 5842672"/>
                <a:gd name="connsiteY29" fmla="*/ 4596953 h 6199821"/>
                <a:gd name="connsiteX30" fmla="*/ 5269141 w 5842672"/>
                <a:gd name="connsiteY30" fmla="*/ 3352779 h 6199821"/>
                <a:gd name="connsiteX31" fmla="*/ 4950325 w 5842672"/>
                <a:gd name="connsiteY31" fmla="*/ 2049487 h 6199821"/>
                <a:gd name="connsiteX32" fmla="*/ 4133072 w 5842672"/>
                <a:gd name="connsiteY32" fmla="*/ 1163055 h 6199821"/>
                <a:gd name="connsiteX33" fmla="*/ 2838806 w 5842672"/>
                <a:gd name="connsiteY33" fmla="*/ 761302 h 6199821"/>
                <a:gd name="connsiteX34" fmla="*/ 1840586 w 5842672"/>
                <a:gd name="connsiteY34" fmla="*/ 1081342 h 6199821"/>
                <a:gd name="connsiteX35" fmla="*/ 831666 w 5842672"/>
                <a:gd name="connsiteY35" fmla="*/ 2111591 h 6199821"/>
                <a:gd name="connsiteX36" fmla="*/ 530331 w 5842672"/>
                <a:gd name="connsiteY36" fmla="*/ 3464807 h 6199821"/>
                <a:gd name="connsiteX37" fmla="*/ 0 w 5842672"/>
                <a:gd name="connsiteY37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24787 w 5842672"/>
                <a:gd name="connsiteY2" fmla="*/ 2266904 h 6199821"/>
                <a:gd name="connsiteX3" fmla="*/ 284589 w 5842672"/>
                <a:gd name="connsiteY3" fmla="*/ 2050403 h 6199821"/>
                <a:gd name="connsiteX4" fmla="*/ 1291946 w 5842672"/>
                <a:gd name="connsiteY4" fmla="*/ 647002 h 6199821"/>
                <a:gd name="connsiteX5" fmla="*/ 1504862 w 5842672"/>
                <a:gd name="connsiteY5" fmla="*/ 547251 h 6199821"/>
                <a:gd name="connsiteX6" fmla="*/ 1484801 w 5842672"/>
                <a:gd name="connsiteY6" fmla="*/ 432260 h 6199821"/>
                <a:gd name="connsiteX7" fmla="*/ 1680566 w 5842672"/>
                <a:gd name="connsiteY7" fmla="*/ 380302 h 6199821"/>
                <a:gd name="connsiteX8" fmla="*/ 1697939 w 5842672"/>
                <a:gd name="connsiteY8" fmla="*/ 481442 h 6199821"/>
                <a:gd name="connsiteX9" fmla="*/ 1825014 w 5842672"/>
                <a:gd name="connsiteY9" fmla="*/ 442651 h 6199821"/>
                <a:gd name="connsiteX10" fmla="*/ 1855493 w 5842672"/>
                <a:gd name="connsiteY10" fmla="*/ 393463 h 6199821"/>
                <a:gd name="connsiteX11" fmla="*/ 2091380 w 5842672"/>
                <a:gd name="connsiteY11" fmla="*/ 319342 h 6199821"/>
                <a:gd name="connsiteX12" fmla="*/ 2131835 w 5842672"/>
                <a:gd name="connsiteY12" fmla="*/ 352592 h 6199821"/>
                <a:gd name="connsiteX13" fmla="*/ 2328377 w 5842672"/>
                <a:gd name="connsiteY13" fmla="*/ 288171 h 6199821"/>
                <a:gd name="connsiteX14" fmla="*/ 2287589 w 5842672"/>
                <a:gd name="connsiteY14" fmla="*/ 119840 h 6199821"/>
                <a:gd name="connsiteX15" fmla="*/ 2670832 w 5842672"/>
                <a:gd name="connsiteY15" fmla="*/ 0 h 6199821"/>
                <a:gd name="connsiteX16" fmla="*/ 2719130 w 5842672"/>
                <a:gd name="connsiteY16" fmla="*/ 165560 h 6199821"/>
                <a:gd name="connsiteX17" fmla="*/ 4482681 w 5842672"/>
                <a:gd name="connsiteY17" fmla="*/ 680900 h 6199821"/>
                <a:gd name="connsiteX18" fmla="*/ 5032811 w 5842672"/>
                <a:gd name="connsiteY18" fmla="*/ 1291242 h 6199821"/>
                <a:gd name="connsiteX19" fmla="*/ 5094215 w 5842672"/>
                <a:gd name="connsiteY19" fmla="*/ 1298860 h 6199821"/>
                <a:gd name="connsiteX20" fmla="*/ 5259056 w 5842672"/>
                <a:gd name="connsiteY20" fmla="*/ 1479661 h 6199821"/>
                <a:gd name="connsiteX21" fmla="*/ 5259279 w 5842672"/>
                <a:gd name="connsiteY21" fmla="*/ 1535080 h 6199821"/>
                <a:gd name="connsiteX22" fmla="*/ 5420543 w 5842672"/>
                <a:gd name="connsiteY22" fmla="*/ 1726990 h 6199821"/>
                <a:gd name="connsiteX23" fmla="*/ 5800531 w 5842672"/>
                <a:gd name="connsiteY23" fmla="*/ 3519512 h 6199821"/>
                <a:gd name="connsiteX24" fmla="*/ 5608452 w 5842672"/>
                <a:gd name="connsiteY24" fmla="*/ 4385669 h 6199821"/>
                <a:gd name="connsiteX25" fmla="*/ 5738668 w 5842672"/>
                <a:gd name="connsiteY25" fmla="*/ 4452156 h 6199821"/>
                <a:gd name="connsiteX26" fmla="*/ 5669219 w 5842672"/>
                <a:gd name="connsiteY26" fmla="*/ 4870077 h 6199821"/>
                <a:gd name="connsiteX27" fmla="*/ 5511690 w 5842672"/>
                <a:gd name="connsiteY27" fmla="*/ 4807792 h 6199821"/>
                <a:gd name="connsiteX28" fmla="*/ 4384427 w 5842672"/>
                <a:gd name="connsiteY28" fmla="*/ 6199821 h 6199821"/>
                <a:gd name="connsiteX29" fmla="*/ 4202126 w 5842672"/>
                <a:gd name="connsiteY29" fmla="*/ 5610934 h 6199821"/>
                <a:gd name="connsiteX30" fmla="*/ 4989092 w 5842672"/>
                <a:gd name="connsiteY30" fmla="*/ 4596953 h 6199821"/>
                <a:gd name="connsiteX31" fmla="*/ 5269141 w 5842672"/>
                <a:gd name="connsiteY31" fmla="*/ 3352779 h 6199821"/>
                <a:gd name="connsiteX32" fmla="*/ 4950325 w 5842672"/>
                <a:gd name="connsiteY32" fmla="*/ 2049487 h 6199821"/>
                <a:gd name="connsiteX33" fmla="*/ 4133072 w 5842672"/>
                <a:gd name="connsiteY33" fmla="*/ 1163055 h 6199821"/>
                <a:gd name="connsiteX34" fmla="*/ 2838806 w 5842672"/>
                <a:gd name="connsiteY34" fmla="*/ 761302 h 6199821"/>
                <a:gd name="connsiteX35" fmla="*/ 1840586 w 5842672"/>
                <a:gd name="connsiteY35" fmla="*/ 1081342 h 6199821"/>
                <a:gd name="connsiteX36" fmla="*/ 831666 w 5842672"/>
                <a:gd name="connsiteY36" fmla="*/ 2111591 h 6199821"/>
                <a:gd name="connsiteX37" fmla="*/ 530331 w 5842672"/>
                <a:gd name="connsiteY37" fmla="*/ 3464807 h 6199821"/>
                <a:gd name="connsiteX38" fmla="*/ 0 w 5842672"/>
                <a:gd name="connsiteY38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224787 w 5842672"/>
                <a:gd name="connsiteY2" fmla="*/ 2266904 h 6199821"/>
                <a:gd name="connsiteX3" fmla="*/ 268944 w 5842672"/>
                <a:gd name="connsiteY3" fmla="*/ 2136824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0 w 5842672"/>
                <a:gd name="connsiteY39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68944 w 5842672"/>
                <a:gd name="connsiteY3" fmla="*/ 2136824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0 w 5842672"/>
                <a:gd name="connsiteY39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0 w 5842672"/>
                <a:gd name="connsiteY39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228802 w 5842672"/>
                <a:gd name="connsiteY39" fmla="*/ 3359577 h 6199821"/>
                <a:gd name="connsiteX40" fmla="*/ 0 w 5842672"/>
                <a:gd name="connsiteY40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481697 w 5842672"/>
                <a:gd name="connsiteY39" fmla="*/ 5189370 h 6199821"/>
                <a:gd name="connsiteX40" fmla="*/ 0 w 5842672"/>
                <a:gd name="connsiteY40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501767 w 5842672"/>
                <a:gd name="connsiteY39" fmla="*/ 4612682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81697 w 5842672"/>
                <a:gd name="connsiteY40" fmla="*/ 5189370 h 6199821"/>
                <a:gd name="connsiteX41" fmla="*/ 0 w 5842672"/>
                <a:gd name="connsiteY41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826918 w 5842672"/>
                <a:gd name="connsiteY40" fmla="*/ 5015930 h 6199821"/>
                <a:gd name="connsiteX41" fmla="*/ 481697 w 5842672"/>
                <a:gd name="connsiteY41" fmla="*/ 5189370 h 6199821"/>
                <a:gd name="connsiteX42" fmla="*/ 0 w 5842672"/>
                <a:gd name="connsiteY42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158712 w 5842672"/>
                <a:gd name="connsiteY40" fmla="*/ 5644651 h 6199821"/>
                <a:gd name="connsiteX41" fmla="*/ 481697 w 5842672"/>
                <a:gd name="connsiteY41" fmla="*/ 5189370 h 6199821"/>
                <a:gd name="connsiteX42" fmla="*/ 0 w 5842672"/>
                <a:gd name="connsiteY42" fmla="*/ 3281515 h 6199821"/>
                <a:gd name="connsiteX0" fmla="*/ 0 w 5842672"/>
                <a:gd name="connsiteY0" fmla="*/ 3281515 h 6199821"/>
                <a:gd name="connsiteX1" fmla="*/ 209347 w 5842672"/>
                <a:gd name="connsiteY1" fmla="*/ 2374266 h 6199821"/>
                <a:gd name="connsiteX2" fmla="*/ 176616 w 5842672"/>
                <a:gd name="connsiteY2" fmla="*/ 2331944 h 6199821"/>
                <a:gd name="connsiteX3" fmla="*/ 248873 w 5842672"/>
                <a:gd name="connsiteY3" fmla="*/ 2067448 h 6199821"/>
                <a:gd name="connsiteX4" fmla="*/ 284589 w 5842672"/>
                <a:gd name="connsiteY4" fmla="*/ 2050403 h 6199821"/>
                <a:gd name="connsiteX5" fmla="*/ 1291946 w 5842672"/>
                <a:gd name="connsiteY5" fmla="*/ 647002 h 6199821"/>
                <a:gd name="connsiteX6" fmla="*/ 1504862 w 5842672"/>
                <a:gd name="connsiteY6" fmla="*/ 547251 h 6199821"/>
                <a:gd name="connsiteX7" fmla="*/ 1484801 w 5842672"/>
                <a:gd name="connsiteY7" fmla="*/ 432260 h 6199821"/>
                <a:gd name="connsiteX8" fmla="*/ 1680566 w 5842672"/>
                <a:gd name="connsiteY8" fmla="*/ 380302 h 6199821"/>
                <a:gd name="connsiteX9" fmla="*/ 1697939 w 5842672"/>
                <a:gd name="connsiteY9" fmla="*/ 481442 h 6199821"/>
                <a:gd name="connsiteX10" fmla="*/ 1825014 w 5842672"/>
                <a:gd name="connsiteY10" fmla="*/ 442651 h 6199821"/>
                <a:gd name="connsiteX11" fmla="*/ 1855493 w 5842672"/>
                <a:gd name="connsiteY11" fmla="*/ 393463 h 6199821"/>
                <a:gd name="connsiteX12" fmla="*/ 2091380 w 5842672"/>
                <a:gd name="connsiteY12" fmla="*/ 319342 h 6199821"/>
                <a:gd name="connsiteX13" fmla="*/ 2131835 w 5842672"/>
                <a:gd name="connsiteY13" fmla="*/ 352592 h 6199821"/>
                <a:gd name="connsiteX14" fmla="*/ 2328377 w 5842672"/>
                <a:gd name="connsiteY14" fmla="*/ 288171 h 6199821"/>
                <a:gd name="connsiteX15" fmla="*/ 2287589 w 5842672"/>
                <a:gd name="connsiteY15" fmla="*/ 119840 h 6199821"/>
                <a:gd name="connsiteX16" fmla="*/ 2670832 w 5842672"/>
                <a:gd name="connsiteY16" fmla="*/ 0 h 6199821"/>
                <a:gd name="connsiteX17" fmla="*/ 2719130 w 5842672"/>
                <a:gd name="connsiteY17" fmla="*/ 165560 h 6199821"/>
                <a:gd name="connsiteX18" fmla="*/ 4482681 w 5842672"/>
                <a:gd name="connsiteY18" fmla="*/ 680900 h 6199821"/>
                <a:gd name="connsiteX19" fmla="*/ 5032811 w 5842672"/>
                <a:gd name="connsiteY19" fmla="*/ 1291242 h 6199821"/>
                <a:gd name="connsiteX20" fmla="*/ 5094215 w 5842672"/>
                <a:gd name="connsiteY20" fmla="*/ 1298860 h 6199821"/>
                <a:gd name="connsiteX21" fmla="*/ 5259056 w 5842672"/>
                <a:gd name="connsiteY21" fmla="*/ 1479661 h 6199821"/>
                <a:gd name="connsiteX22" fmla="*/ 5259279 w 5842672"/>
                <a:gd name="connsiteY22" fmla="*/ 1535080 h 6199821"/>
                <a:gd name="connsiteX23" fmla="*/ 5420543 w 5842672"/>
                <a:gd name="connsiteY23" fmla="*/ 1726990 h 6199821"/>
                <a:gd name="connsiteX24" fmla="*/ 5800531 w 5842672"/>
                <a:gd name="connsiteY24" fmla="*/ 3519512 h 6199821"/>
                <a:gd name="connsiteX25" fmla="*/ 5608452 w 5842672"/>
                <a:gd name="connsiteY25" fmla="*/ 4385669 h 6199821"/>
                <a:gd name="connsiteX26" fmla="*/ 5738668 w 5842672"/>
                <a:gd name="connsiteY26" fmla="*/ 4452156 h 6199821"/>
                <a:gd name="connsiteX27" fmla="*/ 5669219 w 5842672"/>
                <a:gd name="connsiteY27" fmla="*/ 4870077 h 6199821"/>
                <a:gd name="connsiteX28" fmla="*/ 5511690 w 5842672"/>
                <a:gd name="connsiteY28" fmla="*/ 4807792 h 6199821"/>
                <a:gd name="connsiteX29" fmla="*/ 4384427 w 5842672"/>
                <a:gd name="connsiteY29" fmla="*/ 6199821 h 6199821"/>
                <a:gd name="connsiteX30" fmla="*/ 4202126 w 5842672"/>
                <a:gd name="connsiteY30" fmla="*/ 5610934 h 6199821"/>
                <a:gd name="connsiteX31" fmla="*/ 4989092 w 5842672"/>
                <a:gd name="connsiteY31" fmla="*/ 4596953 h 6199821"/>
                <a:gd name="connsiteX32" fmla="*/ 5269141 w 5842672"/>
                <a:gd name="connsiteY32" fmla="*/ 3352779 h 6199821"/>
                <a:gd name="connsiteX33" fmla="*/ 4950325 w 5842672"/>
                <a:gd name="connsiteY33" fmla="*/ 2049487 h 6199821"/>
                <a:gd name="connsiteX34" fmla="*/ 4133072 w 5842672"/>
                <a:gd name="connsiteY34" fmla="*/ 1163055 h 6199821"/>
                <a:gd name="connsiteX35" fmla="*/ 2838806 w 5842672"/>
                <a:gd name="connsiteY35" fmla="*/ 761302 h 6199821"/>
                <a:gd name="connsiteX36" fmla="*/ 1840586 w 5842672"/>
                <a:gd name="connsiteY36" fmla="*/ 1081342 h 6199821"/>
                <a:gd name="connsiteX37" fmla="*/ 831666 w 5842672"/>
                <a:gd name="connsiteY37" fmla="*/ 2111591 h 6199821"/>
                <a:gd name="connsiteX38" fmla="*/ 530331 w 5842672"/>
                <a:gd name="connsiteY38" fmla="*/ 3464807 h 6199821"/>
                <a:gd name="connsiteX39" fmla="*/ 1035657 w 5842672"/>
                <a:gd name="connsiteY39" fmla="*/ 4933546 h 6199821"/>
                <a:gd name="connsiteX40" fmla="*/ 4158712 w 5842672"/>
                <a:gd name="connsiteY40" fmla="*/ 5644651 h 6199821"/>
                <a:gd name="connsiteX41" fmla="*/ 943331 w 5842672"/>
                <a:gd name="connsiteY41" fmla="*/ 5241402 h 6199821"/>
                <a:gd name="connsiteX42" fmla="*/ 481697 w 5842672"/>
                <a:gd name="connsiteY42" fmla="*/ 5189370 h 6199821"/>
                <a:gd name="connsiteX43" fmla="*/ 0 w 5842672"/>
                <a:gd name="connsiteY43" fmla="*/ 3281515 h 6199821"/>
                <a:gd name="connsiteX0" fmla="*/ 0 w 5842672"/>
                <a:gd name="connsiteY0" fmla="*/ 3281515 h 6212667"/>
                <a:gd name="connsiteX1" fmla="*/ 209347 w 5842672"/>
                <a:gd name="connsiteY1" fmla="*/ 2374266 h 6212667"/>
                <a:gd name="connsiteX2" fmla="*/ 176616 w 5842672"/>
                <a:gd name="connsiteY2" fmla="*/ 2331944 h 6212667"/>
                <a:gd name="connsiteX3" fmla="*/ 248873 w 5842672"/>
                <a:gd name="connsiteY3" fmla="*/ 2067448 h 6212667"/>
                <a:gd name="connsiteX4" fmla="*/ 284589 w 5842672"/>
                <a:gd name="connsiteY4" fmla="*/ 2050403 h 6212667"/>
                <a:gd name="connsiteX5" fmla="*/ 1291946 w 5842672"/>
                <a:gd name="connsiteY5" fmla="*/ 647002 h 6212667"/>
                <a:gd name="connsiteX6" fmla="*/ 1504862 w 5842672"/>
                <a:gd name="connsiteY6" fmla="*/ 547251 h 6212667"/>
                <a:gd name="connsiteX7" fmla="*/ 1484801 w 5842672"/>
                <a:gd name="connsiteY7" fmla="*/ 432260 h 6212667"/>
                <a:gd name="connsiteX8" fmla="*/ 1680566 w 5842672"/>
                <a:gd name="connsiteY8" fmla="*/ 380302 h 6212667"/>
                <a:gd name="connsiteX9" fmla="*/ 1697939 w 5842672"/>
                <a:gd name="connsiteY9" fmla="*/ 481442 h 6212667"/>
                <a:gd name="connsiteX10" fmla="*/ 1825014 w 5842672"/>
                <a:gd name="connsiteY10" fmla="*/ 442651 h 6212667"/>
                <a:gd name="connsiteX11" fmla="*/ 1855493 w 5842672"/>
                <a:gd name="connsiteY11" fmla="*/ 393463 h 6212667"/>
                <a:gd name="connsiteX12" fmla="*/ 2091380 w 5842672"/>
                <a:gd name="connsiteY12" fmla="*/ 319342 h 6212667"/>
                <a:gd name="connsiteX13" fmla="*/ 2131835 w 5842672"/>
                <a:gd name="connsiteY13" fmla="*/ 352592 h 6212667"/>
                <a:gd name="connsiteX14" fmla="*/ 2328377 w 5842672"/>
                <a:gd name="connsiteY14" fmla="*/ 288171 h 6212667"/>
                <a:gd name="connsiteX15" fmla="*/ 2287589 w 5842672"/>
                <a:gd name="connsiteY15" fmla="*/ 119840 h 6212667"/>
                <a:gd name="connsiteX16" fmla="*/ 2670832 w 5842672"/>
                <a:gd name="connsiteY16" fmla="*/ 0 h 6212667"/>
                <a:gd name="connsiteX17" fmla="*/ 2719130 w 5842672"/>
                <a:gd name="connsiteY17" fmla="*/ 165560 h 6212667"/>
                <a:gd name="connsiteX18" fmla="*/ 4482681 w 5842672"/>
                <a:gd name="connsiteY18" fmla="*/ 680900 h 6212667"/>
                <a:gd name="connsiteX19" fmla="*/ 5032811 w 5842672"/>
                <a:gd name="connsiteY19" fmla="*/ 1291242 h 6212667"/>
                <a:gd name="connsiteX20" fmla="*/ 5094215 w 5842672"/>
                <a:gd name="connsiteY20" fmla="*/ 1298860 h 6212667"/>
                <a:gd name="connsiteX21" fmla="*/ 5259056 w 5842672"/>
                <a:gd name="connsiteY21" fmla="*/ 1479661 h 6212667"/>
                <a:gd name="connsiteX22" fmla="*/ 5259279 w 5842672"/>
                <a:gd name="connsiteY22" fmla="*/ 1535080 h 6212667"/>
                <a:gd name="connsiteX23" fmla="*/ 5420543 w 5842672"/>
                <a:gd name="connsiteY23" fmla="*/ 1726990 h 6212667"/>
                <a:gd name="connsiteX24" fmla="*/ 5800531 w 5842672"/>
                <a:gd name="connsiteY24" fmla="*/ 3519512 h 6212667"/>
                <a:gd name="connsiteX25" fmla="*/ 5608452 w 5842672"/>
                <a:gd name="connsiteY25" fmla="*/ 4385669 h 6212667"/>
                <a:gd name="connsiteX26" fmla="*/ 5738668 w 5842672"/>
                <a:gd name="connsiteY26" fmla="*/ 4452156 h 6212667"/>
                <a:gd name="connsiteX27" fmla="*/ 5669219 w 5842672"/>
                <a:gd name="connsiteY27" fmla="*/ 4870077 h 6212667"/>
                <a:gd name="connsiteX28" fmla="*/ 5511690 w 5842672"/>
                <a:gd name="connsiteY28" fmla="*/ 4807792 h 6212667"/>
                <a:gd name="connsiteX29" fmla="*/ 4384427 w 5842672"/>
                <a:gd name="connsiteY29" fmla="*/ 6199821 h 6212667"/>
                <a:gd name="connsiteX30" fmla="*/ 4202126 w 5842672"/>
                <a:gd name="connsiteY30" fmla="*/ 5610934 h 6212667"/>
                <a:gd name="connsiteX31" fmla="*/ 4989092 w 5842672"/>
                <a:gd name="connsiteY31" fmla="*/ 4596953 h 6212667"/>
                <a:gd name="connsiteX32" fmla="*/ 5269141 w 5842672"/>
                <a:gd name="connsiteY32" fmla="*/ 3352779 h 6212667"/>
                <a:gd name="connsiteX33" fmla="*/ 4950325 w 5842672"/>
                <a:gd name="connsiteY33" fmla="*/ 2049487 h 6212667"/>
                <a:gd name="connsiteX34" fmla="*/ 4133072 w 5842672"/>
                <a:gd name="connsiteY34" fmla="*/ 1163055 h 6212667"/>
                <a:gd name="connsiteX35" fmla="*/ 2838806 w 5842672"/>
                <a:gd name="connsiteY35" fmla="*/ 761302 h 6212667"/>
                <a:gd name="connsiteX36" fmla="*/ 1840586 w 5842672"/>
                <a:gd name="connsiteY36" fmla="*/ 1081342 h 6212667"/>
                <a:gd name="connsiteX37" fmla="*/ 831666 w 5842672"/>
                <a:gd name="connsiteY37" fmla="*/ 2111591 h 6212667"/>
                <a:gd name="connsiteX38" fmla="*/ 530331 w 5842672"/>
                <a:gd name="connsiteY38" fmla="*/ 3464807 h 6212667"/>
                <a:gd name="connsiteX39" fmla="*/ 1035657 w 5842672"/>
                <a:gd name="connsiteY39" fmla="*/ 4933546 h 6212667"/>
                <a:gd name="connsiteX40" fmla="*/ 4158712 w 5842672"/>
                <a:gd name="connsiteY40" fmla="*/ 5644651 h 6212667"/>
                <a:gd name="connsiteX41" fmla="*/ 4355408 w 5842672"/>
                <a:gd name="connsiteY41" fmla="*/ 6212667 h 6212667"/>
                <a:gd name="connsiteX42" fmla="*/ 481697 w 5842672"/>
                <a:gd name="connsiteY42" fmla="*/ 5189370 h 6212667"/>
                <a:gd name="connsiteX43" fmla="*/ 0 w 5842672"/>
                <a:gd name="connsiteY43" fmla="*/ 3281515 h 6212667"/>
                <a:gd name="connsiteX0" fmla="*/ 0 w 5842672"/>
                <a:gd name="connsiteY0" fmla="*/ 3281515 h 6212667"/>
                <a:gd name="connsiteX1" fmla="*/ 209347 w 5842672"/>
                <a:gd name="connsiteY1" fmla="*/ 2374266 h 6212667"/>
                <a:gd name="connsiteX2" fmla="*/ 176616 w 5842672"/>
                <a:gd name="connsiteY2" fmla="*/ 2331944 h 6212667"/>
                <a:gd name="connsiteX3" fmla="*/ 248873 w 5842672"/>
                <a:gd name="connsiteY3" fmla="*/ 2067448 h 6212667"/>
                <a:gd name="connsiteX4" fmla="*/ 284589 w 5842672"/>
                <a:gd name="connsiteY4" fmla="*/ 2050403 h 6212667"/>
                <a:gd name="connsiteX5" fmla="*/ 1291946 w 5842672"/>
                <a:gd name="connsiteY5" fmla="*/ 647002 h 6212667"/>
                <a:gd name="connsiteX6" fmla="*/ 1504862 w 5842672"/>
                <a:gd name="connsiteY6" fmla="*/ 547251 h 6212667"/>
                <a:gd name="connsiteX7" fmla="*/ 1484801 w 5842672"/>
                <a:gd name="connsiteY7" fmla="*/ 432260 h 6212667"/>
                <a:gd name="connsiteX8" fmla="*/ 1680566 w 5842672"/>
                <a:gd name="connsiteY8" fmla="*/ 380302 h 6212667"/>
                <a:gd name="connsiteX9" fmla="*/ 1697939 w 5842672"/>
                <a:gd name="connsiteY9" fmla="*/ 481442 h 6212667"/>
                <a:gd name="connsiteX10" fmla="*/ 1825014 w 5842672"/>
                <a:gd name="connsiteY10" fmla="*/ 442651 h 6212667"/>
                <a:gd name="connsiteX11" fmla="*/ 1855493 w 5842672"/>
                <a:gd name="connsiteY11" fmla="*/ 393463 h 6212667"/>
                <a:gd name="connsiteX12" fmla="*/ 2091380 w 5842672"/>
                <a:gd name="connsiteY12" fmla="*/ 319342 h 6212667"/>
                <a:gd name="connsiteX13" fmla="*/ 2131835 w 5842672"/>
                <a:gd name="connsiteY13" fmla="*/ 352592 h 6212667"/>
                <a:gd name="connsiteX14" fmla="*/ 2328377 w 5842672"/>
                <a:gd name="connsiteY14" fmla="*/ 288171 h 6212667"/>
                <a:gd name="connsiteX15" fmla="*/ 2287589 w 5842672"/>
                <a:gd name="connsiteY15" fmla="*/ 119840 h 6212667"/>
                <a:gd name="connsiteX16" fmla="*/ 2670832 w 5842672"/>
                <a:gd name="connsiteY16" fmla="*/ 0 h 6212667"/>
                <a:gd name="connsiteX17" fmla="*/ 2719130 w 5842672"/>
                <a:gd name="connsiteY17" fmla="*/ 165560 h 6212667"/>
                <a:gd name="connsiteX18" fmla="*/ 4482681 w 5842672"/>
                <a:gd name="connsiteY18" fmla="*/ 680900 h 6212667"/>
                <a:gd name="connsiteX19" fmla="*/ 5032811 w 5842672"/>
                <a:gd name="connsiteY19" fmla="*/ 1291242 h 6212667"/>
                <a:gd name="connsiteX20" fmla="*/ 5094215 w 5842672"/>
                <a:gd name="connsiteY20" fmla="*/ 1298860 h 6212667"/>
                <a:gd name="connsiteX21" fmla="*/ 5259056 w 5842672"/>
                <a:gd name="connsiteY21" fmla="*/ 1479661 h 6212667"/>
                <a:gd name="connsiteX22" fmla="*/ 5259279 w 5842672"/>
                <a:gd name="connsiteY22" fmla="*/ 1535080 h 6212667"/>
                <a:gd name="connsiteX23" fmla="*/ 5420543 w 5842672"/>
                <a:gd name="connsiteY23" fmla="*/ 1726990 h 6212667"/>
                <a:gd name="connsiteX24" fmla="*/ 5800531 w 5842672"/>
                <a:gd name="connsiteY24" fmla="*/ 3519512 h 6212667"/>
                <a:gd name="connsiteX25" fmla="*/ 5608452 w 5842672"/>
                <a:gd name="connsiteY25" fmla="*/ 4385669 h 6212667"/>
                <a:gd name="connsiteX26" fmla="*/ 5738668 w 5842672"/>
                <a:gd name="connsiteY26" fmla="*/ 4452156 h 6212667"/>
                <a:gd name="connsiteX27" fmla="*/ 5669219 w 5842672"/>
                <a:gd name="connsiteY27" fmla="*/ 4870077 h 6212667"/>
                <a:gd name="connsiteX28" fmla="*/ 5511690 w 5842672"/>
                <a:gd name="connsiteY28" fmla="*/ 4807792 h 6212667"/>
                <a:gd name="connsiteX29" fmla="*/ 4384427 w 5842672"/>
                <a:gd name="connsiteY29" fmla="*/ 6199821 h 6212667"/>
                <a:gd name="connsiteX30" fmla="*/ 4202126 w 5842672"/>
                <a:gd name="connsiteY30" fmla="*/ 5610934 h 6212667"/>
                <a:gd name="connsiteX31" fmla="*/ 4989092 w 5842672"/>
                <a:gd name="connsiteY31" fmla="*/ 4596953 h 6212667"/>
                <a:gd name="connsiteX32" fmla="*/ 5269141 w 5842672"/>
                <a:gd name="connsiteY32" fmla="*/ 3352779 h 6212667"/>
                <a:gd name="connsiteX33" fmla="*/ 4950325 w 5842672"/>
                <a:gd name="connsiteY33" fmla="*/ 2049487 h 6212667"/>
                <a:gd name="connsiteX34" fmla="*/ 4133072 w 5842672"/>
                <a:gd name="connsiteY34" fmla="*/ 1163055 h 6212667"/>
                <a:gd name="connsiteX35" fmla="*/ 2838806 w 5842672"/>
                <a:gd name="connsiteY35" fmla="*/ 761302 h 6212667"/>
                <a:gd name="connsiteX36" fmla="*/ 1840586 w 5842672"/>
                <a:gd name="connsiteY36" fmla="*/ 1081342 h 6212667"/>
                <a:gd name="connsiteX37" fmla="*/ 831666 w 5842672"/>
                <a:gd name="connsiteY37" fmla="*/ 2111591 h 6212667"/>
                <a:gd name="connsiteX38" fmla="*/ 530331 w 5842672"/>
                <a:gd name="connsiteY38" fmla="*/ 3464807 h 6212667"/>
                <a:gd name="connsiteX39" fmla="*/ 1035657 w 5842672"/>
                <a:gd name="connsiteY39" fmla="*/ 4933546 h 6212667"/>
                <a:gd name="connsiteX40" fmla="*/ 2340275 w 5842672"/>
                <a:gd name="connsiteY40" fmla="*/ 5224058 h 6212667"/>
                <a:gd name="connsiteX41" fmla="*/ 4158712 w 5842672"/>
                <a:gd name="connsiteY41" fmla="*/ 5644651 h 6212667"/>
                <a:gd name="connsiteX42" fmla="*/ 4355408 w 5842672"/>
                <a:gd name="connsiteY42" fmla="*/ 6212667 h 6212667"/>
                <a:gd name="connsiteX43" fmla="*/ 481697 w 5842672"/>
                <a:gd name="connsiteY43" fmla="*/ 5189370 h 6212667"/>
                <a:gd name="connsiteX44" fmla="*/ 0 w 5842672"/>
                <a:gd name="connsiteY44" fmla="*/ 3281515 h 6212667"/>
                <a:gd name="connsiteX0" fmla="*/ 0 w 5842672"/>
                <a:gd name="connsiteY0" fmla="*/ 3281515 h 6212667"/>
                <a:gd name="connsiteX1" fmla="*/ 209347 w 5842672"/>
                <a:gd name="connsiteY1" fmla="*/ 2374266 h 6212667"/>
                <a:gd name="connsiteX2" fmla="*/ 176616 w 5842672"/>
                <a:gd name="connsiteY2" fmla="*/ 2331944 h 6212667"/>
                <a:gd name="connsiteX3" fmla="*/ 248873 w 5842672"/>
                <a:gd name="connsiteY3" fmla="*/ 2067448 h 6212667"/>
                <a:gd name="connsiteX4" fmla="*/ 284589 w 5842672"/>
                <a:gd name="connsiteY4" fmla="*/ 2050403 h 6212667"/>
                <a:gd name="connsiteX5" fmla="*/ 1291946 w 5842672"/>
                <a:gd name="connsiteY5" fmla="*/ 647002 h 6212667"/>
                <a:gd name="connsiteX6" fmla="*/ 1504862 w 5842672"/>
                <a:gd name="connsiteY6" fmla="*/ 547251 h 6212667"/>
                <a:gd name="connsiteX7" fmla="*/ 1484801 w 5842672"/>
                <a:gd name="connsiteY7" fmla="*/ 432260 h 6212667"/>
                <a:gd name="connsiteX8" fmla="*/ 1680566 w 5842672"/>
                <a:gd name="connsiteY8" fmla="*/ 380302 h 6212667"/>
                <a:gd name="connsiteX9" fmla="*/ 1697939 w 5842672"/>
                <a:gd name="connsiteY9" fmla="*/ 481442 h 6212667"/>
                <a:gd name="connsiteX10" fmla="*/ 1825014 w 5842672"/>
                <a:gd name="connsiteY10" fmla="*/ 442651 h 6212667"/>
                <a:gd name="connsiteX11" fmla="*/ 1855493 w 5842672"/>
                <a:gd name="connsiteY11" fmla="*/ 393463 h 6212667"/>
                <a:gd name="connsiteX12" fmla="*/ 2091380 w 5842672"/>
                <a:gd name="connsiteY12" fmla="*/ 319342 h 6212667"/>
                <a:gd name="connsiteX13" fmla="*/ 2131835 w 5842672"/>
                <a:gd name="connsiteY13" fmla="*/ 352592 h 6212667"/>
                <a:gd name="connsiteX14" fmla="*/ 2328377 w 5842672"/>
                <a:gd name="connsiteY14" fmla="*/ 288171 h 6212667"/>
                <a:gd name="connsiteX15" fmla="*/ 2287589 w 5842672"/>
                <a:gd name="connsiteY15" fmla="*/ 119840 h 6212667"/>
                <a:gd name="connsiteX16" fmla="*/ 2670832 w 5842672"/>
                <a:gd name="connsiteY16" fmla="*/ 0 h 6212667"/>
                <a:gd name="connsiteX17" fmla="*/ 2719130 w 5842672"/>
                <a:gd name="connsiteY17" fmla="*/ 165560 h 6212667"/>
                <a:gd name="connsiteX18" fmla="*/ 4482681 w 5842672"/>
                <a:gd name="connsiteY18" fmla="*/ 680900 h 6212667"/>
                <a:gd name="connsiteX19" fmla="*/ 5032811 w 5842672"/>
                <a:gd name="connsiteY19" fmla="*/ 1291242 h 6212667"/>
                <a:gd name="connsiteX20" fmla="*/ 5094215 w 5842672"/>
                <a:gd name="connsiteY20" fmla="*/ 1298860 h 6212667"/>
                <a:gd name="connsiteX21" fmla="*/ 5259056 w 5842672"/>
                <a:gd name="connsiteY21" fmla="*/ 1479661 h 6212667"/>
                <a:gd name="connsiteX22" fmla="*/ 5259279 w 5842672"/>
                <a:gd name="connsiteY22" fmla="*/ 1535080 h 6212667"/>
                <a:gd name="connsiteX23" fmla="*/ 5420543 w 5842672"/>
                <a:gd name="connsiteY23" fmla="*/ 1726990 h 6212667"/>
                <a:gd name="connsiteX24" fmla="*/ 5800531 w 5842672"/>
                <a:gd name="connsiteY24" fmla="*/ 3519512 h 6212667"/>
                <a:gd name="connsiteX25" fmla="*/ 5608452 w 5842672"/>
                <a:gd name="connsiteY25" fmla="*/ 4385669 h 6212667"/>
                <a:gd name="connsiteX26" fmla="*/ 5738668 w 5842672"/>
                <a:gd name="connsiteY26" fmla="*/ 4452156 h 6212667"/>
                <a:gd name="connsiteX27" fmla="*/ 5669219 w 5842672"/>
                <a:gd name="connsiteY27" fmla="*/ 4870077 h 6212667"/>
                <a:gd name="connsiteX28" fmla="*/ 5511690 w 5842672"/>
                <a:gd name="connsiteY28" fmla="*/ 4807792 h 6212667"/>
                <a:gd name="connsiteX29" fmla="*/ 4384427 w 5842672"/>
                <a:gd name="connsiteY29" fmla="*/ 6199821 h 6212667"/>
                <a:gd name="connsiteX30" fmla="*/ 4202126 w 5842672"/>
                <a:gd name="connsiteY30" fmla="*/ 5610934 h 6212667"/>
                <a:gd name="connsiteX31" fmla="*/ 4989092 w 5842672"/>
                <a:gd name="connsiteY31" fmla="*/ 4596953 h 6212667"/>
                <a:gd name="connsiteX32" fmla="*/ 5269141 w 5842672"/>
                <a:gd name="connsiteY32" fmla="*/ 3352779 h 6212667"/>
                <a:gd name="connsiteX33" fmla="*/ 4950325 w 5842672"/>
                <a:gd name="connsiteY33" fmla="*/ 2049487 h 6212667"/>
                <a:gd name="connsiteX34" fmla="*/ 4133072 w 5842672"/>
                <a:gd name="connsiteY34" fmla="*/ 1163055 h 6212667"/>
                <a:gd name="connsiteX35" fmla="*/ 2838806 w 5842672"/>
                <a:gd name="connsiteY35" fmla="*/ 761302 h 6212667"/>
                <a:gd name="connsiteX36" fmla="*/ 1840586 w 5842672"/>
                <a:gd name="connsiteY36" fmla="*/ 1081342 h 6212667"/>
                <a:gd name="connsiteX37" fmla="*/ 831666 w 5842672"/>
                <a:gd name="connsiteY37" fmla="*/ 2111591 h 6212667"/>
                <a:gd name="connsiteX38" fmla="*/ 530331 w 5842672"/>
                <a:gd name="connsiteY38" fmla="*/ 3464807 h 6212667"/>
                <a:gd name="connsiteX39" fmla="*/ 1035657 w 5842672"/>
                <a:gd name="connsiteY39" fmla="*/ 4933546 h 6212667"/>
                <a:gd name="connsiteX40" fmla="*/ 2340275 w 5842672"/>
                <a:gd name="connsiteY40" fmla="*/ 5224058 h 6212667"/>
                <a:gd name="connsiteX41" fmla="*/ 4158712 w 5842672"/>
                <a:gd name="connsiteY41" fmla="*/ 5644651 h 6212667"/>
                <a:gd name="connsiteX42" fmla="*/ 4355408 w 5842672"/>
                <a:gd name="connsiteY42" fmla="*/ 6212667 h 6212667"/>
                <a:gd name="connsiteX43" fmla="*/ 2135550 w 5842672"/>
                <a:gd name="connsiteY43" fmla="*/ 5618634 h 6212667"/>
                <a:gd name="connsiteX44" fmla="*/ 481697 w 5842672"/>
                <a:gd name="connsiteY44" fmla="*/ 5189370 h 6212667"/>
                <a:gd name="connsiteX45" fmla="*/ 0 w 5842672"/>
                <a:gd name="connsiteY45" fmla="*/ 3281515 h 6212667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2340275 w 5842672"/>
                <a:gd name="connsiteY40" fmla="*/ 5224058 h 6724315"/>
                <a:gd name="connsiteX41" fmla="*/ 4158712 w 5842672"/>
                <a:gd name="connsiteY41" fmla="*/ 5644651 h 6724315"/>
                <a:gd name="connsiteX42" fmla="*/ 4355408 w 5842672"/>
                <a:gd name="connsiteY42" fmla="*/ 6212667 h 6724315"/>
                <a:gd name="connsiteX43" fmla="*/ 1898712 w 5842672"/>
                <a:gd name="connsiteY43" fmla="*/ 6724315 h 6724315"/>
                <a:gd name="connsiteX44" fmla="*/ 481697 w 5842672"/>
                <a:gd name="connsiteY44" fmla="*/ 5189370 h 6724315"/>
                <a:gd name="connsiteX45" fmla="*/ 0 w 5842672"/>
                <a:gd name="connsiteY45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4158712 w 5842672"/>
                <a:gd name="connsiteY41" fmla="*/ 5644651 h 6724315"/>
                <a:gd name="connsiteX42" fmla="*/ 4355408 w 5842672"/>
                <a:gd name="connsiteY42" fmla="*/ 6212667 h 6724315"/>
                <a:gd name="connsiteX43" fmla="*/ 1898712 w 5842672"/>
                <a:gd name="connsiteY43" fmla="*/ 6724315 h 6724315"/>
                <a:gd name="connsiteX44" fmla="*/ 481697 w 5842672"/>
                <a:gd name="connsiteY44" fmla="*/ 5189370 h 6724315"/>
                <a:gd name="connsiteX45" fmla="*/ 0 w 5842672"/>
                <a:gd name="connsiteY45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2886207 w 5842672"/>
                <a:gd name="connsiteY41" fmla="*/ 5696683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70258 w 5842672"/>
                <a:gd name="connsiteY40" fmla="*/ 5731370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42159 w 5842672"/>
                <a:gd name="connsiteY40" fmla="*/ 5692347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42159 w 5842672"/>
                <a:gd name="connsiteY40" fmla="*/ 5692347 h 6724315"/>
                <a:gd name="connsiteX41" fmla="*/ 3046775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42159 w 5842672"/>
                <a:gd name="connsiteY40" fmla="*/ 5692347 h 6724315"/>
                <a:gd name="connsiteX41" fmla="*/ 3042761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0 w 5842672"/>
                <a:gd name="connsiteY0" fmla="*/ 3281515 h 6724315"/>
                <a:gd name="connsiteX1" fmla="*/ 209347 w 5842672"/>
                <a:gd name="connsiteY1" fmla="*/ 2374266 h 6724315"/>
                <a:gd name="connsiteX2" fmla="*/ 176616 w 5842672"/>
                <a:gd name="connsiteY2" fmla="*/ 2331944 h 6724315"/>
                <a:gd name="connsiteX3" fmla="*/ 248873 w 5842672"/>
                <a:gd name="connsiteY3" fmla="*/ 2067448 h 6724315"/>
                <a:gd name="connsiteX4" fmla="*/ 284589 w 5842672"/>
                <a:gd name="connsiteY4" fmla="*/ 2050403 h 6724315"/>
                <a:gd name="connsiteX5" fmla="*/ 1291946 w 5842672"/>
                <a:gd name="connsiteY5" fmla="*/ 647002 h 6724315"/>
                <a:gd name="connsiteX6" fmla="*/ 1504862 w 5842672"/>
                <a:gd name="connsiteY6" fmla="*/ 547251 h 6724315"/>
                <a:gd name="connsiteX7" fmla="*/ 1484801 w 5842672"/>
                <a:gd name="connsiteY7" fmla="*/ 432260 h 6724315"/>
                <a:gd name="connsiteX8" fmla="*/ 1680566 w 5842672"/>
                <a:gd name="connsiteY8" fmla="*/ 380302 h 6724315"/>
                <a:gd name="connsiteX9" fmla="*/ 1697939 w 5842672"/>
                <a:gd name="connsiteY9" fmla="*/ 481442 h 6724315"/>
                <a:gd name="connsiteX10" fmla="*/ 1825014 w 5842672"/>
                <a:gd name="connsiteY10" fmla="*/ 442651 h 6724315"/>
                <a:gd name="connsiteX11" fmla="*/ 1855493 w 5842672"/>
                <a:gd name="connsiteY11" fmla="*/ 393463 h 6724315"/>
                <a:gd name="connsiteX12" fmla="*/ 2091380 w 5842672"/>
                <a:gd name="connsiteY12" fmla="*/ 319342 h 6724315"/>
                <a:gd name="connsiteX13" fmla="*/ 2131835 w 5842672"/>
                <a:gd name="connsiteY13" fmla="*/ 352592 h 6724315"/>
                <a:gd name="connsiteX14" fmla="*/ 2328377 w 5842672"/>
                <a:gd name="connsiteY14" fmla="*/ 288171 h 6724315"/>
                <a:gd name="connsiteX15" fmla="*/ 2287589 w 5842672"/>
                <a:gd name="connsiteY15" fmla="*/ 119840 h 6724315"/>
                <a:gd name="connsiteX16" fmla="*/ 2670832 w 5842672"/>
                <a:gd name="connsiteY16" fmla="*/ 0 h 6724315"/>
                <a:gd name="connsiteX17" fmla="*/ 2719130 w 5842672"/>
                <a:gd name="connsiteY17" fmla="*/ 165560 h 6724315"/>
                <a:gd name="connsiteX18" fmla="*/ 4482681 w 5842672"/>
                <a:gd name="connsiteY18" fmla="*/ 680900 h 6724315"/>
                <a:gd name="connsiteX19" fmla="*/ 5032811 w 5842672"/>
                <a:gd name="connsiteY19" fmla="*/ 1291242 h 6724315"/>
                <a:gd name="connsiteX20" fmla="*/ 5094215 w 5842672"/>
                <a:gd name="connsiteY20" fmla="*/ 1298860 h 6724315"/>
                <a:gd name="connsiteX21" fmla="*/ 5259056 w 5842672"/>
                <a:gd name="connsiteY21" fmla="*/ 1479661 h 6724315"/>
                <a:gd name="connsiteX22" fmla="*/ 5259279 w 5842672"/>
                <a:gd name="connsiteY22" fmla="*/ 1535080 h 6724315"/>
                <a:gd name="connsiteX23" fmla="*/ 5420543 w 5842672"/>
                <a:gd name="connsiteY23" fmla="*/ 1726990 h 6724315"/>
                <a:gd name="connsiteX24" fmla="*/ 5800531 w 5842672"/>
                <a:gd name="connsiteY24" fmla="*/ 3519512 h 6724315"/>
                <a:gd name="connsiteX25" fmla="*/ 5608452 w 5842672"/>
                <a:gd name="connsiteY25" fmla="*/ 4385669 h 6724315"/>
                <a:gd name="connsiteX26" fmla="*/ 5738668 w 5842672"/>
                <a:gd name="connsiteY26" fmla="*/ 4452156 h 6724315"/>
                <a:gd name="connsiteX27" fmla="*/ 5669219 w 5842672"/>
                <a:gd name="connsiteY27" fmla="*/ 4870077 h 6724315"/>
                <a:gd name="connsiteX28" fmla="*/ 5511690 w 5842672"/>
                <a:gd name="connsiteY28" fmla="*/ 4807792 h 6724315"/>
                <a:gd name="connsiteX29" fmla="*/ 4384427 w 5842672"/>
                <a:gd name="connsiteY29" fmla="*/ 6199821 h 6724315"/>
                <a:gd name="connsiteX30" fmla="*/ 4202126 w 5842672"/>
                <a:gd name="connsiteY30" fmla="*/ 5610934 h 6724315"/>
                <a:gd name="connsiteX31" fmla="*/ 4989092 w 5842672"/>
                <a:gd name="connsiteY31" fmla="*/ 4596953 h 6724315"/>
                <a:gd name="connsiteX32" fmla="*/ 5269141 w 5842672"/>
                <a:gd name="connsiteY32" fmla="*/ 3352779 h 6724315"/>
                <a:gd name="connsiteX33" fmla="*/ 4950325 w 5842672"/>
                <a:gd name="connsiteY33" fmla="*/ 2049487 h 6724315"/>
                <a:gd name="connsiteX34" fmla="*/ 4133072 w 5842672"/>
                <a:gd name="connsiteY34" fmla="*/ 1163055 h 6724315"/>
                <a:gd name="connsiteX35" fmla="*/ 2838806 w 5842672"/>
                <a:gd name="connsiteY35" fmla="*/ 761302 h 6724315"/>
                <a:gd name="connsiteX36" fmla="*/ 1840586 w 5842672"/>
                <a:gd name="connsiteY36" fmla="*/ 1081342 h 6724315"/>
                <a:gd name="connsiteX37" fmla="*/ 831666 w 5842672"/>
                <a:gd name="connsiteY37" fmla="*/ 2111591 h 6724315"/>
                <a:gd name="connsiteX38" fmla="*/ 530331 w 5842672"/>
                <a:gd name="connsiteY38" fmla="*/ 3464807 h 6724315"/>
                <a:gd name="connsiteX39" fmla="*/ 1035657 w 5842672"/>
                <a:gd name="connsiteY39" fmla="*/ 4933546 h 6724315"/>
                <a:gd name="connsiteX40" fmla="*/ 1742159 w 5842672"/>
                <a:gd name="connsiteY40" fmla="*/ 5692347 h 6724315"/>
                <a:gd name="connsiteX41" fmla="*/ 3042761 w 5842672"/>
                <a:gd name="connsiteY41" fmla="*/ 6017548 h 6724315"/>
                <a:gd name="connsiteX42" fmla="*/ 4158712 w 5842672"/>
                <a:gd name="connsiteY42" fmla="*/ 5644651 h 6724315"/>
                <a:gd name="connsiteX43" fmla="*/ 4355408 w 5842672"/>
                <a:gd name="connsiteY43" fmla="*/ 6212667 h 6724315"/>
                <a:gd name="connsiteX44" fmla="*/ 1898712 w 5842672"/>
                <a:gd name="connsiteY44" fmla="*/ 6724315 h 6724315"/>
                <a:gd name="connsiteX45" fmla="*/ 481697 w 5842672"/>
                <a:gd name="connsiteY45" fmla="*/ 5189370 h 6724315"/>
                <a:gd name="connsiteX46" fmla="*/ 0 w 5842672"/>
                <a:gd name="connsiteY46" fmla="*/ 3281515 h 6724315"/>
                <a:gd name="connsiteX0" fmla="*/ 26252 w 5868924"/>
                <a:gd name="connsiteY0" fmla="*/ 3281515 h 6724315"/>
                <a:gd name="connsiteX1" fmla="*/ 235599 w 5868924"/>
                <a:gd name="connsiteY1" fmla="*/ 2374266 h 6724315"/>
                <a:gd name="connsiteX2" fmla="*/ 202868 w 5868924"/>
                <a:gd name="connsiteY2" fmla="*/ 2331944 h 6724315"/>
                <a:gd name="connsiteX3" fmla="*/ 275125 w 5868924"/>
                <a:gd name="connsiteY3" fmla="*/ 2067448 h 6724315"/>
                <a:gd name="connsiteX4" fmla="*/ 310841 w 5868924"/>
                <a:gd name="connsiteY4" fmla="*/ 2050403 h 6724315"/>
                <a:gd name="connsiteX5" fmla="*/ 1318198 w 5868924"/>
                <a:gd name="connsiteY5" fmla="*/ 647002 h 6724315"/>
                <a:gd name="connsiteX6" fmla="*/ 1531114 w 5868924"/>
                <a:gd name="connsiteY6" fmla="*/ 547251 h 6724315"/>
                <a:gd name="connsiteX7" fmla="*/ 1511053 w 5868924"/>
                <a:gd name="connsiteY7" fmla="*/ 432260 h 6724315"/>
                <a:gd name="connsiteX8" fmla="*/ 1706818 w 5868924"/>
                <a:gd name="connsiteY8" fmla="*/ 380302 h 6724315"/>
                <a:gd name="connsiteX9" fmla="*/ 1724191 w 5868924"/>
                <a:gd name="connsiteY9" fmla="*/ 481442 h 6724315"/>
                <a:gd name="connsiteX10" fmla="*/ 1851266 w 5868924"/>
                <a:gd name="connsiteY10" fmla="*/ 442651 h 6724315"/>
                <a:gd name="connsiteX11" fmla="*/ 1881745 w 5868924"/>
                <a:gd name="connsiteY11" fmla="*/ 393463 h 6724315"/>
                <a:gd name="connsiteX12" fmla="*/ 2117632 w 5868924"/>
                <a:gd name="connsiteY12" fmla="*/ 319342 h 6724315"/>
                <a:gd name="connsiteX13" fmla="*/ 2158087 w 5868924"/>
                <a:gd name="connsiteY13" fmla="*/ 352592 h 6724315"/>
                <a:gd name="connsiteX14" fmla="*/ 2354629 w 5868924"/>
                <a:gd name="connsiteY14" fmla="*/ 288171 h 6724315"/>
                <a:gd name="connsiteX15" fmla="*/ 2313841 w 5868924"/>
                <a:gd name="connsiteY15" fmla="*/ 119840 h 6724315"/>
                <a:gd name="connsiteX16" fmla="*/ 2697084 w 5868924"/>
                <a:gd name="connsiteY16" fmla="*/ 0 h 6724315"/>
                <a:gd name="connsiteX17" fmla="*/ 2745382 w 5868924"/>
                <a:gd name="connsiteY17" fmla="*/ 165560 h 6724315"/>
                <a:gd name="connsiteX18" fmla="*/ 4508933 w 5868924"/>
                <a:gd name="connsiteY18" fmla="*/ 680900 h 6724315"/>
                <a:gd name="connsiteX19" fmla="*/ 5059063 w 5868924"/>
                <a:gd name="connsiteY19" fmla="*/ 1291242 h 6724315"/>
                <a:gd name="connsiteX20" fmla="*/ 5120467 w 5868924"/>
                <a:gd name="connsiteY20" fmla="*/ 1298860 h 6724315"/>
                <a:gd name="connsiteX21" fmla="*/ 5285308 w 5868924"/>
                <a:gd name="connsiteY21" fmla="*/ 1479661 h 6724315"/>
                <a:gd name="connsiteX22" fmla="*/ 5285531 w 5868924"/>
                <a:gd name="connsiteY22" fmla="*/ 1535080 h 6724315"/>
                <a:gd name="connsiteX23" fmla="*/ 5446795 w 5868924"/>
                <a:gd name="connsiteY23" fmla="*/ 1726990 h 6724315"/>
                <a:gd name="connsiteX24" fmla="*/ 5826783 w 5868924"/>
                <a:gd name="connsiteY24" fmla="*/ 3519512 h 6724315"/>
                <a:gd name="connsiteX25" fmla="*/ 5634704 w 5868924"/>
                <a:gd name="connsiteY25" fmla="*/ 4385669 h 6724315"/>
                <a:gd name="connsiteX26" fmla="*/ 5764920 w 5868924"/>
                <a:gd name="connsiteY26" fmla="*/ 4452156 h 6724315"/>
                <a:gd name="connsiteX27" fmla="*/ 5695471 w 5868924"/>
                <a:gd name="connsiteY27" fmla="*/ 4870077 h 6724315"/>
                <a:gd name="connsiteX28" fmla="*/ 5537942 w 5868924"/>
                <a:gd name="connsiteY28" fmla="*/ 4807792 h 6724315"/>
                <a:gd name="connsiteX29" fmla="*/ 4410679 w 5868924"/>
                <a:gd name="connsiteY29" fmla="*/ 6199821 h 6724315"/>
                <a:gd name="connsiteX30" fmla="*/ 4228378 w 5868924"/>
                <a:gd name="connsiteY30" fmla="*/ 5610934 h 6724315"/>
                <a:gd name="connsiteX31" fmla="*/ 5015344 w 5868924"/>
                <a:gd name="connsiteY31" fmla="*/ 4596953 h 6724315"/>
                <a:gd name="connsiteX32" fmla="*/ 5295393 w 5868924"/>
                <a:gd name="connsiteY32" fmla="*/ 3352779 h 6724315"/>
                <a:gd name="connsiteX33" fmla="*/ 4976577 w 5868924"/>
                <a:gd name="connsiteY33" fmla="*/ 2049487 h 6724315"/>
                <a:gd name="connsiteX34" fmla="*/ 4159324 w 5868924"/>
                <a:gd name="connsiteY34" fmla="*/ 1163055 h 6724315"/>
                <a:gd name="connsiteX35" fmla="*/ 2865058 w 5868924"/>
                <a:gd name="connsiteY35" fmla="*/ 761302 h 6724315"/>
                <a:gd name="connsiteX36" fmla="*/ 1866838 w 5868924"/>
                <a:gd name="connsiteY36" fmla="*/ 1081342 h 6724315"/>
                <a:gd name="connsiteX37" fmla="*/ 857918 w 5868924"/>
                <a:gd name="connsiteY37" fmla="*/ 2111591 h 6724315"/>
                <a:gd name="connsiteX38" fmla="*/ 556583 w 5868924"/>
                <a:gd name="connsiteY38" fmla="*/ 3464807 h 6724315"/>
                <a:gd name="connsiteX39" fmla="*/ 1061909 w 5868924"/>
                <a:gd name="connsiteY39" fmla="*/ 4933546 h 6724315"/>
                <a:gd name="connsiteX40" fmla="*/ 1768411 w 5868924"/>
                <a:gd name="connsiteY40" fmla="*/ 5692347 h 6724315"/>
                <a:gd name="connsiteX41" fmla="*/ 3069013 w 5868924"/>
                <a:gd name="connsiteY41" fmla="*/ 6017548 h 6724315"/>
                <a:gd name="connsiteX42" fmla="*/ 4184964 w 5868924"/>
                <a:gd name="connsiteY42" fmla="*/ 5644651 h 6724315"/>
                <a:gd name="connsiteX43" fmla="*/ 4381660 w 5868924"/>
                <a:gd name="connsiteY43" fmla="*/ 6212667 h 6724315"/>
                <a:gd name="connsiteX44" fmla="*/ 1924964 w 5868924"/>
                <a:gd name="connsiteY44" fmla="*/ 6724315 h 6724315"/>
                <a:gd name="connsiteX45" fmla="*/ 507949 w 5868924"/>
                <a:gd name="connsiteY45" fmla="*/ 5189370 h 6724315"/>
                <a:gd name="connsiteX46" fmla="*/ 26252 w 5868924"/>
                <a:gd name="connsiteY46" fmla="*/ 3281515 h 6724315"/>
                <a:gd name="connsiteX0" fmla="*/ 31901 w 5874573"/>
                <a:gd name="connsiteY0" fmla="*/ 3281515 h 6724315"/>
                <a:gd name="connsiteX1" fmla="*/ 241248 w 5874573"/>
                <a:gd name="connsiteY1" fmla="*/ 2374266 h 6724315"/>
                <a:gd name="connsiteX2" fmla="*/ 208517 w 5874573"/>
                <a:gd name="connsiteY2" fmla="*/ 2331944 h 6724315"/>
                <a:gd name="connsiteX3" fmla="*/ 280774 w 5874573"/>
                <a:gd name="connsiteY3" fmla="*/ 2067448 h 6724315"/>
                <a:gd name="connsiteX4" fmla="*/ 316490 w 5874573"/>
                <a:gd name="connsiteY4" fmla="*/ 2050403 h 6724315"/>
                <a:gd name="connsiteX5" fmla="*/ 1323847 w 5874573"/>
                <a:gd name="connsiteY5" fmla="*/ 647002 h 6724315"/>
                <a:gd name="connsiteX6" fmla="*/ 1536763 w 5874573"/>
                <a:gd name="connsiteY6" fmla="*/ 547251 h 6724315"/>
                <a:gd name="connsiteX7" fmla="*/ 1516702 w 5874573"/>
                <a:gd name="connsiteY7" fmla="*/ 432260 h 6724315"/>
                <a:gd name="connsiteX8" fmla="*/ 1712467 w 5874573"/>
                <a:gd name="connsiteY8" fmla="*/ 380302 h 6724315"/>
                <a:gd name="connsiteX9" fmla="*/ 1729840 w 5874573"/>
                <a:gd name="connsiteY9" fmla="*/ 481442 h 6724315"/>
                <a:gd name="connsiteX10" fmla="*/ 1856915 w 5874573"/>
                <a:gd name="connsiteY10" fmla="*/ 442651 h 6724315"/>
                <a:gd name="connsiteX11" fmla="*/ 1887394 w 5874573"/>
                <a:gd name="connsiteY11" fmla="*/ 393463 h 6724315"/>
                <a:gd name="connsiteX12" fmla="*/ 2123281 w 5874573"/>
                <a:gd name="connsiteY12" fmla="*/ 319342 h 6724315"/>
                <a:gd name="connsiteX13" fmla="*/ 2163736 w 5874573"/>
                <a:gd name="connsiteY13" fmla="*/ 352592 h 6724315"/>
                <a:gd name="connsiteX14" fmla="*/ 2360278 w 5874573"/>
                <a:gd name="connsiteY14" fmla="*/ 288171 h 6724315"/>
                <a:gd name="connsiteX15" fmla="*/ 2319490 w 5874573"/>
                <a:gd name="connsiteY15" fmla="*/ 119840 h 6724315"/>
                <a:gd name="connsiteX16" fmla="*/ 2702733 w 5874573"/>
                <a:gd name="connsiteY16" fmla="*/ 0 h 6724315"/>
                <a:gd name="connsiteX17" fmla="*/ 2751031 w 5874573"/>
                <a:gd name="connsiteY17" fmla="*/ 165560 h 6724315"/>
                <a:gd name="connsiteX18" fmla="*/ 4514582 w 5874573"/>
                <a:gd name="connsiteY18" fmla="*/ 680900 h 6724315"/>
                <a:gd name="connsiteX19" fmla="*/ 5064712 w 5874573"/>
                <a:gd name="connsiteY19" fmla="*/ 1291242 h 6724315"/>
                <a:gd name="connsiteX20" fmla="*/ 5126116 w 5874573"/>
                <a:gd name="connsiteY20" fmla="*/ 1298860 h 6724315"/>
                <a:gd name="connsiteX21" fmla="*/ 5290957 w 5874573"/>
                <a:gd name="connsiteY21" fmla="*/ 1479661 h 6724315"/>
                <a:gd name="connsiteX22" fmla="*/ 5291180 w 5874573"/>
                <a:gd name="connsiteY22" fmla="*/ 1535080 h 6724315"/>
                <a:gd name="connsiteX23" fmla="*/ 5452444 w 5874573"/>
                <a:gd name="connsiteY23" fmla="*/ 1726990 h 6724315"/>
                <a:gd name="connsiteX24" fmla="*/ 5832432 w 5874573"/>
                <a:gd name="connsiteY24" fmla="*/ 3519512 h 6724315"/>
                <a:gd name="connsiteX25" fmla="*/ 5640353 w 5874573"/>
                <a:gd name="connsiteY25" fmla="*/ 4385669 h 6724315"/>
                <a:gd name="connsiteX26" fmla="*/ 5770569 w 5874573"/>
                <a:gd name="connsiteY26" fmla="*/ 4452156 h 6724315"/>
                <a:gd name="connsiteX27" fmla="*/ 5701120 w 5874573"/>
                <a:gd name="connsiteY27" fmla="*/ 4870077 h 6724315"/>
                <a:gd name="connsiteX28" fmla="*/ 5543591 w 5874573"/>
                <a:gd name="connsiteY28" fmla="*/ 4807792 h 6724315"/>
                <a:gd name="connsiteX29" fmla="*/ 4416328 w 5874573"/>
                <a:gd name="connsiteY29" fmla="*/ 6199821 h 6724315"/>
                <a:gd name="connsiteX30" fmla="*/ 4234027 w 5874573"/>
                <a:gd name="connsiteY30" fmla="*/ 5610934 h 6724315"/>
                <a:gd name="connsiteX31" fmla="*/ 5020993 w 5874573"/>
                <a:gd name="connsiteY31" fmla="*/ 4596953 h 6724315"/>
                <a:gd name="connsiteX32" fmla="*/ 5301042 w 5874573"/>
                <a:gd name="connsiteY32" fmla="*/ 3352779 h 6724315"/>
                <a:gd name="connsiteX33" fmla="*/ 4982226 w 5874573"/>
                <a:gd name="connsiteY33" fmla="*/ 2049487 h 6724315"/>
                <a:gd name="connsiteX34" fmla="*/ 4164973 w 5874573"/>
                <a:gd name="connsiteY34" fmla="*/ 1163055 h 6724315"/>
                <a:gd name="connsiteX35" fmla="*/ 2870707 w 5874573"/>
                <a:gd name="connsiteY35" fmla="*/ 761302 h 6724315"/>
                <a:gd name="connsiteX36" fmla="*/ 1872487 w 5874573"/>
                <a:gd name="connsiteY36" fmla="*/ 1081342 h 6724315"/>
                <a:gd name="connsiteX37" fmla="*/ 863567 w 5874573"/>
                <a:gd name="connsiteY37" fmla="*/ 2111591 h 6724315"/>
                <a:gd name="connsiteX38" fmla="*/ 562232 w 5874573"/>
                <a:gd name="connsiteY38" fmla="*/ 3464807 h 6724315"/>
                <a:gd name="connsiteX39" fmla="*/ 1067558 w 5874573"/>
                <a:gd name="connsiteY39" fmla="*/ 4933546 h 6724315"/>
                <a:gd name="connsiteX40" fmla="*/ 1774060 w 5874573"/>
                <a:gd name="connsiteY40" fmla="*/ 5692347 h 6724315"/>
                <a:gd name="connsiteX41" fmla="*/ 3074662 w 5874573"/>
                <a:gd name="connsiteY41" fmla="*/ 6017548 h 6724315"/>
                <a:gd name="connsiteX42" fmla="*/ 4190613 w 5874573"/>
                <a:gd name="connsiteY42" fmla="*/ 5644651 h 6724315"/>
                <a:gd name="connsiteX43" fmla="*/ 4387309 w 5874573"/>
                <a:gd name="connsiteY43" fmla="*/ 6212667 h 6724315"/>
                <a:gd name="connsiteX44" fmla="*/ 1930613 w 5874573"/>
                <a:gd name="connsiteY44" fmla="*/ 6724315 h 6724315"/>
                <a:gd name="connsiteX45" fmla="*/ 513598 w 5874573"/>
                <a:gd name="connsiteY45" fmla="*/ 5189370 h 6724315"/>
                <a:gd name="connsiteX46" fmla="*/ 31901 w 5874573"/>
                <a:gd name="connsiteY46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523257 w 5884232"/>
                <a:gd name="connsiteY45" fmla="*/ 5189370 h 6724315"/>
                <a:gd name="connsiteX46" fmla="*/ 41560 w 5884232"/>
                <a:gd name="connsiteY46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559386 w 5884232"/>
                <a:gd name="connsiteY45" fmla="*/ 5224057 h 6724315"/>
                <a:gd name="connsiteX46" fmla="*/ 523257 w 5884232"/>
                <a:gd name="connsiteY46" fmla="*/ 5189370 h 6724315"/>
                <a:gd name="connsiteX47" fmla="*/ 41560 w 5884232"/>
                <a:gd name="connsiteY47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430931 w 5884232"/>
                <a:gd name="connsiteY45" fmla="*/ 5323785 h 6724315"/>
                <a:gd name="connsiteX46" fmla="*/ 523257 w 5884232"/>
                <a:gd name="connsiteY46" fmla="*/ 5189370 h 6724315"/>
                <a:gd name="connsiteX47" fmla="*/ 41560 w 5884232"/>
                <a:gd name="connsiteY47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824904 w 5884232"/>
                <a:gd name="connsiteY45" fmla="*/ 5685517 h 6724315"/>
                <a:gd name="connsiteX46" fmla="*/ 430931 w 5884232"/>
                <a:gd name="connsiteY46" fmla="*/ 5323785 h 6724315"/>
                <a:gd name="connsiteX47" fmla="*/ 523257 w 5884232"/>
                <a:gd name="connsiteY47" fmla="*/ 5189370 h 6724315"/>
                <a:gd name="connsiteX48" fmla="*/ 41560 w 5884232"/>
                <a:gd name="connsiteY4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732703 w 5884232"/>
                <a:gd name="connsiteY45" fmla="*/ 5638146 h 6724315"/>
                <a:gd name="connsiteX46" fmla="*/ 430931 w 5884232"/>
                <a:gd name="connsiteY46" fmla="*/ 5323785 h 6724315"/>
                <a:gd name="connsiteX47" fmla="*/ 523257 w 5884232"/>
                <a:gd name="connsiteY47" fmla="*/ 5189370 h 6724315"/>
                <a:gd name="connsiteX48" fmla="*/ 41560 w 5884232"/>
                <a:gd name="connsiteY4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884834 w 5884232"/>
                <a:gd name="connsiteY45" fmla="*/ 5775272 h 6724315"/>
                <a:gd name="connsiteX46" fmla="*/ 732703 w 5884232"/>
                <a:gd name="connsiteY46" fmla="*/ 5638146 h 6724315"/>
                <a:gd name="connsiteX47" fmla="*/ 430931 w 5884232"/>
                <a:gd name="connsiteY47" fmla="*/ 5323785 h 6724315"/>
                <a:gd name="connsiteX48" fmla="*/ 523257 w 5884232"/>
                <a:gd name="connsiteY48" fmla="*/ 5189370 h 6724315"/>
                <a:gd name="connsiteX49" fmla="*/ 41560 w 5884232"/>
                <a:gd name="connsiteY4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783719 w 5884232"/>
                <a:gd name="connsiteY40" fmla="*/ 5692347 h 6724315"/>
                <a:gd name="connsiteX41" fmla="*/ 3084321 w 5884232"/>
                <a:gd name="connsiteY41" fmla="*/ 6017548 h 6724315"/>
                <a:gd name="connsiteX42" fmla="*/ 4200272 w 5884232"/>
                <a:gd name="connsiteY42" fmla="*/ 5644651 h 6724315"/>
                <a:gd name="connsiteX43" fmla="*/ 4396968 w 5884232"/>
                <a:gd name="connsiteY43" fmla="*/ 6212667 h 6724315"/>
                <a:gd name="connsiteX44" fmla="*/ 1940272 w 5884232"/>
                <a:gd name="connsiteY44" fmla="*/ 6724315 h 6724315"/>
                <a:gd name="connsiteX45" fmla="*/ 817988 w 5884232"/>
                <a:gd name="connsiteY45" fmla="*/ 5548391 h 6724315"/>
                <a:gd name="connsiteX46" fmla="*/ 732703 w 5884232"/>
                <a:gd name="connsiteY46" fmla="*/ 5638146 h 6724315"/>
                <a:gd name="connsiteX47" fmla="*/ 430931 w 5884232"/>
                <a:gd name="connsiteY47" fmla="*/ 5323785 h 6724315"/>
                <a:gd name="connsiteX48" fmla="*/ 523257 w 5884232"/>
                <a:gd name="connsiteY48" fmla="*/ 5189370 h 6724315"/>
                <a:gd name="connsiteX49" fmla="*/ 41560 w 5884232"/>
                <a:gd name="connsiteY4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283604 w 5884232"/>
                <a:gd name="connsiteY40" fmla="*/ 5151972 h 6724315"/>
                <a:gd name="connsiteX41" fmla="*/ 1783719 w 5884232"/>
                <a:gd name="connsiteY41" fmla="*/ 5692347 h 6724315"/>
                <a:gd name="connsiteX42" fmla="*/ 3084321 w 5884232"/>
                <a:gd name="connsiteY42" fmla="*/ 6017548 h 6724315"/>
                <a:gd name="connsiteX43" fmla="*/ 4200272 w 5884232"/>
                <a:gd name="connsiteY43" fmla="*/ 5644651 h 6724315"/>
                <a:gd name="connsiteX44" fmla="*/ 4396968 w 5884232"/>
                <a:gd name="connsiteY44" fmla="*/ 6212667 h 6724315"/>
                <a:gd name="connsiteX45" fmla="*/ 1940272 w 5884232"/>
                <a:gd name="connsiteY45" fmla="*/ 6724315 h 6724315"/>
                <a:gd name="connsiteX46" fmla="*/ 817988 w 5884232"/>
                <a:gd name="connsiteY46" fmla="*/ 5548391 h 6724315"/>
                <a:gd name="connsiteX47" fmla="*/ 732703 w 5884232"/>
                <a:gd name="connsiteY47" fmla="*/ 5638146 h 6724315"/>
                <a:gd name="connsiteX48" fmla="*/ 430931 w 5884232"/>
                <a:gd name="connsiteY48" fmla="*/ 5323785 h 6724315"/>
                <a:gd name="connsiteX49" fmla="*/ 523257 w 5884232"/>
                <a:gd name="connsiteY49" fmla="*/ 5189370 h 6724315"/>
                <a:gd name="connsiteX50" fmla="*/ 41560 w 5884232"/>
                <a:gd name="connsiteY50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783719 w 5884232"/>
                <a:gd name="connsiteY41" fmla="*/ 5692347 h 6724315"/>
                <a:gd name="connsiteX42" fmla="*/ 3084321 w 5884232"/>
                <a:gd name="connsiteY42" fmla="*/ 6017548 h 6724315"/>
                <a:gd name="connsiteX43" fmla="*/ 4200272 w 5884232"/>
                <a:gd name="connsiteY43" fmla="*/ 5644651 h 6724315"/>
                <a:gd name="connsiteX44" fmla="*/ 4396968 w 5884232"/>
                <a:gd name="connsiteY44" fmla="*/ 6212667 h 6724315"/>
                <a:gd name="connsiteX45" fmla="*/ 1940272 w 5884232"/>
                <a:gd name="connsiteY45" fmla="*/ 6724315 h 6724315"/>
                <a:gd name="connsiteX46" fmla="*/ 817988 w 5884232"/>
                <a:gd name="connsiteY46" fmla="*/ 5548391 h 6724315"/>
                <a:gd name="connsiteX47" fmla="*/ 732703 w 5884232"/>
                <a:gd name="connsiteY47" fmla="*/ 5638146 h 6724315"/>
                <a:gd name="connsiteX48" fmla="*/ 430931 w 5884232"/>
                <a:gd name="connsiteY48" fmla="*/ 5323785 h 6724315"/>
                <a:gd name="connsiteX49" fmla="*/ 523257 w 5884232"/>
                <a:gd name="connsiteY49" fmla="*/ 5189370 h 6724315"/>
                <a:gd name="connsiteX50" fmla="*/ 41560 w 5884232"/>
                <a:gd name="connsiteY50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86983 w 5884232"/>
                <a:gd name="connsiteY41" fmla="*/ 5580802 h 6724315"/>
                <a:gd name="connsiteX42" fmla="*/ 1783719 w 5884232"/>
                <a:gd name="connsiteY42" fmla="*/ 5692347 h 6724315"/>
                <a:gd name="connsiteX43" fmla="*/ 3084321 w 5884232"/>
                <a:gd name="connsiteY43" fmla="*/ 6017548 h 6724315"/>
                <a:gd name="connsiteX44" fmla="*/ 4200272 w 5884232"/>
                <a:gd name="connsiteY44" fmla="*/ 5644651 h 6724315"/>
                <a:gd name="connsiteX45" fmla="*/ 4396968 w 5884232"/>
                <a:gd name="connsiteY45" fmla="*/ 6212667 h 6724315"/>
                <a:gd name="connsiteX46" fmla="*/ 1940272 w 5884232"/>
                <a:gd name="connsiteY46" fmla="*/ 6724315 h 6724315"/>
                <a:gd name="connsiteX47" fmla="*/ 817988 w 5884232"/>
                <a:gd name="connsiteY47" fmla="*/ 5548391 h 6724315"/>
                <a:gd name="connsiteX48" fmla="*/ 732703 w 5884232"/>
                <a:gd name="connsiteY48" fmla="*/ 5638146 h 6724315"/>
                <a:gd name="connsiteX49" fmla="*/ 430931 w 5884232"/>
                <a:gd name="connsiteY49" fmla="*/ 5323785 h 6724315"/>
                <a:gd name="connsiteX50" fmla="*/ 523257 w 5884232"/>
                <a:gd name="connsiteY50" fmla="*/ 5189370 h 6724315"/>
                <a:gd name="connsiteX51" fmla="*/ 41560 w 5884232"/>
                <a:gd name="connsiteY5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83719 w 5884232"/>
                <a:gd name="connsiteY42" fmla="*/ 5692347 h 6724315"/>
                <a:gd name="connsiteX43" fmla="*/ 3084321 w 5884232"/>
                <a:gd name="connsiteY43" fmla="*/ 6017548 h 6724315"/>
                <a:gd name="connsiteX44" fmla="*/ 4200272 w 5884232"/>
                <a:gd name="connsiteY44" fmla="*/ 5644651 h 6724315"/>
                <a:gd name="connsiteX45" fmla="*/ 4396968 w 5884232"/>
                <a:gd name="connsiteY45" fmla="*/ 6212667 h 6724315"/>
                <a:gd name="connsiteX46" fmla="*/ 1940272 w 5884232"/>
                <a:gd name="connsiteY46" fmla="*/ 6724315 h 6724315"/>
                <a:gd name="connsiteX47" fmla="*/ 817988 w 5884232"/>
                <a:gd name="connsiteY47" fmla="*/ 5548391 h 6724315"/>
                <a:gd name="connsiteX48" fmla="*/ 732703 w 5884232"/>
                <a:gd name="connsiteY48" fmla="*/ 5638146 h 6724315"/>
                <a:gd name="connsiteX49" fmla="*/ 430931 w 5884232"/>
                <a:gd name="connsiteY49" fmla="*/ 5323785 h 6724315"/>
                <a:gd name="connsiteX50" fmla="*/ 523257 w 5884232"/>
                <a:gd name="connsiteY50" fmla="*/ 5189370 h 6724315"/>
                <a:gd name="connsiteX51" fmla="*/ 41560 w 5884232"/>
                <a:gd name="connsiteY5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35389 w 5884232"/>
                <a:gd name="connsiteY42" fmla="*/ 5605735 h 6724315"/>
                <a:gd name="connsiteX43" fmla="*/ 1783719 w 5884232"/>
                <a:gd name="connsiteY43" fmla="*/ 5692347 h 6724315"/>
                <a:gd name="connsiteX44" fmla="*/ 3084321 w 5884232"/>
                <a:gd name="connsiteY44" fmla="*/ 6017548 h 6724315"/>
                <a:gd name="connsiteX45" fmla="*/ 4200272 w 5884232"/>
                <a:gd name="connsiteY45" fmla="*/ 5644651 h 6724315"/>
                <a:gd name="connsiteX46" fmla="*/ 4396968 w 5884232"/>
                <a:gd name="connsiteY46" fmla="*/ 6212667 h 6724315"/>
                <a:gd name="connsiteX47" fmla="*/ 1940272 w 5884232"/>
                <a:gd name="connsiteY47" fmla="*/ 6724315 h 6724315"/>
                <a:gd name="connsiteX48" fmla="*/ 817988 w 5884232"/>
                <a:gd name="connsiteY48" fmla="*/ 5548391 h 6724315"/>
                <a:gd name="connsiteX49" fmla="*/ 732703 w 5884232"/>
                <a:gd name="connsiteY49" fmla="*/ 5638146 h 6724315"/>
                <a:gd name="connsiteX50" fmla="*/ 430931 w 5884232"/>
                <a:gd name="connsiteY50" fmla="*/ 5323785 h 6724315"/>
                <a:gd name="connsiteX51" fmla="*/ 523257 w 5884232"/>
                <a:gd name="connsiteY51" fmla="*/ 5189370 h 6724315"/>
                <a:gd name="connsiteX52" fmla="*/ 41560 w 5884232"/>
                <a:gd name="connsiteY52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783719 w 5884232"/>
                <a:gd name="connsiteY43" fmla="*/ 5692347 h 6724315"/>
                <a:gd name="connsiteX44" fmla="*/ 3084321 w 5884232"/>
                <a:gd name="connsiteY44" fmla="*/ 6017548 h 6724315"/>
                <a:gd name="connsiteX45" fmla="*/ 4200272 w 5884232"/>
                <a:gd name="connsiteY45" fmla="*/ 5644651 h 6724315"/>
                <a:gd name="connsiteX46" fmla="*/ 4396968 w 5884232"/>
                <a:gd name="connsiteY46" fmla="*/ 6212667 h 6724315"/>
                <a:gd name="connsiteX47" fmla="*/ 1940272 w 5884232"/>
                <a:gd name="connsiteY47" fmla="*/ 6724315 h 6724315"/>
                <a:gd name="connsiteX48" fmla="*/ 817988 w 5884232"/>
                <a:gd name="connsiteY48" fmla="*/ 5548391 h 6724315"/>
                <a:gd name="connsiteX49" fmla="*/ 732703 w 5884232"/>
                <a:gd name="connsiteY49" fmla="*/ 5638146 h 6724315"/>
                <a:gd name="connsiteX50" fmla="*/ 430931 w 5884232"/>
                <a:gd name="connsiteY50" fmla="*/ 5323785 h 6724315"/>
                <a:gd name="connsiteX51" fmla="*/ 523257 w 5884232"/>
                <a:gd name="connsiteY51" fmla="*/ 5189370 h 6724315"/>
                <a:gd name="connsiteX52" fmla="*/ 41560 w 5884232"/>
                <a:gd name="connsiteY52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744609 w 5884232"/>
                <a:gd name="connsiteY43" fmla="*/ 5618200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817988 w 5884232"/>
                <a:gd name="connsiteY49" fmla="*/ 5548391 h 6724315"/>
                <a:gd name="connsiteX50" fmla="*/ 732703 w 5884232"/>
                <a:gd name="connsiteY50" fmla="*/ 5638146 h 6724315"/>
                <a:gd name="connsiteX51" fmla="*/ 430931 w 5884232"/>
                <a:gd name="connsiteY51" fmla="*/ 5323785 h 6724315"/>
                <a:gd name="connsiteX52" fmla="*/ 523257 w 5884232"/>
                <a:gd name="connsiteY52" fmla="*/ 5189370 h 6724315"/>
                <a:gd name="connsiteX53" fmla="*/ 41560 w 5884232"/>
                <a:gd name="connsiteY53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817988 w 5884232"/>
                <a:gd name="connsiteY49" fmla="*/ 5548391 h 6724315"/>
                <a:gd name="connsiteX50" fmla="*/ 732703 w 5884232"/>
                <a:gd name="connsiteY50" fmla="*/ 5638146 h 6724315"/>
                <a:gd name="connsiteX51" fmla="*/ 430931 w 5884232"/>
                <a:gd name="connsiteY51" fmla="*/ 5323785 h 6724315"/>
                <a:gd name="connsiteX52" fmla="*/ 523257 w 5884232"/>
                <a:gd name="connsiteY52" fmla="*/ 5189370 h 6724315"/>
                <a:gd name="connsiteX53" fmla="*/ 41560 w 5884232"/>
                <a:gd name="connsiteY53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013916 w 5884232"/>
                <a:gd name="connsiteY49" fmla="*/ 5755327 h 6724315"/>
                <a:gd name="connsiteX50" fmla="*/ 817988 w 5884232"/>
                <a:gd name="connsiteY50" fmla="*/ 5548391 h 6724315"/>
                <a:gd name="connsiteX51" fmla="*/ 732703 w 5884232"/>
                <a:gd name="connsiteY51" fmla="*/ 5638146 h 6724315"/>
                <a:gd name="connsiteX52" fmla="*/ 430931 w 5884232"/>
                <a:gd name="connsiteY52" fmla="*/ 5323785 h 6724315"/>
                <a:gd name="connsiteX53" fmla="*/ 523257 w 5884232"/>
                <a:gd name="connsiteY53" fmla="*/ 5189370 h 6724315"/>
                <a:gd name="connsiteX54" fmla="*/ 41560 w 5884232"/>
                <a:gd name="connsiteY54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013916 w 5884232"/>
                <a:gd name="connsiteY50" fmla="*/ 5755327 h 6724315"/>
                <a:gd name="connsiteX51" fmla="*/ 817988 w 5884232"/>
                <a:gd name="connsiteY51" fmla="*/ 5548391 h 6724315"/>
                <a:gd name="connsiteX52" fmla="*/ 732703 w 5884232"/>
                <a:gd name="connsiteY52" fmla="*/ 5638146 h 6724315"/>
                <a:gd name="connsiteX53" fmla="*/ 430931 w 5884232"/>
                <a:gd name="connsiteY53" fmla="*/ 5323785 h 6724315"/>
                <a:gd name="connsiteX54" fmla="*/ 523257 w 5884232"/>
                <a:gd name="connsiteY54" fmla="*/ 5189370 h 6724315"/>
                <a:gd name="connsiteX55" fmla="*/ 41560 w 5884232"/>
                <a:gd name="connsiteY55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30588 w 5884232"/>
                <a:gd name="connsiteY50" fmla="*/ 5977221 h 6724315"/>
                <a:gd name="connsiteX51" fmla="*/ 1013916 w 5884232"/>
                <a:gd name="connsiteY51" fmla="*/ 5755327 h 6724315"/>
                <a:gd name="connsiteX52" fmla="*/ 817988 w 5884232"/>
                <a:gd name="connsiteY52" fmla="*/ 5548391 h 6724315"/>
                <a:gd name="connsiteX53" fmla="*/ 732703 w 5884232"/>
                <a:gd name="connsiteY53" fmla="*/ 5638146 h 6724315"/>
                <a:gd name="connsiteX54" fmla="*/ 430931 w 5884232"/>
                <a:gd name="connsiteY54" fmla="*/ 5323785 h 6724315"/>
                <a:gd name="connsiteX55" fmla="*/ 523257 w 5884232"/>
                <a:gd name="connsiteY55" fmla="*/ 5189370 h 6724315"/>
                <a:gd name="connsiteX56" fmla="*/ 41560 w 5884232"/>
                <a:gd name="connsiteY56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32893 w 5884232"/>
                <a:gd name="connsiteY50" fmla="*/ 6032071 h 6724315"/>
                <a:gd name="connsiteX51" fmla="*/ 1013916 w 5884232"/>
                <a:gd name="connsiteY51" fmla="*/ 5755327 h 6724315"/>
                <a:gd name="connsiteX52" fmla="*/ 817988 w 5884232"/>
                <a:gd name="connsiteY52" fmla="*/ 5548391 h 6724315"/>
                <a:gd name="connsiteX53" fmla="*/ 732703 w 5884232"/>
                <a:gd name="connsiteY53" fmla="*/ 5638146 h 6724315"/>
                <a:gd name="connsiteX54" fmla="*/ 430931 w 5884232"/>
                <a:gd name="connsiteY54" fmla="*/ 5323785 h 6724315"/>
                <a:gd name="connsiteX55" fmla="*/ 523257 w 5884232"/>
                <a:gd name="connsiteY55" fmla="*/ 5189370 h 6724315"/>
                <a:gd name="connsiteX56" fmla="*/ 41560 w 5884232"/>
                <a:gd name="connsiteY56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32893 w 5884232"/>
                <a:gd name="connsiteY50" fmla="*/ 6032071 h 6724315"/>
                <a:gd name="connsiteX51" fmla="*/ 1039271 w 5884232"/>
                <a:gd name="connsiteY51" fmla="*/ 5790231 h 6724315"/>
                <a:gd name="connsiteX52" fmla="*/ 1013916 w 5884232"/>
                <a:gd name="connsiteY52" fmla="*/ 5755327 h 6724315"/>
                <a:gd name="connsiteX53" fmla="*/ 817988 w 5884232"/>
                <a:gd name="connsiteY53" fmla="*/ 5548391 h 6724315"/>
                <a:gd name="connsiteX54" fmla="*/ 732703 w 5884232"/>
                <a:gd name="connsiteY54" fmla="*/ 5638146 h 6724315"/>
                <a:gd name="connsiteX55" fmla="*/ 430931 w 5884232"/>
                <a:gd name="connsiteY55" fmla="*/ 5323785 h 6724315"/>
                <a:gd name="connsiteX56" fmla="*/ 523257 w 5884232"/>
                <a:gd name="connsiteY56" fmla="*/ 5189370 h 6724315"/>
                <a:gd name="connsiteX57" fmla="*/ 41560 w 5884232"/>
                <a:gd name="connsiteY57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32893 w 5884232"/>
                <a:gd name="connsiteY50" fmla="*/ 6032071 h 6724315"/>
                <a:gd name="connsiteX51" fmla="*/ 1000086 w 5884232"/>
                <a:gd name="connsiteY51" fmla="*/ 5782751 h 6724315"/>
                <a:gd name="connsiteX52" fmla="*/ 1013916 w 5884232"/>
                <a:gd name="connsiteY52" fmla="*/ 5755327 h 6724315"/>
                <a:gd name="connsiteX53" fmla="*/ 817988 w 5884232"/>
                <a:gd name="connsiteY53" fmla="*/ 5548391 h 6724315"/>
                <a:gd name="connsiteX54" fmla="*/ 732703 w 5884232"/>
                <a:gd name="connsiteY54" fmla="*/ 5638146 h 6724315"/>
                <a:gd name="connsiteX55" fmla="*/ 430931 w 5884232"/>
                <a:gd name="connsiteY55" fmla="*/ 5323785 h 6724315"/>
                <a:gd name="connsiteX56" fmla="*/ 523257 w 5884232"/>
                <a:gd name="connsiteY56" fmla="*/ 5189370 h 6724315"/>
                <a:gd name="connsiteX57" fmla="*/ 41560 w 5884232"/>
                <a:gd name="connsiteY57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22789 w 5884232"/>
                <a:gd name="connsiteY50" fmla="*/ 6089415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66585 w 5884232"/>
                <a:gd name="connsiteY50" fmla="*/ 6176678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66585 w 5884232"/>
                <a:gd name="connsiteY50" fmla="*/ 6176678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189098 w 5884232"/>
                <a:gd name="connsiteY50" fmla="*/ 6081936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189098 w 5884232"/>
                <a:gd name="connsiteY50" fmla="*/ 6081936 h 6724315"/>
                <a:gd name="connsiteX51" fmla="*/ 1232893 w 5884232"/>
                <a:gd name="connsiteY51" fmla="*/ 6032071 h 6724315"/>
                <a:gd name="connsiteX52" fmla="*/ 1000086 w 5884232"/>
                <a:gd name="connsiteY52" fmla="*/ 5782751 h 6724315"/>
                <a:gd name="connsiteX53" fmla="*/ 1013916 w 5884232"/>
                <a:gd name="connsiteY53" fmla="*/ 5755327 h 6724315"/>
                <a:gd name="connsiteX54" fmla="*/ 817988 w 5884232"/>
                <a:gd name="connsiteY54" fmla="*/ 5548391 h 6724315"/>
                <a:gd name="connsiteX55" fmla="*/ 732703 w 5884232"/>
                <a:gd name="connsiteY55" fmla="*/ 5638146 h 6724315"/>
                <a:gd name="connsiteX56" fmla="*/ 430931 w 5884232"/>
                <a:gd name="connsiteY56" fmla="*/ 5323785 h 6724315"/>
                <a:gd name="connsiteX57" fmla="*/ 523257 w 5884232"/>
                <a:gd name="connsiteY57" fmla="*/ 5189370 h 6724315"/>
                <a:gd name="connsiteX58" fmla="*/ 41560 w 5884232"/>
                <a:gd name="connsiteY58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81298 w 5884232"/>
                <a:gd name="connsiteY50" fmla="*/ 6114348 h 6724315"/>
                <a:gd name="connsiteX51" fmla="*/ 1189098 w 5884232"/>
                <a:gd name="connsiteY51" fmla="*/ 6081936 h 6724315"/>
                <a:gd name="connsiteX52" fmla="*/ 1232893 w 5884232"/>
                <a:gd name="connsiteY52" fmla="*/ 6032071 h 6724315"/>
                <a:gd name="connsiteX53" fmla="*/ 1000086 w 5884232"/>
                <a:gd name="connsiteY53" fmla="*/ 5782751 h 6724315"/>
                <a:gd name="connsiteX54" fmla="*/ 1013916 w 5884232"/>
                <a:gd name="connsiteY54" fmla="*/ 5755327 h 6724315"/>
                <a:gd name="connsiteX55" fmla="*/ 817988 w 5884232"/>
                <a:gd name="connsiteY55" fmla="*/ 5548391 h 6724315"/>
                <a:gd name="connsiteX56" fmla="*/ 732703 w 5884232"/>
                <a:gd name="connsiteY56" fmla="*/ 5638146 h 6724315"/>
                <a:gd name="connsiteX57" fmla="*/ 430931 w 5884232"/>
                <a:gd name="connsiteY57" fmla="*/ 5323785 h 6724315"/>
                <a:gd name="connsiteX58" fmla="*/ 523257 w 5884232"/>
                <a:gd name="connsiteY58" fmla="*/ 5189370 h 6724315"/>
                <a:gd name="connsiteX59" fmla="*/ 41560 w 5884232"/>
                <a:gd name="connsiteY5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99739 w 5884232"/>
                <a:gd name="connsiteY50" fmla="*/ 6201610 h 6724315"/>
                <a:gd name="connsiteX51" fmla="*/ 1189098 w 5884232"/>
                <a:gd name="connsiteY51" fmla="*/ 6081936 h 6724315"/>
                <a:gd name="connsiteX52" fmla="*/ 1232893 w 5884232"/>
                <a:gd name="connsiteY52" fmla="*/ 6032071 h 6724315"/>
                <a:gd name="connsiteX53" fmla="*/ 1000086 w 5884232"/>
                <a:gd name="connsiteY53" fmla="*/ 5782751 h 6724315"/>
                <a:gd name="connsiteX54" fmla="*/ 1013916 w 5884232"/>
                <a:gd name="connsiteY54" fmla="*/ 5755327 h 6724315"/>
                <a:gd name="connsiteX55" fmla="*/ 817988 w 5884232"/>
                <a:gd name="connsiteY55" fmla="*/ 5548391 h 6724315"/>
                <a:gd name="connsiteX56" fmla="*/ 732703 w 5884232"/>
                <a:gd name="connsiteY56" fmla="*/ 5638146 h 6724315"/>
                <a:gd name="connsiteX57" fmla="*/ 430931 w 5884232"/>
                <a:gd name="connsiteY57" fmla="*/ 5323785 h 6724315"/>
                <a:gd name="connsiteX58" fmla="*/ 523257 w 5884232"/>
                <a:gd name="connsiteY58" fmla="*/ 5189370 h 6724315"/>
                <a:gd name="connsiteX59" fmla="*/ 41560 w 5884232"/>
                <a:gd name="connsiteY5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299739 w 5884232"/>
                <a:gd name="connsiteY50" fmla="*/ 6201610 h 6724315"/>
                <a:gd name="connsiteX51" fmla="*/ 1189098 w 5884232"/>
                <a:gd name="connsiteY51" fmla="*/ 6081936 h 6724315"/>
                <a:gd name="connsiteX52" fmla="*/ 1232893 w 5884232"/>
                <a:gd name="connsiteY52" fmla="*/ 6032071 h 6724315"/>
                <a:gd name="connsiteX53" fmla="*/ 1000086 w 5884232"/>
                <a:gd name="connsiteY53" fmla="*/ 5782751 h 6724315"/>
                <a:gd name="connsiteX54" fmla="*/ 1013916 w 5884232"/>
                <a:gd name="connsiteY54" fmla="*/ 5755327 h 6724315"/>
                <a:gd name="connsiteX55" fmla="*/ 817988 w 5884232"/>
                <a:gd name="connsiteY55" fmla="*/ 5548391 h 6724315"/>
                <a:gd name="connsiteX56" fmla="*/ 732703 w 5884232"/>
                <a:gd name="connsiteY56" fmla="*/ 5638146 h 6724315"/>
                <a:gd name="connsiteX57" fmla="*/ 430931 w 5884232"/>
                <a:gd name="connsiteY57" fmla="*/ 5323785 h 6724315"/>
                <a:gd name="connsiteX58" fmla="*/ 523257 w 5884232"/>
                <a:gd name="connsiteY58" fmla="*/ 5189370 h 6724315"/>
                <a:gd name="connsiteX59" fmla="*/ 41560 w 5884232"/>
                <a:gd name="connsiteY59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48145 w 5884232"/>
                <a:gd name="connsiteY50" fmla="*/ 6174185 h 6724315"/>
                <a:gd name="connsiteX51" fmla="*/ 1299739 w 5884232"/>
                <a:gd name="connsiteY51" fmla="*/ 6201610 h 6724315"/>
                <a:gd name="connsiteX52" fmla="*/ 1189098 w 5884232"/>
                <a:gd name="connsiteY52" fmla="*/ 6081936 h 6724315"/>
                <a:gd name="connsiteX53" fmla="*/ 1232893 w 5884232"/>
                <a:gd name="connsiteY53" fmla="*/ 6032071 h 6724315"/>
                <a:gd name="connsiteX54" fmla="*/ 1000086 w 5884232"/>
                <a:gd name="connsiteY54" fmla="*/ 5782751 h 6724315"/>
                <a:gd name="connsiteX55" fmla="*/ 1013916 w 5884232"/>
                <a:gd name="connsiteY55" fmla="*/ 5755327 h 6724315"/>
                <a:gd name="connsiteX56" fmla="*/ 817988 w 5884232"/>
                <a:gd name="connsiteY56" fmla="*/ 5548391 h 6724315"/>
                <a:gd name="connsiteX57" fmla="*/ 732703 w 5884232"/>
                <a:gd name="connsiteY57" fmla="*/ 5638146 h 6724315"/>
                <a:gd name="connsiteX58" fmla="*/ 430931 w 5884232"/>
                <a:gd name="connsiteY58" fmla="*/ 5323785 h 6724315"/>
                <a:gd name="connsiteX59" fmla="*/ 523257 w 5884232"/>
                <a:gd name="connsiteY59" fmla="*/ 5189370 h 6724315"/>
                <a:gd name="connsiteX60" fmla="*/ 41560 w 5884232"/>
                <a:gd name="connsiteY60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45840 w 5884232"/>
                <a:gd name="connsiteY50" fmla="*/ 6151747 h 6724315"/>
                <a:gd name="connsiteX51" fmla="*/ 1299739 w 5884232"/>
                <a:gd name="connsiteY51" fmla="*/ 6201610 h 6724315"/>
                <a:gd name="connsiteX52" fmla="*/ 1189098 w 5884232"/>
                <a:gd name="connsiteY52" fmla="*/ 6081936 h 6724315"/>
                <a:gd name="connsiteX53" fmla="*/ 1232893 w 5884232"/>
                <a:gd name="connsiteY53" fmla="*/ 6032071 h 6724315"/>
                <a:gd name="connsiteX54" fmla="*/ 1000086 w 5884232"/>
                <a:gd name="connsiteY54" fmla="*/ 5782751 h 6724315"/>
                <a:gd name="connsiteX55" fmla="*/ 1013916 w 5884232"/>
                <a:gd name="connsiteY55" fmla="*/ 5755327 h 6724315"/>
                <a:gd name="connsiteX56" fmla="*/ 817988 w 5884232"/>
                <a:gd name="connsiteY56" fmla="*/ 5548391 h 6724315"/>
                <a:gd name="connsiteX57" fmla="*/ 732703 w 5884232"/>
                <a:gd name="connsiteY57" fmla="*/ 5638146 h 6724315"/>
                <a:gd name="connsiteX58" fmla="*/ 430931 w 5884232"/>
                <a:gd name="connsiteY58" fmla="*/ 5323785 h 6724315"/>
                <a:gd name="connsiteX59" fmla="*/ 523257 w 5884232"/>
                <a:gd name="connsiteY59" fmla="*/ 5189370 h 6724315"/>
                <a:gd name="connsiteX60" fmla="*/ 41560 w 5884232"/>
                <a:gd name="connsiteY60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80415 w 5884232"/>
                <a:gd name="connsiteY50" fmla="*/ 6151746 h 6724315"/>
                <a:gd name="connsiteX51" fmla="*/ 1345840 w 5884232"/>
                <a:gd name="connsiteY51" fmla="*/ 6151747 h 6724315"/>
                <a:gd name="connsiteX52" fmla="*/ 1299739 w 5884232"/>
                <a:gd name="connsiteY52" fmla="*/ 6201610 h 6724315"/>
                <a:gd name="connsiteX53" fmla="*/ 1189098 w 5884232"/>
                <a:gd name="connsiteY53" fmla="*/ 6081936 h 6724315"/>
                <a:gd name="connsiteX54" fmla="*/ 1232893 w 5884232"/>
                <a:gd name="connsiteY54" fmla="*/ 6032071 h 6724315"/>
                <a:gd name="connsiteX55" fmla="*/ 1000086 w 5884232"/>
                <a:gd name="connsiteY55" fmla="*/ 5782751 h 6724315"/>
                <a:gd name="connsiteX56" fmla="*/ 1013916 w 5884232"/>
                <a:gd name="connsiteY56" fmla="*/ 5755327 h 6724315"/>
                <a:gd name="connsiteX57" fmla="*/ 817988 w 5884232"/>
                <a:gd name="connsiteY57" fmla="*/ 5548391 h 6724315"/>
                <a:gd name="connsiteX58" fmla="*/ 732703 w 5884232"/>
                <a:gd name="connsiteY58" fmla="*/ 5638146 h 6724315"/>
                <a:gd name="connsiteX59" fmla="*/ 430931 w 5884232"/>
                <a:gd name="connsiteY59" fmla="*/ 5323785 h 6724315"/>
                <a:gd name="connsiteX60" fmla="*/ 523257 w 5884232"/>
                <a:gd name="connsiteY60" fmla="*/ 5189370 h 6724315"/>
                <a:gd name="connsiteX61" fmla="*/ 41560 w 5884232"/>
                <a:gd name="connsiteY6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71195 w 5884232"/>
                <a:gd name="connsiteY50" fmla="*/ 6184157 h 6724315"/>
                <a:gd name="connsiteX51" fmla="*/ 1345840 w 5884232"/>
                <a:gd name="connsiteY51" fmla="*/ 6151747 h 6724315"/>
                <a:gd name="connsiteX52" fmla="*/ 1299739 w 5884232"/>
                <a:gd name="connsiteY52" fmla="*/ 6201610 h 6724315"/>
                <a:gd name="connsiteX53" fmla="*/ 1189098 w 5884232"/>
                <a:gd name="connsiteY53" fmla="*/ 6081936 h 6724315"/>
                <a:gd name="connsiteX54" fmla="*/ 1232893 w 5884232"/>
                <a:gd name="connsiteY54" fmla="*/ 6032071 h 6724315"/>
                <a:gd name="connsiteX55" fmla="*/ 1000086 w 5884232"/>
                <a:gd name="connsiteY55" fmla="*/ 5782751 h 6724315"/>
                <a:gd name="connsiteX56" fmla="*/ 1013916 w 5884232"/>
                <a:gd name="connsiteY56" fmla="*/ 5755327 h 6724315"/>
                <a:gd name="connsiteX57" fmla="*/ 817988 w 5884232"/>
                <a:gd name="connsiteY57" fmla="*/ 5548391 h 6724315"/>
                <a:gd name="connsiteX58" fmla="*/ 732703 w 5884232"/>
                <a:gd name="connsiteY58" fmla="*/ 5638146 h 6724315"/>
                <a:gd name="connsiteX59" fmla="*/ 430931 w 5884232"/>
                <a:gd name="connsiteY59" fmla="*/ 5323785 h 6724315"/>
                <a:gd name="connsiteX60" fmla="*/ 523257 w 5884232"/>
                <a:gd name="connsiteY60" fmla="*/ 5189370 h 6724315"/>
                <a:gd name="connsiteX61" fmla="*/ 41560 w 5884232"/>
                <a:gd name="connsiteY6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98855 w 5884232"/>
                <a:gd name="connsiteY49" fmla="*/ 6151746 h 6724315"/>
                <a:gd name="connsiteX50" fmla="*/ 1371195 w 5884232"/>
                <a:gd name="connsiteY50" fmla="*/ 6184157 h 6724315"/>
                <a:gd name="connsiteX51" fmla="*/ 1345840 w 5884232"/>
                <a:gd name="connsiteY51" fmla="*/ 6151747 h 6724315"/>
                <a:gd name="connsiteX52" fmla="*/ 1304349 w 5884232"/>
                <a:gd name="connsiteY52" fmla="*/ 6209090 h 6724315"/>
                <a:gd name="connsiteX53" fmla="*/ 1189098 w 5884232"/>
                <a:gd name="connsiteY53" fmla="*/ 6081936 h 6724315"/>
                <a:gd name="connsiteX54" fmla="*/ 1232893 w 5884232"/>
                <a:gd name="connsiteY54" fmla="*/ 6032071 h 6724315"/>
                <a:gd name="connsiteX55" fmla="*/ 1000086 w 5884232"/>
                <a:gd name="connsiteY55" fmla="*/ 5782751 h 6724315"/>
                <a:gd name="connsiteX56" fmla="*/ 1013916 w 5884232"/>
                <a:gd name="connsiteY56" fmla="*/ 5755327 h 6724315"/>
                <a:gd name="connsiteX57" fmla="*/ 817988 w 5884232"/>
                <a:gd name="connsiteY57" fmla="*/ 5548391 h 6724315"/>
                <a:gd name="connsiteX58" fmla="*/ 732703 w 5884232"/>
                <a:gd name="connsiteY58" fmla="*/ 5638146 h 6724315"/>
                <a:gd name="connsiteX59" fmla="*/ 430931 w 5884232"/>
                <a:gd name="connsiteY59" fmla="*/ 5323785 h 6724315"/>
                <a:gd name="connsiteX60" fmla="*/ 523257 w 5884232"/>
                <a:gd name="connsiteY60" fmla="*/ 5189370 h 6724315"/>
                <a:gd name="connsiteX61" fmla="*/ 41560 w 5884232"/>
                <a:gd name="connsiteY6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385024 w 5884232"/>
                <a:gd name="connsiteY49" fmla="*/ 6164212 h 6724315"/>
                <a:gd name="connsiteX50" fmla="*/ 1371195 w 5884232"/>
                <a:gd name="connsiteY50" fmla="*/ 6184157 h 6724315"/>
                <a:gd name="connsiteX51" fmla="*/ 1345840 w 5884232"/>
                <a:gd name="connsiteY51" fmla="*/ 6151747 h 6724315"/>
                <a:gd name="connsiteX52" fmla="*/ 1304349 w 5884232"/>
                <a:gd name="connsiteY52" fmla="*/ 6209090 h 6724315"/>
                <a:gd name="connsiteX53" fmla="*/ 1189098 w 5884232"/>
                <a:gd name="connsiteY53" fmla="*/ 6081936 h 6724315"/>
                <a:gd name="connsiteX54" fmla="*/ 1232893 w 5884232"/>
                <a:gd name="connsiteY54" fmla="*/ 6032071 h 6724315"/>
                <a:gd name="connsiteX55" fmla="*/ 1000086 w 5884232"/>
                <a:gd name="connsiteY55" fmla="*/ 5782751 h 6724315"/>
                <a:gd name="connsiteX56" fmla="*/ 1013916 w 5884232"/>
                <a:gd name="connsiteY56" fmla="*/ 5755327 h 6724315"/>
                <a:gd name="connsiteX57" fmla="*/ 817988 w 5884232"/>
                <a:gd name="connsiteY57" fmla="*/ 5548391 h 6724315"/>
                <a:gd name="connsiteX58" fmla="*/ 732703 w 5884232"/>
                <a:gd name="connsiteY58" fmla="*/ 5638146 h 6724315"/>
                <a:gd name="connsiteX59" fmla="*/ 430931 w 5884232"/>
                <a:gd name="connsiteY59" fmla="*/ 5323785 h 6724315"/>
                <a:gd name="connsiteX60" fmla="*/ 523257 w 5884232"/>
                <a:gd name="connsiteY60" fmla="*/ 5189370 h 6724315"/>
                <a:gd name="connsiteX61" fmla="*/ 41560 w 5884232"/>
                <a:gd name="connsiteY61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509496 w 5884232"/>
                <a:gd name="connsiteY49" fmla="*/ 6283886 h 6724315"/>
                <a:gd name="connsiteX50" fmla="*/ 1385024 w 5884232"/>
                <a:gd name="connsiteY50" fmla="*/ 6164212 h 6724315"/>
                <a:gd name="connsiteX51" fmla="*/ 1371195 w 5884232"/>
                <a:gd name="connsiteY51" fmla="*/ 6184157 h 6724315"/>
                <a:gd name="connsiteX52" fmla="*/ 1345840 w 5884232"/>
                <a:gd name="connsiteY52" fmla="*/ 6151747 h 6724315"/>
                <a:gd name="connsiteX53" fmla="*/ 1304349 w 5884232"/>
                <a:gd name="connsiteY53" fmla="*/ 6209090 h 6724315"/>
                <a:gd name="connsiteX54" fmla="*/ 1189098 w 5884232"/>
                <a:gd name="connsiteY54" fmla="*/ 6081936 h 6724315"/>
                <a:gd name="connsiteX55" fmla="*/ 1232893 w 5884232"/>
                <a:gd name="connsiteY55" fmla="*/ 6032071 h 6724315"/>
                <a:gd name="connsiteX56" fmla="*/ 1000086 w 5884232"/>
                <a:gd name="connsiteY56" fmla="*/ 5782751 h 6724315"/>
                <a:gd name="connsiteX57" fmla="*/ 1013916 w 5884232"/>
                <a:gd name="connsiteY57" fmla="*/ 5755327 h 6724315"/>
                <a:gd name="connsiteX58" fmla="*/ 817988 w 5884232"/>
                <a:gd name="connsiteY58" fmla="*/ 5548391 h 6724315"/>
                <a:gd name="connsiteX59" fmla="*/ 732703 w 5884232"/>
                <a:gd name="connsiteY59" fmla="*/ 5638146 h 6724315"/>
                <a:gd name="connsiteX60" fmla="*/ 430931 w 5884232"/>
                <a:gd name="connsiteY60" fmla="*/ 5323785 h 6724315"/>
                <a:gd name="connsiteX61" fmla="*/ 523257 w 5884232"/>
                <a:gd name="connsiteY61" fmla="*/ 5189370 h 6724315"/>
                <a:gd name="connsiteX62" fmla="*/ 41560 w 5884232"/>
                <a:gd name="connsiteY62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541767 w 5884232"/>
                <a:gd name="connsiteY49" fmla="*/ 6338736 h 6724315"/>
                <a:gd name="connsiteX50" fmla="*/ 1385024 w 5884232"/>
                <a:gd name="connsiteY50" fmla="*/ 6164212 h 6724315"/>
                <a:gd name="connsiteX51" fmla="*/ 1371195 w 5884232"/>
                <a:gd name="connsiteY51" fmla="*/ 6184157 h 6724315"/>
                <a:gd name="connsiteX52" fmla="*/ 1345840 w 5884232"/>
                <a:gd name="connsiteY52" fmla="*/ 6151747 h 6724315"/>
                <a:gd name="connsiteX53" fmla="*/ 1304349 w 5884232"/>
                <a:gd name="connsiteY53" fmla="*/ 6209090 h 6724315"/>
                <a:gd name="connsiteX54" fmla="*/ 1189098 w 5884232"/>
                <a:gd name="connsiteY54" fmla="*/ 6081936 h 6724315"/>
                <a:gd name="connsiteX55" fmla="*/ 1232893 w 5884232"/>
                <a:gd name="connsiteY55" fmla="*/ 6032071 h 6724315"/>
                <a:gd name="connsiteX56" fmla="*/ 1000086 w 5884232"/>
                <a:gd name="connsiteY56" fmla="*/ 5782751 h 6724315"/>
                <a:gd name="connsiteX57" fmla="*/ 1013916 w 5884232"/>
                <a:gd name="connsiteY57" fmla="*/ 5755327 h 6724315"/>
                <a:gd name="connsiteX58" fmla="*/ 817988 w 5884232"/>
                <a:gd name="connsiteY58" fmla="*/ 5548391 h 6724315"/>
                <a:gd name="connsiteX59" fmla="*/ 732703 w 5884232"/>
                <a:gd name="connsiteY59" fmla="*/ 5638146 h 6724315"/>
                <a:gd name="connsiteX60" fmla="*/ 430931 w 5884232"/>
                <a:gd name="connsiteY60" fmla="*/ 5323785 h 6724315"/>
                <a:gd name="connsiteX61" fmla="*/ 523257 w 5884232"/>
                <a:gd name="connsiteY61" fmla="*/ 5189370 h 6724315"/>
                <a:gd name="connsiteX62" fmla="*/ 41560 w 5884232"/>
                <a:gd name="connsiteY62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620137 w 5884232"/>
                <a:gd name="connsiteY49" fmla="*/ 6413532 h 6724315"/>
                <a:gd name="connsiteX50" fmla="*/ 1541767 w 5884232"/>
                <a:gd name="connsiteY50" fmla="*/ 6338736 h 6724315"/>
                <a:gd name="connsiteX51" fmla="*/ 1385024 w 5884232"/>
                <a:gd name="connsiteY51" fmla="*/ 6164212 h 6724315"/>
                <a:gd name="connsiteX52" fmla="*/ 1371195 w 5884232"/>
                <a:gd name="connsiteY52" fmla="*/ 6184157 h 6724315"/>
                <a:gd name="connsiteX53" fmla="*/ 1345840 w 5884232"/>
                <a:gd name="connsiteY53" fmla="*/ 6151747 h 6724315"/>
                <a:gd name="connsiteX54" fmla="*/ 1304349 w 5884232"/>
                <a:gd name="connsiteY54" fmla="*/ 6209090 h 6724315"/>
                <a:gd name="connsiteX55" fmla="*/ 1189098 w 5884232"/>
                <a:gd name="connsiteY55" fmla="*/ 6081936 h 6724315"/>
                <a:gd name="connsiteX56" fmla="*/ 1232893 w 5884232"/>
                <a:gd name="connsiteY56" fmla="*/ 6032071 h 6724315"/>
                <a:gd name="connsiteX57" fmla="*/ 1000086 w 5884232"/>
                <a:gd name="connsiteY57" fmla="*/ 5782751 h 6724315"/>
                <a:gd name="connsiteX58" fmla="*/ 1013916 w 5884232"/>
                <a:gd name="connsiteY58" fmla="*/ 5755327 h 6724315"/>
                <a:gd name="connsiteX59" fmla="*/ 817988 w 5884232"/>
                <a:gd name="connsiteY59" fmla="*/ 5548391 h 6724315"/>
                <a:gd name="connsiteX60" fmla="*/ 732703 w 5884232"/>
                <a:gd name="connsiteY60" fmla="*/ 5638146 h 6724315"/>
                <a:gd name="connsiteX61" fmla="*/ 430931 w 5884232"/>
                <a:gd name="connsiteY61" fmla="*/ 5323785 h 6724315"/>
                <a:gd name="connsiteX62" fmla="*/ 523257 w 5884232"/>
                <a:gd name="connsiteY62" fmla="*/ 5189370 h 6724315"/>
                <a:gd name="connsiteX63" fmla="*/ 41560 w 5884232"/>
                <a:gd name="connsiteY63" fmla="*/ 3281515 h 6724315"/>
                <a:gd name="connsiteX0" fmla="*/ 41560 w 5884232"/>
                <a:gd name="connsiteY0" fmla="*/ 3281515 h 6724315"/>
                <a:gd name="connsiteX1" fmla="*/ 250907 w 5884232"/>
                <a:gd name="connsiteY1" fmla="*/ 2374266 h 6724315"/>
                <a:gd name="connsiteX2" fmla="*/ 218176 w 5884232"/>
                <a:gd name="connsiteY2" fmla="*/ 2331944 h 6724315"/>
                <a:gd name="connsiteX3" fmla="*/ 290433 w 5884232"/>
                <a:gd name="connsiteY3" fmla="*/ 2067448 h 6724315"/>
                <a:gd name="connsiteX4" fmla="*/ 326149 w 5884232"/>
                <a:gd name="connsiteY4" fmla="*/ 2050403 h 6724315"/>
                <a:gd name="connsiteX5" fmla="*/ 1333506 w 5884232"/>
                <a:gd name="connsiteY5" fmla="*/ 647002 h 6724315"/>
                <a:gd name="connsiteX6" fmla="*/ 1546422 w 5884232"/>
                <a:gd name="connsiteY6" fmla="*/ 547251 h 6724315"/>
                <a:gd name="connsiteX7" fmla="*/ 1526361 w 5884232"/>
                <a:gd name="connsiteY7" fmla="*/ 432260 h 6724315"/>
                <a:gd name="connsiteX8" fmla="*/ 1722126 w 5884232"/>
                <a:gd name="connsiteY8" fmla="*/ 380302 h 6724315"/>
                <a:gd name="connsiteX9" fmla="*/ 1739499 w 5884232"/>
                <a:gd name="connsiteY9" fmla="*/ 481442 h 6724315"/>
                <a:gd name="connsiteX10" fmla="*/ 1866574 w 5884232"/>
                <a:gd name="connsiteY10" fmla="*/ 442651 h 6724315"/>
                <a:gd name="connsiteX11" fmla="*/ 1897053 w 5884232"/>
                <a:gd name="connsiteY11" fmla="*/ 393463 h 6724315"/>
                <a:gd name="connsiteX12" fmla="*/ 2132940 w 5884232"/>
                <a:gd name="connsiteY12" fmla="*/ 319342 h 6724315"/>
                <a:gd name="connsiteX13" fmla="*/ 2173395 w 5884232"/>
                <a:gd name="connsiteY13" fmla="*/ 352592 h 6724315"/>
                <a:gd name="connsiteX14" fmla="*/ 2369937 w 5884232"/>
                <a:gd name="connsiteY14" fmla="*/ 288171 h 6724315"/>
                <a:gd name="connsiteX15" fmla="*/ 2329149 w 5884232"/>
                <a:gd name="connsiteY15" fmla="*/ 119840 h 6724315"/>
                <a:gd name="connsiteX16" fmla="*/ 2712392 w 5884232"/>
                <a:gd name="connsiteY16" fmla="*/ 0 h 6724315"/>
                <a:gd name="connsiteX17" fmla="*/ 2760690 w 5884232"/>
                <a:gd name="connsiteY17" fmla="*/ 165560 h 6724315"/>
                <a:gd name="connsiteX18" fmla="*/ 4524241 w 5884232"/>
                <a:gd name="connsiteY18" fmla="*/ 680900 h 6724315"/>
                <a:gd name="connsiteX19" fmla="*/ 5074371 w 5884232"/>
                <a:gd name="connsiteY19" fmla="*/ 1291242 h 6724315"/>
                <a:gd name="connsiteX20" fmla="*/ 5135775 w 5884232"/>
                <a:gd name="connsiteY20" fmla="*/ 1298860 h 6724315"/>
                <a:gd name="connsiteX21" fmla="*/ 5300616 w 5884232"/>
                <a:gd name="connsiteY21" fmla="*/ 1479661 h 6724315"/>
                <a:gd name="connsiteX22" fmla="*/ 5300839 w 5884232"/>
                <a:gd name="connsiteY22" fmla="*/ 1535080 h 6724315"/>
                <a:gd name="connsiteX23" fmla="*/ 5462103 w 5884232"/>
                <a:gd name="connsiteY23" fmla="*/ 1726990 h 6724315"/>
                <a:gd name="connsiteX24" fmla="*/ 5842091 w 5884232"/>
                <a:gd name="connsiteY24" fmla="*/ 3519512 h 6724315"/>
                <a:gd name="connsiteX25" fmla="*/ 5650012 w 5884232"/>
                <a:gd name="connsiteY25" fmla="*/ 4385669 h 6724315"/>
                <a:gd name="connsiteX26" fmla="*/ 5780228 w 5884232"/>
                <a:gd name="connsiteY26" fmla="*/ 4452156 h 6724315"/>
                <a:gd name="connsiteX27" fmla="*/ 5710779 w 5884232"/>
                <a:gd name="connsiteY27" fmla="*/ 4870077 h 6724315"/>
                <a:gd name="connsiteX28" fmla="*/ 5553250 w 5884232"/>
                <a:gd name="connsiteY28" fmla="*/ 4807792 h 6724315"/>
                <a:gd name="connsiteX29" fmla="*/ 4425987 w 5884232"/>
                <a:gd name="connsiteY29" fmla="*/ 6199821 h 6724315"/>
                <a:gd name="connsiteX30" fmla="*/ 4243686 w 5884232"/>
                <a:gd name="connsiteY30" fmla="*/ 5610934 h 6724315"/>
                <a:gd name="connsiteX31" fmla="*/ 5030652 w 5884232"/>
                <a:gd name="connsiteY31" fmla="*/ 4596953 h 6724315"/>
                <a:gd name="connsiteX32" fmla="*/ 5310701 w 5884232"/>
                <a:gd name="connsiteY32" fmla="*/ 3352779 h 6724315"/>
                <a:gd name="connsiteX33" fmla="*/ 4991885 w 5884232"/>
                <a:gd name="connsiteY33" fmla="*/ 2049487 h 6724315"/>
                <a:gd name="connsiteX34" fmla="*/ 4174632 w 5884232"/>
                <a:gd name="connsiteY34" fmla="*/ 1163055 h 6724315"/>
                <a:gd name="connsiteX35" fmla="*/ 2880366 w 5884232"/>
                <a:gd name="connsiteY35" fmla="*/ 761302 h 6724315"/>
                <a:gd name="connsiteX36" fmla="*/ 1882146 w 5884232"/>
                <a:gd name="connsiteY36" fmla="*/ 1081342 h 6724315"/>
                <a:gd name="connsiteX37" fmla="*/ 873226 w 5884232"/>
                <a:gd name="connsiteY37" fmla="*/ 2111591 h 6724315"/>
                <a:gd name="connsiteX38" fmla="*/ 571891 w 5884232"/>
                <a:gd name="connsiteY38" fmla="*/ 3464807 h 6724315"/>
                <a:gd name="connsiteX39" fmla="*/ 1077217 w 5884232"/>
                <a:gd name="connsiteY39" fmla="*/ 4933546 h 6724315"/>
                <a:gd name="connsiteX40" fmla="*/ 1548682 w 5884232"/>
                <a:gd name="connsiteY40" fmla="*/ 5436198 h 6724315"/>
                <a:gd name="connsiteX41" fmla="*/ 1610916 w 5884232"/>
                <a:gd name="connsiteY41" fmla="*/ 5418743 h 6724315"/>
                <a:gd name="connsiteX42" fmla="*/ 1714643 w 5884232"/>
                <a:gd name="connsiteY42" fmla="*/ 5533432 h 6724315"/>
                <a:gd name="connsiteX43" fmla="*/ 1693898 w 5884232"/>
                <a:gd name="connsiteY43" fmla="*/ 5598255 h 6724315"/>
                <a:gd name="connsiteX44" fmla="*/ 1783719 w 5884232"/>
                <a:gd name="connsiteY44" fmla="*/ 5692347 h 6724315"/>
                <a:gd name="connsiteX45" fmla="*/ 3084321 w 5884232"/>
                <a:gd name="connsiteY45" fmla="*/ 6017548 h 6724315"/>
                <a:gd name="connsiteX46" fmla="*/ 4200272 w 5884232"/>
                <a:gd name="connsiteY46" fmla="*/ 5644651 h 6724315"/>
                <a:gd name="connsiteX47" fmla="*/ 4396968 w 5884232"/>
                <a:gd name="connsiteY47" fmla="*/ 6212667 h 6724315"/>
                <a:gd name="connsiteX48" fmla="*/ 1940272 w 5884232"/>
                <a:gd name="connsiteY48" fmla="*/ 6724315 h 6724315"/>
                <a:gd name="connsiteX49" fmla="*/ 1578647 w 5884232"/>
                <a:gd name="connsiteY49" fmla="*/ 6346215 h 6724315"/>
                <a:gd name="connsiteX50" fmla="*/ 1541767 w 5884232"/>
                <a:gd name="connsiteY50" fmla="*/ 6338736 h 6724315"/>
                <a:gd name="connsiteX51" fmla="*/ 1385024 w 5884232"/>
                <a:gd name="connsiteY51" fmla="*/ 6164212 h 6724315"/>
                <a:gd name="connsiteX52" fmla="*/ 1371195 w 5884232"/>
                <a:gd name="connsiteY52" fmla="*/ 6184157 h 6724315"/>
                <a:gd name="connsiteX53" fmla="*/ 1345840 w 5884232"/>
                <a:gd name="connsiteY53" fmla="*/ 6151747 h 6724315"/>
                <a:gd name="connsiteX54" fmla="*/ 1304349 w 5884232"/>
                <a:gd name="connsiteY54" fmla="*/ 6209090 h 6724315"/>
                <a:gd name="connsiteX55" fmla="*/ 1189098 w 5884232"/>
                <a:gd name="connsiteY55" fmla="*/ 6081936 h 6724315"/>
                <a:gd name="connsiteX56" fmla="*/ 1232893 w 5884232"/>
                <a:gd name="connsiteY56" fmla="*/ 6032071 h 6724315"/>
                <a:gd name="connsiteX57" fmla="*/ 1000086 w 5884232"/>
                <a:gd name="connsiteY57" fmla="*/ 5782751 h 6724315"/>
                <a:gd name="connsiteX58" fmla="*/ 1013916 w 5884232"/>
                <a:gd name="connsiteY58" fmla="*/ 5755327 h 6724315"/>
                <a:gd name="connsiteX59" fmla="*/ 817988 w 5884232"/>
                <a:gd name="connsiteY59" fmla="*/ 5548391 h 6724315"/>
                <a:gd name="connsiteX60" fmla="*/ 732703 w 5884232"/>
                <a:gd name="connsiteY60" fmla="*/ 5638146 h 6724315"/>
                <a:gd name="connsiteX61" fmla="*/ 430931 w 5884232"/>
                <a:gd name="connsiteY61" fmla="*/ 5323785 h 6724315"/>
                <a:gd name="connsiteX62" fmla="*/ 523257 w 5884232"/>
                <a:gd name="connsiteY62" fmla="*/ 5189370 h 6724315"/>
                <a:gd name="connsiteX63" fmla="*/ 41560 w 5884232"/>
                <a:gd name="connsiteY63" fmla="*/ 3281515 h 6724315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1928747 w 5884232"/>
                <a:gd name="connsiteY48" fmla="*/ 6734288 h 6734288"/>
                <a:gd name="connsiteX49" fmla="*/ 1578647 w 5884232"/>
                <a:gd name="connsiteY49" fmla="*/ 6346215 h 6734288"/>
                <a:gd name="connsiteX50" fmla="*/ 1541767 w 5884232"/>
                <a:gd name="connsiteY50" fmla="*/ 6338736 h 6734288"/>
                <a:gd name="connsiteX51" fmla="*/ 1385024 w 5884232"/>
                <a:gd name="connsiteY51" fmla="*/ 6164212 h 6734288"/>
                <a:gd name="connsiteX52" fmla="*/ 1371195 w 5884232"/>
                <a:gd name="connsiteY52" fmla="*/ 6184157 h 6734288"/>
                <a:gd name="connsiteX53" fmla="*/ 1345840 w 5884232"/>
                <a:gd name="connsiteY53" fmla="*/ 6151747 h 6734288"/>
                <a:gd name="connsiteX54" fmla="*/ 1304349 w 5884232"/>
                <a:gd name="connsiteY54" fmla="*/ 6209090 h 6734288"/>
                <a:gd name="connsiteX55" fmla="*/ 1189098 w 5884232"/>
                <a:gd name="connsiteY55" fmla="*/ 6081936 h 6734288"/>
                <a:gd name="connsiteX56" fmla="*/ 1232893 w 5884232"/>
                <a:gd name="connsiteY56" fmla="*/ 6032071 h 6734288"/>
                <a:gd name="connsiteX57" fmla="*/ 1000086 w 5884232"/>
                <a:gd name="connsiteY57" fmla="*/ 5782751 h 6734288"/>
                <a:gd name="connsiteX58" fmla="*/ 1013916 w 5884232"/>
                <a:gd name="connsiteY58" fmla="*/ 5755327 h 6734288"/>
                <a:gd name="connsiteX59" fmla="*/ 817988 w 5884232"/>
                <a:gd name="connsiteY59" fmla="*/ 5548391 h 6734288"/>
                <a:gd name="connsiteX60" fmla="*/ 732703 w 5884232"/>
                <a:gd name="connsiteY60" fmla="*/ 5638146 h 6734288"/>
                <a:gd name="connsiteX61" fmla="*/ 430931 w 5884232"/>
                <a:gd name="connsiteY61" fmla="*/ 5323785 h 6734288"/>
                <a:gd name="connsiteX62" fmla="*/ 523257 w 5884232"/>
                <a:gd name="connsiteY62" fmla="*/ 5189370 h 6734288"/>
                <a:gd name="connsiteX63" fmla="*/ 41560 w 5884232"/>
                <a:gd name="connsiteY63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800310 w 5884232"/>
                <a:gd name="connsiteY48" fmla="*/ 6545671 h 6734288"/>
                <a:gd name="connsiteX49" fmla="*/ 1928747 w 5884232"/>
                <a:gd name="connsiteY49" fmla="*/ 6734288 h 6734288"/>
                <a:gd name="connsiteX50" fmla="*/ 1578647 w 5884232"/>
                <a:gd name="connsiteY50" fmla="*/ 6346215 h 6734288"/>
                <a:gd name="connsiteX51" fmla="*/ 1541767 w 5884232"/>
                <a:gd name="connsiteY51" fmla="*/ 6338736 h 6734288"/>
                <a:gd name="connsiteX52" fmla="*/ 1385024 w 5884232"/>
                <a:gd name="connsiteY52" fmla="*/ 6164212 h 6734288"/>
                <a:gd name="connsiteX53" fmla="*/ 1371195 w 5884232"/>
                <a:gd name="connsiteY53" fmla="*/ 6184157 h 6734288"/>
                <a:gd name="connsiteX54" fmla="*/ 1345840 w 5884232"/>
                <a:gd name="connsiteY54" fmla="*/ 6151747 h 6734288"/>
                <a:gd name="connsiteX55" fmla="*/ 1304349 w 5884232"/>
                <a:gd name="connsiteY55" fmla="*/ 6209090 h 6734288"/>
                <a:gd name="connsiteX56" fmla="*/ 1189098 w 5884232"/>
                <a:gd name="connsiteY56" fmla="*/ 6081936 h 6734288"/>
                <a:gd name="connsiteX57" fmla="*/ 1232893 w 5884232"/>
                <a:gd name="connsiteY57" fmla="*/ 6032071 h 6734288"/>
                <a:gd name="connsiteX58" fmla="*/ 1000086 w 5884232"/>
                <a:gd name="connsiteY58" fmla="*/ 5782751 h 6734288"/>
                <a:gd name="connsiteX59" fmla="*/ 1013916 w 5884232"/>
                <a:gd name="connsiteY59" fmla="*/ 5755327 h 6734288"/>
                <a:gd name="connsiteX60" fmla="*/ 817988 w 5884232"/>
                <a:gd name="connsiteY60" fmla="*/ 5548391 h 6734288"/>
                <a:gd name="connsiteX61" fmla="*/ 732703 w 5884232"/>
                <a:gd name="connsiteY61" fmla="*/ 5638146 h 6734288"/>
                <a:gd name="connsiteX62" fmla="*/ 430931 w 5884232"/>
                <a:gd name="connsiteY62" fmla="*/ 5323785 h 6734288"/>
                <a:gd name="connsiteX63" fmla="*/ 523257 w 5884232"/>
                <a:gd name="connsiteY63" fmla="*/ 5189370 h 6734288"/>
                <a:gd name="connsiteX64" fmla="*/ 41560 w 5884232"/>
                <a:gd name="connsiteY64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615908 w 5884232"/>
                <a:gd name="connsiteY48" fmla="*/ 6593043 h 6734288"/>
                <a:gd name="connsiteX49" fmla="*/ 1928747 w 5884232"/>
                <a:gd name="connsiteY49" fmla="*/ 6734288 h 6734288"/>
                <a:gd name="connsiteX50" fmla="*/ 1578647 w 5884232"/>
                <a:gd name="connsiteY50" fmla="*/ 6346215 h 6734288"/>
                <a:gd name="connsiteX51" fmla="*/ 1541767 w 5884232"/>
                <a:gd name="connsiteY51" fmla="*/ 6338736 h 6734288"/>
                <a:gd name="connsiteX52" fmla="*/ 1385024 w 5884232"/>
                <a:gd name="connsiteY52" fmla="*/ 6164212 h 6734288"/>
                <a:gd name="connsiteX53" fmla="*/ 1371195 w 5884232"/>
                <a:gd name="connsiteY53" fmla="*/ 6184157 h 6734288"/>
                <a:gd name="connsiteX54" fmla="*/ 1345840 w 5884232"/>
                <a:gd name="connsiteY54" fmla="*/ 6151747 h 6734288"/>
                <a:gd name="connsiteX55" fmla="*/ 1304349 w 5884232"/>
                <a:gd name="connsiteY55" fmla="*/ 6209090 h 6734288"/>
                <a:gd name="connsiteX56" fmla="*/ 1189098 w 5884232"/>
                <a:gd name="connsiteY56" fmla="*/ 6081936 h 6734288"/>
                <a:gd name="connsiteX57" fmla="*/ 1232893 w 5884232"/>
                <a:gd name="connsiteY57" fmla="*/ 6032071 h 6734288"/>
                <a:gd name="connsiteX58" fmla="*/ 1000086 w 5884232"/>
                <a:gd name="connsiteY58" fmla="*/ 5782751 h 6734288"/>
                <a:gd name="connsiteX59" fmla="*/ 1013916 w 5884232"/>
                <a:gd name="connsiteY59" fmla="*/ 5755327 h 6734288"/>
                <a:gd name="connsiteX60" fmla="*/ 817988 w 5884232"/>
                <a:gd name="connsiteY60" fmla="*/ 5548391 h 6734288"/>
                <a:gd name="connsiteX61" fmla="*/ 732703 w 5884232"/>
                <a:gd name="connsiteY61" fmla="*/ 5638146 h 6734288"/>
                <a:gd name="connsiteX62" fmla="*/ 430931 w 5884232"/>
                <a:gd name="connsiteY62" fmla="*/ 5323785 h 6734288"/>
                <a:gd name="connsiteX63" fmla="*/ 523257 w 5884232"/>
                <a:gd name="connsiteY63" fmla="*/ 5189370 h 6734288"/>
                <a:gd name="connsiteX64" fmla="*/ 41560 w 5884232"/>
                <a:gd name="connsiteY64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611297 w 5884232"/>
                <a:gd name="connsiteY48" fmla="*/ 6590550 h 6734288"/>
                <a:gd name="connsiteX49" fmla="*/ 1928747 w 5884232"/>
                <a:gd name="connsiteY49" fmla="*/ 6734288 h 6734288"/>
                <a:gd name="connsiteX50" fmla="*/ 1578647 w 5884232"/>
                <a:gd name="connsiteY50" fmla="*/ 6346215 h 6734288"/>
                <a:gd name="connsiteX51" fmla="*/ 1541767 w 5884232"/>
                <a:gd name="connsiteY51" fmla="*/ 6338736 h 6734288"/>
                <a:gd name="connsiteX52" fmla="*/ 1385024 w 5884232"/>
                <a:gd name="connsiteY52" fmla="*/ 6164212 h 6734288"/>
                <a:gd name="connsiteX53" fmla="*/ 1371195 w 5884232"/>
                <a:gd name="connsiteY53" fmla="*/ 6184157 h 6734288"/>
                <a:gd name="connsiteX54" fmla="*/ 1345840 w 5884232"/>
                <a:gd name="connsiteY54" fmla="*/ 6151747 h 6734288"/>
                <a:gd name="connsiteX55" fmla="*/ 1304349 w 5884232"/>
                <a:gd name="connsiteY55" fmla="*/ 6209090 h 6734288"/>
                <a:gd name="connsiteX56" fmla="*/ 1189098 w 5884232"/>
                <a:gd name="connsiteY56" fmla="*/ 6081936 h 6734288"/>
                <a:gd name="connsiteX57" fmla="*/ 1232893 w 5884232"/>
                <a:gd name="connsiteY57" fmla="*/ 6032071 h 6734288"/>
                <a:gd name="connsiteX58" fmla="*/ 1000086 w 5884232"/>
                <a:gd name="connsiteY58" fmla="*/ 5782751 h 6734288"/>
                <a:gd name="connsiteX59" fmla="*/ 1013916 w 5884232"/>
                <a:gd name="connsiteY59" fmla="*/ 5755327 h 6734288"/>
                <a:gd name="connsiteX60" fmla="*/ 817988 w 5884232"/>
                <a:gd name="connsiteY60" fmla="*/ 5548391 h 6734288"/>
                <a:gd name="connsiteX61" fmla="*/ 732703 w 5884232"/>
                <a:gd name="connsiteY61" fmla="*/ 5638146 h 6734288"/>
                <a:gd name="connsiteX62" fmla="*/ 430931 w 5884232"/>
                <a:gd name="connsiteY62" fmla="*/ 5323785 h 6734288"/>
                <a:gd name="connsiteX63" fmla="*/ 523257 w 5884232"/>
                <a:gd name="connsiteY63" fmla="*/ 5189370 h 6734288"/>
                <a:gd name="connsiteX64" fmla="*/ 41560 w 5884232"/>
                <a:gd name="connsiteY64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779565 w 5884232"/>
                <a:gd name="connsiteY48" fmla="*/ 6555643 h 6734288"/>
                <a:gd name="connsiteX49" fmla="*/ 2611297 w 5884232"/>
                <a:gd name="connsiteY49" fmla="*/ 6590550 h 6734288"/>
                <a:gd name="connsiteX50" fmla="*/ 1928747 w 5884232"/>
                <a:gd name="connsiteY50" fmla="*/ 6734288 h 6734288"/>
                <a:gd name="connsiteX51" fmla="*/ 1578647 w 5884232"/>
                <a:gd name="connsiteY51" fmla="*/ 6346215 h 6734288"/>
                <a:gd name="connsiteX52" fmla="*/ 1541767 w 5884232"/>
                <a:gd name="connsiteY52" fmla="*/ 6338736 h 6734288"/>
                <a:gd name="connsiteX53" fmla="*/ 1385024 w 5884232"/>
                <a:gd name="connsiteY53" fmla="*/ 6164212 h 6734288"/>
                <a:gd name="connsiteX54" fmla="*/ 1371195 w 5884232"/>
                <a:gd name="connsiteY54" fmla="*/ 6184157 h 6734288"/>
                <a:gd name="connsiteX55" fmla="*/ 1345840 w 5884232"/>
                <a:gd name="connsiteY55" fmla="*/ 6151747 h 6734288"/>
                <a:gd name="connsiteX56" fmla="*/ 1304349 w 5884232"/>
                <a:gd name="connsiteY56" fmla="*/ 6209090 h 6734288"/>
                <a:gd name="connsiteX57" fmla="*/ 1189098 w 5884232"/>
                <a:gd name="connsiteY57" fmla="*/ 6081936 h 6734288"/>
                <a:gd name="connsiteX58" fmla="*/ 1232893 w 5884232"/>
                <a:gd name="connsiteY58" fmla="*/ 6032071 h 6734288"/>
                <a:gd name="connsiteX59" fmla="*/ 1000086 w 5884232"/>
                <a:gd name="connsiteY59" fmla="*/ 5782751 h 6734288"/>
                <a:gd name="connsiteX60" fmla="*/ 1013916 w 5884232"/>
                <a:gd name="connsiteY60" fmla="*/ 5755327 h 6734288"/>
                <a:gd name="connsiteX61" fmla="*/ 817988 w 5884232"/>
                <a:gd name="connsiteY61" fmla="*/ 5548391 h 6734288"/>
                <a:gd name="connsiteX62" fmla="*/ 732703 w 5884232"/>
                <a:gd name="connsiteY62" fmla="*/ 5638146 h 6734288"/>
                <a:gd name="connsiteX63" fmla="*/ 430931 w 5884232"/>
                <a:gd name="connsiteY63" fmla="*/ 5323785 h 6734288"/>
                <a:gd name="connsiteX64" fmla="*/ 523257 w 5884232"/>
                <a:gd name="connsiteY64" fmla="*/ 5189370 h 6734288"/>
                <a:gd name="connsiteX65" fmla="*/ 41560 w 5884232"/>
                <a:gd name="connsiteY65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2689669 w 5884232"/>
                <a:gd name="connsiteY48" fmla="*/ 6682796 h 6734288"/>
                <a:gd name="connsiteX49" fmla="*/ 2611297 w 5884232"/>
                <a:gd name="connsiteY49" fmla="*/ 6590550 h 6734288"/>
                <a:gd name="connsiteX50" fmla="*/ 1928747 w 5884232"/>
                <a:gd name="connsiteY50" fmla="*/ 6734288 h 6734288"/>
                <a:gd name="connsiteX51" fmla="*/ 1578647 w 5884232"/>
                <a:gd name="connsiteY51" fmla="*/ 6346215 h 6734288"/>
                <a:gd name="connsiteX52" fmla="*/ 1541767 w 5884232"/>
                <a:gd name="connsiteY52" fmla="*/ 6338736 h 6734288"/>
                <a:gd name="connsiteX53" fmla="*/ 1385024 w 5884232"/>
                <a:gd name="connsiteY53" fmla="*/ 6164212 h 6734288"/>
                <a:gd name="connsiteX54" fmla="*/ 1371195 w 5884232"/>
                <a:gd name="connsiteY54" fmla="*/ 6184157 h 6734288"/>
                <a:gd name="connsiteX55" fmla="*/ 1345840 w 5884232"/>
                <a:gd name="connsiteY55" fmla="*/ 6151747 h 6734288"/>
                <a:gd name="connsiteX56" fmla="*/ 1304349 w 5884232"/>
                <a:gd name="connsiteY56" fmla="*/ 6209090 h 6734288"/>
                <a:gd name="connsiteX57" fmla="*/ 1189098 w 5884232"/>
                <a:gd name="connsiteY57" fmla="*/ 6081936 h 6734288"/>
                <a:gd name="connsiteX58" fmla="*/ 1232893 w 5884232"/>
                <a:gd name="connsiteY58" fmla="*/ 6032071 h 6734288"/>
                <a:gd name="connsiteX59" fmla="*/ 1000086 w 5884232"/>
                <a:gd name="connsiteY59" fmla="*/ 5782751 h 6734288"/>
                <a:gd name="connsiteX60" fmla="*/ 1013916 w 5884232"/>
                <a:gd name="connsiteY60" fmla="*/ 5755327 h 6734288"/>
                <a:gd name="connsiteX61" fmla="*/ 817988 w 5884232"/>
                <a:gd name="connsiteY61" fmla="*/ 5548391 h 6734288"/>
                <a:gd name="connsiteX62" fmla="*/ 732703 w 5884232"/>
                <a:gd name="connsiteY62" fmla="*/ 5638146 h 6734288"/>
                <a:gd name="connsiteX63" fmla="*/ 430931 w 5884232"/>
                <a:gd name="connsiteY63" fmla="*/ 5323785 h 6734288"/>
                <a:gd name="connsiteX64" fmla="*/ 523257 w 5884232"/>
                <a:gd name="connsiteY64" fmla="*/ 5189370 h 6734288"/>
                <a:gd name="connsiteX65" fmla="*/ 41560 w 5884232"/>
                <a:gd name="connsiteY65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344296 w 5884232"/>
                <a:gd name="connsiteY48" fmla="*/ 6500793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76913 w 5884232"/>
                <a:gd name="connsiteY48" fmla="*/ 6657865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43686 w 5884232"/>
                <a:gd name="connsiteY30" fmla="*/ 5610934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25987 w 5884232"/>
                <a:gd name="connsiteY29" fmla="*/ 6199821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027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9492 w 5884232"/>
                <a:gd name="connsiteY46" fmla="*/ 5644651 h 6734288"/>
                <a:gd name="connsiteX47" fmla="*/ 4396968 w 5884232"/>
                <a:gd name="connsiteY47" fmla="*/ 6212667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548682 w 5884232"/>
                <a:gd name="connsiteY40" fmla="*/ 5436198 h 6734288"/>
                <a:gd name="connsiteX41" fmla="*/ 1610916 w 5884232"/>
                <a:gd name="connsiteY41" fmla="*/ 5418743 h 6734288"/>
                <a:gd name="connsiteX42" fmla="*/ 1714643 w 5884232"/>
                <a:gd name="connsiteY42" fmla="*/ 5533432 h 6734288"/>
                <a:gd name="connsiteX43" fmla="*/ 1693898 w 5884232"/>
                <a:gd name="connsiteY43" fmla="*/ 5598255 h 6734288"/>
                <a:gd name="connsiteX44" fmla="*/ 1783719 w 5884232"/>
                <a:gd name="connsiteY44" fmla="*/ 5692347 h 6734288"/>
                <a:gd name="connsiteX45" fmla="*/ 3084321 w 5884232"/>
                <a:gd name="connsiteY45" fmla="*/ 6017548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206546 w 5884232"/>
                <a:gd name="connsiteY40" fmla="*/ 5094818 h 6734288"/>
                <a:gd name="connsiteX41" fmla="*/ 1548682 w 5884232"/>
                <a:gd name="connsiteY41" fmla="*/ 5436198 h 6734288"/>
                <a:gd name="connsiteX42" fmla="*/ 1610916 w 5884232"/>
                <a:gd name="connsiteY42" fmla="*/ 5418743 h 6734288"/>
                <a:gd name="connsiteX43" fmla="*/ 1714643 w 5884232"/>
                <a:gd name="connsiteY43" fmla="*/ 5533432 h 6734288"/>
                <a:gd name="connsiteX44" fmla="*/ 1693898 w 5884232"/>
                <a:gd name="connsiteY44" fmla="*/ 5598255 h 6734288"/>
                <a:gd name="connsiteX45" fmla="*/ 1783719 w 5884232"/>
                <a:gd name="connsiteY45" fmla="*/ 5692347 h 6734288"/>
                <a:gd name="connsiteX46" fmla="*/ 3084321 w 5884232"/>
                <a:gd name="connsiteY46" fmla="*/ 6017548 h 6734288"/>
                <a:gd name="connsiteX47" fmla="*/ 4209492 w 5884232"/>
                <a:gd name="connsiteY47" fmla="*/ 5644651 h 6734288"/>
                <a:gd name="connsiteX48" fmla="*/ 4406189 w 5884232"/>
                <a:gd name="connsiteY48" fmla="*/ 6217653 h 6734288"/>
                <a:gd name="connsiteX49" fmla="*/ 3067693 w 5884232"/>
                <a:gd name="connsiteY49" fmla="*/ 6660358 h 6734288"/>
                <a:gd name="connsiteX50" fmla="*/ 2689669 w 5884232"/>
                <a:gd name="connsiteY50" fmla="*/ 6682796 h 6734288"/>
                <a:gd name="connsiteX51" fmla="*/ 2611297 w 5884232"/>
                <a:gd name="connsiteY51" fmla="*/ 6590550 h 6734288"/>
                <a:gd name="connsiteX52" fmla="*/ 1928747 w 5884232"/>
                <a:gd name="connsiteY52" fmla="*/ 6734288 h 6734288"/>
                <a:gd name="connsiteX53" fmla="*/ 1578647 w 5884232"/>
                <a:gd name="connsiteY53" fmla="*/ 6346215 h 6734288"/>
                <a:gd name="connsiteX54" fmla="*/ 1541767 w 5884232"/>
                <a:gd name="connsiteY54" fmla="*/ 6338736 h 6734288"/>
                <a:gd name="connsiteX55" fmla="*/ 1385024 w 5884232"/>
                <a:gd name="connsiteY55" fmla="*/ 6164212 h 6734288"/>
                <a:gd name="connsiteX56" fmla="*/ 1371195 w 5884232"/>
                <a:gd name="connsiteY56" fmla="*/ 6184157 h 6734288"/>
                <a:gd name="connsiteX57" fmla="*/ 1345840 w 5884232"/>
                <a:gd name="connsiteY57" fmla="*/ 6151747 h 6734288"/>
                <a:gd name="connsiteX58" fmla="*/ 1304349 w 5884232"/>
                <a:gd name="connsiteY58" fmla="*/ 6209090 h 6734288"/>
                <a:gd name="connsiteX59" fmla="*/ 1189098 w 5884232"/>
                <a:gd name="connsiteY59" fmla="*/ 6081936 h 6734288"/>
                <a:gd name="connsiteX60" fmla="*/ 1232893 w 5884232"/>
                <a:gd name="connsiteY60" fmla="*/ 6032071 h 6734288"/>
                <a:gd name="connsiteX61" fmla="*/ 1000086 w 5884232"/>
                <a:gd name="connsiteY61" fmla="*/ 5782751 h 6734288"/>
                <a:gd name="connsiteX62" fmla="*/ 1013916 w 5884232"/>
                <a:gd name="connsiteY62" fmla="*/ 5755327 h 6734288"/>
                <a:gd name="connsiteX63" fmla="*/ 817988 w 5884232"/>
                <a:gd name="connsiteY63" fmla="*/ 5548391 h 6734288"/>
                <a:gd name="connsiteX64" fmla="*/ 732703 w 5884232"/>
                <a:gd name="connsiteY64" fmla="*/ 5638146 h 6734288"/>
                <a:gd name="connsiteX65" fmla="*/ 430931 w 5884232"/>
                <a:gd name="connsiteY65" fmla="*/ 5323785 h 6734288"/>
                <a:gd name="connsiteX66" fmla="*/ 523257 w 5884232"/>
                <a:gd name="connsiteY66" fmla="*/ 5189370 h 6734288"/>
                <a:gd name="connsiteX67" fmla="*/ 41560 w 5884232"/>
                <a:gd name="connsiteY67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206546 w 5884232"/>
                <a:gd name="connsiteY40" fmla="*/ 5094818 h 6734288"/>
                <a:gd name="connsiteX41" fmla="*/ 1548682 w 5884232"/>
                <a:gd name="connsiteY41" fmla="*/ 5436198 h 6734288"/>
                <a:gd name="connsiteX42" fmla="*/ 1610916 w 5884232"/>
                <a:gd name="connsiteY42" fmla="*/ 5418743 h 6734288"/>
                <a:gd name="connsiteX43" fmla="*/ 1714643 w 5884232"/>
                <a:gd name="connsiteY43" fmla="*/ 5533432 h 6734288"/>
                <a:gd name="connsiteX44" fmla="*/ 1693898 w 5884232"/>
                <a:gd name="connsiteY44" fmla="*/ 5598255 h 6734288"/>
                <a:gd name="connsiteX45" fmla="*/ 1783719 w 5884232"/>
                <a:gd name="connsiteY45" fmla="*/ 5692347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3067693 w 5884232"/>
                <a:gd name="connsiteY48" fmla="*/ 6660358 h 6734288"/>
                <a:gd name="connsiteX49" fmla="*/ 2689669 w 5884232"/>
                <a:gd name="connsiteY49" fmla="*/ 6682796 h 6734288"/>
                <a:gd name="connsiteX50" fmla="*/ 2611297 w 5884232"/>
                <a:gd name="connsiteY50" fmla="*/ 6590550 h 6734288"/>
                <a:gd name="connsiteX51" fmla="*/ 1928747 w 5884232"/>
                <a:gd name="connsiteY51" fmla="*/ 6734288 h 6734288"/>
                <a:gd name="connsiteX52" fmla="*/ 1578647 w 5884232"/>
                <a:gd name="connsiteY52" fmla="*/ 6346215 h 6734288"/>
                <a:gd name="connsiteX53" fmla="*/ 1541767 w 5884232"/>
                <a:gd name="connsiteY53" fmla="*/ 6338736 h 6734288"/>
                <a:gd name="connsiteX54" fmla="*/ 1385024 w 5884232"/>
                <a:gd name="connsiteY54" fmla="*/ 6164212 h 6734288"/>
                <a:gd name="connsiteX55" fmla="*/ 1371195 w 5884232"/>
                <a:gd name="connsiteY55" fmla="*/ 6184157 h 6734288"/>
                <a:gd name="connsiteX56" fmla="*/ 1345840 w 5884232"/>
                <a:gd name="connsiteY56" fmla="*/ 6151747 h 6734288"/>
                <a:gd name="connsiteX57" fmla="*/ 1304349 w 5884232"/>
                <a:gd name="connsiteY57" fmla="*/ 6209090 h 6734288"/>
                <a:gd name="connsiteX58" fmla="*/ 1189098 w 5884232"/>
                <a:gd name="connsiteY58" fmla="*/ 6081936 h 6734288"/>
                <a:gd name="connsiteX59" fmla="*/ 1232893 w 5884232"/>
                <a:gd name="connsiteY59" fmla="*/ 6032071 h 6734288"/>
                <a:gd name="connsiteX60" fmla="*/ 1000086 w 5884232"/>
                <a:gd name="connsiteY60" fmla="*/ 5782751 h 6734288"/>
                <a:gd name="connsiteX61" fmla="*/ 1013916 w 5884232"/>
                <a:gd name="connsiteY61" fmla="*/ 5755327 h 6734288"/>
                <a:gd name="connsiteX62" fmla="*/ 817988 w 5884232"/>
                <a:gd name="connsiteY62" fmla="*/ 5548391 h 6734288"/>
                <a:gd name="connsiteX63" fmla="*/ 732703 w 5884232"/>
                <a:gd name="connsiteY63" fmla="*/ 5638146 h 6734288"/>
                <a:gd name="connsiteX64" fmla="*/ 430931 w 5884232"/>
                <a:gd name="connsiteY64" fmla="*/ 5323785 h 6734288"/>
                <a:gd name="connsiteX65" fmla="*/ 523257 w 5884232"/>
                <a:gd name="connsiteY65" fmla="*/ 5189370 h 6734288"/>
                <a:gd name="connsiteX66" fmla="*/ 41560 w 5884232"/>
                <a:gd name="connsiteY66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206546 w 5884232"/>
                <a:gd name="connsiteY40" fmla="*/ 5094818 h 6734288"/>
                <a:gd name="connsiteX41" fmla="*/ 1548682 w 5884232"/>
                <a:gd name="connsiteY41" fmla="*/ 5436198 h 6734288"/>
                <a:gd name="connsiteX42" fmla="*/ 1610916 w 5884232"/>
                <a:gd name="connsiteY42" fmla="*/ 5418743 h 6734288"/>
                <a:gd name="connsiteX43" fmla="*/ 1714643 w 5884232"/>
                <a:gd name="connsiteY43" fmla="*/ 5533432 h 6734288"/>
                <a:gd name="connsiteX44" fmla="*/ 1693898 w 5884232"/>
                <a:gd name="connsiteY44" fmla="*/ 5598255 h 6734288"/>
                <a:gd name="connsiteX45" fmla="*/ 1783719 w 5884232"/>
                <a:gd name="connsiteY45" fmla="*/ 5692347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2689669 w 5884232"/>
                <a:gd name="connsiteY48" fmla="*/ 6682796 h 6734288"/>
                <a:gd name="connsiteX49" fmla="*/ 2611297 w 5884232"/>
                <a:gd name="connsiteY49" fmla="*/ 6590550 h 6734288"/>
                <a:gd name="connsiteX50" fmla="*/ 1928747 w 5884232"/>
                <a:gd name="connsiteY50" fmla="*/ 6734288 h 6734288"/>
                <a:gd name="connsiteX51" fmla="*/ 1578647 w 5884232"/>
                <a:gd name="connsiteY51" fmla="*/ 6346215 h 6734288"/>
                <a:gd name="connsiteX52" fmla="*/ 1541767 w 5884232"/>
                <a:gd name="connsiteY52" fmla="*/ 6338736 h 6734288"/>
                <a:gd name="connsiteX53" fmla="*/ 1385024 w 5884232"/>
                <a:gd name="connsiteY53" fmla="*/ 6164212 h 6734288"/>
                <a:gd name="connsiteX54" fmla="*/ 1371195 w 5884232"/>
                <a:gd name="connsiteY54" fmla="*/ 6184157 h 6734288"/>
                <a:gd name="connsiteX55" fmla="*/ 1345840 w 5884232"/>
                <a:gd name="connsiteY55" fmla="*/ 6151747 h 6734288"/>
                <a:gd name="connsiteX56" fmla="*/ 1304349 w 5884232"/>
                <a:gd name="connsiteY56" fmla="*/ 6209090 h 6734288"/>
                <a:gd name="connsiteX57" fmla="*/ 1189098 w 5884232"/>
                <a:gd name="connsiteY57" fmla="*/ 6081936 h 6734288"/>
                <a:gd name="connsiteX58" fmla="*/ 1232893 w 5884232"/>
                <a:gd name="connsiteY58" fmla="*/ 6032071 h 6734288"/>
                <a:gd name="connsiteX59" fmla="*/ 1000086 w 5884232"/>
                <a:gd name="connsiteY59" fmla="*/ 5782751 h 6734288"/>
                <a:gd name="connsiteX60" fmla="*/ 1013916 w 5884232"/>
                <a:gd name="connsiteY60" fmla="*/ 5755327 h 6734288"/>
                <a:gd name="connsiteX61" fmla="*/ 817988 w 5884232"/>
                <a:gd name="connsiteY61" fmla="*/ 5548391 h 6734288"/>
                <a:gd name="connsiteX62" fmla="*/ 732703 w 5884232"/>
                <a:gd name="connsiteY62" fmla="*/ 5638146 h 6734288"/>
                <a:gd name="connsiteX63" fmla="*/ 430931 w 5884232"/>
                <a:gd name="connsiteY63" fmla="*/ 5323785 h 6734288"/>
                <a:gd name="connsiteX64" fmla="*/ 523257 w 5884232"/>
                <a:gd name="connsiteY64" fmla="*/ 5189370 h 6734288"/>
                <a:gd name="connsiteX65" fmla="*/ 41560 w 5884232"/>
                <a:gd name="connsiteY65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206546 w 5884232"/>
                <a:gd name="connsiteY40" fmla="*/ 5094818 h 6734288"/>
                <a:gd name="connsiteX41" fmla="*/ 1548682 w 5884232"/>
                <a:gd name="connsiteY41" fmla="*/ 5436198 h 6734288"/>
                <a:gd name="connsiteX42" fmla="*/ 1610916 w 5884232"/>
                <a:gd name="connsiteY42" fmla="*/ 5418743 h 6734288"/>
                <a:gd name="connsiteX43" fmla="*/ 1714643 w 5884232"/>
                <a:gd name="connsiteY43" fmla="*/ 5533432 h 6734288"/>
                <a:gd name="connsiteX44" fmla="*/ 1693898 w 5884232"/>
                <a:gd name="connsiteY44" fmla="*/ 5598255 h 6734288"/>
                <a:gd name="connsiteX45" fmla="*/ 1783719 w 5884232"/>
                <a:gd name="connsiteY45" fmla="*/ 5692347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2611297 w 5884232"/>
                <a:gd name="connsiteY48" fmla="*/ 6590550 h 6734288"/>
                <a:gd name="connsiteX49" fmla="*/ 1928747 w 5884232"/>
                <a:gd name="connsiteY49" fmla="*/ 6734288 h 6734288"/>
                <a:gd name="connsiteX50" fmla="*/ 1578647 w 5884232"/>
                <a:gd name="connsiteY50" fmla="*/ 6346215 h 6734288"/>
                <a:gd name="connsiteX51" fmla="*/ 1541767 w 5884232"/>
                <a:gd name="connsiteY51" fmla="*/ 6338736 h 6734288"/>
                <a:gd name="connsiteX52" fmla="*/ 1385024 w 5884232"/>
                <a:gd name="connsiteY52" fmla="*/ 6164212 h 6734288"/>
                <a:gd name="connsiteX53" fmla="*/ 1371195 w 5884232"/>
                <a:gd name="connsiteY53" fmla="*/ 6184157 h 6734288"/>
                <a:gd name="connsiteX54" fmla="*/ 1345840 w 5884232"/>
                <a:gd name="connsiteY54" fmla="*/ 6151747 h 6734288"/>
                <a:gd name="connsiteX55" fmla="*/ 1304349 w 5884232"/>
                <a:gd name="connsiteY55" fmla="*/ 6209090 h 6734288"/>
                <a:gd name="connsiteX56" fmla="*/ 1189098 w 5884232"/>
                <a:gd name="connsiteY56" fmla="*/ 6081936 h 6734288"/>
                <a:gd name="connsiteX57" fmla="*/ 1232893 w 5884232"/>
                <a:gd name="connsiteY57" fmla="*/ 6032071 h 6734288"/>
                <a:gd name="connsiteX58" fmla="*/ 1000086 w 5884232"/>
                <a:gd name="connsiteY58" fmla="*/ 5782751 h 6734288"/>
                <a:gd name="connsiteX59" fmla="*/ 1013916 w 5884232"/>
                <a:gd name="connsiteY59" fmla="*/ 5755327 h 6734288"/>
                <a:gd name="connsiteX60" fmla="*/ 817988 w 5884232"/>
                <a:gd name="connsiteY60" fmla="*/ 5548391 h 6734288"/>
                <a:gd name="connsiteX61" fmla="*/ 732703 w 5884232"/>
                <a:gd name="connsiteY61" fmla="*/ 5638146 h 6734288"/>
                <a:gd name="connsiteX62" fmla="*/ 430931 w 5884232"/>
                <a:gd name="connsiteY62" fmla="*/ 5323785 h 6734288"/>
                <a:gd name="connsiteX63" fmla="*/ 523257 w 5884232"/>
                <a:gd name="connsiteY63" fmla="*/ 5189370 h 6734288"/>
                <a:gd name="connsiteX64" fmla="*/ 41560 w 5884232"/>
                <a:gd name="connsiteY64" fmla="*/ 3281515 h 6734288"/>
                <a:gd name="connsiteX0" fmla="*/ 41560 w 5884232"/>
                <a:gd name="connsiteY0" fmla="*/ 3281515 h 6734288"/>
                <a:gd name="connsiteX1" fmla="*/ 250907 w 5884232"/>
                <a:gd name="connsiteY1" fmla="*/ 2374266 h 6734288"/>
                <a:gd name="connsiteX2" fmla="*/ 218176 w 5884232"/>
                <a:gd name="connsiteY2" fmla="*/ 2331944 h 6734288"/>
                <a:gd name="connsiteX3" fmla="*/ 290433 w 5884232"/>
                <a:gd name="connsiteY3" fmla="*/ 2067448 h 6734288"/>
                <a:gd name="connsiteX4" fmla="*/ 326149 w 5884232"/>
                <a:gd name="connsiteY4" fmla="*/ 2050403 h 6734288"/>
                <a:gd name="connsiteX5" fmla="*/ 1333506 w 5884232"/>
                <a:gd name="connsiteY5" fmla="*/ 647002 h 6734288"/>
                <a:gd name="connsiteX6" fmla="*/ 1546422 w 5884232"/>
                <a:gd name="connsiteY6" fmla="*/ 547251 h 6734288"/>
                <a:gd name="connsiteX7" fmla="*/ 1526361 w 5884232"/>
                <a:gd name="connsiteY7" fmla="*/ 432260 h 6734288"/>
                <a:gd name="connsiteX8" fmla="*/ 1722126 w 5884232"/>
                <a:gd name="connsiteY8" fmla="*/ 380302 h 6734288"/>
                <a:gd name="connsiteX9" fmla="*/ 1739499 w 5884232"/>
                <a:gd name="connsiteY9" fmla="*/ 481442 h 6734288"/>
                <a:gd name="connsiteX10" fmla="*/ 1866574 w 5884232"/>
                <a:gd name="connsiteY10" fmla="*/ 442651 h 6734288"/>
                <a:gd name="connsiteX11" fmla="*/ 1897053 w 5884232"/>
                <a:gd name="connsiteY11" fmla="*/ 393463 h 6734288"/>
                <a:gd name="connsiteX12" fmla="*/ 2132940 w 5884232"/>
                <a:gd name="connsiteY12" fmla="*/ 319342 h 6734288"/>
                <a:gd name="connsiteX13" fmla="*/ 2173395 w 5884232"/>
                <a:gd name="connsiteY13" fmla="*/ 352592 h 6734288"/>
                <a:gd name="connsiteX14" fmla="*/ 2369937 w 5884232"/>
                <a:gd name="connsiteY14" fmla="*/ 288171 h 6734288"/>
                <a:gd name="connsiteX15" fmla="*/ 2329149 w 5884232"/>
                <a:gd name="connsiteY15" fmla="*/ 119840 h 6734288"/>
                <a:gd name="connsiteX16" fmla="*/ 2712392 w 5884232"/>
                <a:gd name="connsiteY16" fmla="*/ 0 h 6734288"/>
                <a:gd name="connsiteX17" fmla="*/ 2760690 w 5884232"/>
                <a:gd name="connsiteY17" fmla="*/ 165560 h 6734288"/>
                <a:gd name="connsiteX18" fmla="*/ 4524241 w 5884232"/>
                <a:gd name="connsiteY18" fmla="*/ 680900 h 6734288"/>
                <a:gd name="connsiteX19" fmla="*/ 5074371 w 5884232"/>
                <a:gd name="connsiteY19" fmla="*/ 1291242 h 6734288"/>
                <a:gd name="connsiteX20" fmla="*/ 5135775 w 5884232"/>
                <a:gd name="connsiteY20" fmla="*/ 1298860 h 6734288"/>
                <a:gd name="connsiteX21" fmla="*/ 5300616 w 5884232"/>
                <a:gd name="connsiteY21" fmla="*/ 1479661 h 6734288"/>
                <a:gd name="connsiteX22" fmla="*/ 5300839 w 5884232"/>
                <a:gd name="connsiteY22" fmla="*/ 1535080 h 6734288"/>
                <a:gd name="connsiteX23" fmla="*/ 5462103 w 5884232"/>
                <a:gd name="connsiteY23" fmla="*/ 1726990 h 6734288"/>
                <a:gd name="connsiteX24" fmla="*/ 5842091 w 5884232"/>
                <a:gd name="connsiteY24" fmla="*/ 3519512 h 6734288"/>
                <a:gd name="connsiteX25" fmla="*/ 5650012 w 5884232"/>
                <a:gd name="connsiteY25" fmla="*/ 4385669 h 6734288"/>
                <a:gd name="connsiteX26" fmla="*/ 5780228 w 5884232"/>
                <a:gd name="connsiteY26" fmla="*/ 4452156 h 6734288"/>
                <a:gd name="connsiteX27" fmla="*/ 5710779 w 5884232"/>
                <a:gd name="connsiteY27" fmla="*/ 4870077 h 6734288"/>
                <a:gd name="connsiteX28" fmla="*/ 5553250 w 5884232"/>
                <a:gd name="connsiteY28" fmla="*/ 4807792 h 6734288"/>
                <a:gd name="connsiteX29" fmla="*/ 4409852 w 5884232"/>
                <a:gd name="connsiteY29" fmla="*/ 6212288 h 6734288"/>
                <a:gd name="connsiteX30" fmla="*/ 4213721 w 5884232"/>
                <a:gd name="connsiteY30" fmla="*/ 5643346 h 6734288"/>
                <a:gd name="connsiteX31" fmla="*/ 5030652 w 5884232"/>
                <a:gd name="connsiteY31" fmla="*/ 4596953 h 6734288"/>
                <a:gd name="connsiteX32" fmla="*/ 5310701 w 5884232"/>
                <a:gd name="connsiteY32" fmla="*/ 3352779 h 6734288"/>
                <a:gd name="connsiteX33" fmla="*/ 4991885 w 5884232"/>
                <a:gd name="connsiteY33" fmla="*/ 2049487 h 6734288"/>
                <a:gd name="connsiteX34" fmla="*/ 4174632 w 5884232"/>
                <a:gd name="connsiteY34" fmla="*/ 1163055 h 6734288"/>
                <a:gd name="connsiteX35" fmla="*/ 2880366 w 5884232"/>
                <a:gd name="connsiteY35" fmla="*/ 761302 h 6734288"/>
                <a:gd name="connsiteX36" fmla="*/ 1882146 w 5884232"/>
                <a:gd name="connsiteY36" fmla="*/ 1081342 h 6734288"/>
                <a:gd name="connsiteX37" fmla="*/ 873226 w 5884232"/>
                <a:gd name="connsiteY37" fmla="*/ 2111591 h 6734288"/>
                <a:gd name="connsiteX38" fmla="*/ 571891 w 5884232"/>
                <a:gd name="connsiteY38" fmla="*/ 3464807 h 6734288"/>
                <a:gd name="connsiteX39" fmla="*/ 1077217 w 5884232"/>
                <a:gd name="connsiteY39" fmla="*/ 4933546 h 6734288"/>
                <a:gd name="connsiteX40" fmla="*/ 1206546 w 5884232"/>
                <a:gd name="connsiteY40" fmla="*/ 5094818 h 6734288"/>
                <a:gd name="connsiteX41" fmla="*/ 1548682 w 5884232"/>
                <a:gd name="connsiteY41" fmla="*/ 5436198 h 6734288"/>
                <a:gd name="connsiteX42" fmla="*/ 1610916 w 5884232"/>
                <a:gd name="connsiteY42" fmla="*/ 5418743 h 6734288"/>
                <a:gd name="connsiteX43" fmla="*/ 1714643 w 5884232"/>
                <a:gd name="connsiteY43" fmla="*/ 5533432 h 6734288"/>
                <a:gd name="connsiteX44" fmla="*/ 1693898 w 5884232"/>
                <a:gd name="connsiteY44" fmla="*/ 5598255 h 6734288"/>
                <a:gd name="connsiteX45" fmla="*/ 1783719 w 5884232"/>
                <a:gd name="connsiteY45" fmla="*/ 5692347 h 6734288"/>
                <a:gd name="connsiteX46" fmla="*/ 4209492 w 5884232"/>
                <a:gd name="connsiteY46" fmla="*/ 5644651 h 6734288"/>
                <a:gd name="connsiteX47" fmla="*/ 4406189 w 5884232"/>
                <a:gd name="connsiteY47" fmla="*/ 6217653 h 6734288"/>
                <a:gd name="connsiteX48" fmla="*/ 1928747 w 5884232"/>
                <a:gd name="connsiteY48" fmla="*/ 6734288 h 6734288"/>
                <a:gd name="connsiteX49" fmla="*/ 1578647 w 5884232"/>
                <a:gd name="connsiteY49" fmla="*/ 6346215 h 6734288"/>
                <a:gd name="connsiteX50" fmla="*/ 1541767 w 5884232"/>
                <a:gd name="connsiteY50" fmla="*/ 6338736 h 6734288"/>
                <a:gd name="connsiteX51" fmla="*/ 1385024 w 5884232"/>
                <a:gd name="connsiteY51" fmla="*/ 6164212 h 6734288"/>
                <a:gd name="connsiteX52" fmla="*/ 1371195 w 5884232"/>
                <a:gd name="connsiteY52" fmla="*/ 6184157 h 6734288"/>
                <a:gd name="connsiteX53" fmla="*/ 1345840 w 5884232"/>
                <a:gd name="connsiteY53" fmla="*/ 6151747 h 6734288"/>
                <a:gd name="connsiteX54" fmla="*/ 1304349 w 5884232"/>
                <a:gd name="connsiteY54" fmla="*/ 6209090 h 6734288"/>
                <a:gd name="connsiteX55" fmla="*/ 1189098 w 5884232"/>
                <a:gd name="connsiteY55" fmla="*/ 6081936 h 6734288"/>
                <a:gd name="connsiteX56" fmla="*/ 1232893 w 5884232"/>
                <a:gd name="connsiteY56" fmla="*/ 6032071 h 6734288"/>
                <a:gd name="connsiteX57" fmla="*/ 1000086 w 5884232"/>
                <a:gd name="connsiteY57" fmla="*/ 5782751 h 6734288"/>
                <a:gd name="connsiteX58" fmla="*/ 1013916 w 5884232"/>
                <a:gd name="connsiteY58" fmla="*/ 5755327 h 6734288"/>
                <a:gd name="connsiteX59" fmla="*/ 817988 w 5884232"/>
                <a:gd name="connsiteY59" fmla="*/ 5548391 h 6734288"/>
                <a:gd name="connsiteX60" fmla="*/ 732703 w 5884232"/>
                <a:gd name="connsiteY60" fmla="*/ 5638146 h 6734288"/>
                <a:gd name="connsiteX61" fmla="*/ 430931 w 5884232"/>
                <a:gd name="connsiteY61" fmla="*/ 5323785 h 6734288"/>
                <a:gd name="connsiteX62" fmla="*/ 523257 w 5884232"/>
                <a:gd name="connsiteY62" fmla="*/ 5189370 h 6734288"/>
                <a:gd name="connsiteX63" fmla="*/ 41560 w 5884232"/>
                <a:gd name="connsiteY63" fmla="*/ 3281515 h 6734288"/>
                <a:gd name="connsiteX0" fmla="*/ 41560 w 5884232"/>
                <a:gd name="connsiteY0" fmla="*/ 3281515 h 6346215"/>
                <a:gd name="connsiteX1" fmla="*/ 250907 w 5884232"/>
                <a:gd name="connsiteY1" fmla="*/ 2374266 h 6346215"/>
                <a:gd name="connsiteX2" fmla="*/ 218176 w 5884232"/>
                <a:gd name="connsiteY2" fmla="*/ 2331944 h 6346215"/>
                <a:gd name="connsiteX3" fmla="*/ 290433 w 5884232"/>
                <a:gd name="connsiteY3" fmla="*/ 2067448 h 6346215"/>
                <a:gd name="connsiteX4" fmla="*/ 326149 w 5884232"/>
                <a:gd name="connsiteY4" fmla="*/ 2050403 h 6346215"/>
                <a:gd name="connsiteX5" fmla="*/ 1333506 w 5884232"/>
                <a:gd name="connsiteY5" fmla="*/ 647002 h 6346215"/>
                <a:gd name="connsiteX6" fmla="*/ 1546422 w 5884232"/>
                <a:gd name="connsiteY6" fmla="*/ 547251 h 6346215"/>
                <a:gd name="connsiteX7" fmla="*/ 1526361 w 5884232"/>
                <a:gd name="connsiteY7" fmla="*/ 432260 h 6346215"/>
                <a:gd name="connsiteX8" fmla="*/ 1722126 w 5884232"/>
                <a:gd name="connsiteY8" fmla="*/ 380302 h 6346215"/>
                <a:gd name="connsiteX9" fmla="*/ 1739499 w 5884232"/>
                <a:gd name="connsiteY9" fmla="*/ 481442 h 6346215"/>
                <a:gd name="connsiteX10" fmla="*/ 1866574 w 5884232"/>
                <a:gd name="connsiteY10" fmla="*/ 442651 h 6346215"/>
                <a:gd name="connsiteX11" fmla="*/ 1897053 w 5884232"/>
                <a:gd name="connsiteY11" fmla="*/ 393463 h 6346215"/>
                <a:gd name="connsiteX12" fmla="*/ 2132940 w 5884232"/>
                <a:gd name="connsiteY12" fmla="*/ 319342 h 6346215"/>
                <a:gd name="connsiteX13" fmla="*/ 2173395 w 5884232"/>
                <a:gd name="connsiteY13" fmla="*/ 352592 h 6346215"/>
                <a:gd name="connsiteX14" fmla="*/ 2369937 w 5884232"/>
                <a:gd name="connsiteY14" fmla="*/ 288171 h 6346215"/>
                <a:gd name="connsiteX15" fmla="*/ 2329149 w 5884232"/>
                <a:gd name="connsiteY15" fmla="*/ 119840 h 6346215"/>
                <a:gd name="connsiteX16" fmla="*/ 2712392 w 5884232"/>
                <a:gd name="connsiteY16" fmla="*/ 0 h 6346215"/>
                <a:gd name="connsiteX17" fmla="*/ 2760690 w 5884232"/>
                <a:gd name="connsiteY17" fmla="*/ 165560 h 6346215"/>
                <a:gd name="connsiteX18" fmla="*/ 4524241 w 5884232"/>
                <a:gd name="connsiteY18" fmla="*/ 680900 h 6346215"/>
                <a:gd name="connsiteX19" fmla="*/ 5074371 w 5884232"/>
                <a:gd name="connsiteY19" fmla="*/ 1291242 h 6346215"/>
                <a:gd name="connsiteX20" fmla="*/ 5135775 w 5884232"/>
                <a:gd name="connsiteY20" fmla="*/ 1298860 h 6346215"/>
                <a:gd name="connsiteX21" fmla="*/ 5300616 w 5884232"/>
                <a:gd name="connsiteY21" fmla="*/ 1479661 h 6346215"/>
                <a:gd name="connsiteX22" fmla="*/ 5300839 w 5884232"/>
                <a:gd name="connsiteY22" fmla="*/ 1535080 h 6346215"/>
                <a:gd name="connsiteX23" fmla="*/ 5462103 w 5884232"/>
                <a:gd name="connsiteY23" fmla="*/ 1726990 h 6346215"/>
                <a:gd name="connsiteX24" fmla="*/ 5842091 w 5884232"/>
                <a:gd name="connsiteY24" fmla="*/ 3519512 h 6346215"/>
                <a:gd name="connsiteX25" fmla="*/ 5650012 w 5884232"/>
                <a:gd name="connsiteY25" fmla="*/ 4385669 h 6346215"/>
                <a:gd name="connsiteX26" fmla="*/ 5780228 w 5884232"/>
                <a:gd name="connsiteY26" fmla="*/ 4452156 h 6346215"/>
                <a:gd name="connsiteX27" fmla="*/ 5710779 w 5884232"/>
                <a:gd name="connsiteY27" fmla="*/ 4870077 h 6346215"/>
                <a:gd name="connsiteX28" fmla="*/ 5553250 w 5884232"/>
                <a:gd name="connsiteY28" fmla="*/ 4807792 h 6346215"/>
                <a:gd name="connsiteX29" fmla="*/ 4409852 w 5884232"/>
                <a:gd name="connsiteY29" fmla="*/ 6212288 h 6346215"/>
                <a:gd name="connsiteX30" fmla="*/ 4213721 w 5884232"/>
                <a:gd name="connsiteY30" fmla="*/ 5643346 h 6346215"/>
                <a:gd name="connsiteX31" fmla="*/ 5030652 w 5884232"/>
                <a:gd name="connsiteY31" fmla="*/ 4596953 h 6346215"/>
                <a:gd name="connsiteX32" fmla="*/ 5310701 w 5884232"/>
                <a:gd name="connsiteY32" fmla="*/ 3352779 h 6346215"/>
                <a:gd name="connsiteX33" fmla="*/ 4991885 w 5884232"/>
                <a:gd name="connsiteY33" fmla="*/ 2049487 h 6346215"/>
                <a:gd name="connsiteX34" fmla="*/ 4174632 w 5884232"/>
                <a:gd name="connsiteY34" fmla="*/ 1163055 h 6346215"/>
                <a:gd name="connsiteX35" fmla="*/ 2880366 w 5884232"/>
                <a:gd name="connsiteY35" fmla="*/ 761302 h 6346215"/>
                <a:gd name="connsiteX36" fmla="*/ 1882146 w 5884232"/>
                <a:gd name="connsiteY36" fmla="*/ 1081342 h 6346215"/>
                <a:gd name="connsiteX37" fmla="*/ 873226 w 5884232"/>
                <a:gd name="connsiteY37" fmla="*/ 2111591 h 6346215"/>
                <a:gd name="connsiteX38" fmla="*/ 571891 w 5884232"/>
                <a:gd name="connsiteY38" fmla="*/ 3464807 h 6346215"/>
                <a:gd name="connsiteX39" fmla="*/ 1077217 w 5884232"/>
                <a:gd name="connsiteY39" fmla="*/ 4933546 h 6346215"/>
                <a:gd name="connsiteX40" fmla="*/ 1206546 w 5884232"/>
                <a:gd name="connsiteY40" fmla="*/ 5094818 h 6346215"/>
                <a:gd name="connsiteX41" fmla="*/ 1548682 w 5884232"/>
                <a:gd name="connsiteY41" fmla="*/ 5436198 h 6346215"/>
                <a:gd name="connsiteX42" fmla="*/ 1610916 w 5884232"/>
                <a:gd name="connsiteY42" fmla="*/ 5418743 h 6346215"/>
                <a:gd name="connsiteX43" fmla="*/ 1714643 w 5884232"/>
                <a:gd name="connsiteY43" fmla="*/ 5533432 h 6346215"/>
                <a:gd name="connsiteX44" fmla="*/ 1693898 w 5884232"/>
                <a:gd name="connsiteY44" fmla="*/ 5598255 h 6346215"/>
                <a:gd name="connsiteX45" fmla="*/ 1783719 w 5884232"/>
                <a:gd name="connsiteY45" fmla="*/ 5692347 h 6346215"/>
                <a:gd name="connsiteX46" fmla="*/ 4209492 w 5884232"/>
                <a:gd name="connsiteY46" fmla="*/ 5644651 h 6346215"/>
                <a:gd name="connsiteX47" fmla="*/ 4406189 w 5884232"/>
                <a:gd name="connsiteY47" fmla="*/ 6217653 h 6346215"/>
                <a:gd name="connsiteX48" fmla="*/ 1578647 w 5884232"/>
                <a:gd name="connsiteY48" fmla="*/ 6346215 h 6346215"/>
                <a:gd name="connsiteX49" fmla="*/ 1541767 w 5884232"/>
                <a:gd name="connsiteY49" fmla="*/ 6338736 h 6346215"/>
                <a:gd name="connsiteX50" fmla="*/ 1385024 w 5884232"/>
                <a:gd name="connsiteY50" fmla="*/ 6164212 h 6346215"/>
                <a:gd name="connsiteX51" fmla="*/ 1371195 w 5884232"/>
                <a:gd name="connsiteY51" fmla="*/ 6184157 h 6346215"/>
                <a:gd name="connsiteX52" fmla="*/ 1345840 w 5884232"/>
                <a:gd name="connsiteY52" fmla="*/ 6151747 h 6346215"/>
                <a:gd name="connsiteX53" fmla="*/ 1304349 w 5884232"/>
                <a:gd name="connsiteY53" fmla="*/ 6209090 h 6346215"/>
                <a:gd name="connsiteX54" fmla="*/ 1189098 w 5884232"/>
                <a:gd name="connsiteY54" fmla="*/ 6081936 h 6346215"/>
                <a:gd name="connsiteX55" fmla="*/ 1232893 w 5884232"/>
                <a:gd name="connsiteY55" fmla="*/ 6032071 h 6346215"/>
                <a:gd name="connsiteX56" fmla="*/ 1000086 w 5884232"/>
                <a:gd name="connsiteY56" fmla="*/ 5782751 h 6346215"/>
                <a:gd name="connsiteX57" fmla="*/ 1013916 w 5884232"/>
                <a:gd name="connsiteY57" fmla="*/ 5755327 h 6346215"/>
                <a:gd name="connsiteX58" fmla="*/ 817988 w 5884232"/>
                <a:gd name="connsiteY58" fmla="*/ 5548391 h 6346215"/>
                <a:gd name="connsiteX59" fmla="*/ 732703 w 5884232"/>
                <a:gd name="connsiteY59" fmla="*/ 5638146 h 6346215"/>
                <a:gd name="connsiteX60" fmla="*/ 430931 w 5884232"/>
                <a:gd name="connsiteY60" fmla="*/ 5323785 h 6346215"/>
                <a:gd name="connsiteX61" fmla="*/ 523257 w 5884232"/>
                <a:gd name="connsiteY61" fmla="*/ 5189370 h 6346215"/>
                <a:gd name="connsiteX62" fmla="*/ 41560 w 5884232"/>
                <a:gd name="connsiteY62" fmla="*/ 3281515 h 6346215"/>
                <a:gd name="connsiteX0" fmla="*/ 41560 w 5884232"/>
                <a:gd name="connsiteY0" fmla="*/ 3281515 h 6346215"/>
                <a:gd name="connsiteX1" fmla="*/ 250907 w 5884232"/>
                <a:gd name="connsiteY1" fmla="*/ 2374266 h 6346215"/>
                <a:gd name="connsiteX2" fmla="*/ 218176 w 5884232"/>
                <a:gd name="connsiteY2" fmla="*/ 2331944 h 6346215"/>
                <a:gd name="connsiteX3" fmla="*/ 290433 w 5884232"/>
                <a:gd name="connsiteY3" fmla="*/ 2067448 h 6346215"/>
                <a:gd name="connsiteX4" fmla="*/ 326149 w 5884232"/>
                <a:gd name="connsiteY4" fmla="*/ 2050403 h 6346215"/>
                <a:gd name="connsiteX5" fmla="*/ 1333506 w 5884232"/>
                <a:gd name="connsiteY5" fmla="*/ 647002 h 6346215"/>
                <a:gd name="connsiteX6" fmla="*/ 1546422 w 5884232"/>
                <a:gd name="connsiteY6" fmla="*/ 547251 h 6346215"/>
                <a:gd name="connsiteX7" fmla="*/ 1526361 w 5884232"/>
                <a:gd name="connsiteY7" fmla="*/ 432260 h 6346215"/>
                <a:gd name="connsiteX8" fmla="*/ 1722126 w 5884232"/>
                <a:gd name="connsiteY8" fmla="*/ 380302 h 6346215"/>
                <a:gd name="connsiteX9" fmla="*/ 1739499 w 5884232"/>
                <a:gd name="connsiteY9" fmla="*/ 481442 h 6346215"/>
                <a:gd name="connsiteX10" fmla="*/ 1866574 w 5884232"/>
                <a:gd name="connsiteY10" fmla="*/ 442651 h 6346215"/>
                <a:gd name="connsiteX11" fmla="*/ 1897053 w 5884232"/>
                <a:gd name="connsiteY11" fmla="*/ 393463 h 6346215"/>
                <a:gd name="connsiteX12" fmla="*/ 2132940 w 5884232"/>
                <a:gd name="connsiteY12" fmla="*/ 319342 h 6346215"/>
                <a:gd name="connsiteX13" fmla="*/ 2173395 w 5884232"/>
                <a:gd name="connsiteY13" fmla="*/ 352592 h 6346215"/>
                <a:gd name="connsiteX14" fmla="*/ 2369937 w 5884232"/>
                <a:gd name="connsiteY14" fmla="*/ 288171 h 6346215"/>
                <a:gd name="connsiteX15" fmla="*/ 2329149 w 5884232"/>
                <a:gd name="connsiteY15" fmla="*/ 119840 h 6346215"/>
                <a:gd name="connsiteX16" fmla="*/ 2712392 w 5884232"/>
                <a:gd name="connsiteY16" fmla="*/ 0 h 6346215"/>
                <a:gd name="connsiteX17" fmla="*/ 2760690 w 5884232"/>
                <a:gd name="connsiteY17" fmla="*/ 165560 h 6346215"/>
                <a:gd name="connsiteX18" fmla="*/ 4524241 w 5884232"/>
                <a:gd name="connsiteY18" fmla="*/ 680900 h 6346215"/>
                <a:gd name="connsiteX19" fmla="*/ 5074371 w 5884232"/>
                <a:gd name="connsiteY19" fmla="*/ 1291242 h 6346215"/>
                <a:gd name="connsiteX20" fmla="*/ 5135775 w 5884232"/>
                <a:gd name="connsiteY20" fmla="*/ 1298860 h 6346215"/>
                <a:gd name="connsiteX21" fmla="*/ 5300616 w 5884232"/>
                <a:gd name="connsiteY21" fmla="*/ 1479661 h 6346215"/>
                <a:gd name="connsiteX22" fmla="*/ 5300839 w 5884232"/>
                <a:gd name="connsiteY22" fmla="*/ 1535080 h 6346215"/>
                <a:gd name="connsiteX23" fmla="*/ 5462103 w 5884232"/>
                <a:gd name="connsiteY23" fmla="*/ 1726990 h 6346215"/>
                <a:gd name="connsiteX24" fmla="*/ 5842091 w 5884232"/>
                <a:gd name="connsiteY24" fmla="*/ 3519512 h 6346215"/>
                <a:gd name="connsiteX25" fmla="*/ 5650012 w 5884232"/>
                <a:gd name="connsiteY25" fmla="*/ 4385669 h 6346215"/>
                <a:gd name="connsiteX26" fmla="*/ 5780228 w 5884232"/>
                <a:gd name="connsiteY26" fmla="*/ 4452156 h 6346215"/>
                <a:gd name="connsiteX27" fmla="*/ 5710779 w 5884232"/>
                <a:gd name="connsiteY27" fmla="*/ 4870077 h 6346215"/>
                <a:gd name="connsiteX28" fmla="*/ 5553250 w 5884232"/>
                <a:gd name="connsiteY28" fmla="*/ 4807792 h 6346215"/>
                <a:gd name="connsiteX29" fmla="*/ 4409852 w 5884232"/>
                <a:gd name="connsiteY29" fmla="*/ 6212288 h 6346215"/>
                <a:gd name="connsiteX30" fmla="*/ 4213721 w 5884232"/>
                <a:gd name="connsiteY30" fmla="*/ 5643346 h 6346215"/>
                <a:gd name="connsiteX31" fmla="*/ 5030652 w 5884232"/>
                <a:gd name="connsiteY31" fmla="*/ 4596953 h 6346215"/>
                <a:gd name="connsiteX32" fmla="*/ 5310701 w 5884232"/>
                <a:gd name="connsiteY32" fmla="*/ 3352779 h 6346215"/>
                <a:gd name="connsiteX33" fmla="*/ 4991885 w 5884232"/>
                <a:gd name="connsiteY33" fmla="*/ 2049487 h 6346215"/>
                <a:gd name="connsiteX34" fmla="*/ 4174632 w 5884232"/>
                <a:gd name="connsiteY34" fmla="*/ 1163055 h 6346215"/>
                <a:gd name="connsiteX35" fmla="*/ 2880366 w 5884232"/>
                <a:gd name="connsiteY35" fmla="*/ 761302 h 6346215"/>
                <a:gd name="connsiteX36" fmla="*/ 1882146 w 5884232"/>
                <a:gd name="connsiteY36" fmla="*/ 1081342 h 6346215"/>
                <a:gd name="connsiteX37" fmla="*/ 873226 w 5884232"/>
                <a:gd name="connsiteY37" fmla="*/ 2111591 h 6346215"/>
                <a:gd name="connsiteX38" fmla="*/ 571891 w 5884232"/>
                <a:gd name="connsiteY38" fmla="*/ 3464807 h 6346215"/>
                <a:gd name="connsiteX39" fmla="*/ 1077217 w 5884232"/>
                <a:gd name="connsiteY39" fmla="*/ 4933546 h 6346215"/>
                <a:gd name="connsiteX40" fmla="*/ 1206546 w 5884232"/>
                <a:gd name="connsiteY40" fmla="*/ 5094818 h 6346215"/>
                <a:gd name="connsiteX41" fmla="*/ 1548682 w 5884232"/>
                <a:gd name="connsiteY41" fmla="*/ 5436198 h 6346215"/>
                <a:gd name="connsiteX42" fmla="*/ 1610916 w 5884232"/>
                <a:gd name="connsiteY42" fmla="*/ 5418743 h 6346215"/>
                <a:gd name="connsiteX43" fmla="*/ 1714643 w 5884232"/>
                <a:gd name="connsiteY43" fmla="*/ 5533432 h 6346215"/>
                <a:gd name="connsiteX44" fmla="*/ 1693898 w 5884232"/>
                <a:gd name="connsiteY44" fmla="*/ 5598255 h 6346215"/>
                <a:gd name="connsiteX45" fmla="*/ 1783719 w 5884232"/>
                <a:gd name="connsiteY45" fmla="*/ 5692347 h 6346215"/>
                <a:gd name="connsiteX46" fmla="*/ 4209492 w 5884232"/>
                <a:gd name="connsiteY46" fmla="*/ 5644651 h 6346215"/>
                <a:gd name="connsiteX47" fmla="*/ 4406189 w 5884232"/>
                <a:gd name="connsiteY47" fmla="*/ 6217653 h 6346215"/>
                <a:gd name="connsiteX48" fmla="*/ 1578647 w 5884232"/>
                <a:gd name="connsiteY48" fmla="*/ 6346215 h 6346215"/>
                <a:gd name="connsiteX49" fmla="*/ 1385024 w 5884232"/>
                <a:gd name="connsiteY49" fmla="*/ 6164212 h 6346215"/>
                <a:gd name="connsiteX50" fmla="*/ 1371195 w 5884232"/>
                <a:gd name="connsiteY50" fmla="*/ 6184157 h 6346215"/>
                <a:gd name="connsiteX51" fmla="*/ 1345840 w 5884232"/>
                <a:gd name="connsiteY51" fmla="*/ 6151747 h 6346215"/>
                <a:gd name="connsiteX52" fmla="*/ 1304349 w 5884232"/>
                <a:gd name="connsiteY52" fmla="*/ 6209090 h 6346215"/>
                <a:gd name="connsiteX53" fmla="*/ 1189098 w 5884232"/>
                <a:gd name="connsiteY53" fmla="*/ 6081936 h 6346215"/>
                <a:gd name="connsiteX54" fmla="*/ 1232893 w 5884232"/>
                <a:gd name="connsiteY54" fmla="*/ 6032071 h 6346215"/>
                <a:gd name="connsiteX55" fmla="*/ 1000086 w 5884232"/>
                <a:gd name="connsiteY55" fmla="*/ 5782751 h 6346215"/>
                <a:gd name="connsiteX56" fmla="*/ 1013916 w 5884232"/>
                <a:gd name="connsiteY56" fmla="*/ 5755327 h 6346215"/>
                <a:gd name="connsiteX57" fmla="*/ 817988 w 5884232"/>
                <a:gd name="connsiteY57" fmla="*/ 5548391 h 6346215"/>
                <a:gd name="connsiteX58" fmla="*/ 732703 w 5884232"/>
                <a:gd name="connsiteY58" fmla="*/ 5638146 h 6346215"/>
                <a:gd name="connsiteX59" fmla="*/ 430931 w 5884232"/>
                <a:gd name="connsiteY59" fmla="*/ 5323785 h 6346215"/>
                <a:gd name="connsiteX60" fmla="*/ 523257 w 5884232"/>
                <a:gd name="connsiteY60" fmla="*/ 5189370 h 6346215"/>
                <a:gd name="connsiteX61" fmla="*/ 41560 w 5884232"/>
                <a:gd name="connsiteY61" fmla="*/ 3281515 h 6346215"/>
                <a:gd name="connsiteX0" fmla="*/ 41560 w 5884232"/>
                <a:gd name="connsiteY0" fmla="*/ 3281515 h 6346215"/>
                <a:gd name="connsiteX1" fmla="*/ 250907 w 5884232"/>
                <a:gd name="connsiteY1" fmla="*/ 2374266 h 6346215"/>
                <a:gd name="connsiteX2" fmla="*/ 218176 w 5884232"/>
                <a:gd name="connsiteY2" fmla="*/ 2331944 h 6346215"/>
                <a:gd name="connsiteX3" fmla="*/ 290433 w 5884232"/>
                <a:gd name="connsiteY3" fmla="*/ 2067448 h 6346215"/>
                <a:gd name="connsiteX4" fmla="*/ 326149 w 5884232"/>
                <a:gd name="connsiteY4" fmla="*/ 2050403 h 6346215"/>
                <a:gd name="connsiteX5" fmla="*/ 1333506 w 5884232"/>
                <a:gd name="connsiteY5" fmla="*/ 647002 h 6346215"/>
                <a:gd name="connsiteX6" fmla="*/ 1546422 w 5884232"/>
                <a:gd name="connsiteY6" fmla="*/ 547251 h 6346215"/>
                <a:gd name="connsiteX7" fmla="*/ 1526361 w 5884232"/>
                <a:gd name="connsiteY7" fmla="*/ 432260 h 6346215"/>
                <a:gd name="connsiteX8" fmla="*/ 1722126 w 5884232"/>
                <a:gd name="connsiteY8" fmla="*/ 380302 h 6346215"/>
                <a:gd name="connsiteX9" fmla="*/ 1739499 w 5884232"/>
                <a:gd name="connsiteY9" fmla="*/ 481442 h 6346215"/>
                <a:gd name="connsiteX10" fmla="*/ 1866574 w 5884232"/>
                <a:gd name="connsiteY10" fmla="*/ 442651 h 6346215"/>
                <a:gd name="connsiteX11" fmla="*/ 1897053 w 5884232"/>
                <a:gd name="connsiteY11" fmla="*/ 393463 h 6346215"/>
                <a:gd name="connsiteX12" fmla="*/ 2132940 w 5884232"/>
                <a:gd name="connsiteY12" fmla="*/ 319342 h 6346215"/>
                <a:gd name="connsiteX13" fmla="*/ 2173395 w 5884232"/>
                <a:gd name="connsiteY13" fmla="*/ 352592 h 6346215"/>
                <a:gd name="connsiteX14" fmla="*/ 2369937 w 5884232"/>
                <a:gd name="connsiteY14" fmla="*/ 288171 h 6346215"/>
                <a:gd name="connsiteX15" fmla="*/ 2329149 w 5884232"/>
                <a:gd name="connsiteY15" fmla="*/ 119840 h 6346215"/>
                <a:gd name="connsiteX16" fmla="*/ 2712392 w 5884232"/>
                <a:gd name="connsiteY16" fmla="*/ 0 h 6346215"/>
                <a:gd name="connsiteX17" fmla="*/ 2760690 w 5884232"/>
                <a:gd name="connsiteY17" fmla="*/ 165560 h 6346215"/>
                <a:gd name="connsiteX18" fmla="*/ 4524241 w 5884232"/>
                <a:gd name="connsiteY18" fmla="*/ 680900 h 6346215"/>
                <a:gd name="connsiteX19" fmla="*/ 5074371 w 5884232"/>
                <a:gd name="connsiteY19" fmla="*/ 1291242 h 6346215"/>
                <a:gd name="connsiteX20" fmla="*/ 5135775 w 5884232"/>
                <a:gd name="connsiteY20" fmla="*/ 1298860 h 6346215"/>
                <a:gd name="connsiteX21" fmla="*/ 5300616 w 5884232"/>
                <a:gd name="connsiteY21" fmla="*/ 1479661 h 6346215"/>
                <a:gd name="connsiteX22" fmla="*/ 5300839 w 5884232"/>
                <a:gd name="connsiteY22" fmla="*/ 1535080 h 6346215"/>
                <a:gd name="connsiteX23" fmla="*/ 5462103 w 5884232"/>
                <a:gd name="connsiteY23" fmla="*/ 1726990 h 6346215"/>
                <a:gd name="connsiteX24" fmla="*/ 5842091 w 5884232"/>
                <a:gd name="connsiteY24" fmla="*/ 3519512 h 6346215"/>
                <a:gd name="connsiteX25" fmla="*/ 5650012 w 5884232"/>
                <a:gd name="connsiteY25" fmla="*/ 4385669 h 6346215"/>
                <a:gd name="connsiteX26" fmla="*/ 5780228 w 5884232"/>
                <a:gd name="connsiteY26" fmla="*/ 4452156 h 6346215"/>
                <a:gd name="connsiteX27" fmla="*/ 5710779 w 5884232"/>
                <a:gd name="connsiteY27" fmla="*/ 4870077 h 6346215"/>
                <a:gd name="connsiteX28" fmla="*/ 5553250 w 5884232"/>
                <a:gd name="connsiteY28" fmla="*/ 4807792 h 6346215"/>
                <a:gd name="connsiteX29" fmla="*/ 4409852 w 5884232"/>
                <a:gd name="connsiteY29" fmla="*/ 6212288 h 6346215"/>
                <a:gd name="connsiteX30" fmla="*/ 4213721 w 5884232"/>
                <a:gd name="connsiteY30" fmla="*/ 5643346 h 6346215"/>
                <a:gd name="connsiteX31" fmla="*/ 5030652 w 5884232"/>
                <a:gd name="connsiteY31" fmla="*/ 4596953 h 6346215"/>
                <a:gd name="connsiteX32" fmla="*/ 5310701 w 5884232"/>
                <a:gd name="connsiteY32" fmla="*/ 3352779 h 6346215"/>
                <a:gd name="connsiteX33" fmla="*/ 4991885 w 5884232"/>
                <a:gd name="connsiteY33" fmla="*/ 2049487 h 6346215"/>
                <a:gd name="connsiteX34" fmla="*/ 4174632 w 5884232"/>
                <a:gd name="connsiteY34" fmla="*/ 1163055 h 6346215"/>
                <a:gd name="connsiteX35" fmla="*/ 2880366 w 5884232"/>
                <a:gd name="connsiteY35" fmla="*/ 761302 h 6346215"/>
                <a:gd name="connsiteX36" fmla="*/ 1882146 w 5884232"/>
                <a:gd name="connsiteY36" fmla="*/ 1081342 h 6346215"/>
                <a:gd name="connsiteX37" fmla="*/ 873226 w 5884232"/>
                <a:gd name="connsiteY37" fmla="*/ 2111591 h 6346215"/>
                <a:gd name="connsiteX38" fmla="*/ 571891 w 5884232"/>
                <a:gd name="connsiteY38" fmla="*/ 3464807 h 6346215"/>
                <a:gd name="connsiteX39" fmla="*/ 1077217 w 5884232"/>
                <a:gd name="connsiteY39" fmla="*/ 4933546 h 6346215"/>
                <a:gd name="connsiteX40" fmla="*/ 1206546 w 5884232"/>
                <a:gd name="connsiteY40" fmla="*/ 5094818 h 6346215"/>
                <a:gd name="connsiteX41" fmla="*/ 1548682 w 5884232"/>
                <a:gd name="connsiteY41" fmla="*/ 5436198 h 6346215"/>
                <a:gd name="connsiteX42" fmla="*/ 1610916 w 5884232"/>
                <a:gd name="connsiteY42" fmla="*/ 5418743 h 6346215"/>
                <a:gd name="connsiteX43" fmla="*/ 1714643 w 5884232"/>
                <a:gd name="connsiteY43" fmla="*/ 5533432 h 6346215"/>
                <a:gd name="connsiteX44" fmla="*/ 1693898 w 5884232"/>
                <a:gd name="connsiteY44" fmla="*/ 5598255 h 6346215"/>
                <a:gd name="connsiteX45" fmla="*/ 1783719 w 5884232"/>
                <a:gd name="connsiteY45" fmla="*/ 5692347 h 6346215"/>
                <a:gd name="connsiteX46" fmla="*/ 4209492 w 5884232"/>
                <a:gd name="connsiteY46" fmla="*/ 5644651 h 6346215"/>
                <a:gd name="connsiteX47" fmla="*/ 4406189 w 5884232"/>
                <a:gd name="connsiteY47" fmla="*/ 6217653 h 6346215"/>
                <a:gd name="connsiteX48" fmla="*/ 1578647 w 5884232"/>
                <a:gd name="connsiteY48" fmla="*/ 6346215 h 6346215"/>
                <a:gd name="connsiteX49" fmla="*/ 1533584 w 5884232"/>
                <a:gd name="connsiteY49" fmla="*/ 6322242 h 6346215"/>
                <a:gd name="connsiteX50" fmla="*/ 1385024 w 5884232"/>
                <a:gd name="connsiteY50" fmla="*/ 6164212 h 6346215"/>
                <a:gd name="connsiteX51" fmla="*/ 1371195 w 5884232"/>
                <a:gd name="connsiteY51" fmla="*/ 6184157 h 6346215"/>
                <a:gd name="connsiteX52" fmla="*/ 1345840 w 5884232"/>
                <a:gd name="connsiteY52" fmla="*/ 6151747 h 6346215"/>
                <a:gd name="connsiteX53" fmla="*/ 1304349 w 5884232"/>
                <a:gd name="connsiteY53" fmla="*/ 6209090 h 6346215"/>
                <a:gd name="connsiteX54" fmla="*/ 1189098 w 5884232"/>
                <a:gd name="connsiteY54" fmla="*/ 6081936 h 6346215"/>
                <a:gd name="connsiteX55" fmla="*/ 1232893 w 5884232"/>
                <a:gd name="connsiteY55" fmla="*/ 6032071 h 6346215"/>
                <a:gd name="connsiteX56" fmla="*/ 1000086 w 5884232"/>
                <a:gd name="connsiteY56" fmla="*/ 5782751 h 6346215"/>
                <a:gd name="connsiteX57" fmla="*/ 1013916 w 5884232"/>
                <a:gd name="connsiteY57" fmla="*/ 5755327 h 6346215"/>
                <a:gd name="connsiteX58" fmla="*/ 817988 w 5884232"/>
                <a:gd name="connsiteY58" fmla="*/ 5548391 h 6346215"/>
                <a:gd name="connsiteX59" fmla="*/ 732703 w 5884232"/>
                <a:gd name="connsiteY59" fmla="*/ 5638146 h 6346215"/>
                <a:gd name="connsiteX60" fmla="*/ 430931 w 5884232"/>
                <a:gd name="connsiteY60" fmla="*/ 5323785 h 6346215"/>
                <a:gd name="connsiteX61" fmla="*/ 523257 w 5884232"/>
                <a:gd name="connsiteY61" fmla="*/ 5189370 h 6346215"/>
                <a:gd name="connsiteX62" fmla="*/ 41560 w 5884232"/>
                <a:gd name="connsiteY62" fmla="*/ 3281515 h 6346215"/>
                <a:gd name="connsiteX0" fmla="*/ 41560 w 5884232"/>
                <a:gd name="connsiteY0" fmla="*/ 3281515 h 6322242"/>
                <a:gd name="connsiteX1" fmla="*/ 250907 w 5884232"/>
                <a:gd name="connsiteY1" fmla="*/ 2374266 h 6322242"/>
                <a:gd name="connsiteX2" fmla="*/ 218176 w 5884232"/>
                <a:gd name="connsiteY2" fmla="*/ 2331944 h 6322242"/>
                <a:gd name="connsiteX3" fmla="*/ 290433 w 5884232"/>
                <a:gd name="connsiteY3" fmla="*/ 2067448 h 6322242"/>
                <a:gd name="connsiteX4" fmla="*/ 326149 w 5884232"/>
                <a:gd name="connsiteY4" fmla="*/ 2050403 h 6322242"/>
                <a:gd name="connsiteX5" fmla="*/ 1333506 w 5884232"/>
                <a:gd name="connsiteY5" fmla="*/ 647002 h 6322242"/>
                <a:gd name="connsiteX6" fmla="*/ 1546422 w 5884232"/>
                <a:gd name="connsiteY6" fmla="*/ 547251 h 6322242"/>
                <a:gd name="connsiteX7" fmla="*/ 1526361 w 5884232"/>
                <a:gd name="connsiteY7" fmla="*/ 432260 h 6322242"/>
                <a:gd name="connsiteX8" fmla="*/ 1722126 w 5884232"/>
                <a:gd name="connsiteY8" fmla="*/ 380302 h 6322242"/>
                <a:gd name="connsiteX9" fmla="*/ 1739499 w 5884232"/>
                <a:gd name="connsiteY9" fmla="*/ 481442 h 6322242"/>
                <a:gd name="connsiteX10" fmla="*/ 1866574 w 5884232"/>
                <a:gd name="connsiteY10" fmla="*/ 442651 h 6322242"/>
                <a:gd name="connsiteX11" fmla="*/ 1897053 w 5884232"/>
                <a:gd name="connsiteY11" fmla="*/ 393463 h 6322242"/>
                <a:gd name="connsiteX12" fmla="*/ 2132940 w 5884232"/>
                <a:gd name="connsiteY12" fmla="*/ 319342 h 6322242"/>
                <a:gd name="connsiteX13" fmla="*/ 2173395 w 5884232"/>
                <a:gd name="connsiteY13" fmla="*/ 352592 h 6322242"/>
                <a:gd name="connsiteX14" fmla="*/ 2369937 w 5884232"/>
                <a:gd name="connsiteY14" fmla="*/ 288171 h 6322242"/>
                <a:gd name="connsiteX15" fmla="*/ 2329149 w 5884232"/>
                <a:gd name="connsiteY15" fmla="*/ 119840 h 6322242"/>
                <a:gd name="connsiteX16" fmla="*/ 2712392 w 5884232"/>
                <a:gd name="connsiteY16" fmla="*/ 0 h 6322242"/>
                <a:gd name="connsiteX17" fmla="*/ 2760690 w 5884232"/>
                <a:gd name="connsiteY17" fmla="*/ 165560 h 6322242"/>
                <a:gd name="connsiteX18" fmla="*/ 4524241 w 5884232"/>
                <a:gd name="connsiteY18" fmla="*/ 680900 h 6322242"/>
                <a:gd name="connsiteX19" fmla="*/ 5074371 w 5884232"/>
                <a:gd name="connsiteY19" fmla="*/ 1291242 h 6322242"/>
                <a:gd name="connsiteX20" fmla="*/ 5135775 w 5884232"/>
                <a:gd name="connsiteY20" fmla="*/ 1298860 h 6322242"/>
                <a:gd name="connsiteX21" fmla="*/ 5300616 w 5884232"/>
                <a:gd name="connsiteY21" fmla="*/ 1479661 h 6322242"/>
                <a:gd name="connsiteX22" fmla="*/ 5300839 w 5884232"/>
                <a:gd name="connsiteY22" fmla="*/ 1535080 h 6322242"/>
                <a:gd name="connsiteX23" fmla="*/ 5462103 w 5884232"/>
                <a:gd name="connsiteY23" fmla="*/ 1726990 h 6322242"/>
                <a:gd name="connsiteX24" fmla="*/ 5842091 w 5884232"/>
                <a:gd name="connsiteY24" fmla="*/ 3519512 h 6322242"/>
                <a:gd name="connsiteX25" fmla="*/ 5650012 w 5884232"/>
                <a:gd name="connsiteY25" fmla="*/ 4385669 h 6322242"/>
                <a:gd name="connsiteX26" fmla="*/ 5780228 w 5884232"/>
                <a:gd name="connsiteY26" fmla="*/ 4452156 h 6322242"/>
                <a:gd name="connsiteX27" fmla="*/ 5710779 w 5884232"/>
                <a:gd name="connsiteY27" fmla="*/ 4870077 h 6322242"/>
                <a:gd name="connsiteX28" fmla="*/ 5553250 w 5884232"/>
                <a:gd name="connsiteY28" fmla="*/ 4807792 h 6322242"/>
                <a:gd name="connsiteX29" fmla="*/ 4409852 w 5884232"/>
                <a:gd name="connsiteY29" fmla="*/ 6212288 h 6322242"/>
                <a:gd name="connsiteX30" fmla="*/ 4213721 w 5884232"/>
                <a:gd name="connsiteY30" fmla="*/ 5643346 h 6322242"/>
                <a:gd name="connsiteX31" fmla="*/ 5030652 w 5884232"/>
                <a:gd name="connsiteY31" fmla="*/ 4596953 h 6322242"/>
                <a:gd name="connsiteX32" fmla="*/ 5310701 w 5884232"/>
                <a:gd name="connsiteY32" fmla="*/ 3352779 h 6322242"/>
                <a:gd name="connsiteX33" fmla="*/ 4991885 w 5884232"/>
                <a:gd name="connsiteY33" fmla="*/ 2049487 h 6322242"/>
                <a:gd name="connsiteX34" fmla="*/ 4174632 w 5884232"/>
                <a:gd name="connsiteY34" fmla="*/ 1163055 h 6322242"/>
                <a:gd name="connsiteX35" fmla="*/ 2880366 w 5884232"/>
                <a:gd name="connsiteY35" fmla="*/ 761302 h 6322242"/>
                <a:gd name="connsiteX36" fmla="*/ 1882146 w 5884232"/>
                <a:gd name="connsiteY36" fmla="*/ 1081342 h 6322242"/>
                <a:gd name="connsiteX37" fmla="*/ 873226 w 5884232"/>
                <a:gd name="connsiteY37" fmla="*/ 2111591 h 6322242"/>
                <a:gd name="connsiteX38" fmla="*/ 571891 w 5884232"/>
                <a:gd name="connsiteY38" fmla="*/ 3464807 h 6322242"/>
                <a:gd name="connsiteX39" fmla="*/ 1077217 w 5884232"/>
                <a:gd name="connsiteY39" fmla="*/ 4933546 h 6322242"/>
                <a:gd name="connsiteX40" fmla="*/ 1206546 w 5884232"/>
                <a:gd name="connsiteY40" fmla="*/ 5094818 h 6322242"/>
                <a:gd name="connsiteX41" fmla="*/ 1548682 w 5884232"/>
                <a:gd name="connsiteY41" fmla="*/ 5436198 h 6322242"/>
                <a:gd name="connsiteX42" fmla="*/ 1610916 w 5884232"/>
                <a:gd name="connsiteY42" fmla="*/ 5418743 h 6322242"/>
                <a:gd name="connsiteX43" fmla="*/ 1714643 w 5884232"/>
                <a:gd name="connsiteY43" fmla="*/ 5533432 h 6322242"/>
                <a:gd name="connsiteX44" fmla="*/ 1693898 w 5884232"/>
                <a:gd name="connsiteY44" fmla="*/ 5598255 h 6322242"/>
                <a:gd name="connsiteX45" fmla="*/ 1783719 w 5884232"/>
                <a:gd name="connsiteY45" fmla="*/ 5692347 h 6322242"/>
                <a:gd name="connsiteX46" fmla="*/ 4209492 w 5884232"/>
                <a:gd name="connsiteY46" fmla="*/ 5644651 h 6322242"/>
                <a:gd name="connsiteX47" fmla="*/ 4406189 w 5884232"/>
                <a:gd name="connsiteY47" fmla="*/ 6217653 h 6322242"/>
                <a:gd name="connsiteX48" fmla="*/ 1533584 w 5884232"/>
                <a:gd name="connsiteY48" fmla="*/ 6322242 h 6322242"/>
                <a:gd name="connsiteX49" fmla="*/ 1385024 w 5884232"/>
                <a:gd name="connsiteY49" fmla="*/ 6164212 h 6322242"/>
                <a:gd name="connsiteX50" fmla="*/ 1371195 w 5884232"/>
                <a:gd name="connsiteY50" fmla="*/ 6184157 h 6322242"/>
                <a:gd name="connsiteX51" fmla="*/ 1345840 w 5884232"/>
                <a:gd name="connsiteY51" fmla="*/ 6151747 h 6322242"/>
                <a:gd name="connsiteX52" fmla="*/ 1304349 w 5884232"/>
                <a:gd name="connsiteY52" fmla="*/ 6209090 h 6322242"/>
                <a:gd name="connsiteX53" fmla="*/ 1189098 w 5884232"/>
                <a:gd name="connsiteY53" fmla="*/ 6081936 h 6322242"/>
                <a:gd name="connsiteX54" fmla="*/ 1232893 w 5884232"/>
                <a:gd name="connsiteY54" fmla="*/ 6032071 h 6322242"/>
                <a:gd name="connsiteX55" fmla="*/ 1000086 w 5884232"/>
                <a:gd name="connsiteY55" fmla="*/ 5782751 h 6322242"/>
                <a:gd name="connsiteX56" fmla="*/ 1013916 w 5884232"/>
                <a:gd name="connsiteY56" fmla="*/ 5755327 h 6322242"/>
                <a:gd name="connsiteX57" fmla="*/ 817988 w 5884232"/>
                <a:gd name="connsiteY57" fmla="*/ 5548391 h 6322242"/>
                <a:gd name="connsiteX58" fmla="*/ 732703 w 5884232"/>
                <a:gd name="connsiteY58" fmla="*/ 5638146 h 6322242"/>
                <a:gd name="connsiteX59" fmla="*/ 430931 w 5884232"/>
                <a:gd name="connsiteY59" fmla="*/ 5323785 h 6322242"/>
                <a:gd name="connsiteX60" fmla="*/ 523257 w 5884232"/>
                <a:gd name="connsiteY60" fmla="*/ 5189370 h 6322242"/>
                <a:gd name="connsiteX61" fmla="*/ 41560 w 5884232"/>
                <a:gd name="connsiteY61" fmla="*/ 3281515 h 6322242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385024 w 5884232"/>
                <a:gd name="connsiteY48" fmla="*/ 6164212 h 6217653"/>
                <a:gd name="connsiteX49" fmla="*/ 1371195 w 5884232"/>
                <a:gd name="connsiteY49" fmla="*/ 6184157 h 6217653"/>
                <a:gd name="connsiteX50" fmla="*/ 1345840 w 5884232"/>
                <a:gd name="connsiteY50" fmla="*/ 6151747 h 6217653"/>
                <a:gd name="connsiteX51" fmla="*/ 1304349 w 5884232"/>
                <a:gd name="connsiteY51" fmla="*/ 6209090 h 6217653"/>
                <a:gd name="connsiteX52" fmla="*/ 1189098 w 5884232"/>
                <a:gd name="connsiteY52" fmla="*/ 6081936 h 6217653"/>
                <a:gd name="connsiteX53" fmla="*/ 1232893 w 5884232"/>
                <a:gd name="connsiteY53" fmla="*/ 6032071 h 6217653"/>
                <a:gd name="connsiteX54" fmla="*/ 1000086 w 5884232"/>
                <a:gd name="connsiteY54" fmla="*/ 5782751 h 6217653"/>
                <a:gd name="connsiteX55" fmla="*/ 1013916 w 5884232"/>
                <a:gd name="connsiteY55" fmla="*/ 5755327 h 6217653"/>
                <a:gd name="connsiteX56" fmla="*/ 817988 w 5884232"/>
                <a:gd name="connsiteY56" fmla="*/ 5548391 h 6217653"/>
                <a:gd name="connsiteX57" fmla="*/ 732703 w 5884232"/>
                <a:gd name="connsiteY57" fmla="*/ 5638146 h 6217653"/>
                <a:gd name="connsiteX58" fmla="*/ 430931 w 5884232"/>
                <a:gd name="connsiteY58" fmla="*/ 5323785 h 6217653"/>
                <a:gd name="connsiteX59" fmla="*/ 523257 w 5884232"/>
                <a:gd name="connsiteY59" fmla="*/ 5189370 h 6217653"/>
                <a:gd name="connsiteX60" fmla="*/ 41560 w 5884232"/>
                <a:gd name="connsiteY60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385024 w 5884232"/>
                <a:gd name="connsiteY48" fmla="*/ 6164212 h 6217653"/>
                <a:gd name="connsiteX49" fmla="*/ 1345840 w 5884232"/>
                <a:gd name="connsiteY49" fmla="*/ 6151747 h 6217653"/>
                <a:gd name="connsiteX50" fmla="*/ 1304349 w 5884232"/>
                <a:gd name="connsiteY50" fmla="*/ 6209090 h 6217653"/>
                <a:gd name="connsiteX51" fmla="*/ 1189098 w 5884232"/>
                <a:gd name="connsiteY51" fmla="*/ 6081936 h 6217653"/>
                <a:gd name="connsiteX52" fmla="*/ 1232893 w 5884232"/>
                <a:gd name="connsiteY52" fmla="*/ 6032071 h 6217653"/>
                <a:gd name="connsiteX53" fmla="*/ 1000086 w 5884232"/>
                <a:gd name="connsiteY53" fmla="*/ 5782751 h 6217653"/>
                <a:gd name="connsiteX54" fmla="*/ 1013916 w 5884232"/>
                <a:gd name="connsiteY54" fmla="*/ 5755327 h 6217653"/>
                <a:gd name="connsiteX55" fmla="*/ 817988 w 5884232"/>
                <a:gd name="connsiteY55" fmla="*/ 5548391 h 6217653"/>
                <a:gd name="connsiteX56" fmla="*/ 732703 w 5884232"/>
                <a:gd name="connsiteY56" fmla="*/ 5638146 h 6217653"/>
                <a:gd name="connsiteX57" fmla="*/ 430931 w 5884232"/>
                <a:gd name="connsiteY57" fmla="*/ 5323785 h 6217653"/>
                <a:gd name="connsiteX58" fmla="*/ 523257 w 5884232"/>
                <a:gd name="connsiteY58" fmla="*/ 5189370 h 6217653"/>
                <a:gd name="connsiteX59" fmla="*/ 41560 w 5884232"/>
                <a:gd name="connsiteY5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385024 w 5884232"/>
                <a:gd name="connsiteY48" fmla="*/ 6164212 h 6217653"/>
                <a:gd name="connsiteX49" fmla="*/ 1304349 w 5884232"/>
                <a:gd name="connsiteY49" fmla="*/ 6209090 h 6217653"/>
                <a:gd name="connsiteX50" fmla="*/ 1189098 w 5884232"/>
                <a:gd name="connsiteY50" fmla="*/ 6081936 h 6217653"/>
                <a:gd name="connsiteX51" fmla="*/ 1232893 w 5884232"/>
                <a:gd name="connsiteY51" fmla="*/ 6032071 h 6217653"/>
                <a:gd name="connsiteX52" fmla="*/ 1000086 w 5884232"/>
                <a:gd name="connsiteY52" fmla="*/ 5782751 h 6217653"/>
                <a:gd name="connsiteX53" fmla="*/ 1013916 w 5884232"/>
                <a:gd name="connsiteY53" fmla="*/ 5755327 h 6217653"/>
                <a:gd name="connsiteX54" fmla="*/ 817988 w 5884232"/>
                <a:gd name="connsiteY54" fmla="*/ 5548391 h 6217653"/>
                <a:gd name="connsiteX55" fmla="*/ 732703 w 5884232"/>
                <a:gd name="connsiteY55" fmla="*/ 5638146 h 6217653"/>
                <a:gd name="connsiteX56" fmla="*/ 430931 w 5884232"/>
                <a:gd name="connsiteY56" fmla="*/ 5323785 h 6217653"/>
                <a:gd name="connsiteX57" fmla="*/ 523257 w 5884232"/>
                <a:gd name="connsiteY57" fmla="*/ 5189370 h 6217653"/>
                <a:gd name="connsiteX58" fmla="*/ 41560 w 5884232"/>
                <a:gd name="connsiteY58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304349 w 5884232"/>
                <a:gd name="connsiteY48" fmla="*/ 6209090 h 6217653"/>
                <a:gd name="connsiteX49" fmla="*/ 1189098 w 5884232"/>
                <a:gd name="connsiteY49" fmla="*/ 6081936 h 6217653"/>
                <a:gd name="connsiteX50" fmla="*/ 1232893 w 5884232"/>
                <a:gd name="connsiteY50" fmla="*/ 6032071 h 6217653"/>
                <a:gd name="connsiteX51" fmla="*/ 1000086 w 5884232"/>
                <a:gd name="connsiteY51" fmla="*/ 5782751 h 6217653"/>
                <a:gd name="connsiteX52" fmla="*/ 1013916 w 5884232"/>
                <a:gd name="connsiteY52" fmla="*/ 5755327 h 6217653"/>
                <a:gd name="connsiteX53" fmla="*/ 817988 w 5884232"/>
                <a:gd name="connsiteY53" fmla="*/ 5548391 h 6217653"/>
                <a:gd name="connsiteX54" fmla="*/ 732703 w 5884232"/>
                <a:gd name="connsiteY54" fmla="*/ 5638146 h 6217653"/>
                <a:gd name="connsiteX55" fmla="*/ 430931 w 5884232"/>
                <a:gd name="connsiteY55" fmla="*/ 5323785 h 6217653"/>
                <a:gd name="connsiteX56" fmla="*/ 523257 w 5884232"/>
                <a:gd name="connsiteY56" fmla="*/ 5189370 h 6217653"/>
                <a:gd name="connsiteX57" fmla="*/ 41560 w 5884232"/>
                <a:gd name="connsiteY57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189098 w 5884232"/>
                <a:gd name="connsiteY48" fmla="*/ 6081936 h 6217653"/>
                <a:gd name="connsiteX49" fmla="*/ 1232893 w 5884232"/>
                <a:gd name="connsiteY49" fmla="*/ 6032071 h 6217653"/>
                <a:gd name="connsiteX50" fmla="*/ 1000086 w 5884232"/>
                <a:gd name="connsiteY50" fmla="*/ 5782751 h 6217653"/>
                <a:gd name="connsiteX51" fmla="*/ 1013916 w 5884232"/>
                <a:gd name="connsiteY51" fmla="*/ 5755327 h 6217653"/>
                <a:gd name="connsiteX52" fmla="*/ 817988 w 5884232"/>
                <a:gd name="connsiteY52" fmla="*/ 5548391 h 6217653"/>
                <a:gd name="connsiteX53" fmla="*/ 732703 w 5884232"/>
                <a:gd name="connsiteY53" fmla="*/ 5638146 h 6217653"/>
                <a:gd name="connsiteX54" fmla="*/ 430931 w 5884232"/>
                <a:gd name="connsiteY54" fmla="*/ 5323785 h 6217653"/>
                <a:gd name="connsiteX55" fmla="*/ 523257 w 5884232"/>
                <a:gd name="connsiteY55" fmla="*/ 5189370 h 6217653"/>
                <a:gd name="connsiteX56" fmla="*/ 41560 w 5884232"/>
                <a:gd name="connsiteY56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232893 w 5884232"/>
                <a:gd name="connsiteY48" fmla="*/ 6032071 h 6217653"/>
                <a:gd name="connsiteX49" fmla="*/ 1000086 w 5884232"/>
                <a:gd name="connsiteY49" fmla="*/ 5782751 h 6217653"/>
                <a:gd name="connsiteX50" fmla="*/ 1013916 w 5884232"/>
                <a:gd name="connsiteY50" fmla="*/ 5755327 h 6217653"/>
                <a:gd name="connsiteX51" fmla="*/ 817988 w 5884232"/>
                <a:gd name="connsiteY51" fmla="*/ 5548391 h 6217653"/>
                <a:gd name="connsiteX52" fmla="*/ 732703 w 5884232"/>
                <a:gd name="connsiteY52" fmla="*/ 5638146 h 6217653"/>
                <a:gd name="connsiteX53" fmla="*/ 430931 w 5884232"/>
                <a:gd name="connsiteY53" fmla="*/ 5323785 h 6217653"/>
                <a:gd name="connsiteX54" fmla="*/ 523257 w 5884232"/>
                <a:gd name="connsiteY54" fmla="*/ 5189370 h 6217653"/>
                <a:gd name="connsiteX55" fmla="*/ 41560 w 5884232"/>
                <a:gd name="connsiteY55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000086 w 5884232"/>
                <a:gd name="connsiteY48" fmla="*/ 5782751 h 6217653"/>
                <a:gd name="connsiteX49" fmla="*/ 1013916 w 5884232"/>
                <a:gd name="connsiteY49" fmla="*/ 5755327 h 6217653"/>
                <a:gd name="connsiteX50" fmla="*/ 817988 w 5884232"/>
                <a:gd name="connsiteY50" fmla="*/ 5548391 h 6217653"/>
                <a:gd name="connsiteX51" fmla="*/ 732703 w 5884232"/>
                <a:gd name="connsiteY51" fmla="*/ 5638146 h 6217653"/>
                <a:gd name="connsiteX52" fmla="*/ 430931 w 5884232"/>
                <a:gd name="connsiteY52" fmla="*/ 5323785 h 6217653"/>
                <a:gd name="connsiteX53" fmla="*/ 523257 w 5884232"/>
                <a:gd name="connsiteY53" fmla="*/ 5189370 h 6217653"/>
                <a:gd name="connsiteX54" fmla="*/ 41560 w 5884232"/>
                <a:gd name="connsiteY54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1000086 w 5884232"/>
                <a:gd name="connsiteY48" fmla="*/ 5782751 h 6217653"/>
                <a:gd name="connsiteX49" fmla="*/ 817988 w 5884232"/>
                <a:gd name="connsiteY49" fmla="*/ 5548391 h 6217653"/>
                <a:gd name="connsiteX50" fmla="*/ 732703 w 5884232"/>
                <a:gd name="connsiteY50" fmla="*/ 5638146 h 6217653"/>
                <a:gd name="connsiteX51" fmla="*/ 430931 w 5884232"/>
                <a:gd name="connsiteY51" fmla="*/ 5323785 h 6217653"/>
                <a:gd name="connsiteX52" fmla="*/ 523257 w 5884232"/>
                <a:gd name="connsiteY52" fmla="*/ 5189370 h 6217653"/>
                <a:gd name="connsiteX53" fmla="*/ 41560 w 5884232"/>
                <a:gd name="connsiteY53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1783719 w 5884232"/>
                <a:gd name="connsiteY45" fmla="*/ 5692347 h 6217653"/>
                <a:gd name="connsiteX46" fmla="*/ 4209492 w 5884232"/>
                <a:gd name="connsiteY46" fmla="*/ 5644651 h 6217653"/>
                <a:gd name="connsiteX47" fmla="*/ 4406189 w 5884232"/>
                <a:gd name="connsiteY47" fmla="*/ 6217653 h 6217653"/>
                <a:gd name="connsiteX48" fmla="*/ 817988 w 5884232"/>
                <a:gd name="connsiteY48" fmla="*/ 5548391 h 6217653"/>
                <a:gd name="connsiteX49" fmla="*/ 732703 w 5884232"/>
                <a:gd name="connsiteY49" fmla="*/ 5638146 h 6217653"/>
                <a:gd name="connsiteX50" fmla="*/ 430931 w 5884232"/>
                <a:gd name="connsiteY50" fmla="*/ 5323785 h 6217653"/>
                <a:gd name="connsiteX51" fmla="*/ 523257 w 5884232"/>
                <a:gd name="connsiteY51" fmla="*/ 5189370 h 6217653"/>
                <a:gd name="connsiteX52" fmla="*/ 41560 w 5884232"/>
                <a:gd name="connsiteY52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1693898 w 5884232"/>
                <a:gd name="connsiteY44" fmla="*/ 5598255 h 6217653"/>
                <a:gd name="connsiteX45" fmla="*/ 4209492 w 5884232"/>
                <a:gd name="connsiteY45" fmla="*/ 5644651 h 6217653"/>
                <a:gd name="connsiteX46" fmla="*/ 4406189 w 5884232"/>
                <a:gd name="connsiteY46" fmla="*/ 6217653 h 6217653"/>
                <a:gd name="connsiteX47" fmla="*/ 817988 w 5884232"/>
                <a:gd name="connsiteY47" fmla="*/ 5548391 h 6217653"/>
                <a:gd name="connsiteX48" fmla="*/ 732703 w 5884232"/>
                <a:gd name="connsiteY48" fmla="*/ 5638146 h 6217653"/>
                <a:gd name="connsiteX49" fmla="*/ 430931 w 5884232"/>
                <a:gd name="connsiteY49" fmla="*/ 5323785 h 6217653"/>
                <a:gd name="connsiteX50" fmla="*/ 523257 w 5884232"/>
                <a:gd name="connsiteY50" fmla="*/ 5189370 h 6217653"/>
                <a:gd name="connsiteX51" fmla="*/ 41560 w 5884232"/>
                <a:gd name="connsiteY51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1714643 w 5884232"/>
                <a:gd name="connsiteY43" fmla="*/ 5533432 h 6217653"/>
                <a:gd name="connsiteX44" fmla="*/ 4209492 w 5884232"/>
                <a:gd name="connsiteY44" fmla="*/ 5644651 h 6217653"/>
                <a:gd name="connsiteX45" fmla="*/ 4406189 w 5884232"/>
                <a:gd name="connsiteY45" fmla="*/ 6217653 h 6217653"/>
                <a:gd name="connsiteX46" fmla="*/ 817988 w 5884232"/>
                <a:gd name="connsiteY46" fmla="*/ 5548391 h 6217653"/>
                <a:gd name="connsiteX47" fmla="*/ 732703 w 5884232"/>
                <a:gd name="connsiteY47" fmla="*/ 5638146 h 6217653"/>
                <a:gd name="connsiteX48" fmla="*/ 430931 w 5884232"/>
                <a:gd name="connsiteY48" fmla="*/ 5323785 h 6217653"/>
                <a:gd name="connsiteX49" fmla="*/ 523257 w 5884232"/>
                <a:gd name="connsiteY49" fmla="*/ 5189370 h 6217653"/>
                <a:gd name="connsiteX50" fmla="*/ 41560 w 5884232"/>
                <a:gd name="connsiteY50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1610916 w 5884232"/>
                <a:gd name="connsiteY42" fmla="*/ 5418743 h 6217653"/>
                <a:gd name="connsiteX43" fmla="*/ 4209492 w 5884232"/>
                <a:gd name="connsiteY43" fmla="*/ 5644651 h 6217653"/>
                <a:gd name="connsiteX44" fmla="*/ 4406189 w 5884232"/>
                <a:gd name="connsiteY44" fmla="*/ 6217653 h 6217653"/>
                <a:gd name="connsiteX45" fmla="*/ 817988 w 5884232"/>
                <a:gd name="connsiteY45" fmla="*/ 5548391 h 6217653"/>
                <a:gd name="connsiteX46" fmla="*/ 732703 w 5884232"/>
                <a:gd name="connsiteY46" fmla="*/ 5638146 h 6217653"/>
                <a:gd name="connsiteX47" fmla="*/ 430931 w 5884232"/>
                <a:gd name="connsiteY47" fmla="*/ 5323785 h 6217653"/>
                <a:gd name="connsiteX48" fmla="*/ 523257 w 5884232"/>
                <a:gd name="connsiteY48" fmla="*/ 5189370 h 6217653"/>
                <a:gd name="connsiteX49" fmla="*/ 41560 w 5884232"/>
                <a:gd name="connsiteY4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1548682 w 5884232"/>
                <a:gd name="connsiteY41" fmla="*/ 5436198 h 6217653"/>
                <a:gd name="connsiteX42" fmla="*/ 4209492 w 5884232"/>
                <a:gd name="connsiteY42" fmla="*/ 5644651 h 6217653"/>
                <a:gd name="connsiteX43" fmla="*/ 4406189 w 5884232"/>
                <a:gd name="connsiteY43" fmla="*/ 6217653 h 6217653"/>
                <a:gd name="connsiteX44" fmla="*/ 817988 w 5884232"/>
                <a:gd name="connsiteY44" fmla="*/ 5548391 h 6217653"/>
                <a:gd name="connsiteX45" fmla="*/ 732703 w 5884232"/>
                <a:gd name="connsiteY45" fmla="*/ 5638146 h 6217653"/>
                <a:gd name="connsiteX46" fmla="*/ 430931 w 5884232"/>
                <a:gd name="connsiteY46" fmla="*/ 5323785 h 6217653"/>
                <a:gd name="connsiteX47" fmla="*/ 523257 w 5884232"/>
                <a:gd name="connsiteY47" fmla="*/ 5189370 h 6217653"/>
                <a:gd name="connsiteX48" fmla="*/ 41560 w 5884232"/>
                <a:gd name="connsiteY48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209492 w 5884232"/>
                <a:gd name="connsiteY41" fmla="*/ 5644651 h 6217653"/>
                <a:gd name="connsiteX42" fmla="*/ 4406189 w 5884232"/>
                <a:gd name="connsiteY42" fmla="*/ 6217653 h 6217653"/>
                <a:gd name="connsiteX43" fmla="*/ 817988 w 5884232"/>
                <a:gd name="connsiteY43" fmla="*/ 5548391 h 6217653"/>
                <a:gd name="connsiteX44" fmla="*/ 732703 w 5884232"/>
                <a:gd name="connsiteY44" fmla="*/ 5638146 h 6217653"/>
                <a:gd name="connsiteX45" fmla="*/ 430931 w 5884232"/>
                <a:gd name="connsiteY45" fmla="*/ 5323785 h 6217653"/>
                <a:gd name="connsiteX46" fmla="*/ 523257 w 5884232"/>
                <a:gd name="connsiteY46" fmla="*/ 5189370 h 6217653"/>
                <a:gd name="connsiteX47" fmla="*/ 41560 w 5884232"/>
                <a:gd name="connsiteY47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209492 w 5884232"/>
                <a:gd name="connsiteY41" fmla="*/ 5644651 h 6217653"/>
                <a:gd name="connsiteX42" fmla="*/ 4406189 w 5884232"/>
                <a:gd name="connsiteY42" fmla="*/ 6217653 h 6217653"/>
                <a:gd name="connsiteX43" fmla="*/ 4356065 w 5884232"/>
                <a:gd name="connsiteY43" fmla="*/ 6207172 h 6217653"/>
                <a:gd name="connsiteX44" fmla="*/ 817988 w 5884232"/>
                <a:gd name="connsiteY44" fmla="*/ 5548391 h 6217653"/>
                <a:gd name="connsiteX45" fmla="*/ 732703 w 5884232"/>
                <a:gd name="connsiteY45" fmla="*/ 5638146 h 6217653"/>
                <a:gd name="connsiteX46" fmla="*/ 430931 w 5884232"/>
                <a:gd name="connsiteY46" fmla="*/ 5323785 h 6217653"/>
                <a:gd name="connsiteX47" fmla="*/ 523257 w 5884232"/>
                <a:gd name="connsiteY47" fmla="*/ 5189370 h 6217653"/>
                <a:gd name="connsiteX48" fmla="*/ 41560 w 5884232"/>
                <a:gd name="connsiteY48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4209492 w 5884232"/>
                <a:gd name="connsiteY42" fmla="*/ 5644651 h 6217653"/>
                <a:gd name="connsiteX43" fmla="*/ 4406189 w 5884232"/>
                <a:gd name="connsiteY43" fmla="*/ 6217653 h 6217653"/>
                <a:gd name="connsiteX44" fmla="*/ 4356065 w 5884232"/>
                <a:gd name="connsiteY44" fmla="*/ 6207172 h 6217653"/>
                <a:gd name="connsiteX45" fmla="*/ 817988 w 5884232"/>
                <a:gd name="connsiteY45" fmla="*/ 5548391 h 6217653"/>
                <a:gd name="connsiteX46" fmla="*/ 732703 w 5884232"/>
                <a:gd name="connsiteY46" fmla="*/ 5638146 h 6217653"/>
                <a:gd name="connsiteX47" fmla="*/ 430931 w 5884232"/>
                <a:gd name="connsiteY47" fmla="*/ 5323785 h 6217653"/>
                <a:gd name="connsiteX48" fmla="*/ 523257 w 5884232"/>
                <a:gd name="connsiteY48" fmla="*/ 5189370 h 6217653"/>
                <a:gd name="connsiteX49" fmla="*/ 41560 w 5884232"/>
                <a:gd name="connsiteY4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3370570 w 5884232"/>
                <a:gd name="connsiteY42" fmla="*/ 5698352 h 6217653"/>
                <a:gd name="connsiteX43" fmla="*/ 4406189 w 5884232"/>
                <a:gd name="connsiteY43" fmla="*/ 6217653 h 6217653"/>
                <a:gd name="connsiteX44" fmla="*/ 4356065 w 5884232"/>
                <a:gd name="connsiteY44" fmla="*/ 6207172 h 6217653"/>
                <a:gd name="connsiteX45" fmla="*/ 817988 w 5884232"/>
                <a:gd name="connsiteY45" fmla="*/ 5548391 h 6217653"/>
                <a:gd name="connsiteX46" fmla="*/ 732703 w 5884232"/>
                <a:gd name="connsiteY46" fmla="*/ 5638146 h 6217653"/>
                <a:gd name="connsiteX47" fmla="*/ 430931 w 5884232"/>
                <a:gd name="connsiteY47" fmla="*/ 5323785 h 6217653"/>
                <a:gd name="connsiteX48" fmla="*/ 523257 w 5884232"/>
                <a:gd name="connsiteY48" fmla="*/ 5189370 h 6217653"/>
                <a:gd name="connsiteX49" fmla="*/ 41560 w 5884232"/>
                <a:gd name="connsiteY4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3370570 w 5884232"/>
                <a:gd name="connsiteY42" fmla="*/ 5698352 h 6217653"/>
                <a:gd name="connsiteX43" fmla="*/ 4406189 w 5884232"/>
                <a:gd name="connsiteY43" fmla="*/ 6217653 h 6217653"/>
                <a:gd name="connsiteX44" fmla="*/ 3154556 w 5884232"/>
                <a:gd name="connsiteY44" fmla="*/ 6122786 h 6217653"/>
                <a:gd name="connsiteX45" fmla="*/ 817988 w 5884232"/>
                <a:gd name="connsiteY45" fmla="*/ 5548391 h 6217653"/>
                <a:gd name="connsiteX46" fmla="*/ 732703 w 5884232"/>
                <a:gd name="connsiteY46" fmla="*/ 5638146 h 6217653"/>
                <a:gd name="connsiteX47" fmla="*/ 430931 w 5884232"/>
                <a:gd name="connsiteY47" fmla="*/ 5323785 h 6217653"/>
                <a:gd name="connsiteX48" fmla="*/ 523257 w 5884232"/>
                <a:gd name="connsiteY48" fmla="*/ 5189370 h 6217653"/>
                <a:gd name="connsiteX49" fmla="*/ 41560 w 5884232"/>
                <a:gd name="connsiteY4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3370570 w 5884232"/>
                <a:gd name="connsiteY42" fmla="*/ 5698352 h 6217653"/>
                <a:gd name="connsiteX43" fmla="*/ 4406189 w 5884232"/>
                <a:gd name="connsiteY43" fmla="*/ 6217653 h 6217653"/>
                <a:gd name="connsiteX44" fmla="*/ 817988 w 5884232"/>
                <a:gd name="connsiteY44" fmla="*/ 5548391 h 6217653"/>
                <a:gd name="connsiteX45" fmla="*/ 732703 w 5884232"/>
                <a:gd name="connsiteY45" fmla="*/ 5638146 h 6217653"/>
                <a:gd name="connsiteX46" fmla="*/ 430931 w 5884232"/>
                <a:gd name="connsiteY46" fmla="*/ 5323785 h 6217653"/>
                <a:gd name="connsiteX47" fmla="*/ 523257 w 5884232"/>
                <a:gd name="connsiteY47" fmla="*/ 5189370 h 6217653"/>
                <a:gd name="connsiteX48" fmla="*/ 41560 w 5884232"/>
                <a:gd name="connsiteY48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3370570 w 5884232"/>
                <a:gd name="connsiteY42" fmla="*/ 5698352 h 6217653"/>
                <a:gd name="connsiteX43" fmla="*/ 4406189 w 5884232"/>
                <a:gd name="connsiteY43" fmla="*/ 6217653 h 6217653"/>
                <a:gd name="connsiteX44" fmla="*/ 3232760 w 5884232"/>
                <a:gd name="connsiteY44" fmla="*/ 6099773 h 6217653"/>
                <a:gd name="connsiteX45" fmla="*/ 817988 w 5884232"/>
                <a:gd name="connsiteY45" fmla="*/ 5548391 h 6217653"/>
                <a:gd name="connsiteX46" fmla="*/ 732703 w 5884232"/>
                <a:gd name="connsiteY46" fmla="*/ 5638146 h 6217653"/>
                <a:gd name="connsiteX47" fmla="*/ 430931 w 5884232"/>
                <a:gd name="connsiteY47" fmla="*/ 5323785 h 6217653"/>
                <a:gd name="connsiteX48" fmla="*/ 523257 w 5884232"/>
                <a:gd name="connsiteY48" fmla="*/ 5189370 h 6217653"/>
                <a:gd name="connsiteX49" fmla="*/ 41560 w 5884232"/>
                <a:gd name="connsiteY49" fmla="*/ 3281515 h 6217653"/>
                <a:gd name="connsiteX0" fmla="*/ 41560 w 5884232"/>
                <a:gd name="connsiteY0" fmla="*/ 3281515 h 6217653"/>
                <a:gd name="connsiteX1" fmla="*/ 250907 w 5884232"/>
                <a:gd name="connsiteY1" fmla="*/ 2374266 h 6217653"/>
                <a:gd name="connsiteX2" fmla="*/ 218176 w 5884232"/>
                <a:gd name="connsiteY2" fmla="*/ 2331944 h 6217653"/>
                <a:gd name="connsiteX3" fmla="*/ 290433 w 5884232"/>
                <a:gd name="connsiteY3" fmla="*/ 2067448 h 6217653"/>
                <a:gd name="connsiteX4" fmla="*/ 326149 w 5884232"/>
                <a:gd name="connsiteY4" fmla="*/ 2050403 h 6217653"/>
                <a:gd name="connsiteX5" fmla="*/ 1333506 w 5884232"/>
                <a:gd name="connsiteY5" fmla="*/ 647002 h 6217653"/>
                <a:gd name="connsiteX6" fmla="*/ 1546422 w 5884232"/>
                <a:gd name="connsiteY6" fmla="*/ 547251 h 6217653"/>
                <a:gd name="connsiteX7" fmla="*/ 1526361 w 5884232"/>
                <a:gd name="connsiteY7" fmla="*/ 432260 h 6217653"/>
                <a:gd name="connsiteX8" fmla="*/ 1722126 w 5884232"/>
                <a:gd name="connsiteY8" fmla="*/ 380302 h 6217653"/>
                <a:gd name="connsiteX9" fmla="*/ 1739499 w 5884232"/>
                <a:gd name="connsiteY9" fmla="*/ 481442 h 6217653"/>
                <a:gd name="connsiteX10" fmla="*/ 1866574 w 5884232"/>
                <a:gd name="connsiteY10" fmla="*/ 442651 h 6217653"/>
                <a:gd name="connsiteX11" fmla="*/ 1897053 w 5884232"/>
                <a:gd name="connsiteY11" fmla="*/ 393463 h 6217653"/>
                <a:gd name="connsiteX12" fmla="*/ 2132940 w 5884232"/>
                <a:gd name="connsiteY12" fmla="*/ 319342 h 6217653"/>
                <a:gd name="connsiteX13" fmla="*/ 2173395 w 5884232"/>
                <a:gd name="connsiteY13" fmla="*/ 352592 h 6217653"/>
                <a:gd name="connsiteX14" fmla="*/ 2369937 w 5884232"/>
                <a:gd name="connsiteY14" fmla="*/ 288171 h 6217653"/>
                <a:gd name="connsiteX15" fmla="*/ 2329149 w 5884232"/>
                <a:gd name="connsiteY15" fmla="*/ 119840 h 6217653"/>
                <a:gd name="connsiteX16" fmla="*/ 2712392 w 5884232"/>
                <a:gd name="connsiteY16" fmla="*/ 0 h 6217653"/>
                <a:gd name="connsiteX17" fmla="*/ 2760690 w 5884232"/>
                <a:gd name="connsiteY17" fmla="*/ 165560 h 6217653"/>
                <a:gd name="connsiteX18" fmla="*/ 4524241 w 5884232"/>
                <a:gd name="connsiteY18" fmla="*/ 680900 h 6217653"/>
                <a:gd name="connsiteX19" fmla="*/ 5074371 w 5884232"/>
                <a:gd name="connsiteY19" fmla="*/ 1291242 h 6217653"/>
                <a:gd name="connsiteX20" fmla="*/ 5135775 w 5884232"/>
                <a:gd name="connsiteY20" fmla="*/ 1298860 h 6217653"/>
                <a:gd name="connsiteX21" fmla="*/ 5300616 w 5884232"/>
                <a:gd name="connsiteY21" fmla="*/ 1479661 h 6217653"/>
                <a:gd name="connsiteX22" fmla="*/ 5300839 w 5884232"/>
                <a:gd name="connsiteY22" fmla="*/ 1535080 h 6217653"/>
                <a:gd name="connsiteX23" fmla="*/ 5462103 w 5884232"/>
                <a:gd name="connsiteY23" fmla="*/ 1726990 h 6217653"/>
                <a:gd name="connsiteX24" fmla="*/ 5842091 w 5884232"/>
                <a:gd name="connsiteY24" fmla="*/ 3519512 h 6217653"/>
                <a:gd name="connsiteX25" fmla="*/ 5650012 w 5884232"/>
                <a:gd name="connsiteY25" fmla="*/ 4385669 h 6217653"/>
                <a:gd name="connsiteX26" fmla="*/ 5780228 w 5884232"/>
                <a:gd name="connsiteY26" fmla="*/ 4452156 h 6217653"/>
                <a:gd name="connsiteX27" fmla="*/ 5710779 w 5884232"/>
                <a:gd name="connsiteY27" fmla="*/ 4870077 h 6217653"/>
                <a:gd name="connsiteX28" fmla="*/ 5553250 w 5884232"/>
                <a:gd name="connsiteY28" fmla="*/ 4807792 h 6217653"/>
                <a:gd name="connsiteX29" fmla="*/ 4409852 w 5884232"/>
                <a:gd name="connsiteY29" fmla="*/ 6212288 h 6217653"/>
                <a:gd name="connsiteX30" fmla="*/ 4213721 w 5884232"/>
                <a:gd name="connsiteY30" fmla="*/ 5643346 h 6217653"/>
                <a:gd name="connsiteX31" fmla="*/ 5030652 w 5884232"/>
                <a:gd name="connsiteY31" fmla="*/ 4596953 h 6217653"/>
                <a:gd name="connsiteX32" fmla="*/ 5310701 w 5884232"/>
                <a:gd name="connsiteY32" fmla="*/ 3352779 h 6217653"/>
                <a:gd name="connsiteX33" fmla="*/ 4991885 w 5884232"/>
                <a:gd name="connsiteY33" fmla="*/ 2049487 h 6217653"/>
                <a:gd name="connsiteX34" fmla="*/ 4174632 w 5884232"/>
                <a:gd name="connsiteY34" fmla="*/ 1163055 h 6217653"/>
                <a:gd name="connsiteX35" fmla="*/ 2880366 w 5884232"/>
                <a:gd name="connsiteY35" fmla="*/ 761302 h 6217653"/>
                <a:gd name="connsiteX36" fmla="*/ 1882146 w 5884232"/>
                <a:gd name="connsiteY36" fmla="*/ 1081342 h 6217653"/>
                <a:gd name="connsiteX37" fmla="*/ 873226 w 5884232"/>
                <a:gd name="connsiteY37" fmla="*/ 2111591 h 6217653"/>
                <a:gd name="connsiteX38" fmla="*/ 571891 w 5884232"/>
                <a:gd name="connsiteY38" fmla="*/ 3464807 h 6217653"/>
                <a:gd name="connsiteX39" fmla="*/ 1077217 w 5884232"/>
                <a:gd name="connsiteY39" fmla="*/ 4933546 h 6217653"/>
                <a:gd name="connsiteX40" fmla="*/ 1206546 w 5884232"/>
                <a:gd name="connsiteY40" fmla="*/ 5094818 h 6217653"/>
                <a:gd name="connsiteX41" fmla="*/ 4149888 w 5884232"/>
                <a:gd name="connsiteY41" fmla="*/ 5639490 h 6217653"/>
                <a:gd name="connsiteX42" fmla="*/ 3370570 w 5884232"/>
                <a:gd name="connsiteY42" fmla="*/ 5698352 h 6217653"/>
                <a:gd name="connsiteX43" fmla="*/ 4406189 w 5884232"/>
                <a:gd name="connsiteY43" fmla="*/ 6217653 h 6217653"/>
                <a:gd name="connsiteX44" fmla="*/ 817988 w 5884232"/>
                <a:gd name="connsiteY44" fmla="*/ 5548391 h 6217653"/>
                <a:gd name="connsiteX45" fmla="*/ 732703 w 5884232"/>
                <a:gd name="connsiteY45" fmla="*/ 5638146 h 6217653"/>
                <a:gd name="connsiteX46" fmla="*/ 430931 w 5884232"/>
                <a:gd name="connsiteY46" fmla="*/ 5323785 h 6217653"/>
                <a:gd name="connsiteX47" fmla="*/ 523257 w 5884232"/>
                <a:gd name="connsiteY47" fmla="*/ 5189370 h 6217653"/>
                <a:gd name="connsiteX48" fmla="*/ 41560 w 5884232"/>
                <a:gd name="connsiteY48" fmla="*/ 3281515 h 6217653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710779 w 5884232"/>
                <a:gd name="connsiteY27" fmla="*/ 4870077 h 6212288"/>
                <a:gd name="connsiteX28" fmla="*/ 5553250 w 5884232"/>
                <a:gd name="connsiteY28" fmla="*/ 4807792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4149888 w 5884232"/>
                <a:gd name="connsiteY41" fmla="*/ 5639490 h 6212288"/>
                <a:gd name="connsiteX42" fmla="*/ 3370570 w 5884232"/>
                <a:gd name="connsiteY42" fmla="*/ 5698352 h 6212288"/>
                <a:gd name="connsiteX43" fmla="*/ 3545936 w 5884232"/>
                <a:gd name="connsiteY43" fmla="*/ 6125596 h 6212288"/>
                <a:gd name="connsiteX44" fmla="*/ 817988 w 5884232"/>
                <a:gd name="connsiteY44" fmla="*/ 5548391 h 6212288"/>
                <a:gd name="connsiteX45" fmla="*/ 732703 w 5884232"/>
                <a:gd name="connsiteY45" fmla="*/ 5638146 h 6212288"/>
                <a:gd name="connsiteX46" fmla="*/ 430931 w 5884232"/>
                <a:gd name="connsiteY46" fmla="*/ 5323785 h 6212288"/>
                <a:gd name="connsiteX47" fmla="*/ 523257 w 5884232"/>
                <a:gd name="connsiteY47" fmla="*/ 5189370 h 6212288"/>
                <a:gd name="connsiteX48" fmla="*/ 41560 w 5884232"/>
                <a:gd name="connsiteY48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710779 w 5884232"/>
                <a:gd name="connsiteY27" fmla="*/ 4870077 h 6212288"/>
                <a:gd name="connsiteX28" fmla="*/ 5553250 w 5884232"/>
                <a:gd name="connsiteY28" fmla="*/ 4807792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4149888 w 5884232"/>
                <a:gd name="connsiteY41" fmla="*/ 5639490 h 6212288"/>
                <a:gd name="connsiteX42" fmla="*/ 3370570 w 5884232"/>
                <a:gd name="connsiteY42" fmla="*/ 5698352 h 6212288"/>
                <a:gd name="connsiteX43" fmla="*/ 817988 w 5884232"/>
                <a:gd name="connsiteY43" fmla="*/ 5548391 h 6212288"/>
                <a:gd name="connsiteX44" fmla="*/ 732703 w 5884232"/>
                <a:gd name="connsiteY44" fmla="*/ 5638146 h 6212288"/>
                <a:gd name="connsiteX45" fmla="*/ 430931 w 5884232"/>
                <a:gd name="connsiteY45" fmla="*/ 5323785 h 6212288"/>
                <a:gd name="connsiteX46" fmla="*/ 523257 w 5884232"/>
                <a:gd name="connsiteY46" fmla="*/ 5189370 h 6212288"/>
                <a:gd name="connsiteX47" fmla="*/ 41560 w 5884232"/>
                <a:gd name="connsiteY47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710779 w 5884232"/>
                <a:gd name="connsiteY27" fmla="*/ 4870077 h 6212288"/>
                <a:gd name="connsiteX28" fmla="*/ 5553250 w 5884232"/>
                <a:gd name="connsiteY28" fmla="*/ 4807792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3370570 w 5884232"/>
                <a:gd name="connsiteY41" fmla="*/ 5698352 h 6212288"/>
                <a:gd name="connsiteX42" fmla="*/ 817988 w 5884232"/>
                <a:gd name="connsiteY42" fmla="*/ 5548391 h 6212288"/>
                <a:gd name="connsiteX43" fmla="*/ 732703 w 5884232"/>
                <a:gd name="connsiteY43" fmla="*/ 5638146 h 6212288"/>
                <a:gd name="connsiteX44" fmla="*/ 430931 w 5884232"/>
                <a:gd name="connsiteY44" fmla="*/ 5323785 h 6212288"/>
                <a:gd name="connsiteX45" fmla="*/ 523257 w 5884232"/>
                <a:gd name="connsiteY45" fmla="*/ 5189370 h 6212288"/>
                <a:gd name="connsiteX46" fmla="*/ 41560 w 5884232"/>
                <a:gd name="connsiteY46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710779 w 5884232"/>
                <a:gd name="connsiteY27" fmla="*/ 4870077 h 6212288"/>
                <a:gd name="connsiteX28" fmla="*/ 5553250 w 5884232"/>
                <a:gd name="connsiteY28" fmla="*/ 4807792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710779 w 5884232"/>
                <a:gd name="connsiteY27" fmla="*/ 4870077 h 6212288"/>
                <a:gd name="connsiteX28" fmla="*/ 5544633 w 5884232"/>
                <a:gd name="connsiteY28" fmla="*/ 4835624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693545 w 5884232"/>
                <a:gd name="connsiteY27" fmla="*/ 4865439 h 6212288"/>
                <a:gd name="connsiteX28" fmla="*/ 5544633 w 5884232"/>
                <a:gd name="connsiteY28" fmla="*/ 4835624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693545 w 5884232"/>
                <a:gd name="connsiteY27" fmla="*/ 4865439 h 6212288"/>
                <a:gd name="connsiteX28" fmla="*/ 5557557 w 5884232"/>
                <a:gd name="connsiteY28" fmla="*/ 4817071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693545 w 5884232"/>
                <a:gd name="connsiteY27" fmla="*/ 4865439 h 6212288"/>
                <a:gd name="connsiteX28" fmla="*/ 5557557 w 5884232"/>
                <a:gd name="connsiteY28" fmla="*/ 4817071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0228 w 5884232"/>
                <a:gd name="connsiteY26" fmla="*/ 4452156 h 6212288"/>
                <a:gd name="connsiteX27" fmla="*/ 5693545 w 5884232"/>
                <a:gd name="connsiteY27" fmla="*/ 4865439 h 6212288"/>
                <a:gd name="connsiteX28" fmla="*/ 5557557 w 5884232"/>
                <a:gd name="connsiteY28" fmla="*/ 4817071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88845 w 5884232"/>
                <a:gd name="connsiteY26" fmla="*/ 4428963 h 6212288"/>
                <a:gd name="connsiteX27" fmla="*/ 5693545 w 5884232"/>
                <a:gd name="connsiteY27" fmla="*/ 4865439 h 6212288"/>
                <a:gd name="connsiteX28" fmla="*/ 5557557 w 5884232"/>
                <a:gd name="connsiteY28" fmla="*/ 4817071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57557 w 5884232"/>
                <a:gd name="connsiteY28" fmla="*/ 4817071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48942 w 5884232"/>
                <a:gd name="connsiteY28" fmla="*/ 4835626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48942 w 5884232"/>
                <a:gd name="connsiteY28" fmla="*/ 4835626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9481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48942 w 5884232"/>
                <a:gd name="connsiteY28" fmla="*/ 4835626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76264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48942 w 5884232"/>
                <a:gd name="connsiteY28" fmla="*/ 4835626 h 6212288"/>
                <a:gd name="connsiteX29" fmla="*/ 4409852 w 5884232"/>
                <a:gd name="connsiteY29" fmla="*/ 6212288 h 6212288"/>
                <a:gd name="connsiteX30" fmla="*/ 4213721 w 5884232"/>
                <a:gd name="connsiteY30" fmla="*/ 5643346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6234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212288"/>
                <a:gd name="connsiteX1" fmla="*/ 250907 w 5884232"/>
                <a:gd name="connsiteY1" fmla="*/ 2374266 h 6212288"/>
                <a:gd name="connsiteX2" fmla="*/ 218176 w 5884232"/>
                <a:gd name="connsiteY2" fmla="*/ 2331944 h 6212288"/>
                <a:gd name="connsiteX3" fmla="*/ 290433 w 5884232"/>
                <a:gd name="connsiteY3" fmla="*/ 2067448 h 6212288"/>
                <a:gd name="connsiteX4" fmla="*/ 326149 w 5884232"/>
                <a:gd name="connsiteY4" fmla="*/ 2050403 h 6212288"/>
                <a:gd name="connsiteX5" fmla="*/ 1333506 w 5884232"/>
                <a:gd name="connsiteY5" fmla="*/ 647002 h 6212288"/>
                <a:gd name="connsiteX6" fmla="*/ 1546422 w 5884232"/>
                <a:gd name="connsiteY6" fmla="*/ 547251 h 6212288"/>
                <a:gd name="connsiteX7" fmla="*/ 1526361 w 5884232"/>
                <a:gd name="connsiteY7" fmla="*/ 432260 h 6212288"/>
                <a:gd name="connsiteX8" fmla="*/ 1722126 w 5884232"/>
                <a:gd name="connsiteY8" fmla="*/ 380302 h 6212288"/>
                <a:gd name="connsiteX9" fmla="*/ 1739499 w 5884232"/>
                <a:gd name="connsiteY9" fmla="*/ 481442 h 6212288"/>
                <a:gd name="connsiteX10" fmla="*/ 1866574 w 5884232"/>
                <a:gd name="connsiteY10" fmla="*/ 442651 h 6212288"/>
                <a:gd name="connsiteX11" fmla="*/ 1897053 w 5884232"/>
                <a:gd name="connsiteY11" fmla="*/ 393463 h 6212288"/>
                <a:gd name="connsiteX12" fmla="*/ 2132940 w 5884232"/>
                <a:gd name="connsiteY12" fmla="*/ 319342 h 6212288"/>
                <a:gd name="connsiteX13" fmla="*/ 2173395 w 5884232"/>
                <a:gd name="connsiteY13" fmla="*/ 352592 h 6212288"/>
                <a:gd name="connsiteX14" fmla="*/ 2369937 w 5884232"/>
                <a:gd name="connsiteY14" fmla="*/ 288171 h 6212288"/>
                <a:gd name="connsiteX15" fmla="*/ 2329149 w 5884232"/>
                <a:gd name="connsiteY15" fmla="*/ 119840 h 6212288"/>
                <a:gd name="connsiteX16" fmla="*/ 2712392 w 5884232"/>
                <a:gd name="connsiteY16" fmla="*/ 0 h 6212288"/>
                <a:gd name="connsiteX17" fmla="*/ 2760690 w 5884232"/>
                <a:gd name="connsiteY17" fmla="*/ 165560 h 6212288"/>
                <a:gd name="connsiteX18" fmla="*/ 4524241 w 5884232"/>
                <a:gd name="connsiteY18" fmla="*/ 680900 h 6212288"/>
                <a:gd name="connsiteX19" fmla="*/ 5074371 w 5884232"/>
                <a:gd name="connsiteY19" fmla="*/ 1291242 h 6212288"/>
                <a:gd name="connsiteX20" fmla="*/ 5135775 w 5884232"/>
                <a:gd name="connsiteY20" fmla="*/ 1298860 h 6212288"/>
                <a:gd name="connsiteX21" fmla="*/ 5300616 w 5884232"/>
                <a:gd name="connsiteY21" fmla="*/ 1479661 h 6212288"/>
                <a:gd name="connsiteX22" fmla="*/ 5300839 w 5884232"/>
                <a:gd name="connsiteY22" fmla="*/ 1535080 h 6212288"/>
                <a:gd name="connsiteX23" fmla="*/ 5462103 w 5884232"/>
                <a:gd name="connsiteY23" fmla="*/ 1726990 h 6212288"/>
                <a:gd name="connsiteX24" fmla="*/ 5842091 w 5884232"/>
                <a:gd name="connsiteY24" fmla="*/ 3519512 h 6212288"/>
                <a:gd name="connsiteX25" fmla="*/ 5650012 w 5884232"/>
                <a:gd name="connsiteY25" fmla="*/ 4385669 h 6212288"/>
                <a:gd name="connsiteX26" fmla="*/ 5797462 w 5884232"/>
                <a:gd name="connsiteY26" fmla="*/ 4428964 h 6212288"/>
                <a:gd name="connsiteX27" fmla="*/ 5693545 w 5884232"/>
                <a:gd name="connsiteY27" fmla="*/ 4865439 h 6212288"/>
                <a:gd name="connsiteX28" fmla="*/ 5548942 w 5884232"/>
                <a:gd name="connsiteY28" fmla="*/ 4835626 h 6212288"/>
                <a:gd name="connsiteX29" fmla="*/ 4409852 w 5884232"/>
                <a:gd name="connsiteY29" fmla="*/ 6212288 h 6212288"/>
                <a:gd name="connsiteX30" fmla="*/ 4244517 w 5884232"/>
                <a:gd name="connsiteY30" fmla="*/ 5626725 h 6212288"/>
                <a:gd name="connsiteX31" fmla="*/ 5030652 w 5884232"/>
                <a:gd name="connsiteY31" fmla="*/ 4596953 h 6212288"/>
                <a:gd name="connsiteX32" fmla="*/ 5310701 w 5884232"/>
                <a:gd name="connsiteY32" fmla="*/ 3352779 h 6212288"/>
                <a:gd name="connsiteX33" fmla="*/ 4991885 w 5884232"/>
                <a:gd name="connsiteY33" fmla="*/ 2049487 h 6212288"/>
                <a:gd name="connsiteX34" fmla="*/ 4174632 w 5884232"/>
                <a:gd name="connsiteY34" fmla="*/ 1163055 h 6212288"/>
                <a:gd name="connsiteX35" fmla="*/ 2880366 w 5884232"/>
                <a:gd name="connsiteY35" fmla="*/ 761302 h 6212288"/>
                <a:gd name="connsiteX36" fmla="*/ 1882146 w 5884232"/>
                <a:gd name="connsiteY36" fmla="*/ 1081342 h 6212288"/>
                <a:gd name="connsiteX37" fmla="*/ 873226 w 5884232"/>
                <a:gd name="connsiteY37" fmla="*/ 2111591 h 6212288"/>
                <a:gd name="connsiteX38" fmla="*/ 571891 w 5884232"/>
                <a:gd name="connsiteY38" fmla="*/ 3464807 h 6212288"/>
                <a:gd name="connsiteX39" fmla="*/ 1077217 w 5884232"/>
                <a:gd name="connsiteY39" fmla="*/ 4933546 h 6212288"/>
                <a:gd name="connsiteX40" fmla="*/ 1206546 w 5884232"/>
                <a:gd name="connsiteY40" fmla="*/ 5062348 h 6212288"/>
                <a:gd name="connsiteX41" fmla="*/ 817988 w 5884232"/>
                <a:gd name="connsiteY41" fmla="*/ 5548391 h 6212288"/>
                <a:gd name="connsiteX42" fmla="*/ 732703 w 5884232"/>
                <a:gd name="connsiteY42" fmla="*/ 5638146 h 6212288"/>
                <a:gd name="connsiteX43" fmla="*/ 430931 w 5884232"/>
                <a:gd name="connsiteY43" fmla="*/ 5323785 h 6212288"/>
                <a:gd name="connsiteX44" fmla="*/ 523257 w 5884232"/>
                <a:gd name="connsiteY44" fmla="*/ 5189370 h 6212288"/>
                <a:gd name="connsiteX45" fmla="*/ 41560 w 5884232"/>
                <a:gd name="connsiteY45" fmla="*/ 3281515 h 6212288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35626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1077217 w 5884232"/>
                <a:gd name="connsiteY39" fmla="*/ 4933546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732703 w 5884232"/>
                <a:gd name="connsiteY42" fmla="*/ 5638146 h 6198437"/>
                <a:gd name="connsiteX43" fmla="*/ 430931 w 5884232"/>
                <a:gd name="connsiteY43" fmla="*/ 5323785 h 6198437"/>
                <a:gd name="connsiteX44" fmla="*/ 523257 w 5884232"/>
                <a:gd name="connsiteY44" fmla="*/ 5189370 h 6198437"/>
                <a:gd name="connsiteX45" fmla="*/ 41560 w 5884232"/>
                <a:gd name="connsiteY45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35626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1077217 w 5884232"/>
                <a:gd name="connsiteY39" fmla="*/ 4933546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732703 w 5884232"/>
                <a:gd name="connsiteY42" fmla="*/ 5638146 h 6198437"/>
                <a:gd name="connsiteX43" fmla="*/ 430931 w 5884232"/>
                <a:gd name="connsiteY43" fmla="*/ 5323785 h 6198437"/>
                <a:gd name="connsiteX44" fmla="*/ 523257 w 5884232"/>
                <a:gd name="connsiteY44" fmla="*/ 5189370 h 6198437"/>
                <a:gd name="connsiteX45" fmla="*/ 41560 w 5884232"/>
                <a:gd name="connsiteY45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1077217 w 5884232"/>
                <a:gd name="connsiteY39" fmla="*/ 4933546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732703 w 5884232"/>
                <a:gd name="connsiteY42" fmla="*/ 5638146 h 6198437"/>
                <a:gd name="connsiteX43" fmla="*/ 430931 w 5884232"/>
                <a:gd name="connsiteY43" fmla="*/ 5323785 h 6198437"/>
                <a:gd name="connsiteX44" fmla="*/ 523257 w 5884232"/>
                <a:gd name="connsiteY44" fmla="*/ 5189370 h 6198437"/>
                <a:gd name="connsiteX45" fmla="*/ 41560 w 5884232"/>
                <a:gd name="connsiteY45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732703 w 5884232"/>
                <a:gd name="connsiteY42" fmla="*/ 5638146 h 6198437"/>
                <a:gd name="connsiteX43" fmla="*/ 430931 w 5884232"/>
                <a:gd name="connsiteY43" fmla="*/ 5323785 h 6198437"/>
                <a:gd name="connsiteX44" fmla="*/ 523257 w 5884232"/>
                <a:gd name="connsiteY44" fmla="*/ 5189370 h 6198437"/>
                <a:gd name="connsiteX45" fmla="*/ 41560 w 5884232"/>
                <a:gd name="connsiteY45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732703 w 5884232"/>
                <a:gd name="connsiteY42" fmla="*/ 5638146 h 6198437"/>
                <a:gd name="connsiteX43" fmla="*/ 430931 w 5884232"/>
                <a:gd name="connsiteY43" fmla="*/ 5323785 h 6198437"/>
                <a:gd name="connsiteX44" fmla="*/ 523257 w 5884232"/>
                <a:gd name="connsiteY44" fmla="*/ 5189370 h 6198437"/>
                <a:gd name="connsiteX45" fmla="*/ 41560 w 5884232"/>
                <a:gd name="connsiteY45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430931 w 5884232"/>
                <a:gd name="connsiteY42" fmla="*/ 5323785 h 6198437"/>
                <a:gd name="connsiteX43" fmla="*/ 523257 w 5884232"/>
                <a:gd name="connsiteY43" fmla="*/ 5189370 h 6198437"/>
                <a:gd name="connsiteX44" fmla="*/ 41560 w 5884232"/>
                <a:gd name="connsiteY44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1206546 w 5884232"/>
                <a:gd name="connsiteY40" fmla="*/ 5062348 h 6198437"/>
                <a:gd name="connsiteX41" fmla="*/ 817988 w 5884232"/>
                <a:gd name="connsiteY41" fmla="*/ 5548391 h 6198437"/>
                <a:gd name="connsiteX42" fmla="*/ 523257 w 5884232"/>
                <a:gd name="connsiteY42" fmla="*/ 5189370 h 6198437"/>
                <a:gd name="connsiteX43" fmla="*/ 41560 w 5884232"/>
                <a:gd name="connsiteY43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1206546 w 5884232"/>
                <a:gd name="connsiteY40" fmla="*/ 5062348 h 6198437"/>
                <a:gd name="connsiteX41" fmla="*/ 523257 w 5884232"/>
                <a:gd name="connsiteY41" fmla="*/ 5189370 h 6198437"/>
                <a:gd name="connsiteX42" fmla="*/ 41560 w 5884232"/>
                <a:gd name="connsiteY42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61482 w 5884232"/>
                <a:gd name="connsiteY39" fmla="*/ 4808885 h 6198437"/>
                <a:gd name="connsiteX40" fmla="*/ 523257 w 5884232"/>
                <a:gd name="connsiteY40" fmla="*/ 5189370 h 6198437"/>
                <a:gd name="connsiteX41" fmla="*/ 41560 w 5884232"/>
                <a:gd name="connsiteY41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4244517 w 5884232"/>
                <a:gd name="connsiteY30" fmla="*/ 5626725 h 6198437"/>
                <a:gd name="connsiteX31" fmla="*/ 5030652 w 5884232"/>
                <a:gd name="connsiteY31" fmla="*/ 4596953 h 6198437"/>
                <a:gd name="connsiteX32" fmla="*/ 5310701 w 5884232"/>
                <a:gd name="connsiteY32" fmla="*/ 3352779 h 6198437"/>
                <a:gd name="connsiteX33" fmla="*/ 4991885 w 5884232"/>
                <a:gd name="connsiteY33" fmla="*/ 2049487 h 6198437"/>
                <a:gd name="connsiteX34" fmla="*/ 4174632 w 5884232"/>
                <a:gd name="connsiteY34" fmla="*/ 1163055 h 6198437"/>
                <a:gd name="connsiteX35" fmla="*/ 2880366 w 5884232"/>
                <a:gd name="connsiteY35" fmla="*/ 761302 h 6198437"/>
                <a:gd name="connsiteX36" fmla="*/ 1882146 w 5884232"/>
                <a:gd name="connsiteY36" fmla="*/ 1081342 h 6198437"/>
                <a:gd name="connsiteX37" fmla="*/ 873226 w 5884232"/>
                <a:gd name="connsiteY37" fmla="*/ 2111591 h 6198437"/>
                <a:gd name="connsiteX38" fmla="*/ 571891 w 5884232"/>
                <a:gd name="connsiteY38" fmla="*/ 3464807 h 6198437"/>
                <a:gd name="connsiteX39" fmla="*/ 932548 w 5884232"/>
                <a:gd name="connsiteY39" fmla="*/ 4771487 h 6198437"/>
                <a:gd name="connsiteX40" fmla="*/ 523257 w 5884232"/>
                <a:gd name="connsiteY40" fmla="*/ 5189370 h 6198437"/>
                <a:gd name="connsiteX41" fmla="*/ 41560 w 5884232"/>
                <a:gd name="connsiteY41" fmla="*/ 3281515 h 6198437"/>
                <a:gd name="connsiteX0" fmla="*/ 41560 w 5884232"/>
                <a:gd name="connsiteY0" fmla="*/ 3281515 h 6198437"/>
                <a:gd name="connsiteX1" fmla="*/ 250907 w 5884232"/>
                <a:gd name="connsiteY1" fmla="*/ 2374266 h 6198437"/>
                <a:gd name="connsiteX2" fmla="*/ 218176 w 5884232"/>
                <a:gd name="connsiteY2" fmla="*/ 2331944 h 6198437"/>
                <a:gd name="connsiteX3" fmla="*/ 290433 w 5884232"/>
                <a:gd name="connsiteY3" fmla="*/ 2067448 h 6198437"/>
                <a:gd name="connsiteX4" fmla="*/ 326149 w 5884232"/>
                <a:gd name="connsiteY4" fmla="*/ 2050403 h 6198437"/>
                <a:gd name="connsiteX5" fmla="*/ 1333506 w 5884232"/>
                <a:gd name="connsiteY5" fmla="*/ 647002 h 6198437"/>
                <a:gd name="connsiteX6" fmla="*/ 1546422 w 5884232"/>
                <a:gd name="connsiteY6" fmla="*/ 547251 h 6198437"/>
                <a:gd name="connsiteX7" fmla="*/ 1526361 w 5884232"/>
                <a:gd name="connsiteY7" fmla="*/ 432260 h 6198437"/>
                <a:gd name="connsiteX8" fmla="*/ 1722126 w 5884232"/>
                <a:gd name="connsiteY8" fmla="*/ 380302 h 6198437"/>
                <a:gd name="connsiteX9" fmla="*/ 1739499 w 5884232"/>
                <a:gd name="connsiteY9" fmla="*/ 481442 h 6198437"/>
                <a:gd name="connsiteX10" fmla="*/ 1866574 w 5884232"/>
                <a:gd name="connsiteY10" fmla="*/ 442651 h 6198437"/>
                <a:gd name="connsiteX11" fmla="*/ 1897053 w 5884232"/>
                <a:gd name="connsiteY11" fmla="*/ 393463 h 6198437"/>
                <a:gd name="connsiteX12" fmla="*/ 2132940 w 5884232"/>
                <a:gd name="connsiteY12" fmla="*/ 319342 h 6198437"/>
                <a:gd name="connsiteX13" fmla="*/ 2173395 w 5884232"/>
                <a:gd name="connsiteY13" fmla="*/ 352592 h 6198437"/>
                <a:gd name="connsiteX14" fmla="*/ 2369937 w 5884232"/>
                <a:gd name="connsiteY14" fmla="*/ 288171 h 6198437"/>
                <a:gd name="connsiteX15" fmla="*/ 2329149 w 5884232"/>
                <a:gd name="connsiteY15" fmla="*/ 119840 h 6198437"/>
                <a:gd name="connsiteX16" fmla="*/ 2712392 w 5884232"/>
                <a:gd name="connsiteY16" fmla="*/ 0 h 6198437"/>
                <a:gd name="connsiteX17" fmla="*/ 2760690 w 5884232"/>
                <a:gd name="connsiteY17" fmla="*/ 165560 h 6198437"/>
                <a:gd name="connsiteX18" fmla="*/ 4524241 w 5884232"/>
                <a:gd name="connsiteY18" fmla="*/ 680900 h 6198437"/>
                <a:gd name="connsiteX19" fmla="*/ 5074371 w 5884232"/>
                <a:gd name="connsiteY19" fmla="*/ 1291242 h 6198437"/>
                <a:gd name="connsiteX20" fmla="*/ 5135775 w 5884232"/>
                <a:gd name="connsiteY20" fmla="*/ 1298860 h 6198437"/>
                <a:gd name="connsiteX21" fmla="*/ 5300616 w 5884232"/>
                <a:gd name="connsiteY21" fmla="*/ 1479661 h 6198437"/>
                <a:gd name="connsiteX22" fmla="*/ 5300839 w 5884232"/>
                <a:gd name="connsiteY22" fmla="*/ 1535080 h 6198437"/>
                <a:gd name="connsiteX23" fmla="*/ 5462103 w 5884232"/>
                <a:gd name="connsiteY23" fmla="*/ 1726990 h 6198437"/>
                <a:gd name="connsiteX24" fmla="*/ 5842091 w 5884232"/>
                <a:gd name="connsiteY24" fmla="*/ 3519512 h 6198437"/>
                <a:gd name="connsiteX25" fmla="*/ 5650012 w 5884232"/>
                <a:gd name="connsiteY25" fmla="*/ 4385669 h 6198437"/>
                <a:gd name="connsiteX26" fmla="*/ 5797462 w 5884232"/>
                <a:gd name="connsiteY26" fmla="*/ 4428964 h 6198437"/>
                <a:gd name="connsiteX27" fmla="*/ 5693545 w 5884232"/>
                <a:gd name="connsiteY27" fmla="*/ 4865439 h 6198437"/>
                <a:gd name="connsiteX28" fmla="*/ 5548942 w 5884232"/>
                <a:gd name="connsiteY28" fmla="*/ 4824545 h 6198437"/>
                <a:gd name="connsiteX29" fmla="*/ 4435515 w 5884232"/>
                <a:gd name="connsiteY29" fmla="*/ 6198437 h 6198437"/>
                <a:gd name="connsiteX30" fmla="*/ 5030652 w 5884232"/>
                <a:gd name="connsiteY30" fmla="*/ 4596953 h 6198437"/>
                <a:gd name="connsiteX31" fmla="*/ 5310701 w 5884232"/>
                <a:gd name="connsiteY31" fmla="*/ 3352779 h 6198437"/>
                <a:gd name="connsiteX32" fmla="*/ 4991885 w 5884232"/>
                <a:gd name="connsiteY32" fmla="*/ 2049487 h 6198437"/>
                <a:gd name="connsiteX33" fmla="*/ 4174632 w 5884232"/>
                <a:gd name="connsiteY33" fmla="*/ 1163055 h 6198437"/>
                <a:gd name="connsiteX34" fmla="*/ 2880366 w 5884232"/>
                <a:gd name="connsiteY34" fmla="*/ 761302 h 6198437"/>
                <a:gd name="connsiteX35" fmla="*/ 1882146 w 5884232"/>
                <a:gd name="connsiteY35" fmla="*/ 1081342 h 6198437"/>
                <a:gd name="connsiteX36" fmla="*/ 873226 w 5884232"/>
                <a:gd name="connsiteY36" fmla="*/ 2111591 h 6198437"/>
                <a:gd name="connsiteX37" fmla="*/ 571891 w 5884232"/>
                <a:gd name="connsiteY37" fmla="*/ 3464807 h 6198437"/>
                <a:gd name="connsiteX38" fmla="*/ 932548 w 5884232"/>
                <a:gd name="connsiteY38" fmla="*/ 4771487 h 6198437"/>
                <a:gd name="connsiteX39" fmla="*/ 523257 w 5884232"/>
                <a:gd name="connsiteY39" fmla="*/ 5189370 h 6198437"/>
                <a:gd name="connsiteX40" fmla="*/ 41560 w 5884232"/>
                <a:gd name="connsiteY40" fmla="*/ 3281515 h 6198437"/>
                <a:gd name="connsiteX0" fmla="*/ 41560 w 5884232"/>
                <a:gd name="connsiteY0" fmla="*/ 3281515 h 5189370"/>
                <a:gd name="connsiteX1" fmla="*/ 250907 w 5884232"/>
                <a:gd name="connsiteY1" fmla="*/ 2374266 h 5189370"/>
                <a:gd name="connsiteX2" fmla="*/ 218176 w 5884232"/>
                <a:gd name="connsiteY2" fmla="*/ 2331944 h 5189370"/>
                <a:gd name="connsiteX3" fmla="*/ 290433 w 5884232"/>
                <a:gd name="connsiteY3" fmla="*/ 2067448 h 5189370"/>
                <a:gd name="connsiteX4" fmla="*/ 326149 w 5884232"/>
                <a:gd name="connsiteY4" fmla="*/ 2050403 h 5189370"/>
                <a:gd name="connsiteX5" fmla="*/ 1333506 w 5884232"/>
                <a:gd name="connsiteY5" fmla="*/ 647002 h 5189370"/>
                <a:gd name="connsiteX6" fmla="*/ 1546422 w 5884232"/>
                <a:gd name="connsiteY6" fmla="*/ 547251 h 5189370"/>
                <a:gd name="connsiteX7" fmla="*/ 1526361 w 5884232"/>
                <a:gd name="connsiteY7" fmla="*/ 432260 h 5189370"/>
                <a:gd name="connsiteX8" fmla="*/ 1722126 w 5884232"/>
                <a:gd name="connsiteY8" fmla="*/ 380302 h 5189370"/>
                <a:gd name="connsiteX9" fmla="*/ 1739499 w 5884232"/>
                <a:gd name="connsiteY9" fmla="*/ 481442 h 5189370"/>
                <a:gd name="connsiteX10" fmla="*/ 1866574 w 5884232"/>
                <a:gd name="connsiteY10" fmla="*/ 442651 h 5189370"/>
                <a:gd name="connsiteX11" fmla="*/ 1897053 w 5884232"/>
                <a:gd name="connsiteY11" fmla="*/ 393463 h 5189370"/>
                <a:gd name="connsiteX12" fmla="*/ 2132940 w 5884232"/>
                <a:gd name="connsiteY12" fmla="*/ 319342 h 5189370"/>
                <a:gd name="connsiteX13" fmla="*/ 2173395 w 5884232"/>
                <a:gd name="connsiteY13" fmla="*/ 352592 h 5189370"/>
                <a:gd name="connsiteX14" fmla="*/ 2369937 w 5884232"/>
                <a:gd name="connsiteY14" fmla="*/ 288171 h 5189370"/>
                <a:gd name="connsiteX15" fmla="*/ 2329149 w 5884232"/>
                <a:gd name="connsiteY15" fmla="*/ 119840 h 5189370"/>
                <a:gd name="connsiteX16" fmla="*/ 2712392 w 5884232"/>
                <a:gd name="connsiteY16" fmla="*/ 0 h 5189370"/>
                <a:gd name="connsiteX17" fmla="*/ 2760690 w 5884232"/>
                <a:gd name="connsiteY17" fmla="*/ 165560 h 5189370"/>
                <a:gd name="connsiteX18" fmla="*/ 4524241 w 5884232"/>
                <a:gd name="connsiteY18" fmla="*/ 680900 h 5189370"/>
                <a:gd name="connsiteX19" fmla="*/ 5074371 w 5884232"/>
                <a:gd name="connsiteY19" fmla="*/ 1291242 h 5189370"/>
                <a:gd name="connsiteX20" fmla="*/ 5135775 w 5884232"/>
                <a:gd name="connsiteY20" fmla="*/ 1298860 h 5189370"/>
                <a:gd name="connsiteX21" fmla="*/ 5300616 w 5884232"/>
                <a:gd name="connsiteY21" fmla="*/ 1479661 h 5189370"/>
                <a:gd name="connsiteX22" fmla="*/ 5300839 w 5884232"/>
                <a:gd name="connsiteY22" fmla="*/ 1535080 h 5189370"/>
                <a:gd name="connsiteX23" fmla="*/ 5462103 w 5884232"/>
                <a:gd name="connsiteY23" fmla="*/ 1726990 h 5189370"/>
                <a:gd name="connsiteX24" fmla="*/ 5842091 w 5884232"/>
                <a:gd name="connsiteY24" fmla="*/ 3519512 h 5189370"/>
                <a:gd name="connsiteX25" fmla="*/ 5650012 w 5884232"/>
                <a:gd name="connsiteY25" fmla="*/ 4385669 h 5189370"/>
                <a:gd name="connsiteX26" fmla="*/ 5797462 w 5884232"/>
                <a:gd name="connsiteY26" fmla="*/ 4428964 h 5189370"/>
                <a:gd name="connsiteX27" fmla="*/ 5693545 w 5884232"/>
                <a:gd name="connsiteY27" fmla="*/ 4865439 h 5189370"/>
                <a:gd name="connsiteX28" fmla="*/ 5548942 w 5884232"/>
                <a:gd name="connsiteY28" fmla="*/ 4824545 h 5189370"/>
                <a:gd name="connsiteX29" fmla="*/ 5030652 w 5884232"/>
                <a:gd name="connsiteY29" fmla="*/ 4596953 h 5189370"/>
                <a:gd name="connsiteX30" fmla="*/ 5310701 w 5884232"/>
                <a:gd name="connsiteY30" fmla="*/ 3352779 h 5189370"/>
                <a:gd name="connsiteX31" fmla="*/ 4991885 w 5884232"/>
                <a:gd name="connsiteY31" fmla="*/ 2049487 h 5189370"/>
                <a:gd name="connsiteX32" fmla="*/ 4174632 w 5884232"/>
                <a:gd name="connsiteY32" fmla="*/ 1163055 h 5189370"/>
                <a:gd name="connsiteX33" fmla="*/ 2880366 w 5884232"/>
                <a:gd name="connsiteY33" fmla="*/ 761302 h 5189370"/>
                <a:gd name="connsiteX34" fmla="*/ 1882146 w 5884232"/>
                <a:gd name="connsiteY34" fmla="*/ 1081342 h 5189370"/>
                <a:gd name="connsiteX35" fmla="*/ 873226 w 5884232"/>
                <a:gd name="connsiteY35" fmla="*/ 2111591 h 5189370"/>
                <a:gd name="connsiteX36" fmla="*/ 571891 w 5884232"/>
                <a:gd name="connsiteY36" fmla="*/ 3464807 h 5189370"/>
                <a:gd name="connsiteX37" fmla="*/ 932548 w 5884232"/>
                <a:gd name="connsiteY37" fmla="*/ 4771487 h 5189370"/>
                <a:gd name="connsiteX38" fmla="*/ 523257 w 5884232"/>
                <a:gd name="connsiteY38" fmla="*/ 5189370 h 5189370"/>
                <a:gd name="connsiteX39" fmla="*/ 41560 w 5884232"/>
                <a:gd name="connsiteY39" fmla="*/ 3281515 h 5189370"/>
                <a:gd name="connsiteX0" fmla="*/ 41560 w 5884232"/>
                <a:gd name="connsiteY0" fmla="*/ 3281515 h 5189370"/>
                <a:gd name="connsiteX1" fmla="*/ 250907 w 5884232"/>
                <a:gd name="connsiteY1" fmla="*/ 2374266 h 5189370"/>
                <a:gd name="connsiteX2" fmla="*/ 218176 w 5884232"/>
                <a:gd name="connsiteY2" fmla="*/ 2331944 h 5189370"/>
                <a:gd name="connsiteX3" fmla="*/ 290433 w 5884232"/>
                <a:gd name="connsiteY3" fmla="*/ 2067448 h 5189370"/>
                <a:gd name="connsiteX4" fmla="*/ 326149 w 5884232"/>
                <a:gd name="connsiteY4" fmla="*/ 2050403 h 5189370"/>
                <a:gd name="connsiteX5" fmla="*/ 1333506 w 5884232"/>
                <a:gd name="connsiteY5" fmla="*/ 647002 h 5189370"/>
                <a:gd name="connsiteX6" fmla="*/ 1546422 w 5884232"/>
                <a:gd name="connsiteY6" fmla="*/ 547251 h 5189370"/>
                <a:gd name="connsiteX7" fmla="*/ 1526361 w 5884232"/>
                <a:gd name="connsiteY7" fmla="*/ 432260 h 5189370"/>
                <a:gd name="connsiteX8" fmla="*/ 1722126 w 5884232"/>
                <a:gd name="connsiteY8" fmla="*/ 380302 h 5189370"/>
                <a:gd name="connsiteX9" fmla="*/ 1739499 w 5884232"/>
                <a:gd name="connsiteY9" fmla="*/ 481442 h 5189370"/>
                <a:gd name="connsiteX10" fmla="*/ 1866574 w 5884232"/>
                <a:gd name="connsiteY10" fmla="*/ 442651 h 5189370"/>
                <a:gd name="connsiteX11" fmla="*/ 1897053 w 5884232"/>
                <a:gd name="connsiteY11" fmla="*/ 393463 h 5189370"/>
                <a:gd name="connsiteX12" fmla="*/ 2132940 w 5884232"/>
                <a:gd name="connsiteY12" fmla="*/ 319342 h 5189370"/>
                <a:gd name="connsiteX13" fmla="*/ 2173395 w 5884232"/>
                <a:gd name="connsiteY13" fmla="*/ 352592 h 5189370"/>
                <a:gd name="connsiteX14" fmla="*/ 2369937 w 5884232"/>
                <a:gd name="connsiteY14" fmla="*/ 288171 h 5189370"/>
                <a:gd name="connsiteX15" fmla="*/ 2329149 w 5884232"/>
                <a:gd name="connsiteY15" fmla="*/ 119840 h 5189370"/>
                <a:gd name="connsiteX16" fmla="*/ 2712392 w 5884232"/>
                <a:gd name="connsiteY16" fmla="*/ 0 h 5189370"/>
                <a:gd name="connsiteX17" fmla="*/ 2760690 w 5884232"/>
                <a:gd name="connsiteY17" fmla="*/ 165560 h 5189370"/>
                <a:gd name="connsiteX18" fmla="*/ 4524241 w 5884232"/>
                <a:gd name="connsiteY18" fmla="*/ 680900 h 5189370"/>
                <a:gd name="connsiteX19" fmla="*/ 5074371 w 5884232"/>
                <a:gd name="connsiteY19" fmla="*/ 1291242 h 5189370"/>
                <a:gd name="connsiteX20" fmla="*/ 5135775 w 5884232"/>
                <a:gd name="connsiteY20" fmla="*/ 1298860 h 5189370"/>
                <a:gd name="connsiteX21" fmla="*/ 5300616 w 5884232"/>
                <a:gd name="connsiteY21" fmla="*/ 1479661 h 5189370"/>
                <a:gd name="connsiteX22" fmla="*/ 5300839 w 5884232"/>
                <a:gd name="connsiteY22" fmla="*/ 1535080 h 5189370"/>
                <a:gd name="connsiteX23" fmla="*/ 5462103 w 5884232"/>
                <a:gd name="connsiteY23" fmla="*/ 1726990 h 5189370"/>
                <a:gd name="connsiteX24" fmla="*/ 5842091 w 5884232"/>
                <a:gd name="connsiteY24" fmla="*/ 3519512 h 5189370"/>
                <a:gd name="connsiteX25" fmla="*/ 5650012 w 5884232"/>
                <a:gd name="connsiteY25" fmla="*/ 4385669 h 5189370"/>
                <a:gd name="connsiteX26" fmla="*/ 5797462 w 5884232"/>
                <a:gd name="connsiteY26" fmla="*/ 4428964 h 5189370"/>
                <a:gd name="connsiteX27" fmla="*/ 5693545 w 5884232"/>
                <a:gd name="connsiteY27" fmla="*/ 4865439 h 5189370"/>
                <a:gd name="connsiteX28" fmla="*/ 5548942 w 5884232"/>
                <a:gd name="connsiteY28" fmla="*/ 4824545 h 5189370"/>
                <a:gd name="connsiteX29" fmla="*/ 5310701 w 5884232"/>
                <a:gd name="connsiteY29" fmla="*/ 3352779 h 5189370"/>
                <a:gd name="connsiteX30" fmla="*/ 4991885 w 5884232"/>
                <a:gd name="connsiteY30" fmla="*/ 2049487 h 5189370"/>
                <a:gd name="connsiteX31" fmla="*/ 4174632 w 5884232"/>
                <a:gd name="connsiteY31" fmla="*/ 1163055 h 5189370"/>
                <a:gd name="connsiteX32" fmla="*/ 2880366 w 5884232"/>
                <a:gd name="connsiteY32" fmla="*/ 761302 h 5189370"/>
                <a:gd name="connsiteX33" fmla="*/ 1882146 w 5884232"/>
                <a:gd name="connsiteY33" fmla="*/ 1081342 h 5189370"/>
                <a:gd name="connsiteX34" fmla="*/ 873226 w 5884232"/>
                <a:gd name="connsiteY34" fmla="*/ 2111591 h 5189370"/>
                <a:gd name="connsiteX35" fmla="*/ 571891 w 5884232"/>
                <a:gd name="connsiteY35" fmla="*/ 3464807 h 5189370"/>
                <a:gd name="connsiteX36" fmla="*/ 932548 w 5884232"/>
                <a:gd name="connsiteY36" fmla="*/ 4771487 h 5189370"/>
                <a:gd name="connsiteX37" fmla="*/ 523257 w 5884232"/>
                <a:gd name="connsiteY37" fmla="*/ 5189370 h 5189370"/>
                <a:gd name="connsiteX38" fmla="*/ 41560 w 5884232"/>
                <a:gd name="connsiteY38" fmla="*/ 3281515 h 5189370"/>
                <a:gd name="connsiteX0" fmla="*/ 41560 w 5884232"/>
                <a:gd name="connsiteY0" fmla="*/ 3281515 h 5189370"/>
                <a:gd name="connsiteX1" fmla="*/ 250907 w 5884232"/>
                <a:gd name="connsiteY1" fmla="*/ 2374266 h 5189370"/>
                <a:gd name="connsiteX2" fmla="*/ 218176 w 5884232"/>
                <a:gd name="connsiteY2" fmla="*/ 2331944 h 5189370"/>
                <a:gd name="connsiteX3" fmla="*/ 290433 w 5884232"/>
                <a:gd name="connsiteY3" fmla="*/ 2067448 h 5189370"/>
                <a:gd name="connsiteX4" fmla="*/ 326149 w 5884232"/>
                <a:gd name="connsiteY4" fmla="*/ 2050403 h 5189370"/>
                <a:gd name="connsiteX5" fmla="*/ 1333506 w 5884232"/>
                <a:gd name="connsiteY5" fmla="*/ 647002 h 5189370"/>
                <a:gd name="connsiteX6" fmla="*/ 1546422 w 5884232"/>
                <a:gd name="connsiteY6" fmla="*/ 547251 h 5189370"/>
                <a:gd name="connsiteX7" fmla="*/ 1526361 w 5884232"/>
                <a:gd name="connsiteY7" fmla="*/ 432260 h 5189370"/>
                <a:gd name="connsiteX8" fmla="*/ 1722126 w 5884232"/>
                <a:gd name="connsiteY8" fmla="*/ 380302 h 5189370"/>
                <a:gd name="connsiteX9" fmla="*/ 1739499 w 5884232"/>
                <a:gd name="connsiteY9" fmla="*/ 481442 h 5189370"/>
                <a:gd name="connsiteX10" fmla="*/ 1866574 w 5884232"/>
                <a:gd name="connsiteY10" fmla="*/ 442651 h 5189370"/>
                <a:gd name="connsiteX11" fmla="*/ 1897053 w 5884232"/>
                <a:gd name="connsiteY11" fmla="*/ 393463 h 5189370"/>
                <a:gd name="connsiteX12" fmla="*/ 2132940 w 5884232"/>
                <a:gd name="connsiteY12" fmla="*/ 319342 h 5189370"/>
                <a:gd name="connsiteX13" fmla="*/ 2173395 w 5884232"/>
                <a:gd name="connsiteY13" fmla="*/ 352592 h 5189370"/>
                <a:gd name="connsiteX14" fmla="*/ 2369937 w 5884232"/>
                <a:gd name="connsiteY14" fmla="*/ 288171 h 5189370"/>
                <a:gd name="connsiteX15" fmla="*/ 2329149 w 5884232"/>
                <a:gd name="connsiteY15" fmla="*/ 119840 h 5189370"/>
                <a:gd name="connsiteX16" fmla="*/ 2712392 w 5884232"/>
                <a:gd name="connsiteY16" fmla="*/ 0 h 5189370"/>
                <a:gd name="connsiteX17" fmla="*/ 2760690 w 5884232"/>
                <a:gd name="connsiteY17" fmla="*/ 165560 h 5189370"/>
                <a:gd name="connsiteX18" fmla="*/ 4524241 w 5884232"/>
                <a:gd name="connsiteY18" fmla="*/ 680900 h 5189370"/>
                <a:gd name="connsiteX19" fmla="*/ 5074371 w 5884232"/>
                <a:gd name="connsiteY19" fmla="*/ 1291242 h 5189370"/>
                <a:gd name="connsiteX20" fmla="*/ 5135775 w 5884232"/>
                <a:gd name="connsiteY20" fmla="*/ 1298860 h 5189370"/>
                <a:gd name="connsiteX21" fmla="*/ 5300616 w 5884232"/>
                <a:gd name="connsiteY21" fmla="*/ 1479661 h 5189370"/>
                <a:gd name="connsiteX22" fmla="*/ 5300839 w 5884232"/>
                <a:gd name="connsiteY22" fmla="*/ 1535080 h 5189370"/>
                <a:gd name="connsiteX23" fmla="*/ 5462103 w 5884232"/>
                <a:gd name="connsiteY23" fmla="*/ 1726990 h 5189370"/>
                <a:gd name="connsiteX24" fmla="*/ 5842091 w 5884232"/>
                <a:gd name="connsiteY24" fmla="*/ 3519512 h 5189370"/>
                <a:gd name="connsiteX25" fmla="*/ 5650012 w 5884232"/>
                <a:gd name="connsiteY25" fmla="*/ 4385669 h 5189370"/>
                <a:gd name="connsiteX26" fmla="*/ 5797462 w 5884232"/>
                <a:gd name="connsiteY26" fmla="*/ 4428964 h 5189370"/>
                <a:gd name="connsiteX27" fmla="*/ 5693545 w 5884232"/>
                <a:gd name="connsiteY27" fmla="*/ 4865439 h 5189370"/>
                <a:gd name="connsiteX28" fmla="*/ 5310701 w 5884232"/>
                <a:gd name="connsiteY28" fmla="*/ 3352779 h 5189370"/>
                <a:gd name="connsiteX29" fmla="*/ 4991885 w 5884232"/>
                <a:gd name="connsiteY29" fmla="*/ 2049487 h 5189370"/>
                <a:gd name="connsiteX30" fmla="*/ 4174632 w 5884232"/>
                <a:gd name="connsiteY30" fmla="*/ 1163055 h 5189370"/>
                <a:gd name="connsiteX31" fmla="*/ 2880366 w 5884232"/>
                <a:gd name="connsiteY31" fmla="*/ 761302 h 5189370"/>
                <a:gd name="connsiteX32" fmla="*/ 1882146 w 5884232"/>
                <a:gd name="connsiteY32" fmla="*/ 1081342 h 5189370"/>
                <a:gd name="connsiteX33" fmla="*/ 873226 w 5884232"/>
                <a:gd name="connsiteY33" fmla="*/ 2111591 h 5189370"/>
                <a:gd name="connsiteX34" fmla="*/ 571891 w 5884232"/>
                <a:gd name="connsiteY34" fmla="*/ 3464807 h 5189370"/>
                <a:gd name="connsiteX35" fmla="*/ 932548 w 5884232"/>
                <a:gd name="connsiteY35" fmla="*/ 4771487 h 5189370"/>
                <a:gd name="connsiteX36" fmla="*/ 523257 w 5884232"/>
                <a:gd name="connsiteY36" fmla="*/ 5189370 h 5189370"/>
                <a:gd name="connsiteX37" fmla="*/ 41560 w 5884232"/>
                <a:gd name="connsiteY37" fmla="*/ 3281515 h 5189370"/>
                <a:gd name="connsiteX0" fmla="*/ 41560 w 5884232"/>
                <a:gd name="connsiteY0" fmla="*/ 3281515 h 5189370"/>
                <a:gd name="connsiteX1" fmla="*/ 250907 w 5884232"/>
                <a:gd name="connsiteY1" fmla="*/ 2374266 h 5189370"/>
                <a:gd name="connsiteX2" fmla="*/ 218176 w 5884232"/>
                <a:gd name="connsiteY2" fmla="*/ 2331944 h 5189370"/>
                <a:gd name="connsiteX3" fmla="*/ 290433 w 5884232"/>
                <a:gd name="connsiteY3" fmla="*/ 2067448 h 5189370"/>
                <a:gd name="connsiteX4" fmla="*/ 326149 w 5884232"/>
                <a:gd name="connsiteY4" fmla="*/ 2050403 h 5189370"/>
                <a:gd name="connsiteX5" fmla="*/ 1333506 w 5884232"/>
                <a:gd name="connsiteY5" fmla="*/ 647002 h 5189370"/>
                <a:gd name="connsiteX6" fmla="*/ 1546422 w 5884232"/>
                <a:gd name="connsiteY6" fmla="*/ 547251 h 5189370"/>
                <a:gd name="connsiteX7" fmla="*/ 1526361 w 5884232"/>
                <a:gd name="connsiteY7" fmla="*/ 432260 h 5189370"/>
                <a:gd name="connsiteX8" fmla="*/ 1722126 w 5884232"/>
                <a:gd name="connsiteY8" fmla="*/ 380302 h 5189370"/>
                <a:gd name="connsiteX9" fmla="*/ 1739499 w 5884232"/>
                <a:gd name="connsiteY9" fmla="*/ 481442 h 5189370"/>
                <a:gd name="connsiteX10" fmla="*/ 1866574 w 5884232"/>
                <a:gd name="connsiteY10" fmla="*/ 442651 h 5189370"/>
                <a:gd name="connsiteX11" fmla="*/ 1897053 w 5884232"/>
                <a:gd name="connsiteY11" fmla="*/ 393463 h 5189370"/>
                <a:gd name="connsiteX12" fmla="*/ 2132940 w 5884232"/>
                <a:gd name="connsiteY12" fmla="*/ 319342 h 5189370"/>
                <a:gd name="connsiteX13" fmla="*/ 2173395 w 5884232"/>
                <a:gd name="connsiteY13" fmla="*/ 352592 h 5189370"/>
                <a:gd name="connsiteX14" fmla="*/ 2369937 w 5884232"/>
                <a:gd name="connsiteY14" fmla="*/ 288171 h 5189370"/>
                <a:gd name="connsiteX15" fmla="*/ 2329149 w 5884232"/>
                <a:gd name="connsiteY15" fmla="*/ 119840 h 5189370"/>
                <a:gd name="connsiteX16" fmla="*/ 2712392 w 5884232"/>
                <a:gd name="connsiteY16" fmla="*/ 0 h 5189370"/>
                <a:gd name="connsiteX17" fmla="*/ 2760690 w 5884232"/>
                <a:gd name="connsiteY17" fmla="*/ 165560 h 5189370"/>
                <a:gd name="connsiteX18" fmla="*/ 4524241 w 5884232"/>
                <a:gd name="connsiteY18" fmla="*/ 680900 h 5189370"/>
                <a:gd name="connsiteX19" fmla="*/ 5074371 w 5884232"/>
                <a:gd name="connsiteY19" fmla="*/ 1291242 h 5189370"/>
                <a:gd name="connsiteX20" fmla="*/ 5135775 w 5884232"/>
                <a:gd name="connsiteY20" fmla="*/ 1298860 h 5189370"/>
                <a:gd name="connsiteX21" fmla="*/ 5300616 w 5884232"/>
                <a:gd name="connsiteY21" fmla="*/ 1479661 h 5189370"/>
                <a:gd name="connsiteX22" fmla="*/ 5300839 w 5884232"/>
                <a:gd name="connsiteY22" fmla="*/ 1535080 h 5189370"/>
                <a:gd name="connsiteX23" fmla="*/ 5462103 w 5884232"/>
                <a:gd name="connsiteY23" fmla="*/ 1726990 h 5189370"/>
                <a:gd name="connsiteX24" fmla="*/ 5842091 w 5884232"/>
                <a:gd name="connsiteY24" fmla="*/ 3519512 h 5189370"/>
                <a:gd name="connsiteX25" fmla="*/ 5650012 w 5884232"/>
                <a:gd name="connsiteY25" fmla="*/ 4385669 h 5189370"/>
                <a:gd name="connsiteX26" fmla="*/ 5797462 w 5884232"/>
                <a:gd name="connsiteY26" fmla="*/ 4428964 h 5189370"/>
                <a:gd name="connsiteX27" fmla="*/ 5310701 w 5884232"/>
                <a:gd name="connsiteY27" fmla="*/ 3352779 h 5189370"/>
                <a:gd name="connsiteX28" fmla="*/ 4991885 w 5884232"/>
                <a:gd name="connsiteY28" fmla="*/ 2049487 h 5189370"/>
                <a:gd name="connsiteX29" fmla="*/ 4174632 w 5884232"/>
                <a:gd name="connsiteY29" fmla="*/ 1163055 h 5189370"/>
                <a:gd name="connsiteX30" fmla="*/ 2880366 w 5884232"/>
                <a:gd name="connsiteY30" fmla="*/ 761302 h 5189370"/>
                <a:gd name="connsiteX31" fmla="*/ 1882146 w 5884232"/>
                <a:gd name="connsiteY31" fmla="*/ 1081342 h 5189370"/>
                <a:gd name="connsiteX32" fmla="*/ 873226 w 5884232"/>
                <a:gd name="connsiteY32" fmla="*/ 2111591 h 5189370"/>
                <a:gd name="connsiteX33" fmla="*/ 571891 w 5884232"/>
                <a:gd name="connsiteY33" fmla="*/ 3464807 h 5189370"/>
                <a:gd name="connsiteX34" fmla="*/ 932548 w 5884232"/>
                <a:gd name="connsiteY34" fmla="*/ 4771487 h 5189370"/>
                <a:gd name="connsiteX35" fmla="*/ 523257 w 5884232"/>
                <a:gd name="connsiteY35" fmla="*/ 5189370 h 5189370"/>
                <a:gd name="connsiteX36" fmla="*/ 41560 w 5884232"/>
                <a:gd name="connsiteY36" fmla="*/ 3281515 h 5189370"/>
                <a:gd name="connsiteX0" fmla="*/ 41560 w 5884232"/>
                <a:gd name="connsiteY0" fmla="*/ 3281515 h 5189370"/>
                <a:gd name="connsiteX1" fmla="*/ 250907 w 5884232"/>
                <a:gd name="connsiteY1" fmla="*/ 2374266 h 5189370"/>
                <a:gd name="connsiteX2" fmla="*/ 218176 w 5884232"/>
                <a:gd name="connsiteY2" fmla="*/ 2331944 h 5189370"/>
                <a:gd name="connsiteX3" fmla="*/ 290433 w 5884232"/>
                <a:gd name="connsiteY3" fmla="*/ 2067448 h 5189370"/>
                <a:gd name="connsiteX4" fmla="*/ 326149 w 5884232"/>
                <a:gd name="connsiteY4" fmla="*/ 2050403 h 5189370"/>
                <a:gd name="connsiteX5" fmla="*/ 1333506 w 5884232"/>
                <a:gd name="connsiteY5" fmla="*/ 647002 h 5189370"/>
                <a:gd name="connsiteX6" fmla="*/ 1546422 w 5884232"/>
                <a:gd name="connsiteY6" fmla="*/ 547251 h 5189370"/>
                <a:gd name="connsiteX7" fmla="*/ 1526361 w 5884232"/>
                <a:gd name="connsiteY7" fmla="*/ 432260 h 5189370"/>
                <a:gd name="connsiteX8" fmla="*/ 1722126 w 5884232"/>
                <a:gd name="connsiteY8" fmla="*/ 380302 h 5189370"/>
                <a:gd name="connsiteX9" fmla="*/ 1739499 w 5884232"/>
                <a:gd name="connsiteY9" fmla="*/ 481442 h 5189370"/>
                <a:gd name="connsiteX10" fmla="*/ 1866574 w 5884232"/>
                <a:gd name="connsiteY10" fmla="*/ 442651 h 5189370"/>
                <a:gd name="connsiteX11" fmla="*/ 1897053 w 5884232"/>
                <a:gd name="connsiteY11" fmla="*/ 393463 h 5189370"/>
                <a:gd name="connsiteX12" fmla="*/ 2132940 w 5884232"/>
                <a:gd name="connsiteY12" fmla="*/ 319342 h 5189370"/>
                <a:gd name="connsiteX13" fmla="*/ 2173395 w 5884232"/>
                <a:gd name="connsiteY13" fmla="*/ 352592 h 5189370"/>
                <a:gd name="connsiteX14" fmla="*/ 2369937 w 5884232"/>
                <a:gd name="connsiteY14" fmla="*/ 288171 h 5189370"/>
                <a:gd name="connsiteX15" fmla="*/ 2329149 w 5884232"/>
                <a:gd name="connsiteY15" fmla="*/ 119840 h 5189370"/>
                <a:gd name="connsiteX16" fmla="*/ 2712392 w 5884232"/>
                <a:gd name="connsiteY16" fmla="*/ 0 h 5189370"/>
                <a:gd name="connsiteX17" fmla="*/ 2760690 w 5884232"/>
                <a:gd name="connsiteY17" fmla="*/ 165560 h 5189370"/>
                <a:gd name="connsiteX18" fmla="*/ 4524241 w 5884232"/>
                <a:gd name="connsiteY18" fmla="*/ 680900 h 5189370"/>
                <a:gd name="connsiteX19" fmla="*/ 5074371 w 5884232"/>
                <a:gd name="connsiteY19" fmla="*/ 1291242 h 5189370"/>
                <a:gd name="connsiteX20" fmla="*/ 5135775 w 5884232"/>
                <a:gd name="connsiteY20" fmla="*/ 1298860 h 5189370"/>
                <a:gd name="connsiteX21" fmla="*/ 5300616 w 5884232"/>
                <a:gd name="connsiteY21" fmla="*/ 1479661 h 5189370"/>
                <a:gd name="connsiteX22" fmla="*/ 5300839 w 5884232"/>
                <a:gd name="connsiteY22" fmla="*/ 1535080 h 5189370"/>
                <a:gd name="connsiteX23" fmla="*/ 5462103 w 5884232"/>
                <a:gd name="connsiteY23" fmla="*/ 1726990 h 5189370"/>
                <a:gd name="connsiteX24" fmla="*/ 5842091 w 5884232"/>
                <a:gd name="connsiteY24" fmla="*/ 3519512 h 5189370"/>
                <a:gd name="connsiteX25" fmla="*/ 5650012 w 5884232"/>
                <a:gd name="connsiteY25" fmla="*/ 4385669 h 5189370"/>
                <a:gd name="connsiteX26" fmla="*/ 5310701 w 5884232"/>
                <a:gd name="connsiteY26" fmla="*/ 3352779 h 5189370"/>
                <a:gd name="connsiteX27" fmla="*/ 4991885 w 5884232"/>
                <a:gd name="connsiteY27" fmla="*/ 2049487 h 5189370"/>
                <a:gd name="connsiteX28" fmla="*/ 4174632 w 5884232"/>
                <a:gd name="connsiteY28" fmla="*/ 1163055 h 5189370"/>
                <a:gd name="connsiteX29" fmla="*/ 2880366 w 5884232"/>
                <a:gd name="connsiteY29" fmla="*/ 761302 h 5189370"/>
                <a:gd name="connsiteX30" fmla="*/ 1882146 w 5884232"/>
                <a:gd name="connsiteY30" fmla="*/ 1081342 h 5189370"/>
                <a:gd name="connsiteX31" fmla="*/ 873226 w 5884232"/>
                <a:gd name="connsiteY31" fmla="*/ 2111591 h 5189370"/>
                <a:gd name="connsiteX32" fmla="*/ 571891 w 5884232"/>
                <a:gd name="connsiteY32" fmla="*/ 3464807 h 5189370"/>
                <a:gd name="connsiteX33" fmla="*/ 932548 w 5884232"/>
                <a:gd name="connsiteY33" fmla="*/ 4771487 h 5189370"/>
                <a:gd name="connsiteX34" fmla="*/ 523257 w 5884232"/>
                <a:gd name="connsiteY34" fmla="*/ 5189370 h 5189370"/>
                <a:gd name="connsiteX35" fmla="*/ 41560 w 5884232"/>
                <a:gd name="connsiteY35" fmla="*/ 3281515 h 5189370"/>
                <a:gd name="connsiteX0" fmla="*/ 41560 w 5884232"/>
                <a:gd name="connsiteY0" fmla="*/ 3281515 h 5189370"/>
                <a:gd name="connsiteX1" fmla="*/ 250907 w 5884232"/>
                <a:gd name="connsiteY1" fmla="*/ 2374266 h 5189370"/>
                <a:gd name="connsiteX2" fmla="*/ 218176 w 5884232"/>
                <a:gd name="connsiteY2" fmla="*/ 2331944 h 5189370"/>
                <a:gd name="connsiteX3" fmla="*/ 290433 w 5884232"/>
                <a:gd name="connsiteY3" fmla="*/ 2067448 h 5189370"/>
                <a:gd name="connsiteX4" fmla="*/ 326149 w 5884232"/>
                <a:gd name="connsiteY4" fmla="*/ 2050403 h 5189370"/>
                <a:gd name="connsiteX5" fmla="*/ 1333506 w 5884232"/>
                <a:gd name="connsiteY5" fmla="*/ 647002 h 5189370"/>
                <a:gd name="connsiteX6" fmla="*/ 1546422 w 5884232"/>
                <a:gd name="connsiteY6" fmla="*/ 547251 h 5189370"/>
                <a:gd name="connsiteX7" fmla="*/ 1526361 w 5884232"/>
                <a:gd name="connsiteY7" fmla="*/ 432260 h 5189370"/>
                <a:gd name="connsiteX8" fmla="*/ 1722126 w 5884232"/>
                <a:gd name="connsiteY8" fmla="*/ 380302 h 5189370"/>
                <a:gd name="connsiteX9" fmla="*/ 1739499 w 5884232"/>
                <a:gd name="connsiteY9" fmla="*/ 481442 h 5189370"/>
                <a:gd name="connsiteX10" fmla="*/ 1866574 w 5884232"/>
                <a:gd name="connsiteY10" fmla="*/ 442651 h 5189370"/>
                <a:gd name="connsiteX11" fmla="*/ 1897053 w 5884232"/>
                <a:gd name="connsiteY11" fmla="*/ 393463 h 5189370"/>
                <a:gd name="connsiteX12" fmla="*/ 2132940 w 5884232"/>
                <a:gd name="connsiteY12" fmla="*/ 319342 h 5189370"/>
                <a:gd name="connsiteX13" fmla="*/ 2173395 w 5884232"/>
                <a:gd name="connsiteY13" fmla="*/ 352592 h 5189370"/>
                <a:gd name="connsiteX14" fmla="*/ 2369937 w 5884232"/>
                <a:gd name="connsiteY14" fmla="*/ 288171 h 5189370"/>
                <a:gd name="connsiteX15" fmla="*/ 2329149 w 5884232"/>
                <a:gd name="connsiteY15" fmla="*/ 119840 h 5189370"/>
                <a:gd name="connsiteX16" fmla="*/ 2712392 w 5884232"/>
                <a:gd name="connsiteY16" fmla="*/ 0 h 5189370"/>
                <a:gd name="connsiteX17" fmla="*/ 2760690 w 5884232"/>
                <a:gd name="connsiteY17" fmla="*/ 165560 h 5189370"/>
                <a:gd name="connsiteX18" fmla="*/ 4524241 w 5884232"/>
                <a:gd name="connsiteY18" fmla="*/ 680900 h 5189370"/>
                <a:gd name="connsiteX19" fmla="*/ 5074371 w 5884232"/>
                <a:gd name="connsiteY19" fmla="*/ 1291242 h 5189370"/>
                <a:gd name="connsiteX20" fmla="*/ 5135775 w 5884232"/>
                <a:gd name="connsiteY20" fmla="*/ 1298860 h 5189370"/>
                <a:gd name="connsiteX21" fmla="*/ 5300616 w 5884232"/>
                <a:gd name="connsiteY21" fmla="*/ 1479661 h 5189370"/>
                <a:gd name="connsiteX22" fmla="*/ 5300839 w 5884232"/>
                <a:gd name="connsiteY22" fmla="*/ 1535080 h 5189370"/>
                <a:gd name="connsiteX23" fmla="*/ 5462103 w 5884232"/>
                <a:gd name="connsiteY23" fmla="*/ 1726990 h 5189370"/>
                <a:gd name="connsiteX24" fmla="*/ 5842091 w 5884232"/>
                <a:gd name="connsiteY24" fmla="*/ 3519512 h 5189370"/>
                <a:gd name="connsiteX25" fmla="*/ 5310701 w 5884232"/>
                <a:gd name="connsiteY25" fmla="*/ 3352779 h 5189370"/>
                <a:gd name="connsiteX26" fmla="*/ 4991885 w 5884232"/>
                <a:gd name="connsiteY26" fmla="*/ 2049487 h 5189370"/>
                <a:gd name="connsiteX27" fmla="*/ 4174632 w 5884232"/>
                <a:gd name="connsiteY27" fmla="*/ 1163055 h 5189370"/>
                <a:gd name="connsiteX28" fmla="*/ 2880366 w 5884232"/>
                <a:gd name="connsiteY28" fmla="*/ 761302 h 5189370"/>
                <a:gd name="connsiteX29" fmla="*/ 1882146 w 5884232"/>
                <a:gd name="connsiteY29" fmla="*/ 1081342 h 5189370"/>
                <a:gd name="connsiteX30" fmla="*/ 873226 w 5884232"/>
                <a:gd name="connsiteY30" fmla="*/ 2111591 h 5189370"/>
                <a:gd name="connsiteX31" fmla="*/ 571891 w 5884232"/>
                <a:gd name="connsiteY31" fmla="*/ 3464807 h 5189370"/>
                <a:gd name="connsiteX32" fmla="*/ 932548 w 5884232"/>
                <a:gd name="connsiteY32" fmla="*/ 4771487 h 5189370"/>
                <a:gd name="connsiteX33" fmla="*/ 523257 w 5884232"/>
                <a:gd name="connsiteY33" fmla="*/ 5189370 h 5189370"/>
                <a:gd name="connsiteX34" fmla="*/ 41560 w 5884232"/>
                <a:gd name="connsiteY34" fmla="*/ 3281515 h 5189370"/>
                <a:gd name="connsiteX0" fmla="*/ 41560 w 5462129"/>
                <a:gd name="connsiteY0" fmla="*/ 3281515 h 5189370"/>
                <a:gd name="connsiteX1" fmla="*/ 250907 w 5462129"/>
                <a:gd name="connsiteY1" fmla="*/ 2374266 h 5189370"/>
                <a:gd name="connsiteX2" fmla="*/ 218176 w 5462129"/>
                <a:gd name="connsiteY2" fmla="*/ 2331944 h 5189370"/>
                <a:gd name="connsiteX3" fmla="*/ 290433 w 5462129"/>
                <a:gd name="connsiteY3" fmla="*/ 2067448 h 5189370"/>
                <a:gd name="connsiteX4" fmla="*/ 326149 w 5462129"/>
                <a:gd name="connsiteY4" fmla="*/ 2050403 h 5189370"/>
                <a:gd name="connsiteX5" fmla="*/ 1333506 w 5462129"/>
                <a:gd name="connsiteY5" fmla="*/ 647002 h 5189370"/>
                <a:gd name="connsiteX6" fmla="*/ 1546422 w 5462129"/>
                <a:gd name="connsiteY6" fmla="*/ 547251 h 5189370"/>
                <a:gd name="connsiteX7" fmla="*/ 1526361 w 5462129"/>
                <a:gd name="connsiteY7" fmla="*/ 432260 h 5189370"/>
                <a:gd name="connsiteX8" fmla="*/ 1722126 w 5462129"/>
                <a:gd name="connsiteY8" fmla="*/ 380302 h 5189370"/>
                <a:gd name="connsiteX9" fmla="*/ 1739499 w 5462129"/>
                <a:gd name="connsiteY9" fmla="*/ 481442 h 5189370"/>
                <a:gd name="connsiteX10" fmla="*/ 1866574 w 5462129"/>
                <a:gd name="connsiteY10" fmla="*/ 442651 h 5189370"/>
                <a:gd name="connsiteX11" fmla="*/ 1897053 w 5462129"/>
                <a:gd name="connsiteY11" fmla="*/ 393463 h 5189370"/>
                <a:gd name="connsiteX12" fmla="*/ 2132940 w 5462129"/>
                <a:gd name="connsiteY12" fmla="*/ 319342 h 5189370"/>
                <a:gd name="connsiteX13" fmla="*/ 2173395 w 5462129"/>
                <a:gd name="connsiteY13" fmla="*/ 352592 h 5189370"/>
                <a:gd name="connsiteX14" fmla="*/ 2369937 w 5462129"/>
                <a:gd name="connsiteY14" fmla="*/ 288171 h 5189370"/>
                <a:gd name="connsiteX15" fmla="*/ 2329149 w 5462129"/>
                <a:gd name="connsiteY15" fmla="*/ 119840 h 5189370"/>
                <a:gd name="connsiteX16" fmla="*/ 2712392 w 5462129"/>
                <a:gd name="connsiteY16" fmla="*/ 0 h 5189370"/>
                <a:gd name="connsiteX17" fmla="*/ 2760690 w 5462129"/>
                <a:gd name="connsiteY17" fmla="*/ 165560 h 5189370"/>
                <a:gd name="connsiteX18" fmla="*/ 4524241 w 5462129"/>
                <a:gd name="connsiteY18" fmla="*/ 680900 h 5189370"/>
                <a:gd name="connsiteX19" fmla="*/ 5074371 w 5462129"/>
                <a:gd name="connsiteY19" fmla="*/ 1291242 h 5189370"/>
                <a:gd name="connsiteX20" fmla="*/ 5135775 w 5462129"/>
                <a:gd name="connsiteY20" fmla="*/ 1298860 h 5189370"/>
                <a:gd name="connsiteX21" fmla="*/ 5300616 w 5462129"/>
                <a:gd name="connsiteY21" fmla="*/ 1479661 h 5189370"/>
                <a:gd name="connsiteX22" fmla="*/ 5300839 w 5462129"/>
                <a:gd name="connsiteY22" fmla="*/ 1535080 h 5189370"/>
                <a:gd name="connsiteX23" fmla="*/ 5462103 w 5462129"/>
                <a:gd name="connsiteY23" fmla="*/ 1726990 h 5189370"/>
                <a:gd name="connsiteX24" fmla="*/ 5310701 w 5462129"/>
                <a:gd name="connsiteY24" fmla="*/ 3352779 h 5189370"/>
                <a:gd name="connsiteX25" fmla="*/ 4991885 w 5462129"/>
                <a:gd name="connsiteY25" fmla="*/ 2049487 h 5189370"/>
                <a:gd name="connsiteX26" fmla="*/ 4174632 w 5462129"/>
                <a:gd name="connsiteY26" fmla="*/ 1163055 h 5189370"/>
                <a:gd name="connsiteX27" fmla="*/ 2880366 w 5462129"/>
                <a:gd name="connsiteY27" fmla="*/ 761302 h 5189370"/>
                <a:gd name="connsiteX28" fmla="*/ 1882146 w 5462129"/>
                <a:gd name="connsiteY28" fmla="*/ 1081342 h 5189370"/>
                <a:gd name="connsiteX29" fmla="*/ 873226 w 5462129"/>
                <a:gd name="connsiteY29" fmla="*/ 2111591 h 5189370"/>
                <a:gd name="connsiteX30" fmla="*/ 571891 w 5462129"/>
                <a:gd name="connsiteY30" fmla="*/ 3464807 h 5189370"/>
                <a:gd name="connsiteX31" fmla="*/ 932548 w 5462129"/>
                <a:gd name="connsiteY31" fmla="*/ 4771487 h 5189370"/>
                <a:gd name="connsiteX32" fmla="*/ 523257 w 5462129"/>
                <a:gd name="connsiteY32" fmla="*/ 5189370 h 5189370"/>
                <a:gd name="connsiteX33" fmla="*/ 41560 w 5462129"/>
                <a:gd name="connsiteY33" fmla="*/ 3281515 h 5189370"/>
                <a:gd name="connsiteX0" fmla="*/ 41560 w 5462103"/>
                <a:gd name="connsiteY0" fmla="*/ 3281515 h 5189370"/>
                <a:gd name="connsiteX1" fmla="*/ 250907 w 5462103"/>
                <a:gd name="connsiteY1" fmla="*/ 2374266 h 5189370"/>
                <a:gd name="connsiteX2" fmla="*/ 218176 w 5462103"/>
                <a:gd name="connsiteY2" fmla="*/ 2331944 h 5189370"/>
                <a:gd name="connsiteX3" fmla="*/ 290433 w 5462103"/>
                <a:gd name="connsiteY3" fmla="*/ 2067448 h 5189370"/>
                <a:gd name="connsiteX4" fmla="*/ 326149 w 5462103"/>
                <a:gd name="connsiteY4" fmla="*/ 2050403 h 5189370"/>
                <a:gd name="connsiteX5" fmla="*/ 1333506 w 5462103"/>
                <a:gd name="connsiteY5" fmla="*/ 647002 h 5189370"/>
                <a:gd name="connsiteX6" fmla="*/ 1546422 w 5462103"/>
                <a:gd name="connsiteY6" fmla="*/ 547251 h 5189370"/>
                <a:gd name="connsiteX7" fmla="*/ 1526361 w 5462103"/>
                <a:gd name="connsiteY7" fmla="*/ 432260 h 5189370"/>
                <a:gd name="connsiteX8" fmla="*/ 1722126 w 5462103"/>
                <a:gd name="connsiteY8" fmla="*/ 380302 h 5189370"/>
                <a:gd name="connsiteX9" fmla="*/ 1739499 w 5462103"/>
                <a:gd name="connsiteY9" fmla="*/ 481442 h 5189370"/>
                <a:gd name="connsiteX10" fmla="*/ 1866574 w 5462103"/>
                <a:gd name="connsiteY10" fmla="*/ 442651 h 5189370"/>
                <a:gd name="connsiteX11" fmla="*/ 1897053 w 5462103"/>
                <a:gd name="connsiteY11" fmla="*/ 393463 h 5189370"/>
                <a:gd name="connsiteX12" fmla="*/ 2132940 w 5462103"/>
                <a:gd name="connsiteY12" fmla="*/ 319342 h 5189370"/>
                <a:gd name="connsiteX13" fmla="*/ 2173395 w 5462103"/>
                <a:gd name="connsiteY13" fmla="*/ 352592 h 5189370"/>
                <a:gd name="connsiteX14" fmla="*/ 2369937 w 5462103"/>
                <a:gd name="connsiteY14" fmla="*/ 288171 h 5189370"/>
                <a:gd name="connsiteX15" fmla="*/ 2329149 w 5462103"/>
                <a:gd name="connsiteY15" fmla="*/ 119840 h 5189370"/>
                <a:gd name="connsiteX16" fmla="*/ 2712392 w 5462103"/>
                <a:gd name="connsiteY16" fmla="*/ 0 h 5189370"/>
                <a:gd name="connsiteX17" fmla="*/ 2760690 w 5462103"/>
                <a:gd name="connsiteY17" fmla="*/ 165560 h 5189370"/>
                <a:gd name="connsiteX18" fmla="*/ 4524241 w 5462103"/>
                <a:gd name="connsiteY18" fmla="*/ 680900 h 5189370"/>
                <a:gd name="connsiteX19" fmla="*/ 5074371 w 5462103"/>
                <a:gd name="connsiteY19" fmla="*/ 1291242 h 5189370"/>
                <a:gd name="connsiteX20" fmla="*/ 5135775 w 5462103"/>
                <a:gd name="connsiteY20" fmla="*/ 1298860 h 5189370"/>
                <a:gd name="connsiteX21" fmla="*/ 5300616 w 5462103"/>
                <a:gd name="connsiteY21" fmla="*/ 1479661 h 5189370"/>
                <a:gd name="connsiteX22" fmla="*/ 5300839 w 5462103"/>
                <a:gd name="connsiteY22" fmla="*/ 1535080 h 5189370"/>
                <a:gd name="connsiteX23" fmla="*/ 5462103 w 5462103"/>
                <a:gd name="connsiteY23" fmla="*/ 1726990 h 5189370"/>
                <a:gd name="connsiteX24" fmla="*/ 4991885 w 5462103"/>
                <a:gd name="connsiteY24" fmla="*/ 2049487 h 5189370"/>
                <a:gd name="connsiteX25" fmla="*/ 4174632 w 5462103"/>
                <a:gd name="connsiteY25" fmla="*/ 1163055 h 5189370"/>
                <a:gd name="connsiteX26" fmla="*/ 2880366 w 5462103"/>
                <a:gd name="connsiteY26" fmla="*/ 761302 h 5189370"/>
                <a:gd name="connsiteX27" fmla="*/ 1882146 w 5462103"/>
                <a:gd name="connsiteY27" fmla="*/ 1081342 h 5189370"/>
                <a:gd name="connsiteX28" fmla="*/ 873226 w 5462103"/>
                <a:gd name="connsiteY28" fmla="*/ 2111591 h 5189370"/>
                <a:gd name="connsiteX29" fmla="*/ 571891 w 5462103"/>
                <a:gd name="connsiteY29" fmla="*/ 3464807 h 5189370"/>
                <a:gd name="connsiteX30" fmla="*/ 932548 w 5462103"/>
                <a:gd name="connsiteY30" fmla="*/ 4771487 h 5189370"/>
                <a:gd name="connsiteX31" fmla="*/ 523257 w 5462103"/>
                <a:gd name="connsiteY31" fmla="*/ 5189370 h 5189370"/>
                <a:gd name="connsiteX32" fmla="*/ 41560 w 5462103"/>
                <a:gd name="connsiteY32" fmla="*/ 3281515 h 5189370"/>
                <a:gd name="connsiteX0" fmla="*/ 41560 w 5462103"/>
                <a:gd name="connsiteY0" fmla="*/ 3281515 h 5189370"/>
                <a:gd name="connsiteX1" fmla="*/ 250907 w 5462103"/>
                <a:gd name="connsiteY1" fmla="*/ 2374266 h 5189370"/>
                <a:gd name="connsiteX2" fmla="*/ 218176 w 5462103"/>
                <a:gd name="connsiteY2" fmla="*/ 2331944 h 5189370"/>
                <a:gd name="connsiteX3" fmla="*/ 290433 w 5462103"/>
                <a:gd name="connsiteY3" fmla="*/ 2067448 h 5189370"/>
                <a:gd name="connsiteX4" fmla="*/ 326149 w 5462103"/>
                <a:gd name="connsiteY4" fmla="*/ 2050403 h 5189370"/>
                <a:gd name="connsiteX5" fmla="*/ 1333506 w 5462103"/>
                <a:gd name="connsiteY5" fmla="*/ 647002 h 5189370"/>
                <a:gd name="connsiteX6" fmla="*/ 1546422 w 5462103"/>
                <a:gd name="connsiteY6" fmla="*/ 547251 h 5189370"/>
                <a:gd name="connsiteX7" fmla="*/ 1526361 w 5462103"/>
                <a:gd name="connsiteY7" fmla="*/ 432260 h 5189370"/>
                <a:gd name="connsiteX8" fmla="*/ 1722126 w 5462103"/>
                <a:gd name="connsiteY8" fmla="*/ 380302 h 5189370"/>
                <a:gd name="connsiteX9" fmla="*/ 1739499 w 5462103"/>
                <a:gd name="connsiteY9" fmla="*/ 481442 h 5189370"/>
                <a:gd name="connsiteX10" fmla="*/ 1866574 w 5462103"/>
                <a:gd name="connsiteY10" fmla="*/ 442651 h 5189370"/>
                <a:gd name="connsiteX11" fmla="*/ 1897053 w 5462103"/>
                <a:gd name="connsiteY11" fmla="*/ 393463 h 5189370"/>
                <a:gd name="connsiteX12" fmla="*/ 2132940 w 5462103"/>
                <a:gd name="connsiteY12" fmla="*/ 319342 h 5189370"/>
                <a:gd name="connsiteX13" fmla="*/ 2173395 w 5462103"/>
                <a:gd name="connsiteY13" fmla="*/ 352592 h 5189370"/>
                <a:gd name="connsiteX14" fmla="*/ 2369937 w 5462103"/>
                <a:gd name="connsiteY14" fmla="*/ 288171 h 5189370"/>
                <a:gd name="connsiteX15" fmla="*/ 2329149 w 5462103"/>
                <a:gd name="connsiteY15" fmla="*/ 119840 h 5189370"/>
                <a:gd name="connsiteX16" fmla="*/ 2712392 w 5462103"/>
                <a:gd name="connsiteY16" fmla="*/ 0 h 5189370"/>
                <a:gd name="connsiteX17" fmla="*/ 2760690 w 5462103"/>
                <a:gd name="connsiteY17" fmla="*/ 165560 h 5189370"/>
                <a:gd name="connsiteX18" fmla="*/ 4524241 w 5462103"/>
                <a:gd name="connsiteY18" fmla="*/ 680900 h 5189370"/>
                <a:gd name="connsiteX19" fmla="*/ 5074371 w 5462103"/>
                <a:gd name="connsiteY19" fmla="*/ 1291242 h 5189370"/>
                <a:gd name="connsiteX20" fmla="*/ 5135775 w 5462103"/>
                <a:gd name="connsiteY20" fmla="*/ 1298860 h 5189370"/>
                <a:gd name="connsiteX21" fmla="*/ 5300616 w 5462103"/>
                <a:gd name="connsiteY21" fmla="*/ 1479661 h 5189370"/>
                <a:gd name="connsiteX22" fmla="*/ 5300839 w 5462103"/>
                <a:gd name="connsiteY22" fmla="*/ 1535080 h 5189370"/>
                <a:gd name="connsiteX23" fmla="*/ 5462103 w 5462103"/>
                <a:gd name="connsiteY23" fmla="*/ 1726990 h 5189370"/>
                <a:gd name="connsiteX24" fmla="*/ 4174632 w 5462103"/>
                <a:gd name="connsiteY24" fmla="*/ 1163055 h 5189370"/>
                <a:gd name="connsiteX25" fmla="*/ 2880366 w 5462103"/>
                <a:gd name="connsiteY25" fmla="*/ 761302 h 5189370"/>
                <a:gd name="connsiteX26" fmla="*/ 1882146 w 5462103"/>
                <a:gd name="connsiteY26" fmla="*/ 1081342 h 5189370"/>
                <a:gd name="connsiteX27" fmla="*/ 873226 w 5462103"/>
                <a:gd name="connsiteY27" fmla="*/ 2111591 h 5189370"/>
                <a:gd name="connsiteX28" fmla="*/ 571891 w 5462103"/>
                <a:gd name="connsiteY28" fmla="*/ 3464807 h 5189370"/>
                <a:gd name="connsiteX29" fmla="*/ 932548 w 5462103"/>
                <a:gd name="connsiteY29" fmla="*/ 4771487 h 5189370"/>
                <a:gd name="connsiteX30" fmla="*/ 523257 w 5462103"/>
                <a:gd name="connsiteY30" fmla="*/ 5189370 h 5189370"/>
                <a:gd name="connsiteX31" fmla="*/ 41560 w 5462103"/>
                <a:gd name="connsiteY31" fmla="*/ 3281515 h 5189370"/>
                <a:gd name="connsiteX0" fmla="*/ 41560 w 5300839"/>
                <a:gd name="connsiteY0" fmla="*/ 3281515 h 5189370"/>
                <a:gd name="connsiteX1" fmla="*/ 250907 w 5300839"/>
                <a:gd name="connsiteY1" fmla="*/ 2374266 h 5189370"/>
                <a:gd name="connsiteX2" fmla="*/ 218176 w 5300839"/>
                <a:gd name="connsiteY2" fmla="*/ 2331944 h 5189370"/>
                <a:gd name="connsiteX3" fmla="*/ 290433 w 5300839"/>
                <a:gd name="connsiteY3" fmla="*/ 2067448 h 5189370"/>
                <a:gd name="connsiteX4" fmla="*/ 326149 w 5300839"/>
                <a:gd name="connsiteY4" fmla="*/ 2050403 h 5189370"/>
                <a:gd name="connsiteX5" fmla="*/ 1333506 w 5300839"/>
                <a:gd name="connsiteY5" fmla="*/ 647002 h 5189370"/>
                <a:gd name="connsiteX6" fmla="*/ 1546422 w 5300839"/>
                <a:gd name="connsiteY6" fmla="*/ 547251 h 5189370"/>
                <a:gd name="connsiteX7" fmla="*/ 1526361 w 5300839"/>
                <a:gd name="connsiteY7" fmla="*/ 432260 h 5189370"/>
                <a:gd name="connsiteX8" fmla="*/ 1722126 w 5300839"/>
                <a:gd name="connsiteY8" fmla="*/ 380302 h 5189370"/>
                <a:gd name="connsiteX9" fmla="*/ 1739499 w 5300839"/>
                <a:gd name="connsiteY9" fmla="*/ 481442 h 5189370"/>
                <a:gd name="connsiteX10" fmla="*/ 1866574 w 5300839"/>
                <a:gd name="connsiteY10" fmla="*/ 442651 h 5189370"/>
                <a:gd name="connsiteX11" fmla="*/ 1897053 w 5300839"/>
                <a:gd name="connsiteY11" fmla="*/ 393463 h 5189370"/>
                <a:gd name="connsiteX12" fmla="*/ 2132940 w 5300839"/>
                <a:gd name="connsiteY12" fmla="*/ 319342 h 5189370"/>
                <a:gd name="connsiteX13" fmla="*/ 2173395 w 5300839"/>
                <a:gd name="connsiteY13" fmla="*/ 352592 h 5189370"/>
                <a:gd name="connsiteX14" fmla="*/ 2369937 w 5300839"/>
                <a:gd name="connsiteY14" fmla="*/ 288171 h 5189370"/>
                <a:gd name="connsiteX15" fmla="*/ 2329149 w 5300839"/>
                <a:gd name="connsiteY15" fmla="*/ 119840 h 5189370"/>
                <a:gd name="connsiteX16" fmla="*/ 2712392 w 5300839"/>
                <a:gd name="connsiteY16" fmla="*/ 0 h 5189370"/>
                <a:gd name="connsiteX17" fmla="*/ 2760690 w 5300839"/>
                <a:gd name="connsiteY17" fmla="*/ 165560 h 5189370"/>
                <a:gd name="connsiteX18" fmla="*/ 4524241 w 5300839"/>
                <a:gd name="connsiteY18" fmla="*/ 680900 h 5189370"/>
                <a:gd name="connsiteX19" fmla="*/ 5074371 w 5300839"/>
                <a:gd name="connsiteY19" fmla="*/ 1291242 h 5189370"/>
                <a:gd name="connsiteX20" fmla="*/ 5135775 w 5300839"/>
                <a:gd name="connsiteY20" fmla="*/ 1298860 h 5189370"/>
                <a:gd name="connsiteX21" fmla="*/ 5300616 w 5300839"/>
                <a:gd name="connsiteY21" fmla="*/ 1479661 h 5189370"/>
                <a:gd name="connsiteX22" fmla="*/ 5300839 w 5300839"/>
                <a:gd name="connsiteY22" fmla="*/ 1535080 h 5189370"/>
                <a:gd name="connsiteX23" fmla="*/ 4174632 w 5300839"/>
                <a:gd name="connsiteY23" fmla="*/ 1163055 h 5189370"/>
                <a:gd name="connsiteX24" fmla="*/ 2880366 w 5300839"/>
                <a:gd name="connsiteY24" fmla="*/ 761302 h 5189370"/>
                <a:gd name="connsiteX25" fmla="*/ 1882146 w 5300839"/>
                <a:gd name="connsiteY25" fmla="*/ 1081342 h 5189370"/>
                <a:gd name="connsiteX26" fmla="*/ 873226 w 5300839"/>
                <a:gd name="connsiteY26" fmla="*/ 2111591 h 5189370"/>
                <a:gd name="connsiteX27" fmla="*/ 571891 w 5300839"/>
                <a:gd name="connsiteY27" fmla="*/ 3464807 h 5189370"/>
                <a:gd name="connsiteX28" fmla="*/ 932548 w 5300839"/>
                <a:gd name="connsiteY28" fmla="*/ 4771487 h 5189370"/>
                <a:gd name="connsiteX29" fmla="*/ 523257 w 5300839"/>
                <a:gd name="connsiteY29" fmla="*/ 5189370 h 5189370"/>
                <a:gd name="connsiteX30" fmla="*/ 41560 w 5300839"/>
                <a:gd name="connsiteY30" fmla="*/ 3281515 h 5189370"/>
                <a:gd name="connsiteX0" fmla="*/ 41560 w 5300616"/>
                <a:gd name="connsiteY0" fmla="*/ 3281515 h 5189370"/>
                <a:gd name="connsiteX1" fmla="*/ 250907 w 5300616"/>
                <a:gd name="connsiteY1" fmla="*/ 2374266 h 5189370"/>
                <a:gd name="connsiteX2" fmla="*/ 218176 w 5300616"/>
                <a:gd name="connsiteY2" fmla="*/ 2331944 h 5189370"/>
                <a:gd name="connsiteX3" fmla="*/ 290433 w 5300616"/>
                <a:gd name="connsiteY3" fmla="*/ 2067448 h 5189370"/>
                <a:gd name="connsiteX4" fmla="*/ 326149 w 5300616"/>
                <a:gd name="connsiteY4" fmla="*/ 2050403 h 5189370"/>
                <a:gd name="connsiteX5" fmla="*/ 1333506 w 5300616"/>
                <a:gd name="connsiteY5" fmla="*/ 647002 h 5189370"/>
                <a:gd name="connsiteX6" fmla="*/ 1546422 w 5300616"/>
                <a:gd name="connsiteY6" fmla="*/ 547251 h 5189370"/>
                <a:gd name="connsiteX7" fmla="*/ 1526361 w 5300616"/>
                <a:gd name="connsiteY7" fmla="*/ 432260 h 5189370"/>
                <a:gd name="connsiteX8" fmla="*/ 1722126 w 5300616"/>
                <a:gd name="connsiteY8" fmla="*/ 380302 h 5189370"/>
                <a:gd name="connsiteX9" fmla="*/ 1739499 w 5300616"/>
                <a:gd name="connsiteY9" fmla="*/ 481442 h 5189370"/>
                <a:gd name="connsiteX10" fmla="*/ 1866574 w 5300616"/>
                <a:gd name="connsiteY10" fmla="*/ 442651 h 5189370"/>
                <a:gd name="connsiteX11" fmla="*/ 1897053 w 5300616"/>
                <a:gd name="connsiteY11" fmla="*/ 393463 h 5189370"/>
                <a:gd name="connsiteX12" fmla="*/ 2132940 w 5300616"/>
                <a:gd name="connsiteY12" fmla="*/ 319342 h 5189370"/>
                <a:gd name="connsiteX13" fmla="*/ 2173395 w 5300616"/>
                <a:gd name="connsiteY13" fmla="*/ 352592 h 5189370"/>
                <a:gd name="connsiteX14" fmla="*/ 2369937 w 5300616"/>
                <a:gd name="connsiteY14" fmla="*/ 288171 h 5189370"/>
                <a:gd name="connsiteX15" fmla="*/ 2329149 w 5300616"/>
                <a:gd name="connsiteY15" fmla="*/ 119840 h 5189370"/>
                <a:gd name="connsiteX16" fmla="*/ 2712392 w 5300616"/>
                <a:gd name="connsiteY16" fmla="*/ 0 h 5189370"/>
                <a:gd name="connsiteX17" fmla="*/ 2760690 w 5300616"/>
                <a:gd name="connsiteY17" fmla="*/ 165560 h 5189370"/>
                <a:gd name="connsiteX18" fmla="*/ 4524241 w 5300616"/>
                <a:gd name="connsiteY18" fmla="*/ 680900 h 5189370"/>
                <a:gd name="connsiteX19" fmla="*/ 5074371 w 5300616"/>
                <a:gd name="connsiteY19" fmla="*/ 1291242 h 5189370"/>
                <a:gd name="connsiteX20" fmla="*/ 5135775 w 5300616"/>
                <a:gd name="connsiteY20" fmla="*/ 1298860 h 5189370"/>
                <a:gd name="connsiteX21" fmla="*/ 5300616 w 5300616"/>
                <a:gd name="connsiteY21" fmla="*/ 1479661 h 5189370"/>
                <a:gd name="connsiteX22" fmla="*/ 4174632 w 5300616"/>
                <a:gd name="connsiteY22" fmla="*/ 1163055 h 5189370"/>
                <a:gd name="connsiteX23" fmla="*/ 2880366 w 5300616"/>
                <a:gd name="connsiteY23" fmla="*/ 761302 h 5189370"/>
                <a:gd name="connsiteX24" fmla="*/ 1882146 w 5300616"/>
                <a:gd name="connsiteY24" fmla="*/ 1081342 h 5189370"/>
                <a:gd name="connsiteX25" fmla="*/ 873226 w 5300616"/>
                <a:gd name="connsiteY25" fmla="*/ 2111591 h 5189370"/>
                <a:gd name="connsiteX26" fmla="*/ 571891 w 5300616"/>
                <a:gd name="connsiteY26" fmla="*/ 3464807 h 5189370"/>
                <a:gd name="connsiteX27" fmla="*/ 932548 w 5300616"/>
                <a:gd name="connsiteY27" fmla="*/ 4771487 h 5189370"/>
                <a:gd name="connsiteX28" fmla="*/ 523257 w 5300616"/>
                <a:gd name="connsiteY28" fmla="*/ 5189370 h 5189370"/>
                <a:gd name="connsiteX29" fmla="*/ 41560 w 5300616"/>
                <a:gd name="connsiteY29" fmla="*/ 3281515 h 5189370"/>
                <a:gd name="connsiteX0" fmla="*/ 41560 w 5135775"/>
                <a:gd name="connsiteY0" fmla="*/ 3281515 h 5189370"/>
                <a:gd name="connsiteX1" fmla="*/ 250907 w 5135775"/>
                <a:gd name="connsiteY1" fmla="*/ 2374266 h 5189370"/>
                <a:gd name="connsiteX2" fmla="*/ 218176 w 5135775"/>
                <a:gd name="connsiteY2" fmla="*/ 2331944 h 5189370"/>
                <a:gd name="connsiteX3" fmla="*/ 290433 w 5135775"/>
                <a:gd name="connsiteY3" fmla="*/ 2067448 h 5189370"/>
                <a:gd name="connsiteX4" fmla="*/ 326149 w 5135775"/>
                <a:gd name="connsiteY4" fmla="*/ 2050403 h 5189370"/>
                <a:gd name="connsiteX5" fmla="*/ 1333506 w 5135775"/>
                <a:gd name="connsiteY5" fmla="*/ 647002 h 5189370"/>
                <a:gd name="connsiteX6" fmla="*/ 1546422 w 5135775"/>
                <a:gd name="connsiteY6" fmla="*/ 547251 h 5189370"/>
                <a:gd name="connsiteX7" fmla="*/ 1526361 w 5135775"/>
                <a:gd name="connsiteY7" fmla="*/ 432260 h 5189370"/>
                <a:gd name="connsiteX8" fmla="*/ 1722126 w 5135775"/>
                <a:gd name="connsiteY8" fmla="*/ 380302 h 5189370"/>
                <a:gd name="connsiteX9" fmla="*/ 1739499 w 5135775"/>
                <a:gd name="connsiteY9" fmla="*/ 481442 h 5189370"/>
                <a:gd name="connsiteX10" fmla="*/ 1866574 w 5135775"/>
                <a:gd name="connsiteY10" fmla="*/ 442651 h 5189370"/>
                <a:gd name="connsiteX11" fmla="*/ 1897053 w 5135775"/>
                <a:gd name="connsiteY11" fmla="*/ 393463 h 5189370"/>
                <a:gd name="connsiteX12" fmla="*/ 2132940 w 5135775"/>
                <a:gd name="connsiteY12" fmla="*/ 319342 h 5189370"/>
                <a:gd name="connsiteX13" fmla="*/ 2173395 w 5135775"/>
                <a:gd name="connsiteY13" fmla="*/ 352592 h 5189370"/>
                <a:gd name="connsiteX14" fmla="*/ 2369937 w 5135775"/>
                <a:gd name="connsiteY14" fmla="*/ 288171 h 5189370"/>
                <a:gd name="connsiteX15" fmla="*/ 2329149 w 5135775"/>
                <a:gd name="connsiteY15" fmla="*/ 119840 h 5189370"/>
                <a:gd name="connsiteX16" fmla="*/ 2712392 w 5135775"/>
                <a:gd name="connsiteY16" fmla="*/ 0 h 5189370"/>
                <a:gd name="connsiteX17" fmla="*/ 2760690 w 5135775"/>
                <a:gd name="connsiteY17" fmla="*/ 165560 h 5189370"/>
                <a:gd name="connsiteX18" fmla="*/ 4524241 w 5135775"/>
                <a:gd name="connsiteY18" fmla="*/ 680900 h 5189370"/>
                <a:gd name="connsiteX19" fmla="*/ 5074371 w 5135775"/>
                <a:gd name="connsiteY19" fmla="*/ 1291242 h 5189370"/>
                <a:gd name="connsiteX20" fmla="*/ 5135775 w 5135775"/>
                <a:gd name="connsiteY20" fmla="*/ 1298860 h 5189370"/>
                <a:gd name="connsiteX21" fmla="*/ 4174632 w 5135775"/>
                <a:gd name="connsiteY21" fmla="*/ 1163055 h 5189370"/>
                <a:gd name="connsiteX22" fmla="*/ 2880366 w 5135775"/>
                <a:gd name="connsiteY22" fmla="*/ 761302 h 5189370"/>
                <a:gd name="connsiteX23" fmla="*/ 1882146 w 5135775"/>
                <a:gd name="connsiteY23" fmla="*/ 1081342 h 5189370"/>
                <a:gd name="connsiteX24" fmla="*/ 873226 w 5135775"/>
                <a:gd name="connsiteY24" fmla="*/ 2111591 h 5189370"/>
                <a:gd name="connsiteX25" fmla="*/ 571891 w 5135775"/>
                <a:gd name="connsiteY25" fmla="*/ 3464807 h 5189370"/>
                <a:gd name="connsiteX26" fmla="*/ 932548 w 5135775"/>
                <a:gd name="connsiteY26" fmla="*/ 4771487 h 5189370"/>
                <a:gd name="connsiteX27" fmla="*/ 523257 w 5135775"/>
                <a:gd name="connsiteY27" fmla="*/ 5189370 h 5189370"/>
                <a:gd name="connsiteX28" fmla="*/ 41560 w 5135775"/>
                <a:gd name="connsiteY28" fmla="*/ 3281515 h 5189370"/>
                <a:gd name="connsiteX0" fmla="*/ 41560 w 5074371"/>
                <a:gd name="connsiteY0" fmla="*/ 3281515 h 5189370"/>
                <a:gd name="connsiteX1" fmla="*/ 250907 w 5074371"/>
                <a:gd name="connsiteY1" fmla="*/ 2374266 h 5189370"/>
                <a:gd name="connsiteX2" fmla="*/ 218176 w 5074371"/>
                <a:gd name="connsiteY2" fmla="*/ 2331944 h 5189370"/>
                <a:gd name="connsiteX3" fmla="*/ 290433 w 5074371"/>
                <a:gd name="connsiteY3" fmla="*/ 2067448 h 5189370"/>
                <a:gd name="connsiteX4" fmla="*/ 326149 w 5074371"/>
                <a:gd name="connsiteY4" fmla="*/ 2050403 h 5189370"/>
                <a:gd name="connsiteX5" fmla="*/ 1333506 w 5074371"/>
                <a:gd name="connsiteY5" fmla="*/ 647002 h 5189370"/>
                <a:gd name="connsiteX6" fmla="*/ 1546422 w 5074371"/>
                <a:gd name="connsiteY6" fmla="*/ 547251 h 5189370"/>
                <a:gd name="connsiteX7" fmla="*/ 1526361 w 5074371"/>
                <a:gd name="connsiteY7" fmla="*/ 432260 h 5189370"/>
                <a:gd name="connsiteX8" fmla="*/ 1722126 w 5074371"/>
                <a:gd name="connsiteY8" fmla="*/ 380302 h 5189370"/>
                <a:gd name="connsiteX9" fmla="*/ 1739499 w 5074371"/>
                <a:gd name="connsiteY9" fmla="*/ 481442 h 5189370"/>
                <a:gd name="connsiteX10" fmla="*/ 1866574 w 5074371"/>
                <a:gd name="connsiteY10" fmla="*/ 442651 h 5189370"/>
                <a:gd name="connsiteX11" fmla="*/ 1897053 w 5074371"/>
                <a:gd name="connsiteY11" fmla="*/ 393463 h 5189370"/>
                <a:gd name="connsiteX12" fmla="*/ 2132940 w 5074371"/>
                <a:gd name="connsiteY12" fmla="*/ 319342 h 5189370"/>
                <a:gd name="connsiteX13" fmla="*/ 2173395 w 5074371"/>
                <a:gd name="connsiteY13" fmla="*/ 352592 h 5189370"/>
                <a:gd name="connsiteX14" fmla="*/ 2369937 w 5074371"/>
                <a:gd name="connsiteY14" fmla="*/ 288171 h 5189370"/>
                <a:gd name="connsiteX15" fmla="*/ 2329149 w 5074371"/>
                <a:gd name="connsiteY15" fmla="*/ 119840 h 5189370"/>
                <a:gd name="connsiteX16" fmla="*/ 2712392 w 5074371"/>
                <a:gd name="connsiteY16" fmla="*/ 0 h 5189370"/>
                <a:gd name="connsiteX17" fmla="*/ 2760690 w 5074371"/>
                <a:gd name="connsiteY17" fmla="*/ 165560 h 5189370"/>
                <a:gd name="connsiteX18" fmla="*/ 4524241 w 5074371"/>
                <a:gd name="connsiteY18" fmla="*/ 680900 h 5189370"/>
                <a:gd name="connsiteX19" fmla="*/ 5074371 w 5074371"/>
                <a:gd name="connsiteY19" fmla="*/ 1291242 h 5189370"/>
                <a:gd name="connsiteX20" fmla="*/ 4174632 w 5074371"/>
                <a:gd name="connsiteY20" fmla="*/ 1163055 h 5189370"/>
                <a:gd name="connsiteX21" fmla="*/ 2880366 w 5074371"/>
                <a:gd name="connsiteY21" fmla="*/ 761302 h 5189370"/>
                <a:gd name="connsiteX22" fmla="*/ 1882146 w 5074371"/>
                <a:gd name="connsiteY22" fmla="*/ 1081342 h 5189370"/>
                <a:gd name="connsiteX23" fmla="*/ 873226 w 5074371"/>
                <a:gd name="connsiteY23" fmla="*/ 2111591 h 5189370"/>
                <a:gd name="connsiteX24" fmla="*/ 571891 w 5074371"/>
                <a:gd name="connsiteY24" fmla="*/ 3464807 h 5189370"/>
                <a:gd name="connsiteX25" fmla="*/ 932548 w 5074371"/>
                <a:gd name="connsiteY25" fmla="*/ 4771487 h 5189370"/>
                <a:gd name="connsiteX26" fmla="*/ 523257 w 5074371"/>
                <a:gd name="connsiteY26" fmla="*/ 5189370 h 5189370"/>
                <a:gd name="connsiteX27" fmla="*/ 41560 w 5074371"/>
                <a:gd name="connsiteY27" fmla="*/ 3281515 h 5189370"/>
                <a:gd name="connsiteX0" fmla="*/ 41560 w 4524241"/>
                <a:gd name="connsiteY0" fmla="*/ 3281515 h 5189370"/>
                <a:gd name="connsiteX1" fmla="*/ 250907 w 4524241"/>
                <a:gd name="connsiteY1" fmla="*/ 2374266 h 5189370"/>
                <a:gd name="connsiteX2" fmla="*/ 218176 w 4524241"/>
                <a:gd name="connsiteY2" fmla="*/ 2331944 h 5189370"/>
                <a:gd name="connsiteX3" fmla="*/ 290433 w 4524241"/>
                <a:gd name="connsiteY3" fmla="*/ 2067448 h 5189370"/>
                <a:gd name="connsiteX4" fmla="*/ 326149 w 4524241"/>
                <a:gd name="connsiteY4" fmla="*/ 2050403 h 5189370"/>
                <a:gd name="connsiteX5" fmla="*/ 1333506 w 4524241"/>
                <a:gd name="connsiteY5" fmla="*/ 647002 h 5189370"/>
                <a:gd name="connsiteX6" fmla="*/ 1546422 w 4524241"/>
                <a:gd name="connsiteY6" fmla="*/ 547251 h 5189370"/>
                <a:gd name="connsiteX7" fmla="*/ 1526361 w 4524241"/>
                <a:gd name="connsiteY7" fmla="*/ 432260 h 5189370"/>
                <a:gd name="connsiteX8" fmla="*/ 1722126 w 4524241"/>
                <a:gd name="connsiteY8" fmla="*/ 380302 h 5189370"/>
                <a:gd name="connsiteX9" fmla="*/ 1739499 w 4524241"/>
                <a:gd name="connsiteY9" fmla="*/ 481442 h 5189370"/>
                <a:gd name="connsiteX10" fmla="*/ 1866574 w 4524241"/>
                <a:gd name="connsiteY10" fmla="*/ 442651 h 5189370"/>
                <a:gd name="connsiteX11" fmla="*/ 1897053 w 4524241"/>
                <a:gd name="connsiteY11" fmla="*/ 393463 h 5189370"/>
                <a:gd name="connsiteX12" fmla="*/ 2132940 w 4524241"/>
                <a:gd name="connsiteY12" fmla="*/ 319342 h 5189370"/>
                <a:gd name="connsiteX13" fmla="*/ 2173395 w 4524241"/>
                <a:gd name="connsiteY13" fmla="*/ 352592 h 5189370"/>
                <a:gd name="connsiteX14" fmla="*/ 2369937 w 4524241"/>
                <a:gd name="connsiteY14" fmla="*/ 288171 h 5189370"/>
                <a:gd name="connsiteX15" fmla="*/ 2329149 w 4524241"/>
                <a:gd name="connsiteY15" fmla="*/ 119840 h 5189370"/>
                <a:gd name="connsiteX16" fmla="*/ 2712392 w 4524241"/>
                <a:gd name="connsiteY16" fmla="*/ 0 h 5189370"/>
                <a:gd name="connsiteX17" fmla="*/ 2760690 w 4524241"/>
                <a:gd name="connsiteY17" fmla="*/ 165560 h 5189370"/>
                <a:gd name="connsiteX18" fmla="*/ 4524241 w 4524241"/>
                <a:gd name="connsiteY18" fmla="*/ 680900 h 5189370"/>
                <a:gd name="connsiteX19" fmla="*/ 4174632 w 4524241"/>
                <a:gd name="connsiteY19" fmla="*/ 1163055 h 5189370"/>
                <a:gd name="connsiteX20" fmla="*/ 2880366 w 4524241"/>
                <a:gd name="connsiteY20" fmla="*/ 761302 h 5189370"/>
                <a:gd name="connsiteX21" fmla="*/ 1882146 w 4524241"/>
                <a:gd name="connsiteY21" fmla="*/ 1081342 h 5189370"/>
                <a:gd name="connsiteX22" fmla="*/ 873226 w 4524241"/>
                <a:gd name="connsiteY22" fmla="*/ 2111591 h 5189370"/>
                <a:gd name="connsiteX23" fmla="*/ 571891 w 4524241"/>
                <a:gd name="connsiteY23" fmla="*/ 3464807 h 5189370"/>
                <a:gd name="connsiteX24" fmla="*/ 932548 w 4524241"/>
                <a:gd name="connsiteY24" fmla="*/ 4771487 h 5189370"/>
                <a:gd name="connsiteX25" fmla="*/ 523257 w 4524241"/>
                <a:gd name="connsiteY25" fmla="*/ 5189370 h 5189370"/>
                <a:gd name="connsiteX26" fmla="*/ 41560 w 4524241"/>
                <a:gd name="connsiteY26" fmla="*/ 3281515 h 5189370"/>
                <a:gd name="connsiteX0" fmla="*/ 41560 w 4524241"/>
                <a:gd name="connsiteY0" fmla="*/ 3281515 h 5189370"/>
                <a:gd name="connsiteX1" fmla="*/ 250907 w 4524241"/>
                <a:gd name="connsiteY1" fmla="*/ 2374266 h 5189370"/>
                <a:gd name="connsiteX2" fmla="*/ 218176 w 4524241"/>
                <a:gd name="connsiteY2" fmla="*/ 2331944 h 5189370"/>
                <a:gd name="connsiteX3" fmla="*/ 290433 w 4524241"/>
                <a:gd name="connsiteY3" fmla="*/ 2067448 h 5189370"/>
                <a:gd name="connsiteX4" fmla="*/ 326149 w 4524241"/>
                <a:gd name="connsiteY4" fmla="*/ 2050403 h 5189370"/>
                <a:gd name="connsiteX5" fmla="*/ 1333506 w 4524241"/>
                <a:gd name="connsiteY5" fmla="*/ 647002 h 5189370"/>
                <a:gd name="connsiteX6" fmla="*/ 1546422 w 4524241"/>
                <a:gd name="connsiteY6" fmla="*/ 547251 h 5189370"/>
                <a:gd name="connsiteX7" fmla="*/ 1526361 w 4524241"/>
                <a:gd name="connsiteY7" fmla="*/ 432260 h 5189370"/>
                <a:gd name="connsiteX8" fmla="*/ 1722126 w 4524241"/>
                <a:gd name="connsiteY8" fmla="*/ 380302 h 5189370"/>
                <a:gd name="connsiteX9" fmla="*/ 1739499 w 4524241"/>
                <a:gd name="connsiteY9" fmla="*/ 481442 h 5189370"/>
                <a:gd name="connsiteX10" fmla="*/ 1866574 w 4524241"/>
                <a:gd name="connsiteY10" fmla="*/ 442651 h 5189370"/>
                <a:gd name="connsiteX11" fmla="*/ 1897053 w 4524241"/>
                <a:gd name="connsiteY11" fmla="*/ 393463 h 5189370"/>
                <a:gd name="connsiteX12" fmla="*/ 2132940 w 4524241"/>
                <a:gd name="connsiteY12" fmla="*/ 319342 h 5189370"/>
                <a:gd name="connsiteX13" fmla="*/ 2173395 w 4524241"/>
                <a:gd name="connsiteY13" fmla="*/ 352592 h 5189370"/>
                <a:gd name="connsiteX14" fmla="*/ 2369937 w 4524241"/>
                <a:gd name="connsiteY14" fmla="*/ 288171 h 5189370"/>
                <a:gd name="connsiteX15" fmla="*/ 2329149 w 4524241"/>
                <a:gd name="connsiteY15" fmla="*/ 119840 h 5189370"/>
                <a:gd name="connsiteX16" fmla="*/ 2712392 w 4524241"/>
                <a:gd name="connsiteY16" fmla="*/ 0 h 5189370"/>
                <a:gd name="connsiteX17" fmla="*/ 2760690 w 4524241"/>
                <a:gd name="connsiteY17" fmla="*/ 165560 h 5189370"/>
                <a:gd name="connsiteX18" fmla="*/ 4524241 w 4524241"/>
                <a:gd name="connsiteY18" fmla="*/ 680900 h 5189370"/>
                <a:gd name="connsiteX19" fmla="*/ 2880366 w 4524241"/>
                <a:gd name="connsiteY19" fmla="*/ 761302 h 5189370"/>
                <a:gd name="connsiteX20" fmla="*/ 1882146 w 4524241"/>
                <a:gd name="connsiteY20" fmla="*/ 1081342 h 5189370"/>
                <a:gd name="connsiteX21" fmla="*/ 873226 w 4524241"/>
                <a:gd name="connsiteY21" fmla="*/ 2111591 h 5189370"/>
                <a:gd name="connsiteX22" fmla="*/ 571891 w 4524241"/>
                <a:gd name="connsiteY22" fmla="*/ 3464807 h 5189370"/>
                <a:gd name="connsiteX23" fmla="*/ 932548 w 4524241"/>
                <a:gd name="connsiteY23" fmla="*/ 4771487 h 5189370"/>
                <a:gd name="connsiteX24" fmla="*/ 523257 w 4524241"/>
                <a:gd name="connsiteY24" fmla="*/ 5189370 h 5189370"/>
                <a:gd name="connsiteX25" fmla="*/ 41560 w 4524241"/>
                <a:gd name="connsiteY25" fmla="*/ 3281515 h 5189370"/>
                <a:gd name="connsiteX0" fmla="*/ 41560 w 2927611"/>
                <a:gd name="connsiteY0" fmla="*/ 3281515 h 5189370"/>
                <a:gd name="connsiteX1" fmla="*/ 250907 w 2927611"/>
                <a:gd name="connsiteY1" fmla="*/ 2374266 h 5189370"/>
                <a:gd name="connsiteX2" fmla="*/ 218176 w 2927611"/>
                <a:gd name="connsiteY2" fmla="*/ 2331944 h 5189370"/>
                <a:gd name="connsiteX3" fmla="*/ 290433 w 2927611"/>
                <a:gd name="connsiteY3" fmla="*/ 2067448 h 5189370"/>
                <a:gd name="connsiteX4" fmla="*/ 326149 w 2927611"/>
                <a:gd name="connsiteY4" fmla="*/ 2050403 h 5189370"/>
                <a:gd name="connsiteX5" fmla="*/ 1333506 w 2927611"/>
                <a:gd name="connsiteY5" fmla="*/ 647002 h 5189370"/>
                <a:gd name="connsiteX6" fmla="*/ 1546422 w 2927611"/>
                <a:gd name="connsiteY6" fmla="*/ 547251 h 5189370"/>
                <a:gd name="connsiteX7" fmla="*/ 1526361 w 2927611"/>
                <a:gd name="connsiteY7" fmla="*/ 432260 h 5189370"/>
                <a:gd name="connsiteX8" fmla="*/ 1722126 w 2927611"/>
                <a:gd name="connsiteY8" fmla="*/ 380302 h 5189370"/>
                <a:gd name="connsiteX9" fmla="*/ 1739499 w 2927611"/>
                <a:gd name="connsiteY9" fmla="*/ 481442 h 5189370"/>
                <a:gd name="connsiteX10" fmla="*/ 1866574 w 2927611"/>
                <a:gd name="connsiteY10" fmla="*/ 442651 h 5189370"/>
                <a:gd name="connsiteX11" fmla="*/ 1897053 w 2927611"/>
                <a:gd name="connsiteY11" fmla="*/ 393463 h 5189370"/>
                <a:gd name="connsiteX12" fmla="*/ 2132940 w 2927611"/>
                <a:gd name="connsiteY12" fmla="*/ 319342 h 5189370"/>
                <a:gd name="connsiteX13" fmla="*/ 2173395 w 2927611"/>
                <a:gd name="connsiteY13" fmla="*/ 352592 h 5189370"/>
                <a:gd name="connsiteX14" fmla="*/ 2369937 w 2927611"/>
                <a:gd name="connsiteY14" fmla="*/ 288171 h 5189370"/>
                <a:gd name="connsiteX15" fmla="*/ 2329149 w 2927611"/>
                <a:gd name="connsiteY15" fmla="*/ 119840 h 5189370"/>
                <a:gd name="connsiteX16" fmla="*/ 2712392 w 2927611"/>
                <a:gd name="connsiteY16" fmla="*/ 0 h 5189370"/>
                <a:gd name="connsiteX17" fmla="*/ 2760690 w 2927611"/>
                <a:gd name="connsiteY17" fmla="*/ 165560 h 5189370"/>
                <a:gd name="connsiteX18" fmla="*/ 2880366 w 2927611"/>
                <a:gd name="connsiteY18" fmla="*/ 761302 h 5189370"/>
                <a:gd name="connsiteX19" fmla="*/ 1882146 w 2927611"/>
                <a:gd name="connsiteY19" fmla="*/ 1081342 h 5189370"/>
                <a:gd name="connsiteX20" fmla="*/ 873226 w 2927611"/>
                <a:gd name="connsiteY20" fmla="*/ 2111591 h 5189370"/>
                <a:gd name="connsiteX21" fmla="*/ 571891 w 2927611"/>
                <a:gd name="connsiteY21" fmla="*/ 3464807 h 5189370"/>
                <a:gd name="connsiteX22" fmla="*/ 932548 w 2927611"/>
                <a:gd name="connsiteY22" fmla="*/ 4771487 h 5189370"/>
                <a:gd name="connsiteX23" fmla="*/ 523257 w 2927611"/>
                <a:gd name="connsiteY23" fmla="*/ 5189370 h 5189370"/>
                <a:gd name="connsiteX24" fmla="*/ 41560 w 2927611"/>
                <a:gd name="connsiteY24" fmla="*/ 3281515 h 5189370"/>
                <a:gd name="connsiteX0" fmla="*/ 41560 w 2880366"/>
                <a:gd name="connsiteY0" fmla="*/ 3281515 h 5189370"/>
                <a:gd name="connsiteX1" fmla="*/ 250907 w 2880366"/>
                <a:gd name="connsiteY1" fmla="*/ 2374266 h 5189370"/>
                <a:gd name="connsiteX2" fmla="*/ 218176 w 2880366"/>
                <a:gd name="connsiteY2" fmla="*/ 2331944 h 5189370"/>
                <a:gd name="connsiteX3" fmla="*/ 290433 w 2880366"/>
                <a:gd name="connsiteY3" fmla="*/ 2067448 h 5189370"/>
                <a:gd name="connsiteX4" fmla="*/ 326149 w 2880366"/>
                <a:gd name="connsiteY4" fmla="*/ 2050403 h 5189370"/>
                <a:gd name="connsiteX5" fmla="*/ 1333506 w 2880366"/>
                <a:gd name="connsiteY5" fmla="*/ 647002 h 5189370"/>
                <a:gd name="connsiteX6" fmla="*/ 1546422 w 2880366"/>
                <a:gd name="connsiteY6" fmla="*/ 547251 h 5189370"/>
                <a:gd name="connsiteX7" fmla="*/ 1526361 w 2880366"/>
                <a:gd name="connsiteY7" fmla="*/ 432260 h 5189370"/>
                <a:gd name="connsiteX8" fmla="*/ 1722126 w 2880366"/>
                <a:gd name="connsiteY8" fmla="*/ 380302 h 5189370"/>
                <a:gd name="connsiteX9" fmla="*/ 1739499 w 2880366"/>
                <a:gd name="connsiteY9" fmla="*/ 481442 h 5189370"/>
                <a:gd name="connsiteX10" fmla="*/ 1866574 w 2880366"/>
                <a:gd name="connsiteY10" fmla="*/ 442651 h 5189370"/>
                <a:gd name="connsiteX11" fmla="*/ 1897053 w 2880366"/>
                <a:gd name="connsiteY11" fmla="*/ 393463 h 5189370"/>
                <a:gd name="connsiteX12" fmla="*/ 2132940 w 2880366"/>
                <a:gd name="connsiteY12" fmla="*/ 319342 h 5189370"/>
                <a:gd name="connsiteX13" fmla="*/ 2173395 w 2880366"/>
                <a:gd name="connsiteY13" fmla="*/ 352592 h 5189370"/>
                <a:gd name="connsiteX14" fmla="*/ 2369937 w 2880366"/>
                <a:gd name="connsiteY14" fmla="*/ 288171 h 5189370"/>
                <a:gd name="connsiteX15" fmla="*/ 2329149 w 2880366"/>
                <a:gd name="connsiteY15" fmla="*/ 119840 h 5189370"/>
                <a:gd name="connsiteX16" fmla="*/ 2712392 w 2880366"/>
                <a:gd name="connsiteY16" fmla="*/ 0 h 5189370"/>
                <a:gd name="connsiteX17" fmla="*/ 2880366 w 2880366"/>
                <a:gd name="connsiteY17" fmla="*/ 761302 h 5189370"/>
                <a:gd name="connsiteX18" fmla="*/ 1882146 w 2880366"/>
                <a:gd name="connsiteY18" fmla="*/ 1081342 h 5189370"/>
                <a:gd name="connsiteX19" fmla="*/ 873226 w 2880366"/>
                <a:gd name="connsiteY19" fmla="*/ 2111591 h 5189370"/>
                <a:gd name="connsiteX20" fmla="*/ 571891 w 2880366"/>
                <a:gd name="connsiteY20" fmla="*/ 3464807 h 5189370"/>
                <a:gd name="connsiteX21" fmla="*/ 932548 w 2880366"/>
                <a:gd name="connsiteY21" fmla="*/ 4771487 h 5189370"/>
                <a:gd name="connsiteX22" fmla="*/ 523257 w 2880366"/>
                <a:gd name="connsiteY22" fmla="*/ 5189370 h 5189370"/>
                <a:gd name="connsiteX23" fmla="*/ 41560 w 2880366"/>
                <a:gd name="connsiteY23" fmla="*/ 3281515 h 5189370"/>
                <a:gd name="connsiteX0" fmla="*/ 41560 w 2712392"/>
                <a:gd name="connsiteY0" fmla="*/ 3281515 h 5189370"/>
                <a:gd name="connsiteX1" fmla="*/ 250907 w 2712392"/>
                <a:gd name="connsiteY1" fmla="*/ 2374266 h 5189370"/>
                <a:gd name="connsiteX2" fmla="*/ 218176 w 2712392"/>
                <a:gd name="connsiteY2" fmla="*/ 2331944 h 5189370"/>
                <a:gd name="connsiteX3" fmla="*/ 290433 w 2712392"/>
                <a:gd name="connsiteY3" fmla="*/ 2067448 h 5189370"/>
                <a:gd name="connsiteX4" fmla="*/ 326149 w 2712392"/>
                <a:gd name="connsiteY4" fmla="*/ 2050403 h 5189370"/>
                <a:gd name="connsiteX5" fmla="*/ 1333506 w 2712392"/>
                <a:gd name="connsiteY5" fmla="*/ 647002 h 5189370"/>
                <a:gd name="connsiteX6" fmla="*/ 1546422 w 2712392"/>
                <a:gd name="connsiteY6" fmla="*/ 547251 h 5189370"/>
                <a:gd name="connsiteX7" fmla="*/ 1526361 w 2712392"/>
                <a:gd name="connsiteY7" fmla="*/ 432260 h 5189370"/>
                <a:gd name="connsiteX8" fmla="*/ 1722126 w 2712392"/>
                <a:gd name="connsiteY8" fmla="*/ 380302 h 5189370"/>
                <a:gd name="connsiteX9" fmla="*/ 1739499 w 2712392"/>
                <a:gd name="connsiteY9" fmla="*/ 481442 h 5189370"/>
                <a:gd name="connsiteX10" fmla="*/ 1866574 w 2712392"/>
                <a:gd name="connsiteY10" fmla="*/ 442651 h 5189370"/>
                <a:gd name="connsiteX11" fmla="*/ 1897053 w 2712392"/>
                <a:gd name="connsiteY11" fmla="*/ 393463 h 5189370"/>
                <a:gd name="connsiteX12" fmla="*/ 2132940 w 2712392"/>
                <a:gd name="connsiteY12" fmla="*/ 319342 h 5189370"/>
                <a:gd name="connsiteX13" fmla="*/ 2173395 w 2712392"/>
                <a:gd name="connsiteY13" fmla="*/ 352592 h 5189370"/>
                <a:gd name="connsiteX14" fmla="*/ 2369937 w 2712392"/>
                <a:gd name="connsiteY14" fmla="*/ 288171 h 5189370"/>
                <a:gd name="connsiteX15" fmla="*/ 2329149 w 2712392"/>
                <a:gd name="connsiteY15" fmla="*/ 119840 h 5189370"/>
                <a:gd name="connsiteX16" fmla="*/ 2712392 w 2712392"/>
                <a:gd name="connsiteY16" fmla="*/ 0 h 5189370"/>
                <a:gd name="connsiteX17" fmla="*/ 1882146 w 2712392"/>
                <a:gd name="connsiteY17" fmla="*/ 1081342 h 5189370"/>
                <a:gd name="connsiteX18" fmla="*/ 873226 w 2712392"/>
                <a:gd name="connsiteY18" fmla="*/ 2111591 h 5189370"/>
                <a:gd name="connsiteX19" fmla="*/ 571891 w 2712392"/>
                <a:gd name="connsiteY19" fmla="*/ 3464807 h 5189370"/>
                <a:gd name="connsiteX20" fmla="*/ 932548 w 2712392"/>
                <a:gd name="connsiteY20" fmla="*/ 4771487 h 5189370"/>
                <a:gd name="connsiteX21" fmla="*/ 523257 w 2712392"/>
                <a:gd name="connsiteY21" fmla="*/ 5189370 h 5189370"/>
                <a:gd name="connsiteX22" fmla="*/ 41560 w 2712392"/>
                <a:gd name="connsiteY22" fmla="*/ 3281515 h 5189370"/>
                <a:gd name="connsiteX0" fmla="*/ 41560 w 2369937"/>
                <a:gd name="connsiteY0" fmla="*/ 3161675 h 5069530"/>
                <a:gd name="connsiteX1" fmla="*/ 250907 w 2369937"/>
                <a:gd name="connsiteY1" fmla="*/ 2254426 h 5069530"/>
                <a:gd name="connsiteX2" fmla="*/ 218176 w 2369937"/>
                <a:gd name="connsiteY2" fmla="*/ 2212104 h 5069530"/>
                <a:gd name="connsiteX3" fmla="*/ 290433 w 2369937"/>
                <a:gd name="connsiteY3" fmla="*/ 1947608 h 5069530"/>
                <a:gd name="connsiteX4" fmla="*/ 326149 w 2369937"/>
                <a:gd name="connsiteY4" fmla="*/ 1930563 h 5069530"/>
                <a:gd name="connsiteX5" fmla="*/ 1333506 w 2369937"/>
                <a:gd name="connsiteY5" fmla="*/ 527162 h 5069530"/>
                <a:gd name="connsiteX6" fmla="*/ 1546422 w 2369937"/>
                <a:gd name="connsiteY6" fmla="*/ 427411 h 5069530"/>
                <a:gd name="connsiteX7" fmla="*/ 1526361 w 2369937"/>
                <a:gd name="connsiteY7" fmla="*/ 312420 h 5069530"/>
                <a:gd name="connsiteX8" fmla="*/ 1722126 w 2369937"/>
                <a:gd name="connsiteY8" fmla="*/ 260462 h 5069530"/>
                <a:gd name="connsiteX9" fmla="*/ 1739499 w 2369937"/>
                <a:gd name="connsiteY9" fmla="*/ 361602 h 5069530"/>
                <a:gd name="connsiteX10" fmla="*/ 1866574 w 2369937"/>
                <a:gd name="connsiteY10" fmla="*/ 322811 h 5069530"/>
                <a:gd name="connsiteX11" fmla="*/ 1897053 w 2369937"/>
                <a:gd name="connsiteY11" fmla="*/ 273623 h 5069530"/>
                <a:gd name="connsiteX12" fmla="*/ 2132940 w 2369937"/>
                <a:gd name="connsiteY12" fmla="*/ 199502 h 5069530"/>
                <a:gd name="connsiteX13" fmla="*/ 2173395 w 2369937"/>
                <a:gd name="connsiteY13" fmla="*/ 232752 h 5069530"/>
                <a:gd name="connsiteX14" fmla="*/ 2369937 w 2369937"/>
                <a:gd name="connsiteY14" fmla="*/ 168331 h 5069530"/>
                <a:gd name="connsiteX15" fmla="*/ 2329149 w 2369937"/>
                <a:gd name="connsiteY15" fmla="*/ 0 h 5069530"/>
                <a:gd name="connsiteX16" fmla="*/ 1882146 w 2369937"/>
                <a:gd name="connsiteY16" fmla="*/ 961502 h 5069530"/>
                <a:gd name="connsiteX17" fmla="*/ 873226 w 2369937"/>
                <a:gd name="connsiteY17" fmla="*/ 1991751 h 5069530"/>
                <a:gd name="connsiteX18" fmla="*/ 571891 w 2369937"/>
                <a:gd name="connsiteY18" fmla="*/ 3344967 h 5069530"/>
                <a:gd name="connsiteX19" fmla="*/ 932548 w 2369937"/>
                <a:gd name="connsiteY19" fmla="*/ 4651647 h 5069530"/>
                <a:gd name="connsiteX20" fmla="*/ 523257 w 2369937"/>
                <a:gd name="connsiteY20" fmla="*/ 5069530 h 5069530"/>
                <a:gd name="connsiteX21" fmla="*/ 41560 w 2369937"/>
                <a:gd name="connsiteY21" fmla="*/ 3161675 h 5069530"/>
                <a:gd name="connsiteX0" fmla="*/ 41560 w 2369937"/>
                <a:gd name="connsiteY0" fmla="*/ 2993344 h 4901199"/>
                <a:gd name="connsiteX1" fmla="*/ 250907 w 2369937"/>
                <a:gd name="connsiteY1" fmla="*/ 2086095 h 4901199"/>
                <a:gd name="connsiteX2" fmla="*/ 218176 w 2369937"/>
                <a:gd name="connsiteY2" fmla="*/ 2043773 h 4901199"/>
                <a:gd name="connsiteX3" fmla="*/ 290433 w 2369937"/>
                <a:gd name="connsiteY3" fmla="*/ 1779277 h 4901199"/>
                <a:gd name="connsiteX4" fmla="*/ 326149 w 2369937"/>
                <a:gd name="connsiteY4" fmla="*/ 1762232 h 4901199"/>
                <a:gd name="connsiteX5" fmla="*/ 1333506 w 2369937"/>
                <a:gd name="connsiteY5" fmla="*/ 358831 h 4901199"/>
                <a:gd name="connsiteX6" fmla="*/ 1546422 w 2369937"/>
                <a:gd name="connsiteY6" fmla="*/ 259080 h 4901199"/>
                <a:gd name="connsiteX7" fmla="*/ 1526361 w 2369937"/>
                <a:gd name="connsiteY7" fmla="*/ 144089 h 4901199"/>
                <a:gd name="connsiteX8" fmla="*/ 1722126 w 2369937"/>
                <a:gd name="connsiteY8" fmla="*/ 92131 h 4901199"/>
                <a:gd name="connsiteX9" fmla="*/ 1739499 w 2369937"/>
                <a:gd name="connsiteY9" fmla="*/ 193271 h 4901199"/>
                <a:gd name="connsiteX10" fmla="*/ 1866574 w 2369937"/>
                <a:gd name="connsiteY10" fmla="*/ 154480 h 4901199"/>
                <a:gd name="connsiteX11" fmla="*/ 1897053 w 2369937"/>
                <a:gd name="connsiteY11" fmla="*/ 105292 h 4901199"/>
                <a:gd name="connsiteX12" fmla="*/ 2132940 w 2369937"/>
                <a:gd name="connsiteY12" fmla="*/ 31171 h 4901199"/>
                <a:gd name="connsiteX13" fmla="*/ 2173395 w 2369937"/>
                <a:gd name="connsiteY13" fmla="*/ 64421 h 4901199"/>
                <a:gd name="connsiteX14" fmla="*/ 2369937 w 2369937"/>
                <a:gd name="connsiteY14" fmla="*/ 0 h 4901199"/>
                <a:gd name="connsiteX15" fmla="*/ 1882146 w 2369937"/>
                <a:gd name="connsiteY15" fmla="*/ 793171 h 4901199"/>
                <a:gd name="connsiteX16" fmla="*/ 873226 w 2369937"/>
                <a:gd name="connsiteY16" fmla="*/ 1823420 h 4901199"/>
                <a:gd name="connsiteX17" fmla="*/ 571891 w 2369937"/>
                <a:gd name="connsiteY17" fmla="*/ 3176636 h 4901199"/>
                <a:gd name="connsiteX18" fmla="*/ 932548 w 2369937"/>
                <a:gd name="connsiteY18" fmla="*/ 4483316 h 4901199"/>
                <a:gd name="connsiteX19" fmla="*/ 523257 w 2369937"/>
                <a:gd name="connsiteY19" fmla="*/ 4901199 h 4901199"/>
                <a:gd name="connsiteX20" fmla="*/ 41560 w 2369937"/>
                <a:gd name="connsiteY20" fmla="*/ 2993344 h 4901199"/>
                <a:gd name="connsiteX0" fmla="*/ 41560 w 2173395"/>
                <a:gd name="connsiteY0" fmla="*/ 2962173 h 4870028"/>
                <a:gd name="connsiteX1" fmla="*/ 250907 w 2173395"/>
                <a:gd name="connsiteY1" fmla="*/ 2054924 h 4870028"/>
                <a:gd name="connsiteX2" fmla="*/ 218176 w 2173395"/>
                <a:gd name="connsiteY2" fmla="*/ 2012602 h 4870028"/>
                <a:gd name="connsiteX3" fmla="*/ 290433 w 2173395"/>
                <a:gd name="connsiteY3" fmla="*/ 1748106 h 4870028"/>
                <a:gd name="connsiteX4" fmla="*/ 326149 w 2173395"/>
                <a:gd name="connsiteY4" fmla="*/ 1731061 h 4870028"/>
                <a:gd name="connsiteX5" fmla="*/ 1333506 w 2173395"/>
                <a:gd name="connsiteY5" fmla="*/ 327660 h 4870028"/>
                <a:gd name="connsiteX6" fmla="*/ 1546422 w 2173395"/>
                <a:gd name="connsiteY6" fmla="*/ 227909 h 4870028"/>
                <a:gd name="connsiteX7" fmla="*/ 1526361 w 2173395"/>
                <a:gd name="connsiteY7" fmla="*/ 112918 h 4870028"/>
                <a:gd name="connsiteX8" fmla="*/ 1722126 w 2173395"/>
                <a:gd name="connsiteY8" fmla="*/ 60960 h 4870028"/>
                <a:gd name="connsiteX9" fmla="*/ 1739499 w 2173395"/>
                <a:gd name="connsiteY9" fmla="*/ 162100 h 4870028"/>
                <a:gd name="connsiteX10" fmla="*/ 1866574 w 2173395"/>
                <a:gd name="connsiteY10" fmla="*/ 123309 h 4870028"/>
                <a:gd name="connsiteX11" fmla="*/ 1897053 w 2173395"/>
                <a:gd name="connsiteY11" fmla="*/ 74121 h 4870028"/>
                <a:gd name="connsiteX12" fmla="*/ 2132940 w 2173395"/>
                <a:gd name="connsiteY12" fmla="*/ 0 h 4870028"/>
                <a:gd name="connsiteX13" fmla="*/ 2173395 w 2173395"/>
                <a:gd name="connsiteY13" fmla="*/ 33250 h 4870028"/>
                <a:gd name="connsiteX14" fmla="*/ 1882146 w 2173395"/>
                <a:gd name="connsiteY14" fmla="*/ 762000 h 4870028"/>
                <a:gd name="connsiteX15" fmla="*/ 873226 w 2173395"/>
                <a:gd name="connsiteY15" fmla="*/ 1792249 h 4870028"/>
                <a:gd name="connsiteX16" fmla="*/ 571891 w 2173395"/>
                <a:gd name="connsiteY16" fmla="*/ 3145465 h 4870028"/>
                <a:gd name="connsiteX17" fmla="*/ 932548 w 2173395"/>
                <a:gd name="connsiteY17" fmla="*/ 4452145 h 4870028"/>
                <a:gd name="connsiteX18" fmla="*/ 523257 w 2173395"/>
                <a:gd name="connsiteY18" fmla="*/ 4870028 h 4870028"/>
                <a:gd name="connsiteX19" fmla="*/ 41560 w 2173395"/>
                <a:gd name="connsiteY19" fmla="*/ 2962173 h 4870028"/>
                <a:gd name="connsiteX0" fmla="*/ 41560 w 2132940"/>
                <a:gd name="connsiteY0" fmla="*/ 2962173 h 4870028"/>
                <a:gd name="connsiteX1" fmla="*/ 250907 w 2132940"/>
                <a:gd name="connsiteY1" fmla="*/ 2054924 h 4870028"/>
                <a:gd name="connsiteX2" fmla="*/ 218176 w 2132940"/>
                <a:gd name="connsiteY2" fmla="*/ 2012602 h 4870028"/>
                <a:gd name="connsiteX3" fmla="*/ 290433 w 2132940"/>
                <a:gd name="connsiteY3" fmla="*/ 1748106 h 4870028"/>
                <a:gd name="connsiteX4" fmla="*/ 326149 w 2132940"/>
                <a:gd name="connsiteY4" fmla="*/ 1731061 h 4870028"/>
                <a:gd name="connsiteX5" fmla="*/ 1333506 w 2132940"/>
                <a:gd name="connsiteY5" fmla="*/ 327660 h 4870028"/>
                <a:gd name="connsiteX6" fmla="*/ 1546422 w 2132940"/>
                <a:gd name="connsiteY6" fmla="*/ 227909 h 4870028"/>
                <a:gd name="connsiteX7" fmla="*/ 1526361 w 2132940"/>
                <a:gd name="connsiteY7" fmla="*/ 112918 h 4870028"/>
                <a:gd name="connsiteX8" fmla="*/ 1722126 w 2132940"/>
                <a:gd name="connsiteY8" fmla="*/ 60960 h 4870028"/>
                <a:gd name="connsiteX9" fmla="*/ 1739499 w 2132940"/>
                <a:gd name="connsiteY9" fmla="*/ 162100 h 4870028"/>
                <a:gd name="connsiteX10" fmla="*/ 1866574 w 2132940"/>
                <a:gd name="connsiteY10" fmla="*/ 123309 h 4870028"/>
                <a:gd name="connsiteX11" fmla="*/ 1897053 w 2132940"/>
                <a:gd name="connsiteY11" fmla="*/ 74121 h 4870028"/>
                <a:gd name="connsiteX12" fmla="*/ 2132940 w 2132940"/>
                <a:gd name="connsiteY12" fmla="*/ 0 h 4870028"/>
                <a:gd name="connsiteX13" fmla="*/ 1882146 w 2132940"/>
                <a:gd name="connsiteY13" fmla="*/ 762000 h 4870028"/>
                <a:gd name="connsiteX14" fmla="*/ 873226 w 2132940"/>
                <a:gd name="connsiteY14" fmla="*/ 1792249 h 4870028"/>
                <a:gd name="connsiteX15" fmla="*/ 571891 w 2132940"/>
                <a:gd name="connsiteY15" fmla="*/ 3145465 h 4870028"/>
                <a:gd name="connsiteX16" fmla="*/ 932548 w 2132940"/>
                <a:gd name="connsiteY16" fmla="*/ 4452145 h 4870028"/>
                <a:gd name="connsiteX17" fmla="*/ 523257 w 2132940"/>
                <a:gd name="connsiteY17" fmla="*/ 4870028 h 4870028"/>
                <a:gd name="connsiteX18" fmla="*/ 41560 w 2132940"/>
                <a:gd name="connsiteY18" fmla="*/ 2962173 h 4870028"/>
                <a:gd name="connsiteX0" fmla="*/ 41560 w 1897053"/>
                <a:gd name="connsiteY0" fmla="*/ 2901213 h 4809068"/>
                <a:gd name="connsiteX1" fmla="*/ 250907 w 1897053"/>
                <a:gd name="connsiteY1" fmla="*/ 1993964 h 4809068"/>
                <a:gd name="connsiteX2" fmla="*/ 218176 w 1897053"/>
                <a:gd name="connsiteY2" fmla="*/ 1951642 h 4809068"/>
                <a:gd name="connsiteX3" fmla="*/ 290433 w 1897053"/>
                <a:gd name="connsiteY3" fmla="*/ 1687146 h 4809068"/>
                <a:gd name="connsiteX4" fmla="*/ 326149 w 1897053"/>
                <a:gd name="connsiteY4" fmla="*/ 1670101 h 4809068"/>
                <a:gd name="connsiteX5" fmla="*/ 1333506 w 1897053"/>
                <a:gd name="connsiteY5" fmla="*/ 266700 h 4809068"/>
                <a:gd name="connsiteX6" fmla="*/ 1546422 w 1897053"/>
                <a:gd name="connsiteY6" fmla="*/ 166949 h 4809068"/>
                <a:gd name="connsiteX7" fmla="*/ 1526361 w 1897053"/>
                <a:gd name="connsiteY7" fmla="*/ 51958 h 4809068"/>
                <a:gd name="connsiteX8" fmla="*/ 1722126 w 1897053"/>
                <a:gd name="connsiteY8" fmla="*/ 0 h 4809068"/>
                <a:gd name="connsiteX9" fmla="*/ 1739499 w 1897053"/>
                <a:gd name="connsiteY9" fmla="*/ 101140 h 4809068"/>
                <a:gd name="connsiteX10" fmla="*/ 1866574 w 1897053"/>
                <a:gd name="connsiteY10" fmla="*/ 62349 h 4809068"/>
                <a:gd name="connsiteX11" fmla="*/ 1897053 w 1897053"/>
                <a:gd name="connsiteY11" fmla="*/ 13161 h 4809068"/>
                <a:gd name="connsiteX12" fmla="*/ 1882146 w 1897053"/>
                <a:gd name="connsiteY12" fmla="*/ 701040 h 4809068"/>
                <a:gd name="connsiteX13" fmla="*/ 873226 w 1897053"/>
                <a:gd name="connsiteY13" fmla="*/ 1731289 h 4809068"/>
                <a:gd name="connsiteX14" fmla="*/ 571891 w 1897053"/>
                <a:gd name="connsiteY14" fmla="*/ 3084505 h 4809068"/>
                <a:gd name="connsiteX15" fmla="*/ 932548 w 1897053"/>
                <a:gd name="connsiteY15" fmla="*/ 4391185 h 4809068"/>
                <a:gd name="connsiteX16" fmla="*/ 523257 w 1897053"/>
                <a:gd name="connsiteY16" fmla="*/ 4809068 h 4809068"/>
                <a:gd name="connsiteX17" fmla="*/ 41560 w 1897053"/>
                <a:gd name="connsiteY17" fmla="*/ 2901213 h 4809068"/>
                <a:gd name="connsiteX0" fmla="*/ 41560 w 1882146"/>
                <a:gd name="connsiteY0" fmla="*/ 2901213 h 4809068"/>
                <a:gd name="connsiteX1" fmla="*/ 250907 w 1882146"/>
                <a:gd name="connsiteY1" fmla="*/ 1993964 h 4809068"/>
                <a:gd name="connsiteX2" fmla="*/ 218176 w 1882146"/>
                <a:gd name="connsiteY2" fmla="*/ 1951642 h 4809068"/>
                <a:gd name="connsiteX3" fmla="*/ 290433 w 1882146"/>
                <a:gd name="connsiteY3" fmla="*/ 1687146 h 4809068"/>
                <a:gd name="connsiteX4" fmla="*/ 326149 w 1882146"/>
                <a:gd name="connsiteY4" fmla="*/ 1670101 h 4809068"/>
                <a:gd name="connsiteX5" fmla="*/ 1333506 w 1882146"/>
                <a:gd name="connsiteY5" fmla="*/ 266700 h 4809068"/>
                <a:gd name="connsiteX6" fmla="*/ 1546422 w 1882146"/>
                <a:gd name="connsiteY6" fmla="*/ 166949 h 4809068"/>
                <a:gd name="connsiteX7" fmla="*/ 1526361 w 1882146"/>
                <a:gd name="connsiteY7" fmla="*/ 51958 h 4809068"/>
                <a:gd name="connsiteX8" fmla="*/ 1722126 w 1882146"/>
                <a:gd name="connsiteY8" fmla="*/ 0 h 4809068"/>
                <a:gd name="connsiteX9" fmla="*/ 1739499 w 1882146"/>
                <a:gd name="connsiteY9" fmla="*/ 101140 h 4809068"/>
                <a:gd name="connsiteX10" fmla="*/ 1866574 w 1882146"/>
                <a:gd name="connsiteY10" fmla="*/ 62349 h 4809068"/>
                <a:gd name="connsiteX11" fmla="*/ 1882146 w 1882146"/>
                <a:gd name="connsiteY11" fmla="*/ 701040 h 4809068"/>
                <a:gd name="connsiteX12" fmla="*/ 873226 w 1882146"/>
                <a:gd name="connsiteY12" fmla="*/ 1731289 h 4809068"/>
                <a:gd name="connsiteX13" fmla="*/ 571891 w 1882146"/>
                <a:gd name="connsiteY13" fmla="*/ 3084505 h 4809068"/>
                <a:gd name="connsiteX14" fmla="*/ 932548 w 1882146"/>
                <a:gd name="connsiteY14" fmla="*/ 4391185 h 4809068"/>
                <a:gd name="connsiteX15" fmla="*/ 523257 w 1882146"/>
                <a:gd name="connsiteY15" fmla="*/ 4809068 h 4809068"/>
                <a:gd name="connsiteX16" fmla="*/ 41560 w 1882146"/>
                <a:gd name="connsiteY16" fmla="*/ 2901213 h 4809068"/>
                <a:gd name="connsiteX0" fmla="*/ 41560 w 1882146"/>
                <a:gd name="connsiteY0" fmla="*/ 2901213 h 4809068"/>
                <a:gd name="connsiteX1" fmla="*/ 250907 w 1882146"/>
                <a:gd name="connsiteY1" fmla="*/ 1993964 h 4809068"/>
                <a:gd name="connsiteX2" fmla="*/ 218176 w 1882146"/>
                <a:gd name="connsiteY2" fmla="*/ 1951642 h 4809068"/>
                <a:gd name="connsiteX3" fmla="*/ 290433 w 1882146"/>
                <a:gd name="connsiteY3" fmla="*/ 1687146 h 4809068"/>
                <a:gd name="connsiteX4" fmla="*/ 326149 w 1882146"/>
                <a:gd name="connsiteY4" fmla="*/ 1670101 h 4809068"/>
                <a:gd name="connsiteX5" fmla="*/ 1333506 w 1882146"/>
                <a:gd name="connsiteY5" fmla="*/ 266700 h 4809068"/>
                <a:gd name="connsiteX6" fmla="*/ 1546422 w 1882146"/>
                <a:gd name="connsiteY6" fmla="*/ 166949 h 4809068"/>
                <a:gd name="connsiteX7" fmla="*/ 1526361 w 1882146"/>
                <a:gd name="connsiteY7" fmla="*/ 51958 h 4809068"/>
                <a:gd name="connsiteX8" fmla="*/ 1722126 w 1882146"/>
                <a:gd name="connsiteY8" fmla="*/ 0 h 4809068"/>
                <a:gd name="connsiteX9" fmla="*/ 1739499 w 1882146"/>
                <a:gd name="connsiteY9" fmla="*/ 101140 h 4809068"/>
                <a:gd name="connsiteX10" fmla="*/ 1882146 w 1882146"/>
                <a:gd name="connsiteY10" fmla="*/ 701040 h 4809068"/>
                <a:gd name="connsiteX11" fmla="*/ 873226 w 1882146"/>
                <a:gd name="connsiteY11" fmla="*/ 1731289 h 4809068"/>
                <a:gd name="connsiteX12" fmla="*/ 571891 w 1882146"/>
                <a:gd name="connsiteY12" fmla="*/ 3084505 h 4809068"/>
                <a:gd name="connsiteX13" fmla="*/ 932548 w 1882146"/>
                <a:gd name="connsiteY13" fmla="*/ 4391185 h 4809068"/>
                <a:gd name="connsiteX14" fmla="*/ 523257 w 1882146"/>
                <a:gd name="connsiteY14" fmla="*/ 4809068 h 4809068"/>
                <a:gd name="connsiteX15" fmla="*/ 41560 w 1882146"/>
                <a:gd name="connsiteY15" fmla="*/ 2901213 h 4809068"/>
                <a:gd name="connsiteX0" fmla="*/ 41560 w 1882146"/>
                <a:gd name="connsiteY0" fmla="*/ 2901213 h 4809068"/>
                <a:gd name="connsiteX1" fmla="*/ 250907 w 1882146"/>
                <a:gd name="connsiteY1" fmla="*/ 1993964 h 4809068"/>
                <a:gd name="connsiteX2" fmla="*/ 218176 w 1882146"/>
                <a:gd name="connsiteY2" fmla="*/ 1951642 h 4809068"/>
                <a:gd name="connsiteX3" fmla="*/ 290433 w 1882146"/>
                <a:gd name="connsiteY3" fmla="*/ 1687146 h 4809068"/>
                <a:gd name="connsiteX4" fmla="*/ 326149 w 1882146"/>
                <a:gd name="connsiteY4" fmla="*/ 1670101 h 4809068"/>
                <a:gd name="connsiteX5" fmla="*/ 1333506 w 1882146"/>
                <a:gd name="connsiteY5" fmla="*/ 266700 h 4809068"/>
                <a:gd name="connsiteX6" fmla="*/ 1546422 w 1882146"/>
                <a:gd name="connsiteY6" fmla="*/ 166949 h 4809068"/>
                <a:gd name="connsiteX7" fmla="*/ 1526361 w 1882146"/>
                <a:gd name="connsiteY7" fmla="*/ 51958 h 4809068"/>
                <a:gd name="connsiteX8" fmla="*/ 1722126 w 1882146"/>
                <a:gd name="connsiteY8" fmla="*/ 0 h 4809068"/>
                <a:gd name="connsiteX9" fmla="*/ 1882146 w 1882146"/>
                <a:gd name="connsiteY9" fmla="*/ 701040 h 4809068"/>
                <a:gd name="connsiteX10" fmla="*/ 873226 w 1882146"/>
                <a:gd name="connsiteY10" fmla="*/ 1731289 h 4809068"/>
                <a:gd name="connsiteX11" fmla="*/ 571891 w 1882146"/>
                <a:gd name="connsiteY11" fmla="*/ 3084505 h 4809068"/>
                <a:gd name="connsiteX12" fmla="*/ 932548 w 1882146"/>
                <a:gd name="connsiteY12" fmla="*/ 4391185 h 4809068"/>
                <a:gd name="connsiteX13" fmla="*/ 523257 w 1882146"/>
                <a:gd name="connsiteY13" fmla="*/ 4809068 h 4809068"/>
                <a:gd name="connsiteX14" fmla="*/ 41560 w 1882146"/>
                <a:gd name="connsiteY14" fmla="*/ 2901213 h 4809068"/>
                <a:gd name="connsiteX0" fmla="*/ 41560 w 1882146"/>
                <a:gd name="connsiteY0" fmla="*/ 2849255 h 4757110"/>
                <a:gd name="connsiteX1" fmla="*/ 250907 w 1882146"/>
                <a:gd name="connsiteY1" fmla="*/ 1942006 h 4757110"/>
                <a:gd name="connsiteX2" fmla="*/ 218176 w 1882146"/>
                <a:gd name="connsiteY2" fmla="*/ 1899684 h 4757110"/>
                <a:gd name="connsiteX3" fmla="*/ 290433 w 1882146"/>
                <a:gd name="connsiteY3" fmla="*/ 1635188 h 4757110"/>
                <a:gd name="connsiteX4" fmla="*/ 326149 w 1882146"/>
                <a:gd name="connsiteY4" fmla="*/ 1618143 h 4757110"/>
                <a:gd name="connsiteX5" fmla="*/ 1333506 w 1882146"/>
                <a:gd name="connsiteY5" fmla="*/ 214742 h 4757110"/>
                <a:gd name="connsiteX6" fmla="*/ 1546422 w 1882146"/>
                <a:gd name="connsiteY6" fmla="*/ 114991 h 4757110"/>
                <a:gd name="connsiteX7" fmla="*/ 1526361 w 1882146"/>
                <a:gd name="connsiteY7" fmla="*/ 0 h 4757110"/>
                <a:gd name="connsiteX8" fmla="*/ 1882146 w 1882146"/>
                <a:gd name="connsiteY8" fmla="*/ 649082 h 4757110"/>
                <a:gd name="connsiteX9" fmla="*/ 873226 w 1882146"/>
                <a:gd name="connsiteY9" fmla="*/ 1679331 h 4757110"/>
                <a:gd name="connsiteX10" fmla="*/ 571891 w 1882146"/>
                <a:gd name="connsiteY10" fmla="*/ 3032547 h 4757110"/>
                <a:gd name="connsiteX11" fmla="*/ 932548 w 1882146"/>
                <a:gd name="connsiteY11" fmla="*/ 4339227 h 4757110"/>
                <a:gd name="connsiteX12" fmla="*/ 523257 w 1882146"/>
                <a:gd name="connsiteY12" fmla="*/ 4757110 h 4757110"/>
                <a:gd name="connsiteX13" fmla="*/ 41560 w 1882146"/>
                <a:gd name="connsiteY13" fmla="*/ 2849255 h 4757110"/>
                <a:gd name="connsiteX0" fmla="*/ 41560 w 1882146"/>
                <a:gd name="connsiteY0" fmla="*/ 2734264 h 4642119"/>
                <a:gd name="connsiteX1" fmla="*/ 250907 w 1882146"/>
                <a:gd name="connsiteY1" fmla="*/ 1827015 h 4642119"/>
                <a:gd name="connsiteX2" fmla="*/ 218176 w 1882146"/>
                <a:gd name="connsiteY2" fmla="*/ 1784693 h 4642119"/>
                <a:gd name="connsiteX3" fmla="*/ 290433 w 1882146"/>
                <a:gd name="connsiteY3" fmla="*/ 1520197 h 4642119"/>
                <a:gd name="connsiteX4" fmla="*/ 326149 w 1882146"/>
                <a:gd name="connsiteY4" fmla="*/ 1503152 h 4642119"/>
                <a:gd name="connsiteX5" fmla="*/ 1333506 w 1882146"/>
                <a:gd name="connsiteY5" fmla="*/ 99751 h 4642119"/>
                <a:gd name="connsiteX6" fmla="*/ 1546422 w 1882146"/>
                <a:gd name="connsiteY6" fmla="*/ 0 h 4642119"/>
                <a:gd name="connsiteX7" fmla="*/ 1882146 w 1882146"/>
                <a:gd name="connsiteY7" fmla="*/ 534091 h 4642119"/>
                <a:gd name="connsiteX8" fmla="*/ 873226 w 1882146"/>
                <a:gd name="connsiteY8" fmla="*/ 1564340 h 4642119"/>
                <a:gd name="connsiteX9" fmla="*/ 571891 w 1882146"/>
                <a:gd name="connsiteY9" fmla="*/ 2917556 h 4642119"/>
                <a:gd name="connsiteX10" fmla="*/ 932548 w 1882146"/>
                <a:gd name="connsiteY10" fmla="*/ 4224236 h 4642119"/>
                <a:gd name="connsiteX11" fmla="*/ 523257 w 1882146"/>
                <a:gd name="connsiteY11" fmla="*/ 4642119 h 4642119"/>
                <a:gd name="connsiteX12" fmla="*/ 41560 w 1882146"/>
                <a:gd name="connsiteY12" fmla="*/ 2734264 h 4642119"/>
                <a:gd name="connsiteX0" fmla="*/ 41560 w 1882146"/>
                <a:gd name="connsiteY0" fmla="*/ 2634513 h 4542368"/>
                <a:gd name="connsiteX1" fmla="*/ 250907 w 1882146"/>
                <a:gd name="connsiteY1" fmla="*/ 1727264 h 4542368"/>
                <a:gd name="connsiteX2" fmla="*/ 218176 w 1882146"/>
                <a:gd name="connsiteY2" fmla="*/ 1684942 h 4542368"/>
                <a:gd name="connsiteX3" fmla="*/ 290433 w 1882146"/>
                <a:gd name="connsiteY3" fmla="*/ 1420446 h 4542368"/>
                <a:gd name="connsiteX4" fmla="*/ 326149 w 1882146"/>
                <a:gd name="connsiteY4" fmla="*/ 1403401 h 4542368"/>
                <a:gd name="connsiteX5" fmla="*/ 1333506 w 1882146"/>
                <a:gd name="connsiteY5" fmla="*/ 0 h 4542368"/>
                <a:gd name="connsiteX6" fmla="*/ 1882146 w 1882146"/>
                <a:gd name="connsiteY6" fmla="*/ 434340 h 4542368"/>
                <a:gd name="connsiteX7" fmla="*/ 873226 w 1882146"/>
                <a:gd name="connsiteY7" fmla="*/ 1464589 h 4542368"/>
                <a:gd name="connsiteX8" fmla="*/ 571891 w 1882146"/>
                <a:gd name="connsiteY8" fmla="*/ 2817805 h 4542368"/>
                <a:gd name="connsiteX9" fmla="*/ 932548 w 1882146"/>
                <a:gd name="connsiteY9" fmla="*/ 4124485 h 4542368"/>
                <a:gd name="connsiteX10" fmla="*/ 523257 w 1882146"/>
                <a:gd name="connsiteY10" fmla="*/ 4542368 h 4542368"/>
                <a:gd name="connsiteX11" fmla="*/ 41560 w 1882146"/>
                <a:gd name="connsiteY11" fmla="*/ 2634513 h 4542368"/>
                <a:gd name="connsiteX0" fmla="*/ 41560 w 1333506"/>
                <a:gd name="connsiteY0" fmla="*/ 2634513 h 4542368"/>
                <a:gd name="connsiteX1" fmla="*/ 250907 w 1333506"/>
                <a:gd name="connsiteY1" fmla="*/ 1727264 h 4542368"/>
                <a:gd name="connsiteX2" fmla="*/ 218176 w 1333506"/>
                <a:gd name="connsiteY2" fmla="*/ 1684942 h 4542368"/>
                <a:gd name="connsiteX3" fmla="*/ 290433 w 1333506"/>
                <a:gd name="connsiteY3" fmla="*/ 1420446 h 4542368"/>
                <a:gd name="connsiteX4" fmla="*/ 326149 w 1333506"/>
                <a:gd name="connsiteY4" fmla="*/ 1403401 h 4542368"/>
                <a:gd name="connsiteX5" fmla="*/ 1333506 w 1333506"/>
                <a:gd name="connsiteY5" fmla="*/ 0 h 4542368"/>
                <a:gd name="connsiteX6" fmla="*/ 873226 w 1333506"/>
                <a:gd name="connsiteY6" fmla="*/ 1464589 h 4542368"/>
                <a:gd name="connsiteX7" fmla="*/ 571891 w 1333506"/>
                <a:gd name="connsiteY7" fmla="*/ 2817805 h 4542368"/>
                <a:gd name="connsiteX8" fmla="*/ 932548 w 1333506"/>
                <a:gd name="connsiteY8" fmla="*/ 4124485 h 4542368"/>
                <a:gd name="connsiteX9" fmla="*/ 523257 w 1333506"/>
                <a:gd name="connsiteY9" fmla="*/ 4542368 h 4542368"/>
                <a:gd name="connsiteX10" fmla="*/ 41560 w 1333506"/>
                <a:gd name="connsiteY10" fmla="*/ 2634513 h 4542368"/>
                <a:gd name="connsiteX0" fmla="*/ 41560 w 932548"/>
                <a:gd name="connsiteY0" fmla="*/ 1291189 h 3199044"/>
                <a:gd name="connsiteX1" fmla="*/ 250907 w 932548"/>
                <a:gd name="connsiteY1" fmla="*/ 383940 h 3199044"/>
                <a:gd name="connsiteX2" fmla="*/ 218176 w 932548"/>
                <a:gd name="connsiteY2" fmla="*/ 341618 h 3199044"/>
                <a:gd name="connsiteX3" fmla="*/ 290433 w 932548"/>
                <a:gd name="connsiteY3" fmla="*/ 77122 h 3199044"/>
                <a:gd name="connsiteX4" fmla="*/ 326149 w 932548"/>
                <a:gd name="connsiteY4" fmla="*/ 60077 h 3199044"/>
                <a:gd name="connsiteX5" fmla="*/ 873226 w 932548"/>
                <a:gd name="connsiteY5" fmla="*/ 121265 h 3199044"/>
                <a:gd name="connsiteX6" fmla="*/ 571891 w 932548"/>
                <a:gd name="connsiteY6" fmla="*/ 1474481 h 3199044"/>
                <a:gd name="connsiteX7" fmla="*/ 932548 w 932548"/>
                <a:gd name="connsiteY7" fmla="*/ 2781161 h 3199044"/>
                <a:gd name="connsiteX8" fmla="*/ 523257 w 932548"/>
                <a:gd name="connsiteY8" fmla="*/ 3199044 h 3199044"/>
                <a:gd name="connsiteX9" fmla="*/ 41560 w 932548"/>
                <a:gd name="connsiteY9" fmla="*/ 1291189 h 3199044"/>
                <a:gd name="connsiteX0" fmla="*/ 41560 w 932548"/>
                <a:gd name="connsiteY0" fmla="*/ 1254445 h 3162300"/>
                <a:gd name="connsiteX1" fmla="*/ 250907 w 932548"/>
                <a:gd name="connsiteY1" fmla="*/ 347196 h 3162300"/>
                <a:gd name="connsiteX2" fmla="*/ 218176 w 932548"/>
                <a:gd name="connsiteY2" fmla="*/ 304874 h 3162300"/>
                <a:gd name="connsiteX3" fmla="*/ 290433 w 932548"/>
                <a:gd name="connsiteY3" fmla="*/ 40378 h 3162300"/>
                <a:gd name="connsiteX4" fmla="*/ 326149 w 932548"/>
                <a:gd name="connsiteY4" fmla="*/ 23333 h 3162300"/>
                <a:gd name="connsiteX5" fmla="*/ 856831 w 932548"/>
                <a:gd name="connsiteY5" fmla="*/ 147982 h 3162300"/>
                <a:gd name="connsiteX6" fmla="*/ 571891 w 932548"/>
                <a:gd name="connsiteY6" fmla="*/ 1437737 h 3162300"/>
                <a:gd name="connsiteX7" fmla="*/ 932548 w 932548"/>
                <a:gd name="connsiteY7" fmla="*/ 2744417 h 3162300"/>
                <a:gd name="connsiteX8" fmla="*/ 523257 w 932548"/>
                <a:gd name="connsiteY8" fmla="*/ 3162300 h 3162300"/>
                <a:gd name="connsiteX9" fmla="*/ 41560 w 932548"/>
                <a:gd name="connsiteY9" fmla="*/ 1254445 h 3162300"/>
                <a:gd name="connsiteX0" fmla="*/ 41560 w 932548"/>
                <a:gd name="connsiteY0" fmla="*/ 1231112 h 3138967"/>
                <a:gd name="connsiteX1" fmla="*/ 250907 w 932548"/>
                <a:gd name="connsiteY1" fmla="*/ 323863 h 3138967"/>
                <a:gd name="connsiteX2" fmla="*/ 218176 w 932548"/>
                <a:gd name="connsiteY2" fmla="*/ 281541 h 3138967"/>
                <a:gd name="connsiteX3" fmla="*/ 290433 w 932548"/>
                <a:gd name="connsiteY3" fmla="*/ 17045 h 3138967"/>
                <a:gd name="connsiteX4" fmla="*/ 326149 w 932548"/>
                <a:gd name="connsiteY4" fmla="*/ 0 h 3138967"/>
                <a:gd name="connsiteX5" fmla="*/ 856831 w 932548"/>
                <a:gd name="connsiteY5" fmla="*/ 124649 h 3138967"/>
                <a:gd name="connsiteX6" fmla="*/ 571891 w 932548"/>
                <a:gd name="connsiteY6" fmla="*/ 1414404 h 3138967"/>
                <a:gd name="connsiteX7" fmla="*/ 932548 w 932548"/>
                <a:gd name="connsiteY7" fmla="*/ 2721084 h 3138967"/>
                <a:gd name="connsiteX8" fmla="*/ 523257 w 932548"/>
                <a:gd name="connsiteY8" fmla="*/ 3138967 h 3138967"/>
                <a:gd name="connsiteX9" fmla="*/ 41560 w 932548"/>
                <a:gd name="connsiteY9" fmla="*/ 1231112 h 3138967"/>
                <a:gd name="connsiteX0" fmla="*/ 41560 w 932548"/>
                <a:gd name="connsiteY0" fmla="*/ 1231112 h 3138967"/>
                <a:gd name="connsiteX1" fmla="*/ 208393 w 932548"/>
                <a:gd name="connsiteY1" fmla="*/ 521818 h 3138967"/>
                <a:gd name="connsiteX2" fmla="*/ 250907 w 932548"/>
                <a:gd name="connsiteY2" fmla="*/ 323863 h 3138967"/>
                <a:gd name="connsiteX3" fmla="*/ 218176 w 932548"/>
                <a:gd name="connsiteY3" fmla="*/ 281541 h 3138967"/>
                <a:gd name="connsiteX4" fmla="*/ 290433 w 932548"/>
                <a:gd name="connsiteY4" fmla="*/ 17045 h 3138967"/>
                <a:gd name="connsiteX5" fmla="*/ 326149 w 932548"/>
                <a:gd name="connsiteY5" fmla="*/ 0 h 3138967"/>
                <a:gd name="connsiteX6" fmla="*/ 856831 w 932548"/>
                <a:gd name="connsiteY6" fmla="*/ 124649 h 3138967"/>
                <a:gd name="connsiteX7" fmla="*/ 571891 w 932548"/>
                <a:gd name="connsiteY7" fmla="*/ 1414404 h 3138967"/>
                <a:gd name="connsiteX8" fmla="*/ 932548 w 932548"/>
                <a:gd name="connsiteY8" fmla="*/ 2721084 h 3138967"/>
                <a:gd name="connsiteX9" fmla="*/ 523257 w 932548"/>
                <a:gd name="connsiteY9" fmla="*/ 3138967 h 3138967"/>
                <a:gd name="connsiteX10" fmla="*/ 41560 w 932548"/>
                <a:gd name="connsiteY10" fmla="*/ 1231112 h 3138967"/>
                <a:gd name="connsiteX0" fmla="*/ 41560 w 932548"/>
                <a:gd name="connsiteY0" fmla="*/ 1231112 h 3138967"/>
                <a:gd name="connsiteX1" fmla="*/ 208393 w 932548"/>
                <a:gd name="connsiteY1" fmla="*/ 521818 h 3138967"/>
                <a:gd name="connsiteX2" fmla="*/ 250907 w 932548"/>
                <a:gd name="connsiteY2" fmla="*/ 323863 h 3138967"/>
                <a:gd name="connsiteX3" fmla="*/ 218176 w 932548"/>
                <a:gd name="connsiteY3" fmla="*/ 281541 h 3138967"/>
                <a:gd name="connsiteX4" fmla="*/ 290433 w 932548"/>
                <a:gd name="connsiteY4" fmla="*/ 17045 h 3138967"/>
                <a:gd name="connsiteX5" fmla="*/ 326149 w 932548"/>
                <a:gd name="connsiteY5" fmla="*/ 0 h 3138967"/>
                <a:gd name="connsiteX6" fmla="*/ 856831 w 932548"/>
                <a:gd name="connsiteY6" fmla="*/ 124649 h 3138967"/>
                <a:gd name="connsiteX7" fmla="*/ 741247 w 932548"/>
                <a:gd name="connsiteY7" fmla="*/ 621542 h 3138967"/>
                <a:gd name="connsiteX8" fmla="*/ 571891 w 932548"/>
                <a:gd name="connsiteY8" fmla="*/ 1414404 h 3138967"/>
                <a:gd name="connsiteX9" fmla="*/ 932548 w 932548"/>
                <a:gd name="connsiteY9" fmla="*/ 2721084 h 3138967"/>
                <a:gd name="connsiteX10" fmla="*/ 523257 w 932548"/>
                <a:gd name="connsiteY10" fmla="*/ 3138967 h 3138967"/>
                <a:gd name="connsiteX11" fmla="*/ 41560 w 932548"/>
                <a:gd name="connsiteY11" fmla="*/ 1231112 h 3138967"/>
                <a:gd name="connsiteX0" fmla="*/ 41560 w 932548"/>
                <a:gd name="connsiteY0" fmla="*/ 1231112 h 3138967"/>
                <a:gd name="connsiteX1" fmla="*/ 208393 w 932548"/>
                <a:gd name="connsiteY1" fmla="*/ 521818 h 3138967"/>
                <a:gd name="connsiteX2" fmla="*/ 250907 w 932548"/>
                <a:gd name="connsiteY2" fmla="*/ 323863 h 3138967"/>
                <a:gd name="connsiteX3" fmla="*/ 218176 w 932548"/>
                <a:gd name="connsiteY3" fmla="*/ 281541 h 3138967"/>
                <a:gd name="connsiteX4" fmla="*/ 290433 w 932548"/>
                <a:gd name="connsiteY4" fmla="*/ 17045 h 3138967"/>
                <a:gd name="connsiteX5" fmla="*/ 326149 w 932548"/>
                <a:gd name="connsiteY5" fmla="*/ 0 h 3138967"/>
                <a:gd name="connsiteX6" fmla="*/ 741247 w 932548"/>
                <a:gd name="connsiteY6" fmla="*/ 621542 h 3138967"/>
                <a:gd name="connsiteX7" fmla="*/ 571891 w 932548"/>
                <a:gd name="connsiteY7" fmla="*/ 1414404 h 3138967"/>
                <a:gd name="connsiteX8" fmla="*/ 932548 w 932548"/>
                <a:gd name="connsiteY8" fmla="*/ 2721084 h 3138967"/>
                <a:gd name="connsiteX9" fmla="*/ 523257 w 932548"/>
                <a:gd name="connsiteY9" fmla="*/ 3138967 h 3138967"/>
                <a:gd name="connsiteX10" fmla="*/ 41560 w 932548"/>
                <a:gd name="connsiteY10" fmla="*/ 1231112 h 3138967"/>
                <a:gd name="connsiteX0" fmla="*/ 41560 w 932548"/>
                <a:gd name="connsiteY0" fmla="*/ 1214067 h 3121922"/>
                <a:gd name="connsiteX1" fmla="*/ 208393 w 932548"/>
                <a:gd name="connsiteY1" fmla="*/ 504773 h 3121922"/>
                <a:gd name="connsiteX2" fmla="*/ 250907 w 932548"/>
                <a:gd name="connsiteY2" fmla="*/ 306818 h 3121922"/>
                <a:gd name="connsiteX3" fmla="*/ 218176 w 932548"/>
                <a:gd name="connsiteY3" fmla="*/ 264496 h 3121922"/>
                <a:gd name="connsiteX4" fmla="*/ 290433 w 932548"/>
                <a:gd name="connsiteY4" fmla="*/ 0 h 3121922"/>
                <a:gd name="connsiteX5" fmla="*/ 741247 w 932548"/>
                <a:gd name="connsiteY5" fmla="*/ 604497 h 3121922"/>
                <a:gd name="connsiteX6" fmla="*/ 571891 w 932548"/>
                <a:gd name="connsiteY6" fmla="*/ 1397359 h 3121922"/>
                <a:gd name="connsiteX7" fmla="*/ 932548 w 932548"/>
                <a:gd name="connsiteY7" fmla="*/ 2704039 h 3121922"/>
                <a:gd name="connsiteX8" fmla="*/ 523257 w 932548"/>
                <a:gd name="connsiteY8" fmla="*/ 3121922 h 3121922"/>
                <a:gd name="connsiteX9" fmla="*/ 41560 w 932548"/>
                <a:gd name="connsiteY9" fmla="*/ 1214067 h 3121922"/>
                <a:gd name="connsiteX0" fmla="*/ 41560 w 932548"/>
                <a:gd name="connsiteY0" fmla="*/ 949571 h 2857426"/>
                <a:gd name="connsiteX1" fmla="*/ 208393 w 932548"/>
                <a:gd name="connsiteY1" fmla="*/ 240277 h 2857426"/>
                <a:gd name="connsiteX2" fmla="*/ 250907 w 932548"/>
                <a:gd name="connsiteY2" fmla="*/ 42322 h 2857426"/>
                <a:gd name="connsiteX3" fmla="*/ 218176 w 932548"/>
                <a:gd name="connsiteY3" fmla="*/ 0 h 2857426"/>
                <a:gd name="connsiteX4" fmla="*/ 741247 w 932548"/>
                <a:gd name="connsiteY4" fmla="*/ 340001 h 2857426"/>
                <a:gd name="connsiteX5" fmla="*/ 571891 w 932548"/>
                <a:gd name="connsiteY5" fmla="*/ 1132863 h 2857426"/>
                <a:gd name="connsiteX6" fmla="*/ 932548 w 932548"/>
                <a:gd name="connsiteY6" fmla="*/ 2439543 h 2857426"/>
                <a:gd name="connsiteX7" fmla="*/ 523257 w 932548"/>
                <a:gd name="connsiteY7" fmla="*/ 2857426 h 2857426"/>
                <a:gd name="connsiteX8" fmla="*/ 41560 w 932548"/>
                <a:gd name="connsiteY8" fmla="*/ 949571 h 2857426"/>
                <a:gd name="connsiteX0" fmla="*/ 41560 w 932548"/>
                <a:gd name="connsiteY0" fmla="*/ 907249 h 2815104"/>
                <a:gd name="connsiteX1" fmla="*/ 208393 w 932548"/>
                <a:gd name="connsiteY1" fmla="*/ 197955 h 2815104"/>
                <a:gd name="connsiteX2" fmla="*/ 250907 w 932548"/>
                <a:gd name="connsiteY2" fmla="*/ 0 h 2815104"/>
                <a:gd name="connsiteX3" fmla="*/ 741247 w 932548"/>
                <a:gd name="connsiteY3" fmla="*/ 297679 h 2815104"/>
                <a:gd name="connsiteX4" fmla="*/ 571891 w 932548"/>
                <a:gd name="connsiteY4" fmla="*/ 1090541 h 2815104"/>
                <a:gd name="connsiteX5" fmla="*/ 932548 w 932548"/>
                <a:gd name="connsiteY5" fmla="*/ 2397221 h 2815104"/>
                <a:gd name="connsiteX6" fmla="*/ 523257 w 932548"/>
                <a:gd name="connsiteY6" fmla="*/ 2815104 h 2815104"/>
                <a:gd name="connsiteX7" fmla="*/ 41560 w 932548"/>
                <a:gd name="connsiteY7" fmla="*/ 907249 h 2815104"/>
                <a:gd name="connsiteX0" fmla="*/ 41560 w 932548"/>
                <a:gd name="connsiteY0" fmla="*/ 709294 h 2617149"/>
                <a:gd name="connsiteX1" fmla="*/ 208393 w 932548"/>
                <a:gd name="connsiteY1" fmla="*/ 0 h 2617149"/>
                <a:gd name="connsiteX2" fmla="*/ 741247 w 932548"/>
                <a:gd name="connsiteY2" fmla="*/ 99724 h 2617149"/>
                <a:gd name="connsiteX3" fmla="*/ 571891 w 932548"/>
                <a:gd name="connsiteY3" fmla="*/ 892586 h 2617149"/>
                <a:gd name="connsiteX4" fmla="*/ 932548 w 932548"/>
                <a:gd name="connsiteY4" fmla="*/ 2199266 h 2617149"/>
                <a:gd name="connsiteX5" fmla="*/ 523257 w 932548"/>
                <a:gd name="connsiteY5" fmla="*/ 2617149 h 2617149"/>
                <a:gd name="connsiteX6" fmla="*/ 41560 w 932548"/>
                <a:gd name="connsiteY6" fmla="*/ 709294 h 2617149"/>
                <a:gd name="connsiteX0" fmla="*/ 41560 w 932548"/>
                <a:gd name="connsiteY0" fmla="*/ 709294 h 2617149"/>
                <a:gd name="connsiteX1" fmla="*/ 208393 w 932548"/>
                <a:gd name="connsiteY1" fmla="*/ 0 h 2617149"/>
                <a:gd name="connsiteX2" fmla="*/ 593687 w 932548"/>
                <a:gd name="connsiteY2" fmla="*/ 761526 h 2617149"/>
                <a:gd name="connsiteX3" fmla="*/ 571891 w 932548"/>
                <a:gd name="connsiteY3" fmla="*/ 892586 h 2617149"/>
                <a:gd name="connsiteX4" fmla="*/ 932548 w 932548"/>
                <a:gd name="connsiteY4" fmla="*/ 2199266 h 2617149"/>
                <a:gd name="connsiteX5" fmla="*/ 523257 w 932548"/>
                <a:gd name="connsiteY5" fmla="*/ 2617149 h 2617149"/>
                <a:gd name="connsiteX6" fmla="*/ 41560 w 932548"/>
                <a:gd name="connsiteY6" fmla="*/ 709294 h 2617149"/>
                <a:gd name="connsiteX0" fmla="*/ 41560 w 932548"/>
                <a:gd name="connsiteY0" fmla="*/ 101887 h 2009742"/>
                <a:gd name="connsiteX1" fmla="*/ 85427 w 932548"/>
                <a:gd name="connsiteY1" fmla="*/ 0 h 2009742"/>
                <a:gd name="connsiteX2" fmla="*/ 593687 w 932548"/>
                <a:gd name="connsiteY2" fmla="*/ 154119 h 2009742"/>
                <a:gd name="connsiteX3" fmla="*/ 571891 w 932548"/>
                <a:gd name="connsiteY3" fmla="*/ 285179 h 2009742"/>
                <a:gd name="connsiteX4" fmla="*/ 932548 w 932548"/>
                <a:gd name="connsiteY4" fmla="*/ 1591859 h 2009742"/>
                <a:gd name="connsiteX5" fmla="*/ 523257 w 932548"/>
                <a:gd name="connsiteY5" fmla="*/ 2009742 h 2009742"/>
                <a:gd name="connsiteX6" fmla="*/ 41560 w 932548"/>
                <a:gd name="connsiteY6" fmla="*/ 101887 h 2009742"/>
                <a:gd name="connsiteX0" fmla="*/ 41560 w 932548"/>
                <a:gd name="connsiteY0" fmla="*/ 83755 h 1991610"/>
                <a:gd name="connsiteX1" fmla="*/ 60833 w 932548"/>
                <a:gd name="connsiteY1" fmla="*/ 0 h 1991610"/>
                <a:gd name="connsiteX2" fmla="*/ 593687 w 932548"/>
                <a:gd name="connsiteY2" fmla="*/ 135987 h 1991610"/>
                <a:gd name="connsiteX3" fmla="*/ 571891 w 932548"/>
                <a:gd name="connsiteY3" fmla="*/ 267047 h 1991610"/>
                <a:gd name="connsiteX4" fmla="*/ 932548 w 932548"/>
                <a:gd name="connsiteY4" fmla="*/ 1573727 h 1991610"/>
                <a:gd name="connsiteX5" fmla="*/ 523257 w 932548"/>
                <a:gd name="connsiteY5" fmla="*/ 1991610 h 1991610"/>
                <a:gd name="connsiteX6" fmla="*/ 41560 w 932548"/>
                <a:gd name="connsiteY6" fmla="*/ 83755 h 1991610"/>
                <a:gd name="connsiteX0" fmla="*/ 41560 w 932548"/>
                <a:gd name="connsiteY0" fmla="*/ 83755 h 1991610"/>
                <a:gd name="connsiteX1" fmla="*/ 60833 w 932548"/>
                <a:gd name="connsiteY1" fmla="*/ 0 h 1991610"/>
                <a:gd name="connsiteX2" fmla="*/ 610083 w 932548"/>
                <a:gd name="connsiteY2" fmla="*/ 99724 h 1991610"/>
                <a:gd name="connsiteX3" fmla="*/ 571891 w 932548"/>
                <a:gd name="connsiteY3" fmla="*/ 267047 h 1991610"/>
                <a:gd name="connsiteX4" fmla="*/ 932548 w 932548"/>
                <a:gd name="connsiteY4" fmla="*/ 1573727 h 1991610"/>
                <a:gd name="connsiteX5" fmla="*/ 523257 w 932548"/>
                <a:gd name="connsiteY5" fmla="*/ 1991610 h 1991610"/>
                <a:gd name="connsiteX6" fmla="*/ 41560 w 932548"/>
                <a:gd name="connsiteY6" fmla="*/ 83755 h 1991610"/>
                <a:gd name="connsiteX0" fmla="*/ 41560 w 899338"/>
                <a:gd name="connsiteY0" fmla="*/ 83755 h 1991610"/>
                <a:gd name="connsiteX1" fmla="*/ 60833 w 899338"/>
                <a:gd name="connsiteY1" fmla="*/ 0 h 1991610"/>
                <a:gd name="connsiteX2" fmla="*/ 610083 w 899338"/>
                <a:gd name="connsiteY2" fmla="*/ 99724 h 1991610"/>
                <a:gd name="connsiteX3" fmla="*/ 571891 w 899338"/>
                <a:gd name="connsiteY3" fmla="*/ 267047 h 1991610"/>
                <a:gd name="connsiteX4" fmla="*/ 899338 w 899338"/>
                <a:gd name="connsiteY4" fmla="*/ 1611424 h 1991610"/>
                <a:gd name="connsiteX5" fmla="*/ 523257 w 899338"/>
                <a:gd name="connsiteY5" fmla="*/ 1991610 h 1991610"/>
                <a:gd name="connsiteX6" fmla="*/ 41560 w 899338"/>
                <a:gd name="connsiteY6" fmla="*/ 83755 h 1991610"/>
                <a:gd name="connsiteX0" fmla="*/ 42693 w 900471"/>
                <a:gd name="connsiteY0" fmla="*/ 83755 h 2018536"/>
                <a:gd name="connsiteX1" fmla="*/ 61966 w 900471"/>
                <a:gd name="connsiteY1" fmla="*/ 0 h 2018536"/>
                <a:gd name="connsiteX2" fmla="*/ 611216 w 900471"/>
                <a:gd name="connsiteY2" fmla="*/ 99724 h 2018536"/>
                <a:gd name="connsiteX3" fmla="*/ 573024 w 900471"/>
                <a:gd name="connsiteY3" fmla="*/ 267047 h 2018536"/>
                <a:gd name="connsiteX4" fmla="*/ 900471 w 900471"/>
                <a:gd name="connsiteY4" fmla="*/ 1611424 h 2018536"/>
                <a:gd name="connsiteX5" fmla="*/ 510156 w 900471"/>
                <a:gd name="connsiteY5" fmla="*/ 2018536 h 2018536"/>
                <a:gd name="connsiteX6" fmla="*/ 42693 w 900471"/>
                <a:gd name="connsiteY6" fmla="*/ 83755 h 2018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00471" h="2018536">
                  <a:moveTo>
                    <a:pt x="42693" y="83755"/>
                  </a:moveTo>
                  <a:lnTo>
                    <a:pt x="61966" y="0"/>
                  </a:lnTo>
                  <a:lnTo>
                    <a:pt x="611216" y="99724"/>
                  </a:lnTo>
                  <a:lnTo>
                    <a:pt x="573024" y="267047"/>
                  </a:lnTo>
                  <a:cubicBezTo>
                    <a:pt x="476528" y="669906"/>
                    <a:pt x="597580" y="1264389"/>
                    <a:pt x="900471" y="1611424"/>
                  </a:cubicBezTo>
                  <a:cubicBezTo>
                    <a:pt x="764041" y="1750718"/>
                    <a:pt x="646586" y="1879242"/>
                    <a:pt x="510156" y="2018536"/>
                  </a:cubicBezTo>
                  <a:cubicBezTo>
                    <a:pt x="241207" y="1755480"/>
                    <a:pt x="-125906" y="841115"/>
                    <a:pt x="42693" y="83755"/>
                  </a:cubicBezTo>
                  <a:close/>
                </a:path>
              </a:pathLst>
            </a:custGeom>
            <a:solidFill>
              <a:srgbClr val="008000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DE" sz="6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8" name="G021">
              <a:extLst>
                <a:ext uri="{FF2B5EF4-FFF2-40B4-BE49-F238E27FC236}">
                  <a16:creationId xmlns:a16="http://schemas.microsoft.com/office/drawing/2014/main" id="{142F2DE9-E966-443B-9564-798876BFAE2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120037" y="6717003"/>
              <a:ext cx="320977" cy="316883"/>
            </a:xfrm>
            <a:custGeom>
              <a:avLst/>
              <a:gdLst>
                <a:gd name="connsiteX0" fmla="*/ 0 w 348343"/>
                <a:gd name="connsiteY0" fmla="*/ 500742 h 522514"/>
                <a:gd name="connsiteX1" fmla="*/ 293914 w 348343"/>
                <a:gd name="connsiteY1" fmla="*/ 522514 h 522514"/>
                <a:gd name="connsiteX2" fmla="*/ 348343 w 348343"/>
                <a:gd name="connsiteY2" fmla="*/ 21771 h 522514"/>
                <a:gd name="connsiteX3" fmla="*/ 65314 w 348343"/>
                <a:gd name="connsiteY3" fmla="*/ 0 h 522514"/>
                <a:gd name="connsiteX4" fmla="*/ 0 w 348343"/>
                <a:gd name="connsiteY4" fmla="*/ 500742 h 522514"/>
                <a:gd name="connsiteX0" fmla="*/ 0 w 348343"/>
                <a:gd name="connsiteY0" fmla="*/ 523891 h 545663"/>
                <a:gd name="connsiteX1" fmla="*/ 293914 w 348343"/>
                <a:gd name="connsiteY1" fmla="*/ 545663 h 545663"/>
                <a:gd name="connsiteX2" fmla="*/ 348343 w 348343"/>
                <a:gd name="connsiteY2" fmla="*/ 44920 h 545663"/>
                <a:gd name="connsiteX3" fmla="*/ 57597 w 348343"/>
                <a:gd name="connsiteY3" fmla="*/ 0 h 545663"/>
                <a:gd name="connsiteX4" fmla="*/ 0 w 348343"/>
                <a:gd name="connsiteY4" fmla="*/ 523891 h 545663"/>
                <a:gd name="connsiteX0" fmla="*/ 0 w 348343"/>
                <a:gd name="connsiteY0" fmla="*/ 523891 h 545663"/>
                <a:gd name="connsiteX1" fmla="*/ 293914 w 348343"/>
                <a:gd name="connsiteY1" fmla="*/ 545663 h 545663"/>
                <a:gd name="connsiteX2" fmla="*/ 348343 w 348343"/>
                <a:gd name="connsiteY2" fmla="*/ 21770 h 545663"/>
                <a:gd name="connsiteX3" fmla="*/ 57597 w 348343"/>
                <a:gd name="connsiteY3" fmla="*/ 0 h 545663"/>
                <a:gd name="connsiteX4" fmla="*/ 0 w 348343"/>
                <a:gd name="connsiteY4" fmla="*/ 523891 h 545663"/>
                <a:gd name="connsiteX0" fmla="*/ 0 w 432999"/>
                <a:gd name="connsiteY0" fmla="*/ 523891 h 545663"/>
                <a:gd name="connsiteX1" fmla="*/ 378570 w 432999"/>
                <a:gd name="connsiteY1" fmla="*/ 545663 h 545663"/>
                <a:gd name="connsiteX2" fmla="*/ 432999 w 432999"/>
                <a:gd name="connsiteY2" fmla="*/ 21770 h 545663"/>
                <a:gd name="connsiteX3" fmla="*/ 142253 w 432999"/>
                <a:gd name="connsiteY3" fmla="*/ 0 h 545663"/>
                <a:gd name="connsiteX4" fmla="*/ 0 w 432999"/>
                <a:gd name="connsiteY4" fmla="*/ 523891 h 545663"/>
                <a:gd name="connsiteX0" fmla="*/ 0 w 432999"/>
                <a:gd name="connsiteY0" fmla="*/ 539386 h 561158"/>
                <a:gd name="connsiteX1" fmla="*/ 378570 w 432999"/>
                <a:gd name="connsiteY1" fmla="*/ 561158 h 561158"/>
                <a:gd name="connsiteX2" fmla="*/ 432999 w 432999"/>
                <a:gd name="connsiteY2" fmla="*/ 37265 h 561158"/>
                <a:gd name="connsiteX3" fmla="*/ 173999 w 432999"/>
                <a:gd name="connsiteY3" fmla="*/ 0 h 561158"/>
                <a:gd name="connsiteX4" fmla="*/ 0 w 432999"/>
                <a:gd name="connsiteY4" fmla="*/ 539386 h 561158"/>
                <a:gd name="connsiteX0" fmla="*/ 0 w 432999"/>
                <a:gd name="connsiteY0" fmla="*/ 539386 h 561158"/>
                <a:gd name="connsiteX1" fmla="*/ 378570 w 432999"/>
                <a:gd name="connsiteY1" fmla="*/ 561158 h 561158"/>
                <a:gd name="connsiteX2" fmla="*/ 432999 w 432999"/>
                <a:gd name="connsiteY2" fmla="*/ 99245 h 561158"/>
                <a:gd name="connsiteX3" fmla="*/ 173999 w 432999"/>
                <a:gd name="connsiteY3" fmla="*/ 0 h 561158"/>
                <a:gd name="connsiteX4" fmla="*/ 0 w 432999"/>
                <a:gd name="connsiteY4" fmla="*/ 539386 h 561158"/>
                <a:gd name="connsiteX0" fmla="*/ 0 w 432999"/>
                <a:gd name="connsiteY0" fmla="*/ 539386 h 646380"/>
                <a:gd name="connsiteX1" fmla="*/ 255114 w 432999"/>
                <a:gd name="connsiteY1" fmla="*/ 646380 h 646380"/>
                <a:gd name="connsiteX2" fmla="*/ 432999 w 432999"/>
                <a:gd name="connsiteY2" fmla="*/ 99245 h 646380"/>
                <a:gd name="connsiteX3" fmla="*/ 173999 w 432999"/>
                <a:gd name="connsiteY3" fmla="*/ 0 h 646380"/>
                <a:gd name="connsiteX4" fmla="*/ 0 w 432999"/>
                <a:gd name="connsiteY4" fmla="*/ 539386 h 646380"/>
                <a:gd name="connsiteX0" fmla="*/ 0 w 432999"/>
                <a:gd name="connsiteY0" fmla="*/ 539386 h 646380"/>
                <a:gd name="connsiteX1" fmla="*/ 255114 w 432999"/>
                <a:gd name="connsiteY1" fmla="*/ 646380 h 646380"/>
                <a:gd name="connsiteX2" fmla="*/ 432999 w 432999"/>
                <a:gd name="connsiteY2" fmla="*/ 99245 h 646380"/>
                <a:gd name="connsiteX3" fmla="*/ 173999 w 432999"/>
                <a:gd name="connsiteY3" fmla="*/ 0 h 646380"/>
                <a:gd name="connsiteX4" fmla="*/ 51966 w 432999"/>
                <a:gd name="connsiteY4" fmla="*/ 368457 h 646380"/>
                <a:gd name="connsiteX5" fmla="*/ 0 w 432999"/>
                <a:gd name="connsiteY5" fmla="*/ 539386 h 646380"/>
                <a:gd name="connsiteX0" fmla="*/ 0 w 432999"/>
                <a:gd name="connsiteY0" fmla="*/ 539386 h 646380"/>
                <a:gd name="connsiteX1" fmla="*/ 255114 w 432999"/>
                <a:gd name="connsiteY1" fmla="*/ 646380 h 646380"/>
                <a:gd name="connsiteX2" fmla="*/ 432999 w 432999"/>
                <a:gd name="connsiteY2" fmla="*/ 99245 h 646380"/>
                <a:gd name="connsiteX3" fmla="*/ 173999 w 432999"/>
                <a:gd name="connsiteY3" fmla="*/ 0 h 646380"/>
                <a:gd name="connsiteX4" fmla="*/ 66075 w 432999"/>
                <a:gd name="connsiteY4" fmla="*/ 321972 h 646380"/>
                <a:gd name="connsiteX5" fmla="*/ 51966 w 432999"/>
                <a:gd name="connsiteY5" fmla="*/ 368457 h 646380"/>
                <a:gd name="connsiteX6" fmla="*/ 0 w 432999"/>
                <a:gd name="connsiteY6" fmla="*/ 539386 h 646380"/>
                <a:gd name="connsiteX0" fmla="*/ 18580 w 451579"/>
                <a:gd name="connsiteY0" fmla="*/ 539386 h 646380"/>
                <a:gd name="connsiteX1" fmla="*/ 273694 w 451579"/>
                <a:gd name="connsiteY1" fmla="*/ 646380 h 646380"/>
                <a:gd name="connsiteX2" fmla="*/ 451579 w 451579"/>
                <a:gd name="connsiteY2" fmla="*/ 99245 h 646380"/>
                <a:gd name="connsiteX3" fmla="*/ 192579 w 451579"/>
                <a:gd name="connsiteY3" fmla="*/ 0 h 646380"/>
                <a:gd name="connsiteX4" fmla="*/ 84655 w 451579"/>
                <a:gd name="connsiteY4" fmla="*/ 321972 h 646380"/>
                <a:gd name="connsiteX5" fmla="*/ 0 w 451579"/>
                <a:gd name="connsiteY5" fmla="*/ 178644 h 646380"/>
                <a:gd name="connsiteX6" fmla="*/ 18580 w 451579"/>
                <a:gd name="connsiteY6" fmla="*/ 539386 h 646380"/>
                <a:gd name="connsiteX0" fmla="*/ 0 w 545873"/>
                <a:gd name="connsiteY0" fmla="*/ 489027 h 646380"/>
                <a:gd name="connsiteX1" fmla="*/ 367988 w 545873"/>
                <a:gd name="connsiteY1" fmla="*/ 646380 h 646380"/>
                <a:gd name="connsiteX2" fmla="*/ 545873 w 545873"/>
                <a:gd name="connsiteY2" fmla="*/ 99245 h 646380"/>
                <a:gd name="connsiteX3" fmla="*/ 286873 w 545873"/>
                <a:gd name="connsiteY3" fmla="*/ 0 h 646380"/>
                <a:gd name="connsiteX4" fmla="*/ 178949 w 545873"/>
                <a:gd name="connsiteY4" fmla="*/ 321972 h 646380"/>
                <a:gd name="connsiteX5" fmla="*/ 94294 w 545873"/>
                <a:gd name="connsiteY5" fmla="*/ 178644 h 646380"/>
                <a:gd name="connsiteX6" fmla="*/ 0 w 545873"/>
                <a:gd name="connsiteY6" fmla="*/ 489027 h 646380"/>
                <a:gd name="connsiteX0" fmla="*/ 0 w 545873"/>
                <a:gd name="connsiteY0" fmla="*/ 489027 h 646380"/>
                <a:gd name="connsiteX1" fmla="*/ 367988 w 545873"/>
                <a:gd name="connsiteY1" fmla="*/ 646380 h 646380"/>
                <a:gd name="connsiteX2" fmla="*/ 545873 w 545873"/>
                <a:gd name="connsiteY2" fmla="*/ 99245 h 646380"/>
                <a:gd name="connsiteX3" fmla="*/ 286873 w 545873"/>
                <a:gd name="connsiteY3" fmla="*/ 0 h 646380"/>
                <a:gd name="connsiteX4" fmla="*/ 210695 w 545873"/>
                <a:gd name="connsiteY4" fmla="*/ 229002 h 646380"/>
                <a:gd name="connsiteX5" fmla="*/ 94294 w 545873"/>
                <a:gd name="connsiteY5" fmla="*/ 178644 h 646380"/>
                <a:gd name="connsiteX6" fmla="*/ 0 w 545873"/>
                <a:gd name="connsiteY6" fmla="*/ 489027 h 646380"/>
                <a:gd name="connsiteX0" fmla="*/ 0 w 556455"/>
                <a:gd name="connsiteY0" fmla="*/ 485154 h 646380"/>
                <a:gd name="connsiteX1" fmla="*/ 378570 w 556455"/>
                <a:gd name="connsiteY1" fmla="*/ 646380 h 646380"/>
                <a:gd name="connsiteX2" fmla="*/ 556455 w 556455"/>
                <a:gd name="connsiteY2" fmla="*/ 99245 h 646380"/>
                <a:gd name="connsiteX3" fmla="*/ 297455 w 556455"/>
                <a:gd name="connsiteY3" fmla="*/ 0 h 646380"/>
                <a:gd name="connsiteX4" fmla="*/ 221277 w 556455"/>
                <a:gd name="connsiteY4" fmla="*/ 229002 h 646380"/>
                <a:gd name="connsiteX5" fmla="*/ 104876 w 556455"/>
                <a:gd name="connsiteY5" fmla="*/ 178644 h 646380"/>
                <a:gd name="connsiteX6" fmla="*/ 0 w 556455"/>
                <a:gd name="connsiteY6" fmla="*/ 485154 h 646380"/>
                <a:gd name="connsiteX0" fmla="*/ 0 w 556455"/>
                <a:gd name="connsiteY0" fmla="*/ 492901 h 654127"/>
                <a:gd name="connsiteX1" fmla="*/ 378570 w 556455"/>
                <a:gd name="connsiteY1" fmla="*/ 654127 h 654127"/>
                <a:gd name="connsiteX2" fmla="*/ 556455 w 556455"/>
                <a:gd name="connsiteY2" fmla="*/ 106992 h 654127"/>
                <a:gd name="connsiteX3" fmla="*/ 300982 w 556455"/>
                <a:gd name="connsiteY3" fmla="*/ 0 h 654127"/>
                <a:gd name="connsiteX4" fmla="*/ 221277 w 556455"/>
                <a:gd name="connsiteY4" fmla="*/ 236749 h 654127"/>
                <a:gd name="connsiteX5" fmla="*/ 104876 w 556455"/>
                <a:gd name="connsiteY5" fmla="*/ 186391 h 654127"/>
                <a:gd name="connsiteX6" fmla="*/ 0 w 556455"/>
                <a:gd name="connsiteY6" fmla="*/ 492901 h 654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56455" h="654127">
                  <a:moveTo>
                    <a:pt x="0" y="492901"/>
                  </a:moveTo>
                  <a:lnTo>
                    <a:pt x="378570" y="654127"/>
                  </a:lnTo>
                  <a:lnTo>
                    <a:pt x="556455" y="106992"/>
                  </a:lnTo>
                  <a:lnTo>
                    <a:pt x="300982" y="0"/>
                  </a:lnTo>
                  <a:lnTo>
                    <a:pt x="221277" y="236749"/>
                  </a:lnTo>
                  <a:lnTo>
                    <a:pt x="104876" y="186391"/>
                  </a:lnTo>
                  <a:lnTo>
                    <a:pt x="0" y="492901"/>
                  </a:lnTo>
                  <a:close/>
                </a:path>
              </a:pathLst>
            </a:custGeom>
            <a:solidFill>
              <a:srgbClr val="FFFF00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DE" sz="6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9" name="Text_G021">
              <a:extLst>
                <a:ext uri="{FF2B5EF4-FFF2-40B4-BE49-F238E27FC236}">
                  <a16:creationId xmlns:a16="http://schemas.microsoft.com/office/drawing/2014/main" id="{A34BF0D5-9450-445F-89F6-E4A28FF5146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300198" y="6864824"/>
              <a:ext cx="24759" cy="24461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de-DE" dirty="0"/>
            </a:p>
          </p:txBody>
        </p:sp>
        <p:sp>
          <p:nvSpPr>
            <p:cNvPr id="60" name="Textfeld 59">
              <a:extLst>
                <a:ext uri="{FF2B5EF4-FFF2-40B4-BE49-F238E27FC236}">
                  <a16:creationId xmlns:a16="http://schemas.microsoft.com/office/drawing/2014/main" id="{0E44018C-DDBA-4CFF-8C23-8966DF681813}"/>
                </a:ext>
              </a:extLst>
            </p:cNvPr>
            <p:cNvSpPr txBox="1"/>
            <p:nvPr/>
          </p:nvSpPr>
          <p:spPr>
            <a:xfrm>
              <a:off x="8065349" y="4239405"/>
              <a:ext cx="629072" cy="186922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bg1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de-DE" sz="800" dirty="0">
                  <a:solidFill>
                    <a:sysClr val="windowText" lastClr="000000"/>
                  </a:solidFill>
                </a:rPr>
                <a:t>T110S </a:t>
              </a:r>
            </a:p>
          </p:txBody>
        </p:sp>
        <p:sp>
          <p:nvSpPr>
            <p:cNvPr id="61" name="Textfeld 60">
              <a:extLst>
                <a:ext uri="{FF2B5EF4-FFF2-40B4-BE49-F238E27FC236}">
                  <a16:creationId xmlns:a16="http://schemas.microsoft.com/office/drawing/2014/main" id="{87D3E9C0-6723-429B-A8D5-8D89B596342C}"/>
                </a:ext>
              </a:extLst>
            </p:cNvPr>
            <p:cNvSpPr txBox="1"/>
            <p:nvPr/>
          </p:nvSpPr>
          <p:spPr>
            <a:xfrm>
              <a:off x="8180313" y="5070127"/>
              <a:ext cx="944120" cy="183849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bg1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de-DE" sz="800" dirty="0">
                  <a:solidFill>
                    <a:sysClr val="windowText" lastClr="000000"/>
                  </a:solidFill>
                </a:rPr>
                <a:t>K0619A (T112</a:t>
              </a:r>
              <a:r>
                <a:rPr lang="de-DE" sz="800" dirty="0" smtClean="0">
                  <a:solidFill>
                    <a:sysClr val="windowText" lastClr="000000"/>
                  </a:solidFill>
                </a:rPr>
                <a:t>))</a:t>
              </a:r>
              <a:endParaRPr lang="de-DE" sz="8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2" name="Textfeld 61">
              <a:extLst>
                <a:ext uri="{FF2B5EF4-FFF2-40B4-BE49-F238E27FC236}">
                  <a16:creationId xmlns:a16="http://schemas.microsoft.com/office/drawing/2014/main" id="{B15908BF-8490-4921-9ADC-FD9BEB72F79F}"/>
                </a:ext>
              </a:extLst>
            </p:cNvPr>
            <p:cNvSpPr txBox="1"/>
            <p:nvPr/>
          </p:nvSpPr>
          <p:spPr>
            <a:xfrm>
              <a:off x="8624846" y="4688248"/>
              <a:ext cx="1106809" cy="186922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bg1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de-DE" sz="800" dirty="0">
                  <a:solidFill>
                    <a:sysClr val="windowText" lastClr="000000"/>
                  </a:solidFill>
                </a:rPr>
                <a:t>(G017.1)</a:t>
              </a:r>
            </a:p>
          </p:txBody>
        </p:sp>
        <p:sp>
          <p:nvSpPr>
            <p:cNvPr id="63" name="Textfeld 62">
              <a:extLst>
                <a:ext uri="{FF2B5EF4-FFF2-40B4-BE49-F238E27FC236}">
                  <a16:creationId xmlns:a16="http://schemas.microsoft.com/office/drawing/2014/main" id="{97F48C88-1E63-49D5-9B0F-893ACB5AACDD}"/>
                </a:ext>
              </a:extLst>
            </p:cNvPr>
            <p:cNvSpPr txBox="1"/>
            <p:nvPr/>
          </p:nvSpPr>
          <p:spPr>
            <a:xfrm>
              <a:off x="8636152" y="4452766"/>
              <a:ext cx="1252845" cy="186922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bg1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de-DE" sz="800" dirty="0">
                  <a:solidFill>
                    <a:sysClr val="windowText" lastClr="000000"/>
                  </a:solidFill>
                </a:rPr>
                <a:t>(G017A)</a:t>
              </a:r>
            </a:p>
          </p:txBody>
        </p:sp>
        <p:sp>
          <p:nvSpPr>
            <p:cNvPr id="64" name="Textfeld 63">
              <a:extLst>
                <a:ext uri="{FF2B5EF4-FFF2-40B4-BE49-F238E27FC236}">
                  <a16:creationId xmlns:a16="http://schemas.microsoft.com/office/drawing/2014/main" id="{731605D1-CE73-474A-8F79-5D25EDE71782}"/>
                </a:ext>
              </a:extLst>
            </p:cNvPr>
            <p:cNvSpPr txBox="1"/>
            <p:nvPr/>
          </p:nvSpPr>
          <p:spPr>
            <a:xfrm>
              <a:off x="8166396" y="5283885"/>
              <a:ext cx="950092" cy="19272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bg1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de-DE" sz="800" dirty="0" smtClean="0">
                  <a:solidFill>
                    <a:sysClr val="windowText" lastClr="000000"/>
                  </a:solidFill>
                </a:rPr>
                <a:t>K0617A</a:t>
              </a:r>
              <a:endParaRPr lang="de-DE" sz="8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5" name="Textfeld 64">
              <a:extLst>
                <a:ext uri="{FF2B5EF4-FFF2-40B4-BE49-F238E27FC236}">
                  <a16:creationId xmlns:a16="http://schemas.microsoft.com/office/drawing/2014/main" id="{29C6EB4C-174F-4D66-83B4-AD0CFD18D122}"/>
                </a:ext>
              </a:extLst>
            </p:cNvPr>
            <p:cNvSpPr txBox="1"/>
            <p:nvPr/>
          </p:nvSpPr>
          <p:spPr>
            <a:xfrm>
              <a:off x="5060387" y="5398081"/>
              <a:ext cx="930319" cy="206297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bg1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pPr algn="ctr"/>
              <a:r>
                <a:rPr lang="de-DE" sz="800" dirty="0">
                  <a:solidFill>
                    <a:sysClr val="windowText" lastClr="000000"/>
                  </a:solidFill>
                </a:rPr>
                <a:t>H0705A (G004)</a:t>
              </a:r>
            </a:p>
          </p:txBody>
        </p:sp>
        <p:sp>
          <p:nvSpPr>
            <p:cNvPr id="66" name="Text_T110N_BA5">
              <a:extLst>
                <a:ext uri="{FF2B5EF4-FFF2-40B4-BE49-F238E27FC236}">
                  <a16:creationId xmlns:a16="http://schemas.microsoft.com/office/drawing/2014/main" id="{D605D4E6-AF62-4D26-8CFD-025D2BB16D84}"/>
                </a:ext>
              </a:extLst>
            </p:cNvPr>
            <p:cNvSpPr/>
            <p:nvPr/>
          </p:nvSpPr>
          <p:spPr>
            <a:xfrm>
              <a:off x="2976563" y="6380283"/>
              <a:ext cx="1098282" cy="195218"/>
            </a:xfrm>
            <a:prstGeom prst="borderCallout1">
              <a:avLst>
                <a:gd name="adj1" fmla="val 53181"/>
                <a:gd name="adj2" fmla="val 100320"/>
                <a:gd name="adj3" fmla="val 56121"/>
                <a:gd name="adj4" fmla="val 170124"/>
              </a:avLst>
            </a:prstGeom>
            <a:solidFill>
              <a:schemeClr val="tx2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257312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>
                  <a:solidFill>
                    <a:sysClr val="windowText" lastClr="000000"/>
                  </a:solidFill>
                </a:rPr>
                <a:t>G0418A (T108)</a:t>
              </a:r>
            </a:p>
          </p:txBody>
        </p:sp>
        <p:sp>
          <p:nvSpPr>
            <p:cNvPr id="67" name="Text_T110N_BA5">
              <a:extLst>
                <a:ext uri="{FF2B5EF4-FFF2-40B4-BE49-F238E27FC236}">
                  <a16:creationId xmlns:a16="http://schemas.microsoft.com/office/drawing/2014/main" id="{F8419CC1-B8D8-4E43-9C97-8EFE200AEB95}"/>
                </a:ext>
              </a:extLst>
            </p:cNvPr>
            <p:cNvSpPr/>
            <p:nvPr/>
          </p:nvSpPr>
          <p:spPr>
            <a:xfrm>
              <a:off x="2976563" y="6729808"/>
              <a:ext cx="1098282" cy="195218"/>
            </a:xfrm>
            <a:prstGeom prst="borderCallout1">
              <a:avLst>
                <a:gd name="adj1" fmla="val 53181"/>
                <a:gd name="adj2" fmla="val 100320"/>
                <a:gd name="adj3" fmla="val 56122"/>
                <a:gd name="adj4" fmla="val 247744"/>
              </a:avLst>
            </a:prstGeom>
            <a:solidFill>
              <a:schemeClr val="tx2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257312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>
                  <a:solidFill>
                    <a:sysClr val="windowText" lastClr="000000"/>
                  </a:solidFill>
                </a:rPr>
                <a:t>H0417A (G009)</a:t>
              </a:r>
            </a:p>
          </p:txBody>
        </p:sp>
        <p:sp>
          <p:nvSpPr>
            <p:cNvPr id="68" name="Text_T110N_BA5">
              <a:extLst>
                <a:ext uri="{FF2B5EF4-FFF2-40B4-BE49-F238E27FC236}">
                  <a16:creationId xmlns:a16="http://schemas.microsoft.com/office/drawing/2014/main" id="{A2D81DDD-436F-49C9-A032-E3802E6A3F48}"/>
                </a:ext>
              </a:extLst>
            </p:cNvPr>
            <p:cNvSpPr/>
            <p:nvPr/>
          </p:nvSpPr>
          <p:spPr>
            <a:xfrm>
              <a:off x="2976563" y="7021011"/>
              <a:ext cx="1098282" cy="195218"/>
            </a:xfrm>
            <a:prstGeom prst="borderCallout1">
              <a:avLst>
                <a:gd name="adj1" fmla="val 53181"/>
                <a:gd name="adj2" fmla="val 100320"/>
                <a:gd name="adj3" fmla="val 47340"/>
                <a:gd name="adj4" fmla="val 282521"/>
              </a:avLst>
            </a:prstGeom>
            <a:solidFill>
              <a:schemeClr val="tx2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257312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>
                  <a:solidFill>
                    <a:sysClr val="windowText" lastClr="000000"/>
                  </a:solidFill>
                </a:rPr>
                <a:t>K0406A (G050)</a:t>
              </a:r>
            </a:p>
          </p:txBody>
        </p:sp>
        <p:sp>
          <p:nvSpPr>
            <p:cNvPr id="69" name="Text_T110N_BA5">
              <a:extLst>
                <a:ext uri="{FF2B5EF4-FFF2-40B4-BE49-F238E27FC236}">
                  <a16:creationId xmlns:a16="http://schemas.microsoft.com/office/drawing/2014/main" id="{838FB4AD-2AA9-408B-862B-FCA516477627}"/>
                </a:ext>
              </a:extLst>
            </p:cNvPr>
            <p:cNvSpPr/>
            <p:nvPr/>
          </p:nvSpPr>
          <p:spPr>
            <a:xfrm>
              <a:off x="2924172" y="7522765"/>
              <a:ext cx="1098282" cy="195218"/>
            </a:xfrm>
            <a:prstGeom prst="borderCallout1">
              <a:avLst>
                <a:gd name="adj1" fmla="val 53181"/>
                <a:gd name="adj2" fmla="val 100320"/>
                <a:gd name="adj3" fmla="val 52219"/>
                <a:gd name="adj4" fmla="val 251907"/>
              </a:avLst>
            </a:prstGeom>
            <a:solidFill>
              <a:schemeClr val="tx2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257312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>
                  <a:solidFill>
                    <a:sysClr val="windowText" lastClr="000000"/>
                  </a:solidFill>
                </a:rPr>
                <a:t>H0307A (T106)</a:t>
              </a:r>
            </a:p>
          </p:txBody>
        </p:sp>
        <p:sp>
          <p:nvSpPr>
            <p:cNvPr id="70" name="Text_G014/T112S">
              <a:extLst>
                <a:ext uri="{FF2B5EF4-FFF2-40B4-BE49-F238E27FC236}">
                  <a16:creationId xmlns:a16="http://schemas.microsoft.com/office/drawing/2014/main" id="{377AED4B-503C-43B2-B3E0-F24AE641D63F}"/>
                </a:ext>
              </a:extLst>
            </p:cNvPr>
            <p:cNvSpPr/>
            <p:nvPr/>
          </p:nvSpPr>
          <p:spPr>
            <a:xfrm>
              <a:off x="7982737" y="6085420"/>
              <a:ext cx="932637" cy="189624"/>
            </a:xfrm>
            <a:prstGeom prst="borderCallout1">
              <a:avLst>
                <a:gd name="adj1" fmla="val 46220"/>
                <a:gd name="adj2" fmla="val -43"/>
                <a:gd name="adj3" fmla="val 62304"/>
                <a:gd name="adj4" fmla="val -133310"/>
              </a:avLst>
            </a:prstGeom>
            <a:solidFill>
              <a:schemeClr val="tx2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257312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>
                  <a:solidFill>
                    <a:sysClr val="windowText" lastClr="000000"/>
                  </a:solidFill>
                </a:rPr>
                <a:t>K0519A (G120)</a:t>
              </a:r>
            </a:p>
          </p:txBody>
        </p:sp>
        <p:sp>
          <p:nvSpPr>
            <p:cNvPr id="71" name="Text_G014/T112S">
              <a:extLst>
                <a:ext uri="{FF2B5EF4-FFF2-40B4-BE49-F238E27FC236}">
                  <a16:creationId xmlns:a16="http://schemas.microsoft.com/office/drawing/2014/main" id="{0BEA54A6-D089-42D4-A4CF-40BCA7A132FD}"/>
                </a:ext>
              </a:extLst>
            </p:cNvPr>
            <p:cNvSpPr/>
            <p:nvPr/>
          </p:nvSpPr>
          <p:spPr>
            <a:xfrm>
              <a:off x="8065349" y="5876309"/>
              <a:ext cx="932637" cy="189624"/>
            </a:xfrm>
            <a:prstGeom prst="borderCallout1">
              <a:avLst>
                <a:gd name="adj1" fmla="val 46220"/>
                <a:gd name="adj2" fmla="val -43"/>
                <a:gd name="adj3" fmla="val 62304"/>
                <a:gd name="adj4" fmla="val -133310"/>
              </a:avLst>
            </a:prstGeom>
            <a:solidFill>
              <a:schemeClr val="tx2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257312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>
                  <a:solidFill>
                    <a:sysClr val="windowText" lastClr="000000"/>
                  </a:solidFill>
                </a:rPr>
                <a:t>L0516A (G018)</a:t>
              </a:r>
            </a:p>
          </p:txBody>
        </p:sp>
        <p:sp>
          <p:nvSpPr>
            <p:cNvPr id="72" name="Text_G014/T112S">
              <a:extLst>
                <a:ext uri="{FF2B5EF4-FFF2-40B4-BE49-F238E27FC236}">
                  <a16:creationId xmlns:a16="http://schemas.microsoft.com/office/drawing/2014/main" id="{C19E81A9-D804-4EA7-ABD4-58C20BF759CF}"/>
                </a:ext>
              </a:extLst>
            </p:cNvPr>
            <p:cNvSpPr/>
            <p:nvPr/>
          </p:nvSpPr>
          <p:spPr>
            <a:xfrm>
              <a:off x="7873088" y="6307528"/>
              <a:ext cx="932637" cy="189624"/>
            </a:xfrm>
            <a:prstGeom prst="borderCallout1">
              <a:avLst>
                <a:gd name="adj1" fmla="val 46220"/>
                <a:gd name="adj2" fmla="val -43"/>
                <a:gd name="adj3" fmla="val 62304"/>
                <a:gd name="adj4" fmla="val -133310"/>
              </a:avLst>
            </a:prstGeom>
            <a:solidFill>
              <a:schemeClr val="tx2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257312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>
                  <a:solidFill>
                    <a:sysClr val="windowText" lastClr="000000"/>
                  </a:solidFill>
                </a:rPr>
                <a:t>K0503A (T113)</a:t>
              </a:r>
            </a:p>
          </p:txBody>
        </p:sp>
        <p:sp>
          <p:nvSpPr>
            <p:cNvPr id="73" name="Text_G014/T112S">
              <a:extLst>
                <a:ext uri="{FF2B5EF4-FFF2-40B4-BE49-F238E27FC236}">
                  <a16:creationId xmlns:a16="http://schemas.microsoft.com/office/drawing/2014/main" id="{0FD0C85E-44C5-4502-988C-2B9EFBC42807}"/>
                </a:ext>
              </a:extLst>
            </p:cNvPr>
            <p:cNvSpPr/>
            <p:nvPr/>
          </p:nvSpPr>
          <p:spPr>
            <a:xfrm>
              <a:off x="7960083" y="6794474"/>
              <a:ext cx="932637" cy="189624"/>
            </a:xfrm>
            <a:prstGeom prst="borderCallout1">
              <a:avLst>
                <a:gd name="adj1" fmla="val 46220"/>
                <a:gd name="adj2" fmla="val -43"/>
                <a:gd name="adj3" fmla="val 44723"/>
                <a:gd name="adj4" fmla="val -67436"/>
              </a:avLst>
            </a:prstGeom>
            <a:solidFill>
              <a:schemeClr val="tx2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257312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>
                  <a:solidFill>
                    <a:sysClr val="windowText" lastClr="000000"/>
                  </a:solidFill>
                </a:rPr>
                <a:t>L0409A (G021)</a:t>
              </a:r>
            </a:p>
          </p:txBody>
        </p:sp>
        <p:sp>
          <p:nvSpPr>
            <p:cNvPr id="74" name="Text_G014/T112S">
              <a:extLst>
                <a:ext uri="{FF2B5EF4-FFF2-40B4-BE49-F238E27FC236}">
                  <a16:creationId xmlns:a16="http://schemas.microsoft.com/office/drawing/2014/main" id="{1FB6E3E5-9E3C-4FCA-B44D-2CF7651DACCF}"/>
                </a:ext>
              </a:extLst>
            </p:cNvPr>
            <p:cNvSpPr/>
            <p:nvPr/>
          </p:nvSpPr>
          <p:spPr>
            <a:xfrm>
              <a:off x="7812419" y="7238871"/>
              <a:ext cx="1002832" cy="189624"/>
            </a:xfrm>
            <a:prstGeom prst="borderCallout1">
              <a:avLst>
                <a:gd name="adj1" fmla="val 46220"/>
                <a:gd name="adj2" fmla="val -43"/>
                <a:gd name="adj3" fmla="val 44723"/>
                <a:gd name="adj4" fmla="val -81734"/>
              </a:avLst>
            </a:prstGeom>
            <a:solidFill>
              <a:schemeClr val="tx2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257312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>
                  <a:solidFill>
                    <a:sysClr val="windowText" lastClr="000000"/>
                  </a:solidFill>
                </a:rPr>
                <a:t>L0321A (G006A)</a:t>
              </a:r>
            </a:p>
          </p:txBody>
        </p:sp>
        <p:sp>
          <p:nvSpPr>
            <p:cNvPr id="75" name="Text_G014/T112S">
              <a:extLst>
                <a:ext uri="{FF2B5EF4-FFF2-40B4-BE49-F238E27FC236}">
                  <a16:creationId xmlns:a16="http://schemas.microsoft.com/office/drawing/2014/main" id="{0F01C530-1156-4EA7-B1B5-2230671034D1}"/>
                </a:ext>
              </a:extLst>
            </p:cNvPr>
            <p:cNvSpPr/>
            <p:nvPr/>
          </p:nvSpPr>
          <p:spPr>
            <a:xfrm>
              <a:off x="7814683" y="7478315"/>
              <a:ext cx="1002832" cy="189624"/>
            </a:xfrm>
            <a:prstGeom prst="borderCallout1">
              <a:avLst>
                <a:gd name="adj1" fmla="val 48731"/>
                <a:gd name="adj2" fmla="val 2331"/>
                <a:gd name="adj3" fmla="val -73321"/>
                <a:gd name="adj4" fmla="val -154395"/>
              </a:avLst>
            </a:prstGeom>
            <a:solidFill>
              <a:schemeClr val="tx2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257312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>
                  <a:solidFill>
                    <a:sysClr val="windowText" lastClr="000000"/>
                  </a:solidFill>
                </a:rPr>
                <a:t>K0321A (G006C)</a:t>
              </a:r>
            </a:p>
          </p:txBody>
        </p:sp>
        <p:sp>
          <p:nvSpPr>
            <p:cNvPr id="76" name="Text_G014/T112S">
              <a:extLst>
                <a:ext uri="{FF2B5EF4-FFF2-40B4-BE49-F238E27FC236}">
                  <a16:creationId xmlns:a16="http://schemas.microsoft.com/office/drawing/2014/main" id="{3878C416-38BA-4ECF-8CC5-44973D5A5B32}"/>
                </a:ext>
              </a:extLst>
            </p:cNvPr>
            <p:cNvSpPr/>
            <p:nvPr/>
          </p:nvSpPr>
          <p:spPr>
            <a:xfrm>
              <a:off x="7598533" y="7730875"/>
              <a:ext cx="1031075" cy="189624"/>
            </a:xfrm>
            <a:prstGeom prst="borderCallout1">
              <a:avLst>
                <a:gd name="adj1" fmla="val 46220"/>
                <a:gd name="adj2" fmla="val -43"/>
                <a:gd name="adj3" fmla="val 4538"/>
                <a:gd name="adj4" fmla="val -50074"/>
              </a:avLst>
            </a:prstGeom>
            <a:solidFill>
              <a:schemeClr val="tx2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257312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>
                  <a:solidFill>
                    <a:sysClr val="windowText" lastClr="000000"/>
                  </a:solidFill>
                </a:rPr>
                <a:t>L0317A (G006B)</a:t>
              </a:r>
            </a:p>
          </p:txBody>
        </p:sp>
        <p:sp>
          <p:nvSpPr>
            <p:cNvPr id="77" name="Text_G014/T112S">
              <a:extLst>
                <a:ext uri="{FF2B5EF4-FFF2-40B4-BE49-F238E27FC236}">
                  <a16:creationId xmlns:a16="http://schemas.microsoft.com/office/drawing/2014/main" id="{8C935368-CA44-46B5-8B61-498B6514972A}"/>
                </a:ext>
              </a:extLst>
            </p:cNvPr>
            <p:cNvSpPr/>
            <p:nvPr/>
          </p:nvSpPr>
          <p:spPr>
            <a:xfrm>
              <a:off x="7416295" y="8051031"/>
              <a:ext cx="932637" cy="189624"/>
            </a:xfrm>
            <a:prstGeom prst="borderCallout1">
              <a:avLst>
                <a:gd name="adj1" fmla="val 46220"/>
                <a:gd name="adj2" fmla="val -43"/>
                <a:gd name="adj3" fmla="val -284292"/>
                <a:gd name="adj4" fmla="val -87351"/>
              </a:avLst>
            </a:prstGeom>
            <a:solidFill>
              <a:schemeClr val="tx2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257312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>
                  <a:solidFill>
                    <a:sysClr val="windowText" lastClr="000000"/>
                  </a:solidFill>
                </a:rPr>
                <a:t>K0308A (G006)</a:t>
              </a:r>
            </a:p>
          </p:txBody>
        </p:sp>
        <p:sp>
          <p:nvSpPr>
            <p:cNvPr id="78" name="Text_G014/T112S">
              <a:extLst>
                <a:ext uri="{FF2B5EF4-FFF2-40B4-BE49-F238E27FC236}">
                  <a16:creationId xmlns:a16="http://schemas.microsoft.com/office/drawing/2014/main" id="{C8E0BEA3-A0D6-4F30-BBCB-C340C78975ED}"/>
                </a:ext>
              </a:extLst>
            </p:cNvPr>
            <p:cNvSpPr/>
            <p:nvPr/>
          </p:nvSpPr>
          <p:spPr>
            <a:xfrm>
              <a:off x="6892193" y="8372520"/>
              <a:ext cx="932637" cy="189624"/>
            </a:xfrm>
            <a:prstGeom prst="borderCallout1">
              <a:avLst>
                <a:gd name="adj1" fmla="val 46220"/>
                <a:gd name="adj2" fmla="val -43"/>
                <a:gd name="adj3" fmla="val 44723"/>
                <a:gd name="adj4" fmla="val -67436"/>
              </a:avLst>
            </a:prstGeom>
            <a:solidFill>
              <a:schemeClr val="tx2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257312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>
                  <a:solidFill>
                    <a:sysClr val="windowText" lastClr="000000"/>
                  </a:solidFill>
                </a:rPr>
                <a:t>H0209A (G007)</a:t>
              </a:r>
            </a:p>
          </p:txBody>
        </p:sp>
        <p:sp>
          <p:nvSpPr>
            <p:cNvPr id="79" name="Text_G014/T112S">
              <a:extLst>
                <a:ext uri="{FF2B5EF4-FFF2-40B4-BE49-F238E27FC236}">
                  <a16:creationId xmlns:a16="http://schemas.microsoft.com/office/drawing/2014/main" id="{E41C7FA8-FE6A-4041-89AB-161C60FC2E61}"/>
                </a:ext>
              </a:extLst>
            </p:cNvPr>
            <p:cNvSpPr/>
            <p:nvPr/>
          </p:nvSpPr>
          <p:spPr>
            <a:xfrm>
              <a:off x="7753608" y="6527379"/>
              <a:ext cx="932637" cy="189624"/>
            </a:xfrm>
            <a:prstGeom prst="borderCallout1">
              <a:avLst>
                <a:gd name="adj1" fmla="val 46220"/>
                <a:gd name="adj2" fmla="val -43"/>
                <a:gd name="adj3" fmla="val 47235"/>
                <a:gd name="adj4" fmla="val -104714"/>
              </a:avLst>
            </a:prstGeom>
            <a:solidFill>
              <a:schemeClr val="tx2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257312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>
                  <a:solidFill>
                    <a:sysClr val="windowText" lastClr="000000"/>
                  </a:solidFill>
                </a:rPr>
                <a:t>K0410A (T103)</a:t>
              </a:r>
            </a:p>
          </p:txBody>
        </p:sp>
        <p:sp>
          <p:nvSpPr>
            <p:cNvPr id="80" name="Text_G014/T112S">
              <a:extLst>
                <a:ext uri="{FF2B5EF4-FFF2-40B4-BE49-F238E27FC236}">
                  <a16:creationId xmlns:a16="http://schemas.microsoft.com/office/drawing/2014/main" id="{99BCF260-628E-4E15-93EC-D7846E789E82}"/>
                </a:ext>
              </a:extLst>
            </p:cNvPr>
            <p:cNvSpPr/>
            <p:nvPr/>
          </p:nvSpPr>
          <p:spPr>
            <a:xfrm>
              <a:off x="7989443" y="7032324"/>
              <a:ext cx="1008543" cy="189624"/>
            </a:xfrm>
            <a:prstGeom prst="borderCallout1">
              <a:avLst>
                <a:gd name="adj1" fmla="val 46220"/>
                <a:gd name="adj2" fmla="val -43"/>
                <a:gd name="adj3" fmla="val 62304"/>
                <a:gd name="adj4" fmla="val -133310"/>
              </a:avLst>
            </a:prstGeom>
            <a:solidFill>
              <a:schemeClr val="tx2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257312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>
                  <a:solidFill>
                    <a:sysClr val="windowText" lastClr="000000"/>
                  </a:solidFill>
                </a:rPr>
                <a:t>K0314A (G017.2)</a:t>
              </a:r>
            </a:p>
          </p:txBody>
        </p:sp>
        <p:sp>
          <p:nvSpPr>
            <p:cNvPr id="81" name="Text_G021">
              <a:extLst>
                <a:ext uri="{FF2B5EF4-FFF2-40B4-BE49-F238E27FC236}">
                  <a16:creationId xmlns:a16="http://schemas.microsoft.com/office/drawing/2014/main" id="{A5A34FC9-AA26-4990-8BB5-BC4508469EE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685700" y="6826718"/>
              <a:ext cx="24759" cy="24461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de-DE" dirty="0"/>
            </a:p>
          </p:txBody>
        </p:sp>
        <p:sp>
          <p:nvSpPr>
            <p:cNvPr id="82" name="Text_G021">
              <a:extLst>
                <a:ext uri="{FF2B5EF4-FFF2-40B4-BE49-F238E27FC236}">
                  <a16:creationId xmlns:a16="http://schemas.microsoft.com/office/drawing/2014/main" id="{493D07A9-E1E2-4999-B0EF-D1566A83A7E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071458" y="7098193"/>
              <a:ext cx="24759" cy="24461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de-DE" dirty="0"/>
            </a:p>
          </p:txBody>
        </p:sp>
        <p:sp>
          <p:nvSpPr>
            <p:cNvPr id="83" name="Text_G021">
              <a:extLst>
                <a:ext uri="{FF2B5EF4-FFF2-40B4-BE49-F238E27FC236}">
                  <a16:creationId xmlns:a16="http://schemas.microsoft.com/office/drawing/2014/main" id="{B3027A49-7CF4-4C73-AE9C-009C3684C6C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876066" y="6474298"/>
              <a:ext cx="24759" cy="24461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de-DE" dirty="0"/>
            </a:p>
          </p:txBody>
        </p:sp>
        <p:sp>
          <p:nvSpPr>
            <p:cNvPr id="84" name="Text_G021">
              <a:extLst>
                <a:ext uri="{FF2B5EF4-FFF2-40B4-BE49-F238E27FC236}">
                  <a16:creationId xmlns:a16="http://schemas.microsoft.com/office/drawing/2014/main" id="{18ED0DC5-3547-41D0-B553-AA9796FD135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85812" y="7512535"/>
              <a:ext cx="24759" cy="24461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de-DE" dirty="0"/>
            </a:p>
          </p:txBody>
        </p:sp>
        <p:sp>
          <p:nvSpPr>
            <p:cNvPr id="85" name="Text_G021">
              <a:extLst>
                <a:ext uri="{FF2B5EF4-FFF2-40B4-BE49-F238E27FC236}">
                  <a16:creationId xmlns:a16="http://schemas.microsoft.com/office/drawing/2014/main" id="{57BA4F2A-2E68-411D-B838-429FFC8ED20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42913" y="7312507"/>
              <a:ext cx="24759" cy="24461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de-DE" dirty="0"/>
            </a:p>
          </p:txBody>
        </p:sp>
        <p:sp>
          <p:nvSpPr>
            <p:cNvPr id="86" name="Text_G021">
              <a:extLst>
                <a:ext uri="{FF2B5EF4-FFF2-40B4-BE49-F238E27FC236}">
                  <a16:creationId xmlns:a16="http://schemas.microsoft.com/office/drawing/2014/main" id="{3B54464D-8327-42F6-B5A2-1308D54450F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600103" y="7136287"/>
              <a:ext cx="24759" cy="24461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de-DE" dirty="0"/>
            </a:p>
          </p:txBody>
        </p:sp>
        <p:sp>
          <p:nvSpPr>
            <p:cNvPr id="87" name="Text_G021">
              <a:extLst>
                <a:ext uri="{FF2B5EF4-FFF2-40B4-BE49-F238E27FC236}">
                  <a16:creationId xmlns:a16="http://schemas.microsoft.com/office/drawing/2014/main" id="{5D288810-41F6-4DE8-9976-CEA1F9814B3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723926" y="6598113"/>
              <a:ext cx="24759" cy="24461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de-DE" dirty="0"/>
            </a:p>
          </p:txBody>
        </p:sp>
        <p:sp>
          <p:nvSpPr>
            <p:cNvPr id="88" name="Text_G021">
              <a:extLst>
                <a:ext uri="{FF2B5EF4-FFF2-40B4-BE49-F238E27FC236}">
                  <a16:creationId xmlns:a16="http://schemas.microsoft.com/office/drawing/2014/main" id="{D1721F02-CA09-46D7-8B7F-91B56FADCB5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81049" y="6412368"/>
              <a:ext cx="24759" cy="24461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de-DE" dirty="0"/>
            </a:p>
          </p:txBody>
        </p:sp>
        <p:sp>
          <p:nvSpPr>
            <p:cNvPr id="89" name="Text_G021">
              <a:extLst>
                <a:ext uri="{FF2B5EF4-FFF2-40B4-BE49-F238E27FC236}">
                  <a16:creationId xmlns:a16="http://schemas.microsoft.com/office/drawing/2014/main" id="{B353CD61-C581-4076-8FB0-F526AA19633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809651" y="5983743"/>
              <a:ext cx="24759" cy="24461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de-DE" dirty="0"/>
            </a:p>
          </p:txBody>
        </p:sp>
        <p:sp>
          <p:nvSpPr>
            <p:cNvPr id="90" name="Text_G021">
              <a:extLst>
                <a:ext uri="{FF2B5EF4-FFF2-40B4-BE49-F238E27FC236}">
                  <a16:creationId xmlns:a16="http://schemas.microsoft.com/office/drawing/2014/main" id="{A0747D41-0739-4DF6-8869-E4B09174DC2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38246" y="7312509"/>
              <a:ext cx="24759" cy="24461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de-DE" dirty="0"/>
            </a:p>
          </p:txBody>
        </p:sp>
        <p:sp>
          <p:nvSpPr>
            <p:cNvPr id="91" name="Text_G021">
              <a:extLst>
                <a:ext uri="{FF2B5EF4-FFF2-40B4-BE49-F238E27FC236}">
                  <a16:creationId xmlns:a16="http://schemas.microsoft.com/office/drawing/2014/main" id="{75D864D0-3E12-45AC-BC1D-D4A55852989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062068" y="7722085"/>
              <a:ext cx="24759" cy="24461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de-DE" dirty="0"/>
            </a:p>
          </p:txBody>
        </p:sp>
        <p:sp>
          <p:nvSpPr>
            <p:cNvPr id="92" name="Text_G004A/T101">
              <a:extLst>
                <a:ext uri="{FF2B5EF4-FFF2-40B4-BE49-F238E27FC236}">
                  <a16:creationId xmlns:a16="http://schemas.microsoft.com/office/drawing/2014/main" id="{FEA5DE52-4C56-4701-8827-19CE32EC18FF}"/>
                </a:ext>
              </a:extLst>
            </p:cNvPr>
            <p:cNvSpPr/>
            <p:nvPr/>
          </p:nvSpPr>
          <p:spPr>
            <a:xfrm>
              <a:off x="3914775" y="5420225"/>
              <a:ext cx="1045839" cy="184153"/>
            </a:xfrm>
            <a:prstGeom prst="borderCallout1">
              <a:avLst>
                <a:gd name="adj1" fmla="val 51773"/>
                <a:gd name="adj2" fmla="val 99537"/>
                <a:gd name="adj3" fmla="val -187210"/>
                <a:gd name="adj4" fmla="val 111525"/>
              </a:avLst>
            </a:prstGeom>
            <a:solidFill>
              <a:schemeClr val="tx2">
                <a:lumMod val="20000"/>
                <a:lumOff val="80000"/>
              </a:schemeClr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257312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>
                  <a:solidFill>
                    <a:sysClr val="windowText" lastClr="000000"/>
                  </a:solidFill>
                </a:rPr>
                <a:t>G0704A (G004A)</a:t>
              </a:r>
            </a:p>
          </p:txBody>
        </p:sp>
        <p:sp>
          <p:nvSpPr>
            <p:cNvPr id="93" name="Freihandform: Form 93">
              <a:extLst>
                <a:ext uri="{FF2B5EF4-FFF2-40B4-BE49-F238E27FC236}">
                  <a16:creationId xmlns:a16="http://schemas.microsoft.com/office/drawing/2014/main" id="{2BC32808-40BB-4BB8-B428-7AB1FF8F04AF}"/>
                </a:ext>
              </a:extLst>
            </p:cNvPr>
            <p:cNvSpPr/>
            <p:nvPr/>
          </p:nvSpPr>
          <p:spPr>
            <a:xfrm>
              <a:off x="3233737" y="4705350"/>
              <a:ext cx="576262" cy="433387"/>
            </a:xfrm>
            <a:custGeom>
              <a:avLst/>
              <a:gdLst>
                <a:gd name="connsiteX0" fmla="*/ 109537 w 576262"/>
                <a:gd name="connsiteY0" fmla="*/ 0 h 433388"/>
                <a:gd name="connsiteX1" fmla="*/ 519112 w 576262"/>
                <a:gd name="connsiteY1" fmla="*/ 161925 h 433388"/>
                <a:gd name="connsiteX2" fmla="*/ 533400 w 576262"/>
                <a:gd name="connsiteY2" fmla="*/ 138113 h 433388"/>
                <a:gd name="connsiteX3" fmla="*/ 576262 w 576262"/>
                <a:gd name="connsiteY3" fmla="*/ 161925 h 433388"/>
                <a:gd name="connsiteX4" fmla="*/ 452437 w 576262"/>
                <a:gd name="connsiteY4" fmla="*/ 433388 h 433388"/>
                <a:gd name="connsiteX5" fmla="*/ 0 w 576262"/>
                <a:gd name="connsiteY5" fmla="*/ 252413 h 433388"/>
                <a:gd name="connsiteX6" fmla="*/ 109537 w 576262"/>
                <a:gd name="connsiteY6" fmla="*/ 0 h 433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76262" h="433388">
                  <a:moveTo>
                    <a:pt x="109537" y="0"/>
                  </a:moveTo>
                  <a:lnTo>
                    <a:pt x="519112" y="161925"/>
                  </a:lnTo>
                  <a:lnTo>
                    <a:pt x="533400" y="138113"/>
                  </a:lnTo>
                  <a:lnTo>
                    <a:pt x="576262" y="161925"/>
                  </a:lnTo>
                  <a:lnTo>
                    <a:pt x="452437" y="433388"/>
                  </a:lnTo>
                  <a:lnTo>
                    <a:pt x="0" y="252413"/>
                  </a:lnTo>
                  <a:lnTo>
                    <a:pt x="109537" y="0"/>
                  </a:lnTo>
                  <a:close/>
                </a:path>
              </a:pathLst>
            </a:custGeom>
            <a:solidFill>
              <a:srgbClr val="FFFF00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000" dirty="0">
                <a:solidFill>
                  <a:schemeClr val="bg1"/>
                </a:solidFill>
              </a:endParaRPr>
            </a:p>
          </p:txBody>
        </p:sp>
        <p:sp>
          <p:nvSpPr>
            <p:cNvPr id="94" name="Text_T110N_BA5">
              <a:extLst>
                <a:ext uri="{FF2B5EF4-FFF2-40B4-BE49-F238E27FC236}">
                  <a16:creationId xmlns:a16="http://schemas.microsoft.com/office/drawing/2014/main" id="{0727262D-05E9-4C52-8F24-B9108DED3161}"/>
                </a:ext>
              </a:extLst>
            </p:cNvPr>
            <p:cNvSpPr/>
            <p:nvPr/>
          </p:nvSpPr>
          <p:spPr>
            <a:xfrm>
              <a:off x="1878281" y="4744012"/>
              <a:ext cx="1098282" cy="195218"/>
            </a:xfrm>
            <a:prstGeom prst="borderCallout1">
              <a:avLst>
                <a:gd name="adj1" fmla="val 53181"/>
                <a:gd name="adj2" fmla="val 100320"/>
                <a:gd name="adj3" fmla="val 69132"/>
                <a:gd name="adj4" fmla="val 135434"/>
              </a:avLst>
            </a:prstGeom>
            <a:solidFill>
              <a:schemeClr val="tx2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257312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800" dirty="0">
                  <a:solidFill>
                    <a:sysClr val="windowText" lastClr="000000"/>
                  </a:solidFill>
                </a:rPr>
                <a:t>D0715A (G020)</a:t>
              </a:r>
            </a:p>
          </p:txBody>
        </p:sp>
        <p:sp>
          <p:nvSpPr>
            <p:cNvPr id="95" name="Text_G021">
              <a:extLst>
                <a:ext uri="{FF2B5EF4-FFF2-40B4-BE49-F238E27FC236}">
                  <a16:creationId xmlns:a16="http://schemas.microsoft.com/office/drawing/2014/main" id="{0FD1AFDA-A748-4F03-A7C7-13AA0D1B9F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406051" y="4872493"/>
              <a:ext cx="24759" cy="24461"/>
            </a:xfrm>
            <a:prstGeom prst="ellipse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endParaRPr lang="de-DE" dirty="0"/>
            </a:p>
          </p:txBody>
        </p:sp>
        <p:sp>
          <p:nvSpPr>
            <p:cNvPr id="96" name="Rechteck 95">
              <a:extLst>
                <a:ext uri="{FF2B5EF4-FFF2-40B4-BE49-F238E27FC236}">
                  <a16:creationId xmlns:a16="http://schemas.microsoft.com/office/drawing/2014/main" id="{07B3E01C-A7A9-4869-A553-4ECC0AB55945}"/>
                </a:ext>
              </a:extLst>
            </p:cNvPr>
            <p:cNvSpPr/>
            <p:nvPr/>
          </p:nvSpPr>
          <p:spPr>
            <a:xfrm>
              <a:off x="10687909" y="3694216"/>
              <a:ext cx="1442265" cy="548017"/>
            </a:xfrm>
            <a:prstGeom prst="rect">
              <a:avLst/>
            </a:prstGeom>
            <a:solidFill>
              <a:srgbClr val="008000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dirty="0" smtClean="0">
                  <a:solidFill>
                    <a:schemeClr val="bg1"/>
                  </a:solidFill>
                </a:rPr>
                <a:t>Area North</a:t>
              </a:r>
              <a:endParaRPr lang="de-DE" sz="1000" dirty="0">
                <a:solidFill>
                  <a:schemeClr val="bg1"/>
                </a:solidFill>
              </a:endParaRPr>
            </a:p>
          </p:txBody>
        </p:sp>
      </p:grpSp>
      <p:sp>
        <p:nvSpPr>
          <p:cNvPr id="115" name="Rechteck 114">
            <a:extLst>
              <a:ext uri="{FF2B5EF4-FFF2-40B4-BE49-F238E27FC236}">
                <a16:creationId xmlns:a16="http://schemas.microsoft.com/office/drawing/2014/main" id="{07B3E01C-A7A9-4869-A553-4ECC0AB55945}"/>
              </a:ext>
            </a:extLst>
          </p:cNvPr>
          <p:cNvSpPr/>
          <p:nvPr/>
        </p:nvSpPr>
        <p:spPr>
          <a:xfrm>
            <a:off x="5328435" y="3320298"/>
            <a:ext cx="711168" cy="279219"/>
          </a:xfrm>
          <a:prstGeom prst="rect">
            <a:avLst/>
          </a:prstGeom>
          <a:solidFill>
            <a:srgbClr val="FFFF0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sz="1000" dirty="0" smtClean="0">
                <a:solidFill>
                  <a:schemeClr val="tx1"/>
                </a:solidFill>
              </a:rPr>
              <a:t>Area South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113" name="Fußzeilenplatzhalter 1"/>
          <p:cNvSpPr txBox="1">
            <a:spLocks/>
          </p:cNvSpPr>
          <p:nvPr/>
        </p:nvSpPr>
        <p:spPr>
          <a:xfrm>
            <a:off x="-36513" y="6607175"/>
            <a:ext cx="4392613" cy="250825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nb-NO" sz="1200" dirty="0">
                <a:solidFill>
                  <a:srgbClr val="0070C0"/>
                </a:solidFill>
              </a:rPr>
              <a:t>Harald Hagelskamp - Fair Exp. &amp; Acc. 14.12.2018</a:t>
            </a:r>
            <a:endParaRPr lang="de-DE" sz="1200" dirty="0">
              <a:solidFill>
                <a:srgbClr val="0070C0"/>
              </a:solidFill>
            </a:endParaRPr>
          </a:p>
        </p:txBody>
      </p:sp>
      <p:sp>
        <p:nvSpPr>
          <p:cNvPr id="114" name="Rechteck 113"/>
          <p:cNvSpPr/>
          <p:nvPr/>
        </p:nvSpPr>
        <p:spPr>
          <a:xfrm>
            <a:off x="6300192" y="2276872"/>
            <a:ext cx="2736304" cy="2631490"/>
          </a:xfrm>
          <a:prstGeom prst="rect">
            <a:avLst/>
          </a:prstGeom>
          <a:ln w="15875"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000" b="1" dirty="0" err="1" smtClean="0">
                <a:solidFill>
                  <a:srgbClr val="003366"/>
                </a:solidFill>
                <a:latin typeface="+mj-lt"/>
              </a:rPr>
              <a:t>Strategy</a:t>
            </a:r>
            <a:r>
              <a:rPr lang="de-DE" sz="1000" b="1" dirty="0" smtClean="0">
                <a:solidFill>
                  <a:srgbClr val="003366"/>
                </a:solidFill>
                <a:latin typeface="+mj-lt"/>
              </a:rPr>
              <a:t> Parameters:</a:t>
            </a:r>
          </a:p>
          <a:p>
            <a:pPr>
              <a:lnSpc>
                <a:spcPct val="150000"/>
              </a:lnSpc>
            </a:pPr>
            <a:endParaRPr lang="de-DE" sz="1000" b="1" dirty="0" smtClean="0">
              <a:solidFill>
                <a:srgbClr val="003366"/>
              </a:solidFill>
              <a:latin typeface="+mj-lt"/>
            </a:endParaRPr>
          </a:p>
          <a:p>
            <a:pPr marL="241093" indent="-241093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de-DE" sz="1000" dirty="0" smtClean="0">
                <a:solidFill>
                  <a:srgbClr val="003366"/>
                </a:solidFill>
                <a:latin typeface="+mj-lt"/>
              </a:rPr>
              <a:t>Earth Works.</a:t>
            </a:r>
            <a:endParaRPr lang="de-DE" sz="1000" dirty="0">
              <a:solidFill>
                <a:srgbClr val="003366"/>
              </a:solidFill>
              <a:latin typeface="+mj-lt"/>
            </a:endParaRPr>
          </a:p>
          <a:p>
            <a:pPr marL="241093" indent="-241093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de-DE" sz="1000" dirty="0" err="1" smtClean="0">
                <a:solidFill>
                  <a:srgbClr val="003366"/>
                </a:solidFill>
                <a:latin typeface="+mj-lt"/>
              </a:rPr>
              <a:t>Civil</a:t>
            </a:r>
            <a:r>
              <a:rPr lang="de-DE" sz="1000" dirty="0" smtClean="0">
                <a:solidFill>
                  <a:srgbClr val="003366"/>
                </a:solidFill>
                <a:latin typeface="+mj-lt"/>
              </a:rPr>
              <a:t> Works Package North.</a:t>
            </a:r>
            <a:endParaRPr lang="de-DE" sz="1000" dirty="0">
              <a:solidFill>
                <a:srgbClr val="003366"/>
              </a:solidFill>
              <a:latin typeface="+mj-lt"/>
            </a:endParaRPr>
          </a:p>
          <a:p>
            <a:pPr marL="241093" indent="-241093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de-DE" sz="1000" dirty="0" err="1" smtClean="0">
                <a:solidFill>
                  <a:srgbClr val="003366"/>
                </a:solidFill>
                <a:latin typeface="+mj-lt"/>
              </a:rPr>
              <a:t>Civil</a:t>
            </a:r>
            <a:r>
              <a:rPr lang="de-DE" sz="1000" dirty="0" smtClean="0">
                <a:solidFill>
                  <a:srgbClr val="003366"/>
                </a:solidFill>
                <a:latin typeface="+mj-lt"/>
              </a:rPr>
              <a:t> Works Package South.</a:t>
            </a:r>
            <a:endParaRPr lang="de-DE" sz="1000" dirty="0">
              <a:solidFill>
                <a:srgbClr val="003366"/>
              </a:solidFill>
              <a:latin typeface="+mj-lt"/>
            </a:endParaRPr>
          </a:p>
          <a:p>
            <a:pPr marL="241093" indent="-241093">
              <a:lnSpc>
                <a:spcPct val="150000"/>
              </a:lnSpc>
              <a:buFont typeface="Wingdings" panose="05000000000000000000" pitchFamily="2" charset="2"/>
              <a:buChar char="ü"/>
            </a:pPr>
            <a:endParaRPr lang="de-DE" sz="1000" dirty="0" smtClean="0">
              <a:solidFill>
                <a:srgbClr val="003366"/>
              </a:solidFill>
              <a:latin typeface="+mj-lt"/>
            </a:endParaRPr>
          </a:p>
          <a:p>
            <a:pPr marL="241093" indent="-241093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de-DE" sz="1000" dirty="0" err="1" smtClean="0">
                <a:solidFill>
                  <a:srgbClr val="003366"/>
                </a:solidFill>
                <a:latin typeface="+mj-lt"/>
              </a:rPr>
              <a:t>Defining</a:t>
            </a:r>
            <a:r>
              <a:rPr lang="de-DE" sz="1000" dirty="0" smtClean="0">
                <a:solidFill>
                  <a:srgbClr val="003366"/>
                </a:solidFill>
                <a:latin typeface="+mj-lt"/>
              </a:rPr>
              <a:t> </a:t>
            </a:r>
            <a:r>
              <a:rPr lang="de-DE" sz="1000" dirty="0" err="1" smtClean="0">
                <a:solidFill>
                  <a:srgbClr val="003366"/>
                </a:solidFill>
                <a:latin typeface="+mj-lt"/>
              </a:rPr>
              <a:t>the</a:t>
            </a:r>
            <a:r>
              <a:rPr lang="de-DE" sz="1000" dirty="0" smtClean="0">
                <a:solidFill>
                  <a:srgbClr val="003366"/>
                </a:solidFill>
                <a:latin typeface="+mj-lt"/>
              </a:rPr>
              <a:t> </a:t>
            </a:r>
            <a:r>
              <a:rPr lang="de-DE" sz="1000" dirty="0" err="1" smtClean="0">
                <a:solidFill>
                  <a:srgbClr val="003366"/>
                </a:solidFill>
                <a:latin typeface="+mj-lt"/>
              </a:rPr>
              <a:t>Contracting</a:t>
            </a:r>
            <a:r>
              <a:rPr lang="de-DE" sz="1000" dirty="0" smtClean="0">
                <a:solidFill>
                  <a:srgbClr val="003366"/>
                </a:solidFill>
                <a:latin typeface="+mj-lt"/>
              </a:rPr>
              <a:t> Packages </a:t>
            </a:r>
            <a:r>
              <a:rPr lang="de-DE" sz="1000" dirty="0" err="1" smtClean="0">
                <a:solidFill>
                  <a:srgbClr val="003366"/>
                </a:solidFill>
                <a:latin typeface="+mj-lt"/>
              </a:rPr>
              <a:t>to</a:t>
            </a:r>
            <a:r>
              <a:rPr lang="de-DE" sz="1000" dirty="0" smtClean="0">
                <a:solidFill>
                  <a:srgbClr val="003366"/>
                </a:solidFill>
                <a:latin typeface="+mj-lt"/>
              </a:rPr>
              <a:t> </a:t>
            </a:r>
            <a:r>
              <a:rPr lang="de-DE" sz="1000" dirty="0" err="1" smtClean="0">
                <a:solidFill>
                  <a:srgbClr val="003366"/>
                </a:solidFill>
                <a:latin typeface="+mj-lt"/>
              </a:rPr>
              <a:t>meet</a:t>
            </a:r>
            <a:r>
              <a:rPr lang="de-DE" sz="1000" dirty="0" smtClean="0">
                <a:solidFill>
                  <a:srgbClr val="003366"/>
                </a:solidFill>
                <a:latin typeface="+mj-lt"/>
              </a:rPr>
              <a:t> Market </a:t>
            </a:r>
            <a:r>
              <a:rPr lang="de-DE" sz="1000" dirty="0" err="1" smtClean="0">
                <a:solidFill>
                  <a:srgbClr val="003366"/>
                </a:solidFill>
                <a:latin typeface="+mj-lt"/>
              </a:rPr>
              <a:t>Capacities</a:t>
            </a:r>
            <a:r>
              <a:rPr lang="de-DE" sz="1000" dirty="0" smtClean="0">
                <a:solidFill>
                  <a:srgbClr val="003366"/>
                </a:solidFill>
                <a:latin typeface="+mj-lt"/>
              </a:rPr>
              <a:t>.</a:t>
            </a:r>
          </a:p>
          <a:p>
            <a:pPr marL="241093" indent="-241093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de-DE" sz="1000" dirty="0" err="1" smtClean="0">
                <a:solidFill>
                  <a:srgbClr val="003366"/>
                </a:solidFill>
                <a:latin typeface="+mj-lt"/>
              </a:rPr>
              <a:t>Reducing</a:t>
            </a:r>
            <a:r>
              <a:rPr lang="de-DE" sz="1000" dirty="0" smtClean="0">
                <a:solidFill>
                  <a:srgbClr val="003366"/>
                </a:solidFill>
                <a:latin typeface="+mj-lt"/>
              </a:rPr>
              <a:t> </a:t>
            </a:r>
            <a:r>
              <a:rPr lang="de-DE" sz="1000" dirty="0" err="1" smtClean="0">
                <a:solidFill>
                  <a:srgbClr val="003366"/>
                </a:solidFill>
                <a:latin typeface="+mj-lt"/>
              </a:rPr>
              <a:t>Contractor</a:t>
            </a:r>
            <a:r>
              <a:rPr lang="de-DE" sz="1000" dirty="0" smtClean="0">
                <a:solidFill>
                  <a:srgbClr val="003366"/>
                </a:solidFill>
                <a:latin typeface="+mj-lt"/>
              </a:rPr>
              <a:t> Performance </a:t>
            </a:r>
            <a:r>
              <a:rPr lang="de-DE" sz="1000" dirty="0" err="1" smtClean="0">
                <a:solidFill>
                  <a:srgbClr val="003366"/>
                </a:solidFill>
                <a:latin typeface="+mj-lt"/>
              </a:rPr>
              <a:t>Risks</a:t>
            </a:r>
            <a:r>
              <a:rPr lang="de-DE" sz="1000" dirty="0" smtClean="0">
                <a:solidFill>
                  <a:srgbClr val="003366"/>
                </a:solidFill>
                <a:latin typeface="+mj-lt"/>
              </a:rPr>
              <a:t>.</a:t>
            </a:r>
          </a:p>
          <a:p>
            <a:pPr marL="241093" indent="-241093">
              <a:lnSpc>
                <a:spcPct val="150000"/>
              </a:lnSpc>
              <a:buFont typeface="Wingdings" panose="05000000000000000000" pitchFamily="2" charset="2"/>
              <a:buChar char="ü"/>
            </a:pPr>
            <a:endParaRPr lang="de-DE" sz="1000" dirty="0" smtClean="0">
              <a:solidFill>
                <a:srgbClr val="003366"/>
              </a:solidFill>
              <a:latin typeface="+mj-lt"/>
            </a:endParaRPr>
          </a:p>
          <a:p>
            <a:pPr marL="241093" indent="-241093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de-DE" sz="1000" dirty="0" smtClean="0">
                <a:solidFill>
                  <a:srgbClr val="003366"/>
                </a:solidFill>
                <a:latin typeface="+mj-lt"/>
              </a:rPr>
              <a:t>Managing Interfaces.</a:t>
            </a:r>
            <a:endParaRPr lang="de-DE" sz="1000" dirty="0">
              <a:solidFill>
                <a:srgbClr val="003366"/>
              </a:solidFill>
              <a:latin typeface="+mj-lt"/>
            </a:endParaRPr>
          </a:p>
        </p:txBody>
      </p:sp>
      <p:sp>
        <p:nvSpPr>
          <p:cNvPr id="116" name="Textfeld 115"/>
          <p:cNvSpPr txBox="1"/>
          <p:nvPr/>
        </p:nvSpPr>
        <p:spPr>
          <a:xfrm>
            <a:off x="130629" y="1268760"/>
            <a:ext cx="8689843" cy="369332"/>
          </a:xfrm>
          <a:prstGeom prst="rect">
            <a:avLst/>
          </a:prstGeom>
          <a:solidFill>
            <a:schemeClr val="accent5">
              <a:lumMod val="90000"/>
            </a:schemeClr>
          </a:solidFill>
          <a:ln w="15875"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altLang="de-DE" kern="0" dirty="0" smtClean="0">
                <a:solidFill>
                  <a:srgbClr val="00599D"/>
                </a:solidFill>
                <a:latin typeface="Calibri" panose="020F0502020204030204" pitchFamily="34" charset="0"/>
              </a:rPr>
              <a:t>Earth Works North; </a:t>
            </a:r>
            <a:r>
              <a:rPr lang="de-DE" altLang="de-DE" kern="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Civil</a:t>
            </a:r>
            <a:r>
              <a:rPr lang="de-DE" altLang="de-DE" kern="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Works North &amp; South</a:t>
            </a:r>
            <a:endParaRPr lang="de-DE" kern="0" dirty="0">
              <a:solidFill>
                <a:srgbClr val="00599D"/>
              </a:solidFill>
              <a:latin typeface="Calibri" panose="020F0502020204030204" pitchFamily="34" charset="0"/>
            </a:endParaRPr>
          </a:p>
        </p:txBody>
      </p:sp>
      <p:sp>
        <p:nvSpPr>
          <p:cNvPr id="117" name="Foliennummernplatzhalter 3"/>
          <p:cNvSpPr txBox="1">
            <a:spLocks/>
          </p:cNvSpPr>
          <p:nvPr/>
        </p:nvSpPr>
        <p:spPr bwMode="auto">
          <a:xfrm>
            <a:off x="8316913" y="6607175"/>
            <a:ext cx="728662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599D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72136149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feld 6"/>
          <p:cNvSpPr txBox="1"/>
          <p:nvPr/>
        </p:nvSpPr>
        <p:spPr>
          <a:xfrm>
            <a:off x="296525" y="1033402"/>
            <a:ext cx="8667963" cy="400110"/>
          </a:xfrm>
          <a:prstGeom prst="rect">
            <a:avLst/>
          </a:prstGeom>
          <a:solidFill>
            <a:schemeClr val="accent1"/>
          </a:solidFill>
          <a:ln w="15875"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pPr lvl="0" algn="ctr" eaLnBrk="0" hangingPunct="0">
              <a:spcBef>
                <a:spcPct val="20000"/>
              </a:spcBef>
              <a:buClr>
                <a:srgbClr val="0066CC"/>
              </a:buClr>
            </a:pPr>
            <a:r>
              <a:rPr lang="en-US" sz="2000" kern="0" dirty="0" smtClean="0">
                <a:solidFill>
                  <a:srgbClr val="00599D"/>
                </a:solidFill>
                <a:latin typeface="Arial"/>
                <a:cs typeface="+mn-cs"/>
              </a:rPr>
              <a:t>FAIR Site Management Team manages all Internal Site Logistics</a:t>
            </a:r>
            <a:endParaRPr lang="en-US" sz="2000" kern="0" dirty="0">
              <a:solidFill>
                <a:srgbClr val="00599D"/>
              </a:solidFill>
              <a:latin typeface="Arial"/>
              <a:cs typeface="+mn-cs"/>
            </a:endParaRP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43649" y="1619253"/>
            <a:ext cx="3137595" cy="2361010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43649" y="3985028"/>
            <a:ext cx="3137595" cy="2461451"/>
          </a:xfrm>
          <a:prstGeom prst="rect">
            <a:avLst/>
          </a:prstGeom>
        </p:spPr>
      </p:pic>
      <p:sp>
        <p:nvSpPr>
          <p:cNvPr id="13" name="Inhaltsplatzhalter 2"/>
          <p:cNvSpPr txBox="1">
            <a:spLocks/>
          </p:cNvSpPr>
          <p:nvPr/>
        </p:nvSpPr>
        <p:spPr bwMode="auto">
          <a:xfrm>
            <a:off x="504527" y="2108046"/>
            <a:ext cx="4536505" cy="41292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85725" indent="-857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66CC"/>
              </a:buClr>
              <a:buFont typeface="Wingdings" pitchFamily="2" charset="2"/>
              <a:defRPr sz="2400">
                <a:solidFill>
                  <a:srgbClr val="00599D"/>
                </a:solidFill>
                <a:latin typeface="+mn-lt"/>
                <a:ea typeface="+mn-ea"/>
                <a:cs typeface="+mn-cs"/>
              </a:defRPr>
            </a:lvl1pPr>
            <a:lvl2pPr marL="419100" indent="-2667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9900"/>
              </a:buClr>
              <a:buSzPct val="140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2pPr>
            <a:lvl3pPr marL="514350" indent="400050" algn="l" rtl="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 marL="714375" indent="-20638" algn="l" rtl="0" eaLnBrk="0" fontAlgn="base" hangingPunct="0">
              <a:spcBef>
                <a:spcPct val="20000"/>
              </a:spcBef>
              <a:spcAft>
                <a:spcPct val="0"/>
              </a:spcAft>
              <a:defRPr sz="1600" i="1">
                <a:solidFill>
                  <a:srgbClr val="990000"/>
                </a:solidFill>
                <a:latin typeface="+mn-lt"/>
              </a:defRPr>
            </a:lvl4pPr>
            <a:lvl5pPr marL="2143125" indent="-1247775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5pPr>
            <a:lvl6pPr marL="26003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6pPr>
            <a:lvl7pPr marL="30575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7pPr>
            <a:lvl8pPr marL="35147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8pPr>
            <a:lvl9pPr marL="39719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9pPr>
          </a:lstStyle>
          <a:p>
            <a:pPr marL="333375" lvl="1" indent="0">
              <a:spcBef>
                <a:spcPts val="0"/>
              </a:spcBef>
              <a:buNone/>
            </a:pPr>
            <a:r>
              <a:rPr lang="en-US" sz="1400" kern="0" dirty="0" smtClean="0">
                <a:solidFill>
                  <a:srgbClr val="0070C0"/>
                </a:solidFill>
              </a:rPr>
              <a:t>Internal Logistics is the Coordination of all Logistical </a:t>
            </a:r>
            <a:r>
              <a:rPr lang="en-US" sz="1400" kern="0" dirty="0">
                <a:solidFill>
                  <a:srgbClr val="0070C0"/>
                </a:solidFill>
              </a:rPr>
              <a:t>A</a:t>
            </a:r>
            <a:r>
              <a:rPr lang="en-US" sz="1400" kern="0" dirty="0" smtClean="0">
                <a:solidFill>
                  <a:srgbClr val="0070C0"/>
                </a:solidFill>
              </a:rPr>
              <a:t>ctivities of the Contractors from the Entrance into the Buildings to the final Installation </a:t>
            </a:r>
            <a:r>
              <a:rPr lang="en-US" sz="1400" kern="0" dirty="0">
                <a:solidFill>
                  <a:srgbClr val="0070C0"/>
                </a:solidFill>
              </a:rPr>
              <a:t>L</a:t>
            </a:r>
            <a:r>
              <a:rPr lang="en-US" sz="1400" kern="0" dirty="0" smtClean="0">
                <a:solidFill>
                  <a:srgbClr val="0070C0"/>
                </a:solidFill>
              </a:rPr>
              <a:t>ocation:</a:t>
            </a:r>
          </a:p>
          <a:p>
            <a:pPr marL="333375" lvl="1" indent="0">
              <a:spcBef>
                <a:spcPts val="0"/>
              </a:spcBef>
              <a:buNone/>
            </a:pPr>
            <a:r>
              <a:rPr lang="en-US" sz="1400" kern="0" dirty="0" smtClean="0">
                <a:solidFill>
                  <a:srgbClr val="0070C0"/>
                </a:solidFill>
              </a:rPr>
              <a:t> </a:t>
            </a:r>
          </a:p>
          <a:p>
            <a:pPr marL="333375" lvl="1" indent="0">
              <a:spcBef>
                <a:spcPts val="0"/>
              </a:spcBef>
              <a:buNone/>
            </a:pPr>
            <a:endParaRPr lang="en-US" sz="1400" kern="0" dirty="0" smtClean="0">
              <a:solidFill>
                <a:srgbClr val="0070C0"/>
              </a:solidFill>
            </a:endParaRPr>
          </a:p>
          <a:p>
            <a:pPr marL="619125" lvl="1" indent="-285750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400" kern="0" dirty="0" smtClean="0">
                <a:solidFill>
                  <a:srgbClr val="0070C0"/>
                </a:solidFill>
              </a:rPr>
              <a:t>Coordinating </a:t>
            </a:r>
            <a:r>
              <a:rPr lang="en-US" sz="1400" kern="0" dirty="0">
                <a:solidFill>
                  <a:srgbClr val="0070C0"/>
                </a:solidFill>
              </a:rPr>
              <a:t>P</a:t>
            </a:r>
            <a:r>
              <a:rPr lang="en-US" sz="1400" kern="0" dirty="0" smtClean="0">
                <a:solidFill>
                  <a:srgbClr val="0070C0"/>
                </a:solidFill>
              </a:rPr>
              <a:t>ersonnel access to the Buildings and inside the Buildings.</a:t>
            </a:r>
          </a:p>
          <a:p>
            <a:pPr marL="619125" lvl="1" indent="-285750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400" kern="0" dirty="0" smtClean="0">
                <a:solidFill>
                  <a:srgbClr val="0070C0"/>
                </a:solidFill>
              </a:rPr>
              <a:t>Coordinating </a:t>
            </a:r>
            <a:r>
              <a:rPr lang="en-US" sz="1400" kern="0" dirty="0">
                <a:solidFill>
                  <a:srgbClr val="0070C0"/>
                </a:solidFill>
              </a:rPr>
              <a:t>M</a:t>
            </a:r>
            <a:r>
              <a:rPr lang="en-US" sz="1400" kern="0" dirty="0" smtClean="0">
                <a:solidFill>
                  <a:srgbClr val="0070C0"/>
                </a:solidFill>
              </a:rPr>
              <a:t>aterial Flows into the Building. </a:t>
            </a:r>
          </a:p>
          <a:p>
            <a:pPr marL="619125" lvl="1" indent="-285750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400" kern="0" dirty="0">
                <a:solidFill>
                  <a:srgbClr val="0070C0"/>
                </a:solidFill>
              </a:rPr>
              <a:t>A</a:t>
            </a:r>
            <a:r>
              <a:rPr lang="en-US" sz="1400" kern="0" dirty="0" smtClean="0">
                <a:solidFill>
                  <a:srgbClr val="0070C0"/>
                </a:solidFill>
              </a:rPr>
              <a:t>llocation of Transportation </a:t>
            </a:r>
            <a:r>
              <a:rPr lang="en-US" sz="1400" kern="0" dirty="0">
                <a:solidFill>
                  <a:srgbClr val="0070C0"/>
                </a:solidFill>
              </a:rPr>
              <a:t>R</a:t>
            </a:r>
            <a:r>
              <a:rPr lang="en-US" sz="1400" kern="0" dirty="0" smtClean="0">
                <a:solidFill>
                  <a:srgbClr val="0070C0"/>
                </a:solidFill>
              </a:rPr>
              <a:t>outes inside the Buildings.</a:t>
            </a:r>
          </a:p>
          <a:p>
            <a:pPr marL="619125" lvl="1" indent="-285750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400" kern="0" dirty="0">
                <a:solidFill>
                  <a:srgbClr val="0070C0"/>
                </a:solidFill>
              </a:rPr>
              <a:t>A</a:t>
            </a:r>
            <a:r>
              <a:rPr lang="en-US" sz="1400" kern="0" dirty="0" smtClean="0">
                <a:solidFill>
                  <a:srgbClr val="0070C0"/>
                </a:solidFill>
              </a:rPr>
              <a:t>llocation of Temporary </a:t>
            </a:r>
            <a:r>
              <a:rPr lang="en-US" sz="1400" kern="0" dirty="0">
                <a:solidFill>
                  <a:srgbClr val="0070C0"/>
                </a:solidFill>
              </a:rPr>
              <a:t>S</a:t>
            </a:r>
            <a:r>
              <a:rPr lang="en-US" sz="1400" kern="0" dirty="0" smtClean="0">
                <a:solidFill>
                  <a:srgbClr val="0070C0"/>
                </a:solidFill>
              </a:rPr>
              <a:t>torage </a:t>
            </a:r>
            <a:r>
              <a:rPr lang="en-US" sz="1400" kern="0" dirty="0">
                <a:solidFill>
                  <a:srgbClr val="0070C0"/>
                </a:solidFill>
              </a:rPr>
              <a:t>A</a:t>
            </a:r>
            <a:r>
              <a:rPr lang="en-US" sz="1400" kern="0" dirty="0" smtClean="0">
                <a:solidFill>
                  <a:srgbClr val="0070C0"/>
                </a:solidFill>
              </a:rPr>
              <a:t>reas inside the Buildings.</a:t>
            </a:r>
          </a:p>
          <a:p>
            <a:pPr marL="619125" lvl="1" indent="-285750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400" kern="0" dirty="0">
                <a:solidFill>
                  <a:srgbClr val="0070C0"/>
                </a:solidFill>
              </a:rPr>
              <a:t>A</a:t>
            </a:r>
            <a:r>
              <a:rPr lang="en-US" sz="1400" kern="0" dirty="0" smtClean="0">
                <a:solidFill>
                  <a:srgbClr val="0070C0"/>
                </a:solidFill>
              </a:rPr>
              <a:t>llocation the use of Cranes and Lifts inside the Buildings.</a:t>
            </a:r>
          </a:p>
          <a:p>
            <a:pPr marL="333375" lvl="1" indent="0">
              <a:spcBef>
                <a:spcPts val="0"/>
              </a:spcBef>
              <a:buNone/>
            </a:pPr>
            <a:endParaRPr lang="en-US" sz="1400" kern="0" dirty="0" smtClean="0">
              <a:solidFill>
                <a:srgbClr val="0070C0"/>
              </a:solidFill>
            </a:endParaRPr>
          </a:p>
        </p:txBody>
      </p:sp>
      <p:sp>
        <p:nvSpPr>
          <p:cNvPr id="15" name="Titel 1"/>
          <p:cNvSpPr txBox="1">
            <a:spLocks/>
          </p:cNvSpPr>
          <p:nvPr/>
        </p:nvSpPr>
        <p:spPr bwMode="auto">
          <a:xfrm>
            <a:off x="251520" y="107984"/>
            <a:ext cx="8605837" cy="6382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9pPr>
          </a:lstStyle>
          <a:p>
            <a:r>
              <a:rPr lang="de-DE" kern="0" dirty="0" smtClean="0"/>
              <a:t>Site Management </a:t>
            </a:r>
            <a:br>
              <a:rPr lang="de-DE" kern="0" dirty="0" smtClean="0"/>
            </a:br>
            <a:r>
              <a:rPr lang="de-DE" sz="2000" kern="0" dirty="0" smtClean="0"/>
              <a:t>Internal Logistics</a:t>
            </a:r>
            <a:endParaRPr lang="de-DE" sz="2000" kern="0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nb-NO" smtClean="0"/>
              <a:t>Harald Hagelskamp - Fair Exp. &amp; Acc. 14.12.2018</a:t>
            </a:r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49293" y="1594208"/>
            <a:ext cx="3137595" cy="2361010"/>
          </a:xfrm>
          <a:prstGeom prst="rect">
            <a:avLst/>
          </a:prstGeom>
          <a:ln w="12700">
            <a:solidFill>
              <a:schemeClr val="accent6">
                <a:lumMod val="60000"/>
                <a:lumOff val="40000"/>
              </a:schemeClr>
            </a:solidFill>
          </a:ln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49293" y="3959983"/>
            <a:ext cx="3137595" cy="2461451"/>
          </a:xfrm>
          <a:prstGeom prst="rect">
            <a:avLst/>
          </a:prstGeom>
          <a:ln w="12700">
            <a:solidFill>
              <a:schemeClr val="accent6">
                <a:lumMod val="60000"/>
                <a:lumOff val="4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329925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5728" y="85622"/>
            <a:ext cx="8605837" cy="827311"/>
          </a:xfrm>
        </p:spPr>
        <p:txBody>
          <a:bodyPr/>
          <a:lstStyle/>
          <a:p>
            <a:r>
              <a:rPr lang="de-DE" dirty="0"/>
              <a:t>Site Management </a:t>
            </a:r>
            <a:br>
              <a:rPr lang="de-DE" dirty="0"/>
            </a:br>
            <a:r>
              <a:rPr lang="de-DE" sz="2000" dirty="0" err="1" smtClean="0"/>
              <a:t>Logistics</a:t>
            </a:r>
            <a:r>
              <a:rPr lang="de-DE" sz="2000" dirty="0" smtClean="0"/>
              <a:t> </a:t>
            </a:r>
            <a:r>
              <a:rPr lang="de-DE" sz="2000" dirty="0" err="1" smtClean="0"/>
              <a:t>and</a:t>
            </a:r>
            <a:r>
              <a:rPr lang="de-DE" sz="2000" dirty="0" smtClean="0"/>
              <a:t> Warehousing </a:t>
            </a:r>
            <a:r>
              <a:rPr lang="de-DE" sz="2000" dirty="0" err="1" smtClean="0"/>
              <a:t>of</a:t>
            </a:r>
            <a:r>
              <a:rPr lang="de-DE" sz="2000" dirty="0" smtClean="0"/>
              <a:t> </a:t>
            </a:r>
            <a:r>
              <a:rPr lang="de-DE" sz="2000" dirty="0" err="1" smtClean="0"/>
              <a:t>Accelerator</a:t>
            </a:r>
            <a:r>
              <a:rPr lang="de-DE" sz="2000" dirty="0" smtClean="0"/>
              <a:t> Components </a:t>
            </a:r>
            <a:r>
              <a:rPr lang="en-GB" sz="1406" b="1" kern="1200" dirty="0">
                <a:solidFill>
                  <a:srgbClr val="003366"/>
                </a:solidFill>
                <a:ea typeface="ヒラギノ角ゴ ProN W3" charset="-128"/>
                <a:sym typeface="Arial" pitchFamily="34" charset="0"/>
              </a:rPr>
              <a:t/>
            </a:r>
            <a:br>
              <a:rPr lang="en-GB" sz="1406" b="1" kern="1200" dirty="0">
                <a:solidFill>
                  <a:srgbClr val="003366"/>
                </a:solidFill>
                <a:ea typeface="ヒラギノ角ゴ ProN W3" charset="-128"/>
                <a:sym typeface="Arial" pitchFamily="34" charset="0"/>
              </a:rPr>
            </a:br>
            <a:r>
              <a:rPr lang="de-DE" dirty="0"/>
              <a:t/>
            </a:r>
            <a:br>
              <a:rPr lang="de-DE" dirty="0"/>
            </a:b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914353">
              <a:defRPr/>
            </a:pPr>
            <a:fld id="{B13E67DB-3F5A-400D-8115-4A6680BE68C1}" type="slidenum">
              <a:rPr lang="de-DE">
                <a:latin typeface="Times New Roman" pitchFamily="18" charset="0"/>
                <a:ea typeface="+mn-ea"/>
                <a:cs typeface="Arial" charset="0"/>
              </a:rPr>
              <a:pPr defTabSz="914353">
                <a:defRPr/>
              </a:pPr>
              <a:t>21</a:t>
            </a:fld>
            <a:endParaRPr lang="de-DE">
              <a:latin typeface="Times New Roman" pitchFamily="18" charset="0"/>
              <a:ea typeface="+mn-ea"/>
              <a:cs typeface="Arial" charset="0"/>
            </a:endParaRPr>
          </a:p>
        </p:txBody>
      </p:sp>
      <p:sp>
        <p:nvSpPr>
          <p:cNvPr id="8" name="Inhaltsplatzhalter 2"/>
          <p:cNvSpPr txBox="1">
            <a:spLocks/>
          </p:cNvSpPr>
          <p:nvPr/>
        </p:nvSpPr>
        <p:spPr bwMode="auto">
          <a:xfrm>
            <a:off x="142228" y="1600581"/>
            <a:ext cx="8210193" cy="2182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85725" indent="-857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66CC"/>
              </a:buClr>
              <a:buFont typeface="Wingdings" pitchFamily="2" charset="2"/>
              <a:defRPr sz="2400">
                <a:solidFill>
                  <a:srgbClr val="00599D"/>
                </a:solidFill>
                <a:latin typeface="+mn-lt"/>
                <a:ea typeface="+mn-ea"/>
                <a:cs typeface="+mn-cs"/>
              </a:defRPr>
            </a:lvl1pPr>
            <a:lvl2pPr marL="419100" indent="-2667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9900"/>
              </a:buClr>
              <a:buSzPct val="140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2pPr>
            <a:lvl3pPr marL="514350" indent="400050" algn="l" rtl="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 marL="714375" indent="-20638" algn="l" rtl="0" eaLnBrk="0" fontAlgn="base" hangingPunct="0">
              <a:spcBef>
                <a:spcPct val="20000"/>
              </a:spcBef>
              <a:spcAft>
                <a:spcPct val="0"/>
              </a:spcAft>
              <a:defRPr sz="1600" i="1">
                <a:solidFill>
                  <a:srgbClr val="990000"/>
                </a:solidFill>
                <a:latin typeface="+mn-lt"/>
              </a:defRPr>
            </a:lvl4pPr>
            <a:lvl5pPr marL="2143125" indent="-1247775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5pPr>
            <a:lvl6pPr marL="26003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6pPr>
            <a:lvl7pPr marL="30575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7pPr>
            <a:lvl8pPr marL="35147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8pPr>
            <a:lvl9pPr marL="39719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9pPr>
          </a:lstStyle>
          <a:p>
            <a:pPr marL="333358" lvl="1" indent="0" defTabSz="914353">
              <a:spcBef>
                <a:spcPts val="0"/>
              </a:spcBef>
              <a:buNone/>
            </a:pPr>
            <a:endParaRPr lang="en-US" sz="1400" kern="0" dirty="0">
              <a:solidFill>
                <a:srgbClr val="000000"/>
              </a:solidFill>
              <a:latin typeface="Arial"/>
              <a:cs typeface="Arial" charset="0"/>
            </a:endParaRPr>
          </a:p>
          <a:p>
            <a:pPr marL="619125" lvl="1" indent="-285750" defTabSz="914353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400" kern="0" dirty="0">
                <a:solidFill>
                  <a:srgbClr val="0070C0"/>
                </a:solidFill>
              </a:rPr>
              <a:t>FAIR Components will be stored in a 9000m² facility starting 2018 until 2021.</a:t>
            </a:r>
          </a:p>
          <a:p>
            <a:pPr marL="619125" lvl="1" indent="-285750" defTabSz="914353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400" kern="0" dirty="0">
                <a:solidFill>
                  <a:srgbClr val="0070C0"/>
                </a:solidFill>
              </a:rPr>
              <a:t>The Storage </a:t>
            </a:r>
            <a:r>
              <a:rPr lang="en-US" sz="1400" kern="0" dirty="0" smtClean="0">
                <a:solidFill>
                  <a:srgbClr val="0070C0"/>
                </a:solidFill>
              </a:rPr>
              <a:t>Facility </a:t>
            </a:r>
            <a:r>
              <a:rPr lang="en-US" sz="1400" kern="0" dirty="0">
                <a:solidFill>
                  <a:srgbClr val="0070C0"/>
                </a:solidFill>
              </a:rPr>
              <a:t>will be managed by an external Service Provider.</a:t>
            </a:r>
            <a:endParaRPr lang="en-US" sz="1400" kern="0" dirty="0">
              <a:solidFill>
                <a:srgbClr val="0070C0"/>
              </a:solidFill>
            </a:endParaRPr>
          </a:p>
          <a:p>
            <a:pPr marL="619125" lvl="1" indent="-285750" defTabSz="914353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400" kern="0" dirty="0">
                <a:solidFill>
                  <a:srgbClr val="0070C0"/>
                </a:solidFill>
              </a:rPr>
              <a:t>Stored Components will have passed SAT A Tests and will be ready for installation in the FAIR buildings.</a:t>
            </a:r>
          </a:p>
          <a:p>
            <a:pPr marL="619125" lvl="1" indent="-285750" defTabSz="914353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400" kern="0" dirty="0">
                <a:solidFill>
                  <a:srgbClr val="0070C0"/>
                </a:solidFill>
              </a:rPr>
              <a:t>Components will be pre-assembled as </a:t>
            </a:r>
            <a:r>
              <a:rPr lang="en-US" sz="1400" kern="0" dirty="0">
                <a:solidFill>
                  <a:srgbClr val="0070C0"/>
                </a:solidFill>
              </a:rPr>
              <a:t>T</a:t>
            </a:r>
            <a:r>
              <a:rPr lang="en-US" sz="1400" kern="0" dirty="0">
                <a:solidFill>
                  <a:srgbClr val="0070C0"/>
                </a:solidFill>
              </a:rPr>
              <a:t>ransportation Unit before shipping to FAIR site.</a:t>
            </a:r>
          </a:p>
          <a:p>
            <a:pPr marL="619125" lvl="1" indent="-285750" defTabSz="914353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400" kern="0" dirty="0">
                <a:solidFill>
                  <a:srgbClr val="0070C0"/>
                </a:solidFill>
              </a:rPr>
              <a:t>The goal is to perform all possible assembly work before transportation to site, </a:t>
            </a:r>
            <a:r>
              <a:rPr lang="en-US" sz="1400" kern="0" dirty="0" err="1">
                <a:solidFill>
                  <a:srgbClr val="0070C0"/>
                </a:solidFill>
              </a:rPr>
              <a:t>therby</a:t>
            </a:r>
            <a:r>
              <a:rPr lang="en-US" sz="1400" kern="0" dirty="0">
                <a:solidFill>
                  <a:srgbClr val="0070C0"/>
                </a:solidFill>
              </a:rPr>
              <a:t> minimizing the work scope inside the buildings.</a:t>
            </a:r>
            <a:endParaRPr lang="en-US" sz="1400" kern="0" dirty="0">
              <a:solidFill>
                <a:srgbClr val="0070C0"/>
              </a:solidFill>
            </a:endParaRPr>
          </a:p>
          <a:p>
            <a:pPr marL="619125" lvl="1" indent="-285750" defTabSz="914353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1400" kern="0" dirty="0">
                <a:solidFill>
                  <a:srgbClr val="0070C0"/>
                </a:solidFill>
              </a:rPr>
              <a:t>Status of Delivery and Storage including scope of remaining works is tracked and maintained in SAP PLM </a:t>
            </a:r>
            <a:r>
              <a:rPr lang="en-US" sz="1400" kern="0" dirty="0">
                <a:solidFill>
                  <a:srgbClr val="0070C0"/>
                </a:solidFill>
              </a:rPr>
              <a:t>(Product Lifecycle Management</a:t>
            </a:r>
            <a:r>
              <a:rPr lang="en-US" sz="1400" kern="0" dirty="0">
                <a:solidFill>
                  <a:srgbClr val="0070C0"/>
                </a:solidFill>
              </a:rPr>
              <a:t>).</a:t>
            </a:r>
            <a:endParaRPr lang="en-US" sz="1400" kern="0" dirty="0">
              <a:solidFill>
                <a:srgbClr val="0070C0"/>
              </a:solidFill>
            </a:endParaRPr>
          </a:p>
        </p:txBody>
      </p:sp>
      <p:pic>
        <p:nvPicPr>
          <p:cNvPr id="11" name="Picture 4" descr="D:\FAIR_Project\Site Management\Logistik\Halle Weiterstadt\Bilder Umlagerung\20180418_09415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5359" y="4365104"/>
            <a:ext cx="3121554" cy="20432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D:\FAIR_Project\Site Management\Logistik\Halle Weiterstadt\IMG_20180221_123354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4365104"/>
            <a:ext cx="2724305" cy="20432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feld 12"/>
          <p:cNvSpPr txBox="1"/>
          <p:nvPr/>
        </p:nvSpPr>
        <p:spPr>
          <a:xfrm>
            <a:off x="267463" y="1087248"/>
            <a:ext cx="8667963" cy="400110"/>
          </a:xfrm>
          <a:prstGeom prst="rect">
            <a:avLst/>
          </a:prstGeom>
          <a:solidFill>
            <a:schemeClr val="accent1"/>
          </a:solidFill>
          <a:ln w="15875"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pPr lvl="0" algn="ctr" eaLnBrk="0" hangingPunct="0">
              <a:spcBef>
                <a:spcPct val="20000"/>
              </a:spcBef>
              <a:buClr>
                <a:srgbClr val="0066CC"/>
              </a:buClr>
            </a:pPr>
            <a:r>
              <a:rPr lang="de-DE" sz="2000" dirty="0" smtClean="0"/>
              <a:t>All </a:t>
            </a:r>
            <a:r>
              <a:rPr lang="de-DE" sz="2000" dirty="0" err="1" smtClean="0"/>
              <a:t>Accelerator</a:t>
            </a:r>
            <a:r>
              <a:rPr lang="de-DE" sz="2000" dirty="0" smtClean="0"/>
              <a:t> Components </a:t>
            </a:r>
            <a:r>
              <a:rPr lang="de-DE" sz="2000" dirty="0" err="1" smtClean="0"/>
              <a:t>to</a:t>
            </a:r>
            <a:r>
              <a:rPr lang="de-DE" sz="2000" dirty="0" smtClean="0"/>
              <a:t> </a:t>
            </a:r>
            <a:r>
              <a:rPr lang="de-DE" sz="2000" dirty="0" err="1" smtClean="0"/>
              <a:t>be</a:t>
            </a:r>
            <a:r>
              <a:rPr lang="de-DE" sz="2000" dirty="0" smtClean="0"/>
              <a:t> </a:t>
            </a:r>
            <a:r>
              <a:rPr lang="de-DE" sz="2000" dirty="0" err="1" smtClean="0"/>
              <a:t>stored</a:t>
            </a:r>
            <a:r>
              <a:rPr lang="de-DE" sz="2000" dirty="0" smtClean="0"/>
              <a:t> </a:t>
            </a:r>
            <a:r>
              <a:rPr lang="de-DE" sz="2000" dirty="0" err="1" smtClean="0"/>
              <a:t>ready</a:t>
            </a:r>
            <a:r>
              <a:rPr lang="de-DE" sz="2000" dirty="0" smtClean="0"/>
              <a:t> </a:t>
            </a:r>
            <a:r>
              <a:rPr lang="de-DE" sz="2000" dirty="0" err="1" smtClean="0"/>
              <a:t>for</a:t>
            </a:r>
            <a:r>
              <a:rPr lang="de-DE" sz="2000" dirty="0" smtClean="0"/>
              <a:t> Installation</a:t>
            </a:r>
            <a:endParaRPr lang="en-US" sz="2000" kern="0" dirty="0">
              <a:solidFill>
                <a:srgbClr val="00599D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8358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/>
          <p:cNvSpPr txBox="1">
            <a:spLocks/>
          </p:cNvSpPr>
          <p:nvPr/>
        </p:nvSpPr>
        <p:spPr>
          <a:xfrm>
            <a:off x="182805" y="100056"/>
            <a:ext cx="8605837" cy="490538"/>
          </a:xfrm>
          <a:prstGeom prst="rect">
            <a:avLst/>
          </a:prstGeom>
        </p:spPr>
        <p:txBody>
          <a:bodyPr lIns="0" tIns="0" rIns="0" bIns="0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9pPr>
          </a:lstStyle>
          <a:p>
            <a:endParaRPr lang="en-US" b="1" kern="0" dirty="0">
              <a:latin typeface="Calibri" panose="020F0502020204030204" pitchFamily="34" charset="0"/>
            </a:endParaRPr>
          </a:p>
        </p:txBody>
      </p:sp>
      <p:sp>
        <p:nvSpPr>
          <p:cNvPr id="4" name="Titel 1"/>
          <p:cNvSpPr txBox="1">
            <a:spLocks/>
          </p:cNvSpPr>
          <p:nvPr/>
        </p:nvSpPr>
        <p:spPr>
          <a:xfrm>
            <a:off x="214635" y="154279"/>
            <a:ext cx="8605837" cy="532181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9pPr>
          </a:lstStyle>
          <a:p>
            <a:r>
              <a:rPr lang="en-US" kern="0" dirty="0" smtClean="0">
                <a:latin typeface="Calibri" panose="020F0502020204030204" pitchFamily="34" charset="0"/>
              </a:rPr>
              <a:t>FAIR Project Progress </a:t>
            </a:r>
          </a:p>
        </p:txBody>
      </p:sp>
      <p:sp>
        <p:nvSpPr>
          <p:cNvPr id="5" name="Inhaltsplatzhalter 3"/>
          <p:cNvSpPr txBox="1">
            <a:spLocks/>
          </p:cNvSpPr>
          <p:nvPr/>
        </p:nvSpPr>
        <p:spPr>
          <a:xfrm>
            <a:off x="423130" y="1916832"/>
            <a:ext cx="8605837" cy="4112163"/>
          </a:xfrm>
          <a:prstGeom prst="rect">
            <a:avLst/>
          </a:prstGeom>
        </p:spPr>
        <p:txBody>
          <a:bodyPr/>
          <a:lstStyle>
            <a:lvl1pPr marL="85725" indent="-857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66CC"/>
              </a:buClr>
              <a:buFont typeface="Wingdings" pitchFamily="2" charset="2"/>
              <a:defRPr sz="2400">
                <a:solidFill>
                  <a:srgbClr val="00599D"/>
                </a:solidFill>
                <a:latin typeface="+mn-lt"/>
                <a:ea typeface="+mn-ea"/>
                <a:cs typeface="+mn-cs"/>
              </a:defRPr>
            </a:lvl1pPr>
            <a:lvl2pPr marL="419100" indent="-2667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9900"/>
              </a:buClr>
              <a:buSzPct val="140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2pPr>
            <a:lvl3pPr marL="514350" indent="400050" algn="l" rtl="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 marL="714375" indent="-20638" algn="l" rtl="0" eaLnBrk="0" fontAlgn="base" hangingPunct="0">
              <a:spcBef>
                <a:spcPct val="20000"/>
              </a:spcBef>
              <a:spcAft>
                <a:spcPct val="0"/>
              </a:spcAft>
              <a:defRPr sz="1600" i="1">
                <a:solidFill>
                  <a:srgbClr val="990000"/>
                </a:solidFill>
                <a:latin typeface="+mn-lt"/>
              </a:defRPr>
            </a:lvl4pPr>
            <a:lvl5pPr marL="2143125" indent="-1247775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5pPr>
            <a:lvl6pPr marL="26003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6pPr>
            <a:lvl7pPr marL="30575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7pPr>
            <a:lvl8pPr marL="35147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8pPr>
            <a:lvl9pPr marL="39719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9pPr>
          </a:lstStyle>
          <a:p>
            <a:pPr marL="0" indent="0"/>
            <a:endParaRPr lang="de-DE" kern="0" dirty="0" smtClean="0">
              <a:latin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kern="0" dirty="0" err="1" smtClean="0">
                <a:latin typeface="Calibri" panose="020F0502020204030204" pitchFamily="34" charset="0"/>
              </a:rPr>
              <a:t>Complete</a:t>
            </a:r>
            <a:r>
              <a:rPr lang="de-DE" sz="2000" kern="0" dirty="0" smtClean="0">
                <a:latin typeface="Calibri" panose="020F0502020204030204" pitchFamily="34" charset="0"/>
              </a:rPr>
              <a:t> all </a:t>
            </a:r>
            <a:r>
              <a:rPr lang="de-DE" sz="2000" kern="0" dirty="0" err="1" smtClean="0">
                <a:latin typeface="Calibri" panose="020F0502020204030204" pitchFamily="34" charset="0"/>
              </a:rPr>
              <a:t>Contracting</a:t>
            </a:r>
            <a:r>
              <a:rPr lang="de-DE" sz="2000" kern="0" dirty="0" smtClean="0">
                <a:latin typeface="Calibri" panose="020F0502020204030204" pitchFamily="34" charset="0"/>
              </a:rPr>
              <a:t> </a:t>
            </a:r>
            <a:r>
              <a:rPr lang="de-DE" sz="2000" kern="0" dirty="0" err="1" smtClean="0">
                <a:latin typeface="Calibri" panose="020F0502020204030204" pitchFamily="34" charset="0"/>
              </a:rPr>
              <a:t>of</a:t>
            </a:r>
            <a:r>
              <a:rPr lang="de-DE" sz="2000" kern="0" dirty="0" smtClean="0">
                <a:latin typeface="Calibri" panose="020F0502020204030204" pitchFamily="34" charset="0"/>
              </a:rPr>
              <a:t> C</a:t>
            </a:r>
            <a:r>
              <a:rPr lang="en-US" sz="2000" kern="0" dirty="0" err="1" smtClean="0">
                <a:latin typeface="Calibri" panose="020F0502020204030204" pitchFamily="34" charset="0"/>
              </a:rPr>
              <a:t>ivil</a:t>
            </a:r>
            <a:r>
              <a:rPr lang="en-US" sz="2000" kern="0" dirty="0" smtClean="0">
                <a:latin typeface="Calibri" panose="020F0502020204030204" pitchFamily="34" charset="0"/>
              </a:rPr>
              <a:t> Works Package Area South </a:t>
            </a:r>
            <a:r>
              <a:rPr lang="de-DE" sz="2000" kern="0" dirty="0" smtClean="0">
                <a:latin typeface="Calibri" panose="020F0502020204030204" pitchFamily="34" charset="0"/>
              </a:rPr>
              <a:t>in Q3/4 2019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kern="0" dirty="0" err="1" smtClean="0">
                <a:latin typeface="Calibri" panose="020F0502020204030204" pitchFamily="34" charset="0"/>
              </a:rPr>
              <a:t>Complete</a:t>
            </a:r>
            <a:r>
              <a:rPr lang="de-DE" sz="2000" kern="0" dirty="0" smtClean="0">
                <a:latin typeface="Calibri" panose="020F0502020204030204" pitchFamily="34" charset="0"/>
              </a:rPr>
              <a:t> all </a:t>
            </a:r>
            <a:r>
              <a:rPr lang="de-DE" sz="2000" kern="0" dirty="0" err="1" smtClean="0">
                <a:latin typeface="Calibri" panose="020F0502020204030204" pitchFamily="34" charset="0"/>
              </a:rPr>
              <a:t>Contracting</a:t>
            </a:r>
            <a:r>
              <a:rPr lang="de-DE" sz="2000" kern="0" dirty="0" smtClean="0">
                <a:latin typeface="Calibri" panose="020F0502020204030204" pitchFamily="34" charset="0"/>
              </a:rPr>
              <a:t> </a:t>
            </a:r>
            <a:r>
              <a:rPr lang="de-DE" sz="2000" kern="0" dirty="0" err="1" smtClean="0">
                <a:latin typeface="Calibri" panose="020F0502020204030204" pitchFamily="34" charset="0"/>
              </a:rPr>
              <a:t>of</a:t>
            </a:r>
            <a:r>
              <a:rPr lang="de-DE" sz="2000" kern="0" dirty="0" smtClean="0">
                <a:latin typeface="Calibri" panose="020F0502020204030204" pitchFamily="34" charset="0"/>
              </a:rPr>
              <a:t> all Technical Services Packages in Q4 2019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sz="2000" kern="0" dirty="0">
              <a:latin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kern="0" dirty="0" err="1" smtClean="0">
                <a:latin typeface="Calibri" panose="020F0502020204030204" pitchFamily="34" charset="0"/>
              </a:rPr>
              <a:t>Complete</a:t>
            </a:r>
            <a:r>
              <a:rPr lang="de-DE" sz="2000" kern="0" dirty="0" smtClean="0">
                <a:latin typeface="Calibri" panose="020F0502020204030204" pitchFamily="34" charset="0"/>
              </a:rPr>
              <a:t> Implementation </a:t>
            </a:r>
            <a:r>
              <a:rPr lang="de-DE" sz="2000" kern="0" dirty="0" err="1" smtClean="0">
                <a:latin typeface="Calibri" panose="020F0502020204030204" pitchFamily="34" charset="0"/>
              </a:rPr>
              <a:t>of</a:t>
            </a:r>
            <a:r>
              <a:rPr lang="de-DE" sz="2000" kern="0" dirty="0" smtClean="0">
                <a:latin typeface="Calibri" panose="020F0502020204030204" pitchFamily="34" charset="0"/>
              </a:rPr>
              <a:t> all Site </a:t>
            </a:r>
            <a:r>
              <a:rPr lang="de-DE" sz="2000" kern="0" dirty="0" err="1" smtClean="0">
                <a:latin typeface="Calibri" panose="020F0502020204030204" pitchFamily="34" charset="0"/>
              </a:rPr>
              <a:t>Logitical</a:t>
            </a:r>
            <a:r>
              <a:rPr lang="de-DE" sz="2000" kern="0" dirty="0" smtClean="0">
                <a:latin typeface="Calibri" panose="020F0502020204030204" pitchFamily="34" charset="0"/>
              </a:rPr>
              <a:t> Management </a:t>
            </a:r>
            <a:r>
              <a:rPr lang="de-DE" sz="2000" kern="0" dirty="0" err="1" smtClean="0">
                <a:latin typeface="Calibri" panose="020F0502020204030204" pitchFamily="34" charset="0"/>
              </a:rPr>
              <a:t>Functions</a:t>
            </a:r>
            <a:r>
              <a:rPr lang="de-DE" sz="2000" kern="0" dirty="0" smtClean="0">
                <a:latin typeface="Calibri" panose="020F0502020204030204" pitchFamily="34" charset="0"/>
              </a:rPr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kern="0" dirty="0" err="1" smtClean="0">
                <a:latin typeface="Calibri" panose="020F0502020204030204" pitchFamily="34" charset="0"/>
              </a:rPr>
              <a:t>Ensure</a:t>
            </a:r>
            <a:r>
              <a:rPr lang="de-DE" sz="2000" kern="0" dirty="0" smtClean="0">
                <a:latin typeface="Calibri" panose="020F0502020204030204" pitchFamily="34" charset="0"/>
              </a:rPr>
              <a:t> </a:t>
            </a:r>
            <a:r>
              <a:rPr lang="de-DE" sz="2000" kern="0" dirty="0" err="1" smtClean="0">
                <a:latin typeface="Calibri" panose="020F0502020204030204" pitchFamily="34" charset="0"/>
              </a:rPr>
              <a:t>continued</a:t>
            </a:r>
            <a:r>
              <a:rPr lang="de-DE" sz="2000" kern="0" dirty="0" smtClean="0">
                <a:latin typeface="Calibri" panose="020F0502020204030204" pitchFamily="34" charset="0"/>
              </a:rPr>
              <a:t> </a:t>
            </a:r>
            <a:r>
              <a:rPr lang="de-DE" sz="2000" kern="0" dirty="0" err="1" smtClean="0">
                <a:latin typeface="Calibri" panose="020F0502020204030204" pitchFamily="34" charset="0"/>
              </a:rPr>
              <a:t>implementation</a:t>
            </a:r>
            <a:r>
              <a:rPr lang="de-DE" sz="2000" kern="0" dirty="0" smtClean="0">
                <a:latin typeface="Calibri" panose="020F0502020204030204" pitchFamily="34" charset="0"/>
              </a:rPr>
              <a:t> </a:t>
            </a:r>
            <a:r>
              <a:rPr lang="de-DE" sz="2000" kern="0" dirty="0" err="1" smtClean="0">
                <a:latin typeface="Calibri" panose="020F0502020204030204" pitchFamily="34" charset="0"/>
              </a:rPr>
              <a:t>of</a:t>
            </a:r>
            <a:r>
              <a:rPr lang="de-DE" sz="2000" kern="0" dirty="0" smtClean="0">
                <a:latin typeface="Calibri" panose="020F0502020204030204" pitchFamily="34" charset="0"/>
              </a:rPr>
              <a:t> Site Installation </a:t>
            </a:r>
            <a:r>
              <a:rPr lang="de-DE" sz="2000" kern="0" dirty="0" err="1" smtClean="0">
                <a:latin typeface="Calibri" panose="020F0502020204030204" pitchFamily="34" charset="0"/>
              </a:rPr>
              <a:t>Strategy</a:t>
            </a:r>
            <a:r>
              <a:rPr lang="de-DE" sz="2000" kern="0" dirty="0" smtClean="0">
                <a:latin typeface="Calibri" panose="020F0502020204030204" pitchFamily="34" charset="0"/>
              </a:rPr>
              <a:t> Plan</a:t>
            </a:r>
            <a:r>
              <a:rPr lang="de-DE" sz="2000" kern="0" dirty="0" smtClean="0">
                <a:latin typeface="Calibri" panose="020F0502020204030204" pitchFamily="34" charset="0"/>
              </a:rPr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000" kern="0" dirty="0" err="1" smtClean="0">
                <a:latin typeface="Calibri" panose="020F0502020204030204" pitchFamily="34" charset="0"/>
              </a:rPr>
              <a:t>Prepare</a:t>
            </a:r>
            <a:r>
              <a:rPr lang="de-DE" sz="2000" kern="0" dirty="0" smtClean="0">
                <a:latin typeface="Calibri" panose="020F0502020204030204" pitchFamily="34" charset="0"/>
              </a:rPr>
              <a:t> </a:t>
            </a:r>
            <a:r>
              <a:rPr lang="de-DE" sz="2000" kern="0" dirty="0" err="1" smtClean="0">
                <a:latin typeface="Calibri" panose="020F0502020204030204" pitchFamily="34" charset="0"/>
              </a:rPr>
              <a:t>and</a:t>
            </a:r>
            <a:r>
              <a:rPr lang="de-DE" sz="2000" kern="0" dirty="0" smtClean="0">
                <a:latin typeface="Calibri" panose="020F0502020204030204" pitchFamily="34" charset="0"/>
              </a:rPr>
              <a:t> </a:t>
            </a:r>
            <a:r>
              <a:rPr lang="de-DE" sz="2000" kern="0" dirty="0" err="1" smtClean="0">
                <a:latin typeface="Calibri" panose="020F0502020204030204" pitchFamily="34" charset="0"/>
              </a:rPr>
              <a:t>finalise</a:t>
            </a:r>
            <a:r>
              <a:rPr lang="de-DE" sz="2000" kern="0" dirty="0" smtClean="0">
                <a:latin typeface="Calibri" panose="020F0502020204030204" pitchFamily="34" charset="0"/>
              </a:rPr>
              <a:t> Installation </a:t>
            </a:r>
            <a:r>
              <a:rPr lang="de-DE" sz="2000" kern="0" dirty="0" err="1">
                <a:latin typeface="Calibri" panose="020F0502020204030204" pitchFamily="34" charset="0"/>
              </a:rPr>
              <a:t>C</a:t>
            </a:r>
            <a:r>
              <a:rPr lang="de-DE" sz="2000" kern="0" dirty="0" err="1" smtClean="0">
                <a:latin typeface="Calibri" panose="020F0502020204030204" pitchFamily="34" charset="0"/>
              </a:rPr>
              <a:t>oncepts</a:t>
            </a:r>
            <a:r>
              <a:rPr lang="de-DE" sz="2000" kern="0" dirty="0" smtClean="0">
                <a:latin typeface="Calibri" panose="020F0502020204030204" pitchFamily="34" charset="0"/>
              </a:rPr>
              <a:t> </a:t>
            </a:r>
            <a:r>
              <a:rPr lang="de-DE" sz="2000" kern="0" dirty="0" err="1" smtClean="0">
                <a:latin typeface="Calibri" panose="020F0502020204030204" pitchFamily="34" charset="0"/>
              </a:rPr>
              <a:t>and</a:t>
            </a:r>
            <a:r>
              <a:rPr lang="de-DE" sz="2000" kern="0" dirty="0" smtClean="0">
                <a:latin typeface="Calibri" panose="020F0502020204030204" pitchFamily="34" charset="0"/>
              </a:rPr>
              <a:t> </a:t>
            </a:r>
            <a:r>
              <a:rPr lang="de-DE" sz="2000" kern="0" dirty="0">
                <a:latin typeface="Calibri" panose="020F0502020204030204" pitchFamily="34" charset="0"/>
              </a:rPr>
              <a:t>W</a:t>
            </a:r>
            <a:r>
              <a:rPr lang="de-DE" sz="2000" kern="0" dirty="0" smtClean="0">
                <a:latin typeface="Calibri" panose="020F0502020204030204" pitchFamily="34" charset="0"/>
              </a:rPr>
              <a:t>ork </a:t>
            </a:r>
            <a:r>
              <a:rPr lang="de-DE" sz="2000" kern="0" dirty="0" err="1">
                <a:latin typeface="Calibri" panose="020F0502020204030204" pitchFamily="34" charset="0"/>
              </a:rPr>
              <a:t>I</a:t>
            </a:r>
            <a:r>
              <a:rPr lang="de-DE" sz="2000" kern="0" dirty="0" err="1" smtClean="0">
                <a:latin typeface="Calibri" panose="020F0502020204030204" pitchFamily="34" charset="0"/>
              </a:rPr>
              <a:t>nstructions</a:t>
            </a:r>
            <a:r>
              <a:rPr lang="de-DE" sz="2000" kern="0" dirty="0" smtClean="0">
                <a:latin typeface="Calibri" panose="020F0502020204030204" pitchFamily="34" charset="0"/>
              </a:rPr>
              <a:t> </a:t>
            </a:r>
            <a:r>
              <a:rPr lang="de-DE" sz="2000" kern="0" dirty="0" err="1" smtClean="0">
                <a:latin typeface="Calibri" panose="020F0502020204030204" pitchFamily="34" charset="0"/>
              </a:rPr>
              <a:t>for</a:t>
            </a:r>
            <a:r>
              <a:rPr lang="de-DE" sz="2000" kern="0" dirty="0" smtClean="0">
                <a:latin typeface="Calibri" panose="020F0502020204030204" pitchFamily="34" charset="0"/>
              </a:rPr>
              <a:t> </a:t>
            </a:r>
            <a:r>
              <a:rPr lang="de-DE" sz="2000" kern="0" dirty="0" err="1" smtClean="0">
                <a:latin typeface="Calibri" panose="020F0502020204030204" pitchFamily="34" charset="0"/>
              </a:rPr>
              <a:t>the</a:t>
            </a:r>
            <a:r>
              <a:rPr lang="de-DE" sz="2000" kern="0" dirty="0" smtClean="0">
                <a:latin typeface="Calibri" panose="020F0502020204030204" pitchFamily="34" charset="0"/>
              </a:rPr>
              <a:t> Installation.</a:t>
            </a:r>
            <a:endParaRPr lang="de-DE" sz="2000" kern="0" dirty="0" smtClean="0">
              <a:latin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kern="0" dirty="0">
              <a:latin typeface="Calibri" panose="020F0502020204030204" pitchFamily="34" charset="0"/>
            </a:endParaRPr>
          </a:p>
        </p:txBody>
      </p:sp>
      <p:sp>
        <p:nvSpPr>
          <p:cNvPr id="6" name="Foliennummernplatzhalter 2"/>
          <p:cNvSpPr txBox="1">
            <a:spLocks/>
          </p:cNvSpPr>
          <p:nvPr/>
        </p:nvSpPr>
        <p:spPr bwMode="auto">
          <a:xfrm>
            <a:off x="8316913" y="6607175"/>
            <a:ext cx="728662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599D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0ECB536F-118C-48DF-B346-38E5E90C7A54}" type="slidenum">
              <a:rPr lang="de-DE" smtClean="0"/>
              <a:pPr>
                <a:defRPr/>
              </a:pPr>
              <a:t>22</a:t>
            </a:fld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327974" y="1118622"/>
            <a:ext cx="84924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kern="0" dirty="0" smtClean="0">
                <a:solidFill>
                  <a:srgbClr val="00599D"/>
                </a:solidFill>
                <a:latin typeface="Calibri" panose="020F0502020204030204" pitchFamily="34" charset="0"/>
                <a:ea typeface="+mj-ea"/>
                <a:cs typeface="+mj-cs"/>
              </a:rPr>
              <a:t>Next Steps</a:t>
            </a:r>
            <a:endParaRPr lang="en-US" sz="2400" b="1" kern="0" dirty="0">
              <a:solidFill>
                <a:srgbClr val="00599D"/>
              </a:solidFill>
              <a:latin typeface="Calibri" panose="020F0502020204030204" pitchFamily="34" charset="0"/>
              <a:ea typeface="+mj-ea"/>
              <a:cs typeface="+mj-cs"/>
            </a:endParaRPr>
          </a:p>
        </p:txBody>
      </p:sp>
      <p:sp>
        <p:nvSpPr>
          <p:cNvPr id="8" name="Fußzeilenplatzhalter 1"/>
          <p:cNvSpPr txBox="1">
            <a:spLocks/>
          </p:cNvSpPr>
          <p:nvPr/>
        </p:nvSpPr>
        <p:spPr>
          <a:xfrm>
            <a:off x="-36513" y="6607175"/>
            <a:ext cx="4392613" cy="250825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1200" dirty="0">
                <a:solidFill>
                  <a:srgbClr val="00599D"/>
                </a:solidFill>
              </a:rPr>
              <a:t>Ossendorf &amp; Hagelskamp Project Review Kick-off 2018-11-21</a:t>
            </a:r>
            <a:endParaRPr lang="de-DE" sz="1200" dirty="0">
              <a:solidFill>
                <a:srgbClr val="00599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066792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 txBox="1">
            <a:spLocks/>
          </p:cNvSpPr>
          <p:nvPr/>
        </p:nvSpPr>
        <p:spPr bwMode="auto">
          <a:xfrm>
            <a:off x="8316913" y="6607175"/>
            <a:ext cx="728662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599D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0ECB536F-118C-48DF-B346-38E5E90C7A54}" type="slidenum">
              <a:rPr lang="de-DE" smtClean="0"/>
              <a:pPr>
                <a:defRPr/>
              </a:pPr>
              <a:t>23</a:t>
            </a:fld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2051720" y="3212976"/>
            <a:ext cx="536408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200" b="1" kern="0" dirty="0" smtClean="0">
                <a:solidFill>
                  <a:srgbClr val="00599D"/>
                </a:solidFill>
                <a:latin typeface="Calibri" panose="020F0502020204030204" pitchFamily="34" charset="0"/>
                <a:ea typeface="+mj-ea"/>
                <a:cs typeface="+mj-cs"/>
              </a:rPr>
              <a:t>Thank you for your attention !</a:t>
            </a:r>
            <a:endParaRPr lang="en-US" sz="3200" b="1" kern="0" dirty="0">
              <a:solidFill>
                <a:srgbClr val="00599D"/>
              </a:solidFill>
              <a:latin typeface="Calibri" panose="020F0502020204030204" pitchFamily="34" charset="0"/>
              <a:ea typeface="+mj-ea"/>
              <a:cs typeface="+mj-cs"/>
            </a:endParaRPr>
          </a:p>
        </p:txBody>
      </p:sp>
      <p:sp>
        <p:nvSpPr>
          <p:cNvPr id="6" name="Fußzeilenplatzhalter 1"/>
          <p:cNvSpPr txBox="1">
            <a:spLocks/>
          </p:cNvSpPr>
          <p:nvPr/>
        </p:nvSpPr>
        <p:spPr>
          <a:xfrm>
            <a:off x="-36513" y="6607175"/>
            <a:ext cx="4392613" cy="250825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nb-NO" sz="1200" dirty="0">
                <a:solidFill>
                  <a:srgbClr val="0070C0"/>
                </a:solidFill>
              </a:rPr>
              <a:t>Harald Hagelskamp - Fair Exp. &amp; Acc. 14.12.2018</a:t>
            </a:r>
            <a:endParaRPr lang="de-DE" sz="1200" dirty="0">
              <a:solidFill>
                <a:srgbClr val="0070C0"/>
              </a:solidFill>
            </a:endParaRPr>
          </a:p>
        </p:txBody>
      </p:sp>
      <p:sp>
        <p:nvSpPr>
          <p:cNvPr id="7" name="Titel 1"/>
          <p:cNvSpPr txBox="1">
            <a:spLocks/>
          </p:cNvSpPr>
          <p:nvPr/>
        </p:nvSpPr>
        <p:spPr>
          <a:xfrm>
            <a:off x="214635" y="154279"/>
            <a:ext cx="8605837" cy="532181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9pPr>
          </a:lstStyle>
          <a:p>
            <a:r>
              <a:rPr lang="en-US" kern="0" dirty="0" smtClean="0">
                <a:latin typeface="Calibri" panose="020F0502020204030204" pitchFamily="34" charset="0"/>
              </a:rPr>
              <a:t>FAIR Project Progress </a:t>
            </a:r>
          </a:p>
        </p:txBody>
      </p:sp>
    </p:spTree>
    <p:extLst>
      <p:ext uri="{BB962C8B-B14F-4D97-AF65-F5344CB8AC3E}">
        <p14:creationId xmlns:p14="http://schemas.microsoft.com/office/powerpoint/2010/main" val="247297523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60539" y="104682"/>
            <a:ext cx="8605837" cy="638290"/>
          </a:xfrm>
        </p:spPr>
        <p:txBody>
          <a:bodyPr/>
          <a:lstStyle/>
          <a:p>
            <a:r>
              <a:rPr lang="de-DE" dirty="0"/>
              <a:t>Site Management 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sz="2000" dirty="0" err="1" smtClean="0"/>
              <a:t>External</a:t>
            </a:r>
            <a:r>
              <a:rPr lang="de-DE" sz="2000" dirty="0" smtClean="0"/>
              <a:t> Logistics</a:t>
            </a:r>
            <a:endParaRPr lang="de-DE" sz="200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31476" y="2028910"/>
            <a:ext cx="4798830" cy="3197427"/>
          </a:xfrm>
        </p:spPr>
        <p:txBody>
          <a:bodyPr/>
          <a:lstStyle/>
          <a:p>
            <a:pPr marL="371475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 smtClean="0"/>
              <a:t>Security </a:t>
            </a:r>
            <a:r>
              <a:rPr lang="de-DE" sz="1400" dirty="0" err="1" smtClean="0"/>
              <a:t>and</a:t>
            </a:r>
            <a:r>
              <a:rPr lang="de-DE" sz="1400" dirty="0" smtClean="0"/>
              <a:t> Access Control</a:t>
            </a:r>
          </a:p>
          <a:p>
            <a:pPr marL="371475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 err="1"/>
              <a:t>P</a:t>
            </a:r>
            <a:r>
              <a:rPr lang="de-DE" sz="1400" dirty="0" err="1" smtClean="0"/>
              <a:t>ersonnel</a:t>
            </a:r>
            <a:r>
              <a:rPr lang="de-DE" sz="1400" dirty="0" smtClean="0"/>
              <a:t> </a:t>
            </a:r>
            <a:r>
              <a:rPr lang="de-DE" sz="1400" dirty="0" err="1" smtClean="0"/>
              <a:t>Movements</a:t>
            </a:r>
            <a:r>
              <a:rPr lang="de-DE" sz="1400" dirty="0" smtClean="0"/>
              <a:t> – 1200 </a:t>
            </a:r>
            <a:r>
              <a:rPr lang="de-DE" sz="1400" dirty="0" err="1" smtClean="0"/>
              <a:t>to</a:t>
            </a:r>
            <a:r>
              <a:rPr lang="de-DE" sz="1400" dirty="0" smtClean="0"/>
              <a:t> 1500 </a:t>
            </a:r>
            <a:r>
              <a:rPr lang="de-DE" sz="1400" dirty="0" err="1" smtClean="0"/>
              <a:t>workers</a:t>
            </a:r>
            <a:r>
              <a:rPr lang="de-DE" sz="1400" dirty="0" smtClean="0"/>
              <a:t> </a:t>
            </a:r>
            <a:r>
              <a:rPr lang="de-DE" sz="1400" dirty="0" err="1" smtClean="0"/>
              <a:t>daily</a:t>
            </a:r>
            <a:r>
              <a:rPr lang="de-DE" sz="1400" dirty="0" smtClean="0"/>
              <a:t>.</a:t>
            </a:r>
          </a:p>
          <a:p>
            <a:pPr marL="371475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 smtClean="0"/>
              <a:t>Material </a:t>
            </a:r>
            <a:r>
              <a:rPr lang="de-DE" sz="1400" dirty="0" err="1" smtClean="0"/>
              <a:t>Deliveries</a:t>
            </a:r>
            <a:r>
              <a:rPr lang="de-DE" sz="1400" dirty="0"/>
              <a:t> </a:t>
            </a:r>
            <a:r>
              <a:rPr lang="de-DE" sz="1400" dirty="0" smtClean="0"/>
              <a:t>– 300 </a:t>
            </a:r>
            <a:r>
              <a:rPr lang="de-DE" sz="1400" dirty="0" err="1" smtClean="0"/>
              <a:t>trucks</a:t>
            </a:r>
            <a:r>
              <a:rPr lang="de-DE" sz="1400" dirty="0" smtClean="0"/>
              <a:t> </a:t>
            </a:r>
            <a:r>
              <a:rPr lang="de-DE" sz="1400" dirty="0" err="1" smtClean="0"/>
              <a:t>daily</a:t>
            </a:r>
            <a:r>
              <a:rPr lang="de-DE" sz="1400" dirty="0" smtClean="0"/>
              <a:t>.</a:t>
            </a:r>
          </a:p>
          <a:p>
            <a:pPr marL="371475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 smtClean="0"/>
              <a:t>Traffic </a:t>
            </a:r>
            <a:r>
              <a:rPr lang="de-DE" sz="1400" dirty="0" err="1" smtClean="0"/>
              <a:t>Movements</a:t>
            </a:r>
            <a:r>
              <a:rPr lang="de-DE" sz="1400" dirty="0" smtClean="0"/>
              <a:t> – 600 </a:t>
            </a:r>
            <a:r>
              <a:rPr lang="de-DE" sz="1400" dirty="0" err="1" smtClean="0"/>
              <a:t>daily</a:t>
            </a:r>
            <a:r>
              <a:rPr lang="de-DE" sz="1400" dirty="0" smtClean="0"/>
              <a:t>.</a:t>
            </a:r>
          </a:p>
          <a:p>
            <a:pPr marL="371475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 err="1" smtClean="0"/>
              <a:t>Allocation</a:t>
            </a:r>
            <a:r>
              <a:rPr lang="de-DE" sz="1400" dirty="0" smtClean="0"/>
              <a:t> </a:t>
            </a:r>
            <a:r>
              <a:rPr lang="de-DE" sz="1400" dirty="0" err="1" smtClean="0"/>
              <a:t>of</a:t>
            </a:r>
            <a:r>
              <a:rPr lang="de-DE" sz="1400" dirty="0" smtClean="0"/>
              <a:t> </a:t>
            </a:r>
            <a:r>
              <a:rPr lang="de-DE" sz="1400" dirty="0" err="1"/>
              <a:t>L</a:t>
            </a:r>
            <a:r>
              <a:rPr lang="de-DE" sz="1400" dirty="0" err="1" smtClean="0"/>
              <a:t>aydown</a:t>
            </a:r>
            <a:r>
              <a:rPr lang="de-DE" sz="1400" dirty="0" smtClean="0"/>
              <a:t> </a:t>
            </a:r>
            <a:r>
              <a:rPr lang="de-DE" sz="1400" dirty="0"/>
              <a:t>A</a:t>
            </a:r>
            <a:r>
              <a:rPr lang="de-DE" sz="1400" dirty="0" smtClean="0"/>
              <a:t>reas </a:t>
            </a:r>
            <a:r>
              <a:rPr lang="de-DE" sz="1400" dirty="0" err="1" smtClean="0"/>
              <a:t>for</a:t>
            </a:r>
            <a:r>
              <a:rPr lang="de-DE" sz="1400" dirty="0" smtClean="0"/>
              <a:t> </a:t>
            </a:r>
            <a:r>
              <a:rPr lang="de-DE" sz="1400" dirty="0" err="1"/>
              <a:t>C</a:t>
            </a:r>
            <a:r>
              <a:rPr lang="de-DE" sz="1400" dirty="0" err="1" smtClean="0"/>
              <a:t>ontractors</a:t>
            </a:r>
            <a:r>
              <a:rPr lang="de-DE" sz="1400" dirty="0" smtClean="0"/>
              <a:t>.</a:t>
            </a:r>
          </a:p>
          <a:p>
            <a:pPr marL="371475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 smtClean="0"/>
              <a:t>Coordination </a:t>
            </a:r>
            <a:r>
              <a:rPr lang="de-DE" sz="1400" dirty="0" err="1" smtClean="0"/>
              <a:t>of</a:t>
            </a:r>
            <a:r>
              <a:rPr lang="de-DE" sz="1400" dirty="0" smtClean="0"/>
              <a:t> Crane </a:t>
            </a:r>
            <a:r>
              <a:rPr lang="de-DE" sz="1400" dirty="0" err="1" smtClean="0"/>
              <a:t>Positions</a:t>
            </a:r>
            <a:r>
              <a:rPr lang="de-DE" sz="1400" dirty="0" smtClean="0"/>
              <a:t>.</a:t>
            </a:r>
          </a:p>
          <a:p>
            <a:pPr marL="371475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 err="1" smtClean="0"/>
              <a:t>Coordination</a:t>
            </a:r>
            <a:r>
              <a:rPr lang="de-DE" sz="1400" dirty="0" smtClean="0"/>
              <a:t> </a:t>
            </a:r>
            <a:r>
              <a:rPr lang="de-DE" sz="1400" dirty="0" err="1" smtClean="0"/>
              <a:t>of</a:t>
            </a:r>
            <a:r>
              <a:rPr lang="de-DE" sz="1400" dirty="0" smtClean="0"/>
              <a:t> </a:t>
            </a:r>
            <a:r>
              <a:rPr lang="de-DE" sz="1400" dirty="0" err="1" smtClean="0"/>
              <a:t>Concrete</a:t>
            </a:r>
            <a:r>
              <a:rPr lang="de-DE" sz="1400" dirty="0" smtClean="0"/>
              <a:t> Pump </a:t>
            </a:r>
            <a:r>
              <a:rPr lang="de-DE" sz="1400" dirty="0" err="1" smtClean="0"/>
              <a:t>Positions</a:t>
            </a:r>
            <a:r>
              <a:rPr lang="de-DE" sz="1400" dirty="0" smtClean="0"/>
              <a:t>.</a:t>
            </a:r>
          </a:p>
          <a:p>
            <a:pPr marL="371475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 err="1" smtClean="0"/>
              <a:t>Coordination</a:t>
            </a:r>
            <a:r>
              <a:rPr lang="de-DE" sz="1400" dirty="0" smtClean="0"/>
              <a:t> </a:t>
            </a:r>
            <a:r>
              <a:rPr lang="de-DE" sz="1400" dirty="0" err="1" smtClean="0"/>
              <a:t>and</a:t>
            </a:r>
            <a:r>
              <a:rPr lang="de-DE" sz="1400" dirty="0" smtClean="0"/>
              <a:t> Supervision </a:t>
            </a:r>
            <a:r>
              <a:rPr lang="de-DE" sz="1400" dirty="0" err="1" smtClean="0"/>
              <a:t>of</a:t>
            </a:r>
            <a:r>
              <a:rPr lang="de-DE" sz="1400" dirty="0" smtClean="0"/>
              <a:t> </a:t>
            </a:r>
            <a:r>
              <a:rPr lang="de-DE" sz="1400" dirty="0" err="1" smtClean="0"/>
              <a:t>Water</a:t>
            </a:r>
            <a:r>
              <a:rPr lang="de-DE" sz="1400" dirty="0" smtClean="0"/>
              <a:t> Supply </a:t>
            </a:r>
            <a:r>
              <a:rPr lang="de-DE" sz="1400" dirty="0" err="1"/>
              <a:t>I</a:t>
            </a:r>
            <a:r>
              <a:rPr lang="de-DE" sz="1400" dirty="0" err="1" smtClean="0"/>
              <a:t>nstallations</a:t>
            </a:r>
            <a:r>
              <a:rPr lang="de-DE" sz="1400" dirty="0" smtClean="0"/>
              <a:t>. 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6560" y="1628800"/>
            <a:ext cx="4017927" cy="3852850"/>
          </a:xfrm>
          <a:prstGeom prst="rect">
            <a:avLst/>
          </a:prstGeom>
          <a:noFill/>
          <a:ln w="12700">
            <a:solidFill>
              <a:schemeClr val="accent6">
                <a:lumMod val="60000"/>
                <a:lumOff val="40000"/>
              </a:schemeClr>
            </a:solidFill>
            <a:miter lim="800000"/>
            <a:headEnd/>
            <a:tailEnd/>
          </a:ln>
          <a:effectLst>
            <a:outerShdw blurRad="50800" dist="38100" dir="2700000" sx="102000" sy="102000" algn="tl" rotWithShape="0">
              <a:prstClr val="black">
                <a:alpha val="15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4" name="Textfeld 3"/>
          <p:cNvSpPr txBox="1"/>
          <p:nvPr/>
        </p:nvSpPr>
        <p:spPr>
          <a:xfrm>
            <a:off x="323528" y="1088740"/>
            <a:ext cx="8640959" cy="369332"/>
          </a:xfrm>
          <a:prstGeom prst="rect">
            <a:avLst/>
          </a:prstGeom>
          <a:solidFill>
            <a:schemeClr val="accent5">
              <a:lumMod val="90000"/>
            </a:schemeClr>
          </a:solidFill>
          <a:ln w="15875"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pPr lvl="0" algn="ctr" eaLnBrk="0" hangingPunct="0">
              <a:buClr>
                <a:srgbClr val="0066CC"/>
              </a:buClr>
            </a:pPr>
            <a:r>
              <a:rPr lang="de-DE" dirty="0" err="1">
                <a:solidFill>
                  <a:srgbClr val="00599D"/>
                </a:solidFill>
                <a:latin typeface="Calibri" panose="020F0502020204030204" pitchFamily="34" charset="0"/>
              </a:rPr>
              <a:t>Contractor</a:t>
            </a:r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00599D"/>
                </a:solidFill>
                <a:latin typeface="Calibri" panose="020F0502020204030204" pitchFamily="34" charset="0"/>
              </a:rPr>
              <a:t>Züblin</a:t>
            </a:r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dirty="0" err="1">
                <a:solidFill>
                  <a:srgbClr val="00599D"/>
                </a:solidFill>
                <a:latin typeface="Calibri" panose="020F0502020204030204" pitchFamily="34" charset="0"/>
              </a:rPr>
              <a:t>provides</a:t>
            </a:r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</a:rPr>
              <a:t> all </a:t>
            </a:r>
            <a:r>
              <a:rPr lang="de-DE" dirty="0" err="1">
                <a:solidFill>
                  <a:srgbClr val="00599D"/>
                </a:solidFill>
                <a:latin typeface="Calibri" panose="020F0502020204030204" pitchFamily="34" charset="0"/>
              </a:rPr>
              <a:t>E</a:t>
            </a:r>
            <a:r>
              <a:rPr lang="de-DE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xternal</a:t>
            </a:r>
            <a:r>
              <a:rPr lang="de-DE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</a:rPr>
              <a:t>S</a:t>
            </a:r>
            <a:r>
              <a:rPr lang="de-DE" dirty="0" smtClean="0">
                <a:solidFill>
                  <a:srgbClr val="00599D"/>
                </a:solidFill>
                <a:latin typeface="Calibri" panose="020F0502020204030204" pitchFamily="34" charset="0"/>
              </a:rPr>
              <a:t>ite </a:t>
            </a:r>
            <a:r>
              <a:rPr lang="de-DE" dirty="0" err="1">
                <a:solidFill>
                  <a:srgbClr val="00599D"/>
                </a:solidFill>
                <a:latin typeface="Calibri" panose="020F0502020204030204" pitchFamily="34" charset="0"/>
              </a:rPr>
              <a:t>L</a:t>
            </a:r>
            <a:r>
              <a:rPr lang="de-DE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ogistics</a:t>
            </a:r>
            <a:r>
              <a:rPr lang="de-DE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</a:rPr>
              <a:t>S</a:t>
            </a:r>
            <a:r>
              <a:rPr lang="de-DE" dirty="0" smtClean="0">
                <a:solidFill>
                  <a:srgbClr val="00599D"/>
                </a:solidFill>
                <a:latin typeface="Calibri" panose="020F0502020204030204" pitchFamily="34" charset="0"/>
              </a:rPr>
              <a:t>ervices</a:t>
            </a:r>
            <a:endParaRPr lang="de-DE" dirty="0">
              <a:solidFill>
                <a:srgbClr val="00599D"/>
              </a:solidFill>
              <a:latin typeface="Calibri" panose="020F0502020204030204" pitchFamily="34" charset="0"/>
            </a:endParaRPr>
          </a:p>
        </p:txBody>
      </p:sp>
      <p:sp>
        <p:nvSpPr>
          <p:cNvPr id="12" name="Textfeld 11"/>
          <p:cNvSpPr txBox="1"/>
          <p:nvPr/>
        </p:nvSpPr>
        <p:spPr>
          <a:xfrm>
            <a:off x="147730" y="5892075"/>
            <a:ext cx="8640959" cy="369332"/>
          </a:xfrm>
          <a:prstGeom prst="rect">
            <a:avLst/>
          </a:prstGeom>
          <a:solidFill>
            <a:schemeClr val="accent5">
              <a:lumMod val="90000"/>
            </a:schemeClr>
          </a:solidFill>
          <a:ln w="15875"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pPr lvl="0" algn="ctr" eaLnBrk="0" hangingPunct="0">
              <a:buClr>
                <a:srgbClr val="0066CC"/>
              </a:buClr>
            </a:pPr>
            <a:r>
              <a:rPr lang="de-DE" dirty="0" err="1">
                <a:solidFill>
                  <a:srgbClr val="00599D"/>
                </a:solidFill>
                <a:latin typeface="Calibri" panose="020F0502020204030204" pitchFamily="34" charset="0"/>
              </a:rPr>
              <a:t>Contractor</a:t>
            </a:r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dirty="0" smtClean="0">
                <a:solidFill>
                  <a:srgbClr val="00599D"/>
                </a:solidFill>
                <a:latin typeface="Calibri" panose="020F0502020204030204" pitchFamily="34" charset="0"/>
              </a:rPr>
              <a:t>GAT </a:t>
            </a:r>
            <a:r>
              <a:rPr lang="de-DE" dirty="0" err="1">
                <a:solidFill>
                  <a:srgbClr val="00599D"/>
                </a:solidFill>
                <a:latin typeface="Calibri" panose="020F0502020204030204" pitchFamily="34" charset="0"/>
              </a:rPr>
              <a:t>provides</a:t>
            </a:r>
            <a:r>
              <a:rPr lang="de-DE" dirty="0">
                <a:solidFill>
                  <a:srgbClr val="00599D"/>
                </a:solidFill>
                <a:latin typeface="Calibri" panose="020F0502020204030204" pitchFamily="34" charset="0"/>
              </a:rPr>
              <a:t> all </a:t>
            </a:r>
            <a:r>
              <a:rPr lang="de-DE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Electrical</a:t>
            </a:r>
            <a:r>
              <a:rPr lang="de-DE" dirty="0" smtClean="0">
                <a:solidFill>
                  <a:srgbClr val="00599D"/>
                </a:solidFill>
                <a:latin typeface="Calibri" panose="020F0502020204030204" pitchFamily="34" charset="0"/>
              </a:rPr>
              <a:t> Power </a:t>
            </a:r>
            <a:r>
              <a:rPr lang="de-DE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Supplies</a:t>
            </a:r>
            <a:r>
              <a:rPr lang="de-DE" dirty="0" smtClean="0">
                <a:solidFill>
                  <a:srgbClr val="00599D"/>
                </a:solidFill>
                <a:latin typeface="Calibri" panose="020F0502020204030204" pitchFamily="34" charset="0"/>
              </a:rPr>
              <a:t> on Site.</a:t>
            </a:r>
            <a:endParaRPr lang="de-DE" dirty="0">
              <a:solidFill>
                <a:srgbClr val="00599D"/>
              </a:solidFill>
              <a:latin typeface="Calibri" panose="020F0502020204030204" pitchFamily="34" charset="0"/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nb-NO" smtClean="0"/>
              <a:t>Harald Hagelskamp - Fair Exp. &amp; Acc. 14.12.2018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06937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ieren 2"/>
          <p:cNvGrpSpPr/>
          <p:nvPr/>
        </p:nvGrpSpPr>
        <p:grpSpPr>
          <a:xfrm>
            <a:off x="111449" y="1052737"/>
            <a:ext cx="8830019" cy="5357563"/>
            <a:chOff x="111449" y="1052737"/>
            <a:chExt cx="8830019" cy="5357563"/>
          </a:xfrm>
        </p:grpSpPr>
        <p:sp>
          <p:nvSpPr>
            <p:cNvPr id="4" name="Rectangle 151"/>
            <p:cNvSpPr>
              <a:spLocks noChangeArrowheads="1"/>
            </p:cNvSpPr>
            <p:nvPr/>
          </p:nvSpPr>
          <p:spPr bwMode="gray">
            <a:xfrm>
              <a:off x="111451" y="1474081"/>
              <a:ext cx="8830017" cy="4936219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7D7D7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88000" tIns="0" rIns="0" bIns="0" anchor="ctr"/>
            <a:lstStyle/>
            <a:p>
              <a:pPr defTabSz="801688" eaLnBrk="0" hangingPunct="0">
                <a:defRPr/>
              </a:pPr>
              <a:endParaRPr lang="en-US" b="1" noProof="1">
                <a:solidFill>
                  <a:srgbClr val="000000"/>
                </a:solidFill>
                <a:ea typeface="ヒラギノ角ゴ ProN W3" charset="-128"/>
                <a:sym typeface="Arial" pitchFamily="34" charset="0"/>
              </a:endParaRPr>
            </a:p>
          </p:txBody>
        </p:sp>
        <p:sp>
          <p:nvSpPr>
            <p:cNvPr id="5" name="Rectangle 19"/>
            <p:cNvSpPr>
              <a:spLocks noChangeArrowheads="1"/>
            </p:cNvSpPr>
            <p:nvPr/>
          </p:nvSpPr>
          <p:spPr bwMode="gray">
            <a:xfrm>
              <a:off x="111449" y="1052737"/>
              <a:ext cx="8830017" cy="423211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7D7D7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88000" tIns="0" rIns="0" bIns="0" anchor="ctr"/>
            <a:lstStyle/>
            <a:p>
              <a:pPr defTabSz="801688" eaLnBrk="0" hangingPunct="0">
                <a:defRPr/>
              </a:pPr>
              <a:endParaRPr lang="en-US" sz="1600" b="1" noProof="1">
                <a:solidFill>
                  <a:srgbClr val="00599D"/>
                </a:solidFill>
                <a:latin typeface="Calibri" panose="020F0502020204030204" pitchFamily="34" charset="0"/>
                <a:sym typeface="Arial" pitchFamily="34" charset="0"/>
              </a:endParaRPr>
            </a:p>
          </p:txBody>
        </p:sp>
      </p:grpSp>
      <p:sp>
        <p:nvSpPr>
          <p:cNvPr id="6" name="Titel 1"/>
          <p:cNvSpPr txBox="1">
            <a:spLocks/>
          </p:cNvSpPr>
          <p:nvPr/>
        </p:nvSpPr>
        <p:spPr>
          <a:xfrm>
            <a:off x="287338" y="225425"/>
            <a:ext cx="8605837" cy="490538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9pPr>
          </a:lstStyle>
          <a:p>
            <a:r>
              <a:rPr lang="en-US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FAIR Project Progress – Civil Construction</a:t>
            </a:r>
            <a:br>
              <a:rPr lang="en-US" kern="0" dirty="0" smtClean="0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de-DE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467544" y="1104749"/>
            <a:ext cx="384598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>
                <a:solidFill>
                  <a:srgbClr val="00599D"/>
                </a:solidFill>
                <a:latin typeface="Calibri" panose="020F0502020204030204" pitchFamily="34" charset="0"/>
              </a:rPr>
              <a:t>Overview of Excavation Pits Area </a:t>
            </a:r>
            <a:r>
              <a:rPr lang="en-US" dirty="0">
                <a:solidFill>
                  <a:srgbClr val="00599D"/>
                </a:solidFill>
                <a:latin typeface="Calibri" panose="020F0502020204030204" pitchFamily="34" charset="0"/>
              </a:rPr>
              <a:t>N</a:t>
            </a:r>
            <a:r>
              <a:rPr lang="en-US" dirty="0" smtClean="0">
                <a:solidFill>
                  <a:srgbClr val="00599D"/>
                </a:solidFill>
                <a:latin typeface="Calibri" panose="020F0502020204030204" pitchFamily="34" charset="0"/>
              </a:rPr>
              <a:t>orth</a:t>
            </a:r>
            <a:endParaRPr lang="de-DE" dirty="0">
              <a:solidFill>
                <a:srgbClr val="00599D"/>
              </a:solidFill>
              <a:latin typeface="Calibri" panose="020F0502020204030204" pitchFamily="34" charset="0"/>
            </a:endParaRP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7544" y="1615606"/>
            <a:ext cx="8208912" cy="4726642"/>
          </a:xfrm>
          <a:prstGeom prst="rect">
            <a:avLst/>
          </a:prstGeom>
        </p:spPr>
      </p:pic>
      <p:sp>
        <p:nvSpPr>
          <p:cNvPr id="9" name="Fußzeilenplatzhalter 1"/>
          <p:cNvSpPr txBox="1">
            <a:spLocks/>
          </p:cNvSpPr>
          <p:nvPr/>
        </p:nvSpPr>
        <p:spPr>
          <a:xfrm>
            <a:off x="96034" y="6597352"/>
            <a:ext cx="4392613" cy="250825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nb-NO" sz="1200" dirty="0">
                <a:solidFill>
                  <a:srgbClr val="0070C0"/>
                </a:solidFill>
              </a:rPr>
              <a:t>Harald Hagelskamp - Fair Exp. &amp; Acc. 14.12.2018</a:t>
            </a:r>
            <a:endParaRPr lang="de-DE" sz="1200" dirty="0">
              <a:solidFill>
                <a:srgbClr val="0070C0"/>
              </a:solidFill>
            </a:endParaRPr>
          </a:p>
        </p:txBody>
      </p:sp>
      <p:sp>
        <p:nvSpPr>
          <p:cNvPr id="10" name="Foliennummernplatzhalter 3"/>
          <p:cNvSpPr txBox="1">
            <a:spLocks/>
          </p:cNvSpPr>
          <p:nvPr/>
        </p:nvSpPr>
        <p:spPr bwMode="auto">
          <a:xfrm>
            <a:off x="8316913" y="6607175"/>
            <a:ext cx="728662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599D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dirty="0"/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67395092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Rechteck 93"/>
          <p:cNvSpPr/>
          <p:nvPr/>
        </p:nvSpPr>
        <p:spPr>
          <a:xfrm>
            <a:off x="217766" y="141258"/>
            <a:ext cx="769585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2800" kern="0" dirty="0" smtClean="0">
                <a:solidFill>
                  <a:srgbClr val="00599D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FSB </a:t>
            </a:r>
            <a:r>
              <a:rPr lang="de-DE" sz="2800" kern="0" dirty="0" err="1" smtClean="0">
                <a:solidFill>
                  <a:srgbClr val="00599D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Organization</a:t>
            </a:r>
            <a:endParaRPr lang="de-DE" sz="2800" kern="0" dirty="0">
              <a:solidFill>
                <a:srgbClr val="00599D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0641" y="1152056"/>
            <a:ext cx="8453143" cy="5170753"/>
          </a:xfrm>
          <a:prstGeom prst="rect">
            <a:avLst/>
          </a:prstGeom>
        </p:spPr>
      </p:pic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>
          <a:xfrm>
            <a:off x="13502" y="6607175"/>
            <a:ext cx="4392613" cy="250825"/>
          </a:xfrm>
        </p:spPr>
        <p:txBody>
          <a:bodyPr/>
          <a:lstStyle/>
          <a:p>
            <a:pPr>
              <a:defRPr/>
            </a:pPr>
            <a:r>
              <a:rPr lang="nb-NO" smtClean="0"/>
              <a:t>Harald Hagelskamp - Fair Exp. &amp; Acc. 14.12.2018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2715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58" name="Inhaltsplatzhalter 2"/>
          <p:cNvSpPr>
            <a:spLocks/>
          </p:cNvSpPr>
          <p:nvPr/>
        </p:nvSpPr>
        <p:spPr bwMode="auto">
          <a:xfrm>
            <a:off x="322585" y="1251274"/>
            <a:ext cx="8451949" cy="50129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4255" tIns="32126" rIns="64255" bIns="32126"/>
          <a:lstStyle>
            <a:lvl1pPr marL="342900" indent="-3429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647700" indent="-1920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295400" indent="-3810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955800" indent="-5857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603500" indent="-7747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30607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35179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9751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4432300" indent="-774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pPr>
              <a:spcBef>
                <a:spcPts val="642"/>
              </a:spcBef>
            </a:pPr>
            <a:endParaRPr lang="de-DE" altLang="de-DE" sz="1500" b="1" dirty="0">
              <a:solidFill>
                <a:srgbClr val="00599D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C4D4AD7-70E8-48E6-AB08-7B590D372A44}"/>
              </a:ext>
            </a:extLst>
          </p:cNvPr>
          <p:cNvSpPr/>
          <p:nvPr/>
        </p:nvSpPr>
        <p:spPr>
          <a:xfrm>
            <a:off x="262058" y="118115"/>
            <a:ext cx="7695855" cy="803580"/>
          </a:xfrm>
          <a:prstGeom prst="rect">
            <a:avLst/>
          </a:prstGeom>
        </p:spPr>
        <p:txBody>
          <a:bodyPr wrap="square" lIns="64288" tIns="32144" rIns="64288" bIns="32144">
            <a:spAutoFit/>
          </a:bodyPr>
          <a:lstStyle/>
          <a:p>
            <a:r>
              <a:rPr lang="de-DE" altLang="de-DE" sz="2800" kern="0" dirty="0" smtClean="0">
                <a:solidFill>
                  <a:srgbClr val="00599D"/>
                </a:solidFill>
                <a:latin typeface="Calibri" panose="020F0502020204030204" pitchFamily="34" charset="0"/>
              </a:rPr>
              <a:t>FAIR Project Progress </a:t>
            </a:r>
          </a:p>
          <a:p>
            <a:r>
              <a:rPr lang="de-DE" altLang="de-DE" sz="2000" kern="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Civil</a:t>
            </a:r>
            <a:r>
              <a:rPr lang="de-DE" altLang="de-DE" sz="2000" kern="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Works - </a:t>
            </a:r>
            <a:r>
              <a:rPr lang="de-DE" altLang="de-DE" sz="2000" kern="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Procurement</a:t>
            </a:r>
            <a:r>
              <a:rPr lang="de-DE" altLang="de-DE" sz="2000" kern="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altLang="de-DE" sz="2000" kern="0" dirty="0" err="1">
                <a:solidFill>
                  <a:srgbClr val="00599D"/>
                </a:solidFill>
                <a:latin typeface="Calibri" panose="020F0502020204030204" pitchFamily="34" charset="0"/>
              </a:rPr>
              <a:t>and</a:t>
            </a:r>
            <a:r>
              <a:rPr lang="de-DE" altLang="de-DE" sz="2000" kern="0" dirty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altLang="de-DE" sz="2000" kern="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Contracting</a:t>
            </a:r>
            <a:r>
              <a:rPr lang="de-DE" altLang="de-DE" sz="2000" kern="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Status</a:t>
            </a:r>
          </a:p>
        </p:txBody>
      </p:sp>
      <p:graphicFrame>
        <p:nvGraphicFramePr>
          <p:cNvPr id="7" name="Tabel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2413053"/>
              </p:ext>
            </p:extLst>
          </p:nvPr>
        </p:nvGraphicFramePr>
        <p:xfrm>
          <a:off x="107506" y="1412778"/>
          <a:ext cx="8928991" cy="4326457"/>
        </p:xfrm>
        <a:graphic>
          <a:graphicData uri="http://schemas.openxmlformats.org/drawingml/2006/table">
            <a:tbl>
              <a:tblPr firstRow="1" bandRow="1"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12609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246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560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40679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8055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1741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b="1" dirty="0" smtClean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s.</a:t>
                      </a:r>
                      <a:endParaRPr lang="en-US" sz="1200" b="1" dirty="0">
                        <a:solidFill>
                          <a:srgbClr val="FFFFFF"/>
                        </a:solidFill>
                        <a:effectLst>
                          <a:outerShdw blurRad="190500" algn="ctr" rotWithShape="0">
                            <a:prstClr val="black">
                              <a:alpha val="50000"/>
                            </a:prst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rgbClr val="2A79FF">
                            <a:lumMod val="60000"/>
                            <a:lumOff val="40000"/>
                          </a:srgbClr>
                        </a:gs>
                        <a:gs pos="100000">
                          <a:srgbClr val="2A79FF"/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 defTabSz="801688" eaLnBrk="0" hangingPunct="0"/>
                      <a:r>
                        <a:rPr lang="en-US" sz="1200" b="1" noProof="1" smtClean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warding Item</a:t>
                      </a:r>
                    </a:p>
                  </a:txBody>
                  <a:tcPr marL="108000" marR="108000" marT="36000" marB="36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rgbClr val="2A79FF">
                            <a:lumMod val="60000"/>
                            <a:lumOff val="40000"/>
                          </a:srgbClr>
                        </a:gs>
                        <a:gs pos="100000">
                          <a:srgbClr val="2A79FF"/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b="1" dirty="0" smtClean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any</a:t>
                      </a:r>
                      <a:endParaRPr lang="en-US" sz="1200" b="1" dirty="0">
                        <a:solidFill>
                          <a:srgbClr val="FFFFFF"/>
                        </a:solidFill>
                        <a:effectLst>
                          <a:outerShdw blurRad="190500" algn="ctr" rotWithShape="0">
                            <a:prstClr val="black">
                              <a:alpha val="50000"/>
                            </a:prst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rgbClr val="2A79FF">
                            <a:lumMod val="60000"/>
                            <a:lumOff val="40000"/>
                          </a:srgbClr>
                        </a:gs>
                        <a:gs pos="100000">
                          <a:srgbClr val="2A79FF"/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b="1" kern="1200" dirty="0" smtClean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tatus</a:t>
                      </a:r>
                      <a:endParaRPr lang="en-US" sz="1200" b="1" kern="1200" dirty="0">
                        <a:solidFill>
                          <a:srgbClr val="FFFFFF"/>
                        </a:solidFill>
                        <a:effectLst>
                          <a:outerShdw blurRad="190500" algn="ctr" rotWithShape="0">
                            <a:prstClr val="black">
                              <a:alpha val="50000"/>
                            </a:prstClr>
                          </a:outerShdw>
                        </a:effectLst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rgbClr val="2A79FF">
                            <a:lumMod val="60000"/>
                            <a:lumOff val="40000"/>
                          </a:srgbClr>
                        </a:gs>
                        <a:gs pos="100000">
                          <a:srgbClr val="2A79FF"/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 defTabSz="801688" eaLnBrk="0" hangingPunct="0"/>
                      <a:r>
                        <a:rPr lang="en-US" sz="1200" b="1" noProof="1" smtClean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tract</a:t>
                      </a:r>
                      <a:r>
                        <a:rPr lang="en-US" sz="1200" b="1" baseline="0" noProof="1" smtClean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b="1" noProof="1" smtClean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ward Date</a:t>
                      </a:r>
                      <a:endParaRPr lang="en-US" sz="1200" b="1" noProof="1">
                        <a:solidFill>
                          <a:srgbClr val="FFFFFF"/>
                        </a:solidFill>
                        <a:effectLst>
                          <a:outerShdw blurRad="190500" algn="ctr" rotWithShape="0">
                            <a:prstClr val="black">
                              <a:alpha val="50000"/>
                            </a:prst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36000" marB="36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rgbClr val="2A79FF">
                            <a:lumMod val="60000"/>
                            <a:lumOff val="40000"/>
                          </a:srgbClr>
                        </a:gs>
                        <a:gs pos="100000">
                          <a:srgbClr val="2A79FF"/>
                        </a:gs>
                      </a:gsLst>
                      <a:lin ang="54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025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 300-025</a:t>
                      </a:r>
                      <a:endParaRPr lang="en-US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arth Works Area „North“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BN</a:t>
                      </a:r>
                    </a:p>
                    <a:p>
                      <a:pPr algn="ctr"/>
                      <a:r>
                        <a:rPr lang="en-US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sortium</a:t>
                      </a:r>
                      <a:endParaRPr lang="en-US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warded</a:t>
                      </a:r>
                      <a:endParaRPr lang="en-US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.05.2017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807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 300-026 </a:t>
                      </a:r>
                      <a:endParaRPr lang="en-US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>
                        <a:lnSpc>
                          <a:spcPct val="95000"/>
                        </a:lnSpc>
                        <a:spcAft>
                          <a:spcPts val="800"/>
                        </a:spcAft>
                      </a:pPr>
                      <a:r>
                        <a:rPr lang="en-US" sz="1200" b="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ivil Works Area „North“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RR</a:t>
                      </a:r>
                      <a:endParaRPr lang="en-US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warded</a:t>
                      </a:r>
                      <a:endParaRPr lang="en-US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>
                        <a:lnSpc>
                          <a:spcPct val="95000"/>
                        </a:lnSpc>
                        <a:spcAft>
                          <a:spcPts val="800"/>
                        </a:spcAft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.01.2018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807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 300-027 </a:t>
                      </a:r>
                      <a:endParaRPr lang="en-US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>
                        <a:lnSpc>
                          <a:spcPct val="95000"/>
                        </a:lnSpc>
                        <a:spcAft>
                          <a:spcPts val="800"/>
                        </a:spcAft>
                      </a:pPr>
                      <a:r>
                        <a:rPr lang="en-US" sz="1200" b="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te Logistics and Temporary Services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ÜBLIN</a:t>
                      </a:r>
                      <a:endParaRPr lang="en-US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warded</a:t>
                      </a:r>
                      <a:endParaRPr lang="en-US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>
                        <a:lnSpc>
                          <a:spcPct val="95000"/>
                        </a:lnSpc>
                        <a:spcAft>
                          <a:spcPts val="800"/>
                        </a:spcAft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.03.2018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807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 300-028a </a:t>
                      </a:r>
                      <a:endParaRPr lang="en-US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>
                        <a:lnSpc>
                          <a:spcPct val="95000"/>
                        </a:lnSpc>
                        <a:spcAft>
                          <a:spcPts val="800"/>
                        </a:spcAft>
                      </a:pPr>
                      <a:r>
                        <a:rPr lang="en-US" sz="1200" b="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door Elevators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G</a:t>
                      </a:r>
                      <a:endParaRPr lang="en-US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warded</a:t>
                      </a:r>
                      <a:endParaRPr lang="en-US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>
                        <a:lnSpc>
                          <a:spcPct val="95000"/>
                        </a:lnSpc>
                        <a:spcAft>
                          <a:spcPts val="800"/>
                        </a:spcAft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9.04.2018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5807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 300-029 </a:t>
                      </a:r>
                      <a:endParaRPr lang="en-US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200" b="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te Power Supply and Site Security 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AT</a:t>
                      </a:r>
                      <a:endParaRPr lang="en-US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warded</a:t>
                      </a:r>
                      <a:endParaRPr lang="en-US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2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.01.2018</a:t>
                      </a:r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5807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 300-031 </a:t>
                      </a:r>
                      <a:endParaRPr lang="en-US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>
                        <a:lnSpc>
                          <a:spcPct val="95000"/>
                        </a:lnSpc>
                        <a:spcAft>
                          <a:spcPts val="800"/>
                        </a:spcAft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ivil Works Area „South“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ublished</a:t>
                      </a:r>
                      <a:r>
                        <a:rPr lang="en-US" sz="12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n 04.09.2018</a:t>
                      </a:r>
                      <a:endParaRPr lang="en-US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>
                        <a:lnSpc>
                          <a:spcPct val="95000"/>
                        </a:lnSpc>
                        <a:spcAft>
                          <a:spcPts val="800"/>
                        </a:spcAft>
                      </a:pPr>
                      <a:endParaRPr lang="en-GB" sz="1200" dirty="0" smtClean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5807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 300-028b </a:t>
                      </a:r>
                      <a:endParaRPr lang="en-US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>
                        <a:lnSpc>
                          <a:spcPct val="95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door</a:t>
                      </a:r>
                      <a:r>
                        <a:rPr lang="en-GB" sz="1200" baseline="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sz="12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verhead Cranes - Special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-</a:t>
                      </a:r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ublished</a:t>
                      </a:r>
                      <a:r>
                        <a:rPr lang="en-US" sz="12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n 04.09.2018</a:t>
                      </a:r>
                      <a:endParaRPr lang="en-US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>
                        <a:lnSpc>
                          <a:spcPct val="95000"/>
                        </a:lnSpc>
                        <a:spcAft>
                          <a:spcPts val="800"/>
                        </a:spcAft>
                      </a:pPr>
                      <a:endParaRPr lang="en-GB" sz="1200" dirty="0" smtClean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5807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 300-028c </a:t>
                      </a:r>
                      <a:endParaRPr lang="en-US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door Overhead Cranes - Normal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ublished</a:t>
                      </a:r>
                      <a:r>
                        <a:rPr lang="en-US" sz="12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n 04.09.2018</a:t>
                      </a:r>
                      <a:endParaRPr lang="en-US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dirty="0" smtClean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nb-NO" dirty="0" smtClean="0"/>
              <a:t>Harald Hagelskamp - Fair Exp. &amp; Acc. 14.12.2018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063110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Rechteck 111">
            <a:extLst>
              <a:ext uri="{FF2B5EF4-FFF2-40B4-BE49-F238E27FC236}">
                <a16:creationId xmlns:a16="http://schemas.microsoft.com/office/drawing/2014/main" id="{0319BDEE-CA8F-4B26-B281-B270DCD08B43}"/>
              </a:ext>
            </a:extLst>
          </p:cNvPr>
          <p:cNvSpPr/>
          <p:nvPr/>
        </p:nvSpPr>
        <p:spPr>
          <a:xfrm>
            <a:off x="433790" y="116632"/>
            <a:ext cx="7378570" cy="711251"/>
          </a:xfrm>
          <a:prstGeom prst="rect">
            <a:avLst/>
          </a:prstGeom>
        </p:spPr>
        <p:txBody>
          <a:bodyPr wrap="square" lIns="64291" tIns="32146" rIns="64291" bIns="32146">
            <a:spAutoFit/>
          </a:bodyPr>
          <a:lstStyle/>
          <a:p>
            <a:r>
              <a:rPr lang="de-DE" altLang="de-DE" sz="2800" kern="0" dirty="0" smtClean="0">
                <a:solidFill>
                  <a:srgbClr val="00599D"/>
                </a:solidFill>
                <a:latin typeface="Calibri" panose="020F0502020204030204" pitchFamily="34" charset="0"/>
              </a:rPr>
              <a:t>FAIR Project Progress</a:t>
            </a:r>
          </a:p>
          <a:p>
            <a:r>
              <a:rPr lang="de-DE" altLang="de-DE" sz="1400" kern="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Contracting</a:t>
            </a:r>
            <a:r>
              <a:rPr lang="de-DE" altLang="de-DE" sz="1400" kern="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altLang="de-DE" sz="1400" kern="0" dirty="0" err="1">
                <a:solidFill>
                  <a:srgbClr val="00599D"/>
                </a:solidFill>
                <a:latin typeface="Calibri" panose="020F0502020204030204" pitchFamily="34" charset="0"/>
              </a:rPr>
              <a:t>S</a:t>
            </a:r>
            <a:r>
              <a:rPr lang="de-DE" altLang="de-DE" sz="1400" kern="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trategy</a:t>
            </a:r>
            <a:r>
              <a:rPr lang="de-DE" altLang="de-DE" sz="1400" kern="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- Technical </a:t>
            </a:r>
            <a:r>
              <a:rPr lang="de-DE" altLang="de-DE" sz="1400" kern="0" dirty="0">
                <a:solidFill>
                  <a:srgbClr val="00599D"/>
                </a:solidFill>
                <a:latin typeface="Calibri" panose="020F0502020204030204" pitchFamily="34" charset="0"/>
              </a:rPr>
              <a:t>B</a:t>
            </a:r>
            <a:r>
              <a:rPr lang="de-DE" altLang="de-DE" sz="1400" kern="0" dirty="0" smtClean="0">
                <a:solidFill>
                  <a:srgbClr val="00599D"/>
                </a:solidFill>
                <a:latin typeface="Calibri" panose="020F0502020204030204" pitchFamily="34" charset="0"/>
              </a:rPr>
              <a:t>uilding </a:t>
            </a:r>
            <a:r>
              <a:rPr lang="de-DE" altLang="de-DE" sz="1400" kern="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Installations</a:t>
            </a:r>
            <a:r>
              <a:rPr lang="de-DE" altLang="de-DE" sz="1400" kern="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Packages</a:t>
            </a:r>
            <a:endParaRPr lang="de-DE" sz="1400" kern="0" dirty="0">
              <a:solidFill>
                <a:srgbClr val="00599D"/>
              </a:solidFill>
              <a:latin typeface="Calibri" panose="020F0502020204030204" pitchFamily="34" charset="0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629" y="1916832"/>
            <a:ext cx="6044536" cy="3600400"/>
          </a:xfrm>
          <a:prstGeom prst="rect">
            <a:avLst/>
          </a:prstGeom>
          <a:ln w="15875">
            <a:solidFill>
              <a:schemeClr val="accent6">
                <a:lumMod val="60000"/>
                <a:lumOff val="40000"/>
              </a:schemeClr>
            </a:solidFill>
          </a:ln>
        </p:spPr>
      </p:pic>
      <p:sp>
        <p:nvSpPr>
          <p:cNvPr id="6" name="Textfeld 5"/>
          <p:cNvSpPr txBox="1"/>
          <p:nvPr/>
        </p:nvSpPr>
        <p:spPr>
          <a:xfrm>
            <a:off x="130629" y="1268760"/>
            <a:ext cx="8689843" cy="369332"/>
          </a:xfrm>
          <a:prstGeom prst="rect">
            <a:avLst/>
          </a:prstGeom>
          <a:solidFill>
            <a:schemeClr val="accent5">
              <a:lumMod val="90000"/>
            </a:schemeClr>
          </a:solidFill>
          <a:ln w="15875"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altLang="de-DE" kern="0" dirty="0" smtClean="0">
                <a:solidFill>
                  <a:srgbClr val="00599D"/>
                </a:solidFill>
                <a:latin typeface="Calibri" panose="020F0502020204030204" pitchFamily="34" charset="0"/>
              </a:rPr>
              <a:t>Mechanical </a:t>
            </a:r>
            <a:r>
              <a:rPr lang="de-DE" altLang="de-DE" kern="0" dirty="0">
                <a:solidFill>
                  <a:srgbClr val="00599D"/>
                </a:solidFill>
                <a:latin typeface="Calibri" panose="020F0502020204030204" pitchFamily="34" charset="0"/>
              </a:rPr>
              <a:t>&amp; </a:t>
            </a:r>
            <a:r>
              <a:rPr lang="de-DE" altLang="de-DE" kern="0" dirty="0" err="1">
                <a:solidFill>
                  <a:srgbClr val="00599D"/>
                </a:solidFill>
                <a:latin typeface="Calibri" panose="020F0502020204030204" pitchFamily="34" charset="0"/>
              </a:rPr>
              <a:t>Electrical</a:t>
            </a:r>
            <a:r>
              <a:rPr lang="de-DE" altLang="de-DE" kern="0" dirty="0">
                <a:solidFill>
                  <a:srgbClr val="00599D"/>
                </a:solidFill>
                <a:latin typeface="Calibri" panose="020F0502020204030204" pitchFamily="34" charset="0"/>
              </a:rPr>
              <a:t> &amp; </a:t>
            </a:r>
            <a:r>
              <a:rPr lang="de-DE" altLang="de-DE" kern="0" dirty="0" err="1">
                <a:solidFill>
                  <a:srgbClr val="00599D"/>
                </a:solidFill>
                <a:latin typeface="Calibri" panose="020F0502020204030204" pitchFamily="34" charset="0"/>
              </a:rPr>
              <a:t>Process</a:t>
            </a:r>
            <a:r>
              <a:rPr lang="de-DE" altLang="de-DE" kern="0" dirty="0">
                <a:solidFill>
                  <a:srgbClr val="00599D"/>
                </a:solidFill>
                <a:latin typeface="Calibri" panose="020F0502020204030204" pitchFamily="34" charset="0"/>
              </a:rPr>
              <a:t> (MEP)</a:t>
            </a:r>
            <a:endParaRPr lang="de-DE" kern="0" dirty="0">
              <a:solidFill>
                <a:srgbClr val="00599D"/>
              </a:solidFill>
              <a:latin typeface="Calibri" panose="020F0502020204030204" pitchFamily="34" charset="0"/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6300192" y="2276872"/>
            <a:ext cx="2736304" cy="2631490"/>
          </a:xfrm>
          <a:prstGeom prst="rect">
            <a:avLst/>
          </a:prstGeom>
          <a:ln w="15875"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000" b="1" dirty="0" err="1" smtClean="0">
                <a:solidFill>
                  <a:srgbClr val="003366"/>
                </a:solidFill>
                <a:latin typeface="+mj-lt"/>
              </a:rPr>
              <a:t>Strategy</a:t>
            </a:r>
            <a:r>
              <a:rPr lang="de-DE" sz="1000" b="1" dirty="0" smtClean="0">
                <a:solidFill>
                  <a:srgbClr val="003366"/>
                </a:solidFill>
                <a:latin typeface="+mj-lt"/>
              </a:rPr>
              <a:t> Parameters:</a:t>
            </a:r>
          </a:p>
          <a:p>
            <a:pPr>
              <a:lnSpc>
                <a:spcPct val="150000"/>
              </a:lnSpc>
            </a:pPr>
            <a:endParaRPr lang="de-DE" sz="1000" b="1" dirty="0" smtClean="0">
              <a:solidFill>
                <a:srgbClr val="003366"/>
              </a:solidFill>
              <a:latin typeface="+mj-lt"/>
            </a:endParaRPr>
          </a:p>
          <a:p>
            <a:pPr marL="241093" indent="-241093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de-DE" sz="1000" dirty="0" err="1">
                <a:solidFill>
                  <a:srgbClr val="003366"/>
                </a:solidFill>
                <a:latin typeface="+mj-lt"/>
              </a:rPr>
              <a:t>E</a:t>
            </a:r>
            <a:r>
              <a:rPr lang="de-DE" sz="1000" dirty="0" err="1" smtClean="0">
                <a:solidFill>
                  <a:srgbClr val="003366"/>
                </a:solidFill>
                <a:latin typeface="+mj-lt"/>
              </a:rPr>
              <a:t>conomical</a:t>
            </a:r>
            <a:r>
              <a:rPr lang="de-DE" sz="1000" dirty="0" smtClean="0">
                <a:solidFill>
                  <a:srgbClr val="003366"/>
                </a:solidFill>
                <a:latin typeface="+mj-lt"/>
              </a:rPr>
              <a:t> </a:t>
            </a:r>
            <a:r>
              <a:rPr lang="de-DE" sz="1000" dirty="0" err="1" smtClean="0">
                <a:solidFill>
                  <a:srgbClr val="003366"/>
                </a:solidFill>
                <a:latin typeface="+mj-lt"/>
              </a:rPr>
              <a:t>viability</a:t>
            </a:r>
            <a:r>
              <a:rPr lang="de-DE" sz="1000" dirty="0">
                <a:solidFill>
                  <a:srgbClr val="003366"/>
                </a:solidFill>
                <a:latin typeface="+mj-lt"/>
              </a:rPr>
              <a:t> </a:t>
            </a:r>
            <a:r>
              <a:rPr lang="de-DE" sz="1000" dirty="0" err="1" smtClean="0">
                <a:solidFill>
                  <a:srgbClr val="003366"/>
                </a:solidFill>
                <a:latin typeface="+mj-lt"/>
              </a:rPr>
              <a:t>accross</a:t>
            </a:r>
            <a:r>
              <a:rPr lang="de-DE" sz="1000" dirty="0" smtClean="0">
                <a:solidFill>
                  <a:srgbClr val="003366"/>
                </a:solidFill>
                <a:latin typeface="+mj-lt"/>
              </a:rPr>
              <a:t> all </a:t>
            </a:r>
            <a:r>
              <a:rPr lang="de-DE" sz="1000" dirty="0">
                <a:solidFill>
                  <a:srgbClr val="003366"/>
                </a:solidFill>
                <a:latin typeface="+mj-lt"/>
              </a:rPr>
              <a:t>T</a:t>
            </a:r>
            <a:r>
              <a:rPr lang="de-DE" sz="1000" dirty="0" smtClean="0">
                <a:solidFill>
                  <a:srgbClr val="003366"/>
                </a:solidFill>
                <a:latin typeface="+mj-lt"/>
              </a:rPr>
              <a:t>rades.</a:t>
            </a:r>
            <a:endParaRPr lang="de-DE" sz="1000" dirty="0">
              <a:solidFill>
                <a:srgbClr val="003366"/>
              </a:solidFill>
              <a:latin typeface="+mj-lt"/>
            </a:endParaRPr>
          </a:p>
          <a:p>
            <a:pPr marL="241093" indent="-241093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de-DE" sz="1000" dirty="0" err="1" smtClean="0">
                <a:solidFill>
                  <a:srgbClr val="003366"/>
                </a:solidFill>
                <a:latin typeface="+mj-lt"/>
              </a:rPr>
              <a:t>Attract</a:t>
            </a:r>
            <a:r>
              <a:rPr lang="de-DE" sz="1000" dirty="0" smtClean="0">
                <a:solidFill>
                  <a:srgbClr val="003366"/>
                </a:solidFill>
                <a:latin typeface="+mj-lt"/>
              </a:rPr>
              <a:t> </a:t>
            </a:r>
            <a:r>
              <a:rPr lang="de-DE" sz="1000" dirty="0" err="1" smtClean="0">
                <a:solidFill>
                  <a:srgbClr val="003366"/>
                </a:solidFill>
                <a:latin typeface="+mj-lt"/>
              </a:rPr>
              <a:t>and</a:t>
            </a:r>
            <a:r>
              <a:rPr lang="de-DE" sz="1000" dirty="0" smtClean="0">
                <a:solidFill>
                  <a:srgbClr val="003366"/>
                </a:solidFill>
                <a:latin typeface="+mj-lt"/>
              </a:rPr>
              <a:t> </a:t>
            </a:r>
            <a:r>
              <a:rPr lang="de-DE" sz="1000" dirty="0" err="1" smtClean="0">
                <a:solidFill>
                  <a:srgbClr val="003366"/>
                </a:solidFill>
                <a:latin typeface="+mj-lt"/>
              </a:rPr>
              <a:t>address</a:t>
            </a:r>
            <a:r>
              <a:rPr lang="de-DE" sz="1000" dirty="0" smtClean="0">
                <a:solidFill>
                  <a:srgbClr val="003366"/>
                </a:solidFill>
                <a:latin typeface="+mj-lt"/>
              </a:rPr>
              <a:t> a </a:t>
            </a:r>
            <a:r>
              <a:rPr lang="de-DE" sz="1000" dirty="0" err="1" smtClean="0">
                <a:solidFill>
                  <a:srgbClr val="003366"/>
                </a:solidFill>
                <a:latin typeface="+mj-lt"/>
              </a:rPr>
              <a:t>suitable</a:t>
            </a:r>
            <a:r>
              <a:rPr lang="de-DE" sz="1000" dirty="0" smtClean="0">
                <a:solidFill>
                  <a:srgbClr val="003366"/>
                </a:solidFill>
                <a:latin typeface="+mj-lt"/>
              </a:rPr>
              <a:t> </a:t>
            </a:r>
            <a:r>
              <a:rPr lang="de-DE" sz="1000" dirty="0" err="1" smtClean="0">
                <a:solidFill>
                  <a:srgbClr val="003366"/>
                </a:solidFill>
                <a:latin typeface="+mj-lt"/>
              </a:rPr>
              <a:t>group</a:t>
            </a:r>
            <a:r>
              <a:rPr lang="de-DE" sz="1000" dirty="0" smtClean="0">
                <a:solidFill>
                  <a:srgbClr val="003366"/>
                </a:solidFill>
                <a:latin typeface="+mj-lt"/>
              </a:rPr>
              <a:t> </a:t>
            </a:r>
            <a:r>
              <a:rPr lang="de-DE" sz="1000" dirty="0" err="1" smtClean="0">
                <a:solidFill>
                  <a:srgbClr val="003366"/>
                </a:solidFill>
                <a:latin typeface="+mj-lt"/>
              </a:rPr>
              <a:t>of</a:t>
            </a:r>
            <a:r>
              <a:rPr lang="de-DE" sz="1000" dirty="0" smtClean="0">
                <a:solidFill>
                  <a:srgbClr val="003366"/>
                </a:solidFill>
                <a:latin typeface="+mj-lt"/>
              </a:rPr>
              <a:t> </a:t>
            </a:r>
            <a:r>
              <a:rPr lang="de-DE" sz="1000" dirty="0" err="1" smtClean="0">
                <a:solidFill>
                  <a:srgbClr val="003366"/>
                </a:solidFill>
                <a:latin typeface="+mj-lt"/>
              </a:rPr>
              <a:t>qualified</a:t>
            </a:r>
            <a:r>
              <a:rPr lang="de-DE" sz="1000" dirty="0" smtClean="0">
                <a:solidFill>
                  <a:srgbClr val="003366"/>
                </a:solidFill>
                <a:latin typeface="+mj-lt"/>
              </a:rPr>
              <a:t> </a:t>
            </a:r>
            <a:r>
              <a:rPr lang="de-DE" sz="1000" dirty="0" err="1">
                <a:solidFill>
                  <a:srgbClr val="003366"/>
                </a:solidFill>
                <a:latin typeface="+mj-lt"/>
              </a:rPr>
              <a:t>C</a:t>
            </a:r>
            <a:r>
              <a:rPr lang="de-DE" sz="1000" dirty="0" err="1" smtClean="0">
                <a:solidFill>
                  <a:srgbClr val="003366"/>
                </a:solidFill>
                <a:latin typeface="+mj-lt"/>
              </a:rPr>
              <a:t>ontractors</a:t>
            </a:r>
            <a:r>
              <a:rPr lang="de-DE" sz="1000" dirty="0" smtClean="0">
                <a:solidFill>
                  <a:srgbClr val="003366"/>
                </a:solidFill>
                <a:latin typeface="+mj-lt"/>
              </a:rPr>
              <a:t>.</a:t>
            </a:r>
            <a:endParaRPr lang="de-DE" sz="1000" dirty="0">
              <a:solidFill>
                <a:srgbClr val="003366"/>
              </a:solidFill>
              <a:latin typeface="+mj-lt"/>
            </a:endParaRPr>
          </a:p>
          <a:p>
            <a:pPr marL="241093" indent="-241093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de-DE" sz="1000" dirty="0" err="1" smtClean="0">
                <a:solidFill>
                  <a:srgbClr val="003366"/>
                </a:solidFill>
                <a:latin typeface="+mj-lt"/>
              </a:rPr>
              <a:t>Grouping</a:t>
            </a:r>
            <a:r>
              <a:rPr lang="de-DE" sz="1000" dirty="0" smtClean="0">
                <a:solidFill>
                  <a:srgbClr val="003366"/>
                </a:solidFill>
                <a:latin typeface="+mj-lt"/>
              </a:rPr>
              <a:t> </a:t>
            </a:r>
            <a:r>
              <a:rPr lang="de-DE" sz="1000" dirty="0" err="1" smtClean="0">
                <a:solidFill>
                  <a:srgbClr val="003366"/>
                </a:solidFill>
                <a:latin typeface="+mj-lt"/>
              </a:rPr>
              <a:t>of</a:t>
            </a:r>
            <a:r>
              <a:rPr lang="de-DE" sz="1000" dirty="0" smtClean="0">
                <a:solidFill>
                  <a:srgbClr val="003366"/>
                </a:solidFill>
                <a:latin typeface="+mj-lt"/>
              </a:rPr>
              <a:t> Trades </a:t>
            </a:r>
            <a:r>
              <a:rPr lang="de-DE" sz="1000" dirty="0" err="1" smtClean="0">
                <a:solidFill>
                  <a:srgbClr val="003366"/>
                </a:solidFill>
                <a:latin typeface="+mj-lt"/>
              </a:rPr>
              <a:t>by</a:t>
            </a:r>
            <a:r>
              <a:rPr lang="de-DE" sz="1000" dirty="0" smtClean="0">
                <a:solidFill>
                  <a:srgbClr val="003366"/>
                </a:solidFill>
                <a:latin typeface="+mj-lt"/>
              </a:rPr>
              <a:t> </a:t>
            </a:r>
            <a:r>
              <a:rPr lang="de-DE" sz="1000" dirty="0" err="1" smtClean="0">
                <a:solidFill>
                  <a:srgbClr val="003366"/>
                </a:solidFill>
                <a:latin typeface="+mj-lt"/>
              </a:rPr>
              <a:t>Functionality</a:t>
            </a:r>
            <a:r>
              <a:rPr lang="de-DE" sz="1000" dirty="0" smtClean="0">
                <a:solidFill>
                  <a:srgbClr val="003366"/>
                </a:solidFill>
                <a:latin typeface="+mj-lt"/>
              </a:rPr>
              <a:t>.</a:t>
            </a:r>
            <a:endParaRPr lang="de-DE" sz="1000" dirty="0">
              <a:solidFill>
                <a:srgbClr val="003366"/>
              </a:solidFill>
              <a:latin typeface="+mj-lt"/>
            </a:endParaRPr>
          </a:p>
          <a:p>
            <a:pPr marL="241093" indent="-241093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de-DE" sz="1000" dirty="0" err="1" smtClean="0">
                <a:solidFill>
                  <a:srgbClr val="003366"/>
                </a:solidFill>
                <a:latin typeface="+mj-lt"/>
              </a:rPr>
              <a:t>Minimise</a:t>
            </a:r>
            <a:r>
              <a:rPr lang="de-DE" sz="1000" dirty="0" smtClean="0">
                <a:solidFill>
                  <a:srgbClr val="003366"/>
                </a:solidFill>
                <a:latin typeface="+mj-lt"/>
              </a:rPr>
              <a:t> </a:t>
            </a:r>
            <a:r>
              <a:rPr lang="de-DE" sz="1000" dirty="0" err="1">
                <a:solidFill>
                  <a:srgbClr val="003366"/>
                </a:solidFill>
                <a:latin typeface="+mj-lt"/>
              </a:rPr>
              <a:t>F</a:t>
            </a:r>
            <a:r>
              <a:rPr lang="de-DE" sz="1000" dirty="0" err="1" smtClean="0">
                <a:solidFill>
                  <a:srgbClr val="003366"/>
                </a:solidFill>
                <a:latin typeface="+mj-lt"/>
              </a:rPr>
              <a:t>unctional</a:t>
            </a:r>
            <a:r>
              <a:rPr lang="de-DE" sz="1000" dirty="0" smtClean="0">
                <a:solidFill>
                  <a:srgbClr val="003366"/>
                </a:solidFill>
                <a:latin typeface="+mj-lt"/>
              </a:rPr>
              <a:t> </a:t>
            </a:r>
            <a:r>
              <a:rPr lang="de-DE" sz="1000" dirty="0">
                <a:solidFill>
                  <a:srgbClr val="003366"/>
                </a:solidFill>
                <a:latin typeface="+mj-lt"/>
              </a:rPr>
              <a:t>I</a:t>
            </a:r>
            <a:r>
              <a:rPr lang="de-DE" sz="1000" dirty="0" smtClean="0">
                <a:solidFill>
                  <a:srgbClr val="003366"/>
                </a:solidFill>
                <a:latin typeface="+mj-lt"/>
              </a:rPr>
              <a:t>nterfaces.</a:t>
            </a:r>
          </a:p>
          <a:p>
            <a:pPr marL="241093" indent="-241093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de-DE" sz="1000" dirty="0" err="1" smtClean="0">
                <a:solidFill>
                  <a:srgbClr val="003366"/>
                </a:solidFill>
                <a:latin typeface="+mj-lt"/>
              </a:rPr>
              <a:t>Reduced</a:t>
            </a:r>
            <a:r>
              <a:rPr lang="de-DE" sz="1000" dirty="0" smtClean="0">
                <a:solidFill>
                  <a:srgbClr val="003366"/>
                </a:solidFill>
                <a:latin typeface="+mj-lt"/>
              </a:rPr>
              <a:t> </a:t>
            </a:r>
            <a:r>
              <a:rPr lang="de-DE" sz="1000" dirty="0" err="1" smtClean="0">
                <a:solidFill>
                  <a:srgbClr val="003366"/>
                </a:solidFill>
                <a:latin typeface="+mj-lt"/>
              </a:rPr>
              <a:t>Execution</a:t>
            </a:r>
            <a:r>
              <a:rPr lang="de-DE" sz="1000" dirty="0" smtClean="0">
                <a:solidFill>
                  <a:srgbClr val="003366"/>
                </a:solidFill>
                <a:latin typeface="+mj-lt"/>
              </a:rPr>
              <a:t> Interfaces.</a:t>
            </a:r>
          </a:p>
          <a:p>
            <a:pPr marL="241093" indent="-241093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de-DE" sz="1000" dirty="0" err="1" smtClean="0">
                <a:solidFill>
                  <a:srgbClr val="003366"/>
                </a:solidFill>
                <a:latin typeface="+mj-lt"/>
              </a:rPr>
              <a:t>Reduced</a:t>
            </a:r>
            <a:r>
              <a:rPr lang="de-DE" sz="1000" dirty="0" smtClean="0">
                <a:solidFill>
                  <a:srgbClr val="003366"/>
                </a:solidFill>
                <a:latin typeface="+mj-lt"/>
              </a:rPr>
              <a:t> QA </a:t>
            </a:r>
            <a:r>
              <a:rPr lang="de-DE" sz="1000" dirty="0" err="1" smtClean="0">
                <a:solidFill>
                  <a:srgbClr val="003366"/>
                </a:solidFill>
                <a:latin typeface="+mj-lt"/>
              </a:rPr>
              <a:t>Mangement</a:t>
            </a:r>
            <a:r>
              <a:rPr lang="de-DE" sz="1000" dirty="0" smtClean="0">
                <a:solidFill>
                  <a:srgbClr val="003366"/>
                </a:solidFill>
                <a:latin typeface="+mj-lt"/>
              </a:rPr>
              <a:t> </a:t>
            </a:r>
            <a:r>
              <a:rPr lang="de-DE" sz="1000" dirty="0" err="1" smtClean="0">
                <a:solidFill>
                  <a:srgbClr val="003366"/>
                </a:solidFill>
                <a:latin typeface="+mj-lt"/>
              </a:rPr>
              <a:t>Effort</a:t>
            </a:r>
            <a:r>
              <a:rPr lang="de-DE" sz="1000" dirty="0" smtClean="0">
                <a:solidFill>
                  <a:srgbClr val="003366"/>
                </a:solidFill>
                <a:latin typeface="+mj-lt"/>
              </a:rPr>
              <a:t>.</a:t>
            </a:r>
          </a:p>
          <a:p>
            <a:pPr marL="241093" indent="-241093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de-DE" sz="1000" dirty="0" err="1" smtClean="0">
                <a:solidFill>
                  <a:srgbClr val="003366"/>
                </a:solidFill>
                <a:latin typeface="+mj-lt"/>
              </a:rPr>
              <a:t>Optimised</a:t>
            </a:r>
            <a:r>
              <a:rPr lang="de-DE" sz="1000" dirty="0" smtClean="0">
                <a:solidFill>
                  <a:srgbClr val="003366"/>
                </a:solidFill>
                <a:latin typeface="+mj-lt"/>
              </a:rPr>
              <a:t> </a:t>
            </a:r>
            <a:r>
              <a:rPr lang="de-DE" sz="1000" dirty="0" err="1" smtClean="0">
                <a:solidFill>
                  <a:srgbClr val="003366"/>
                </a:solidFill>
                <a:latin typeface="+mj-lt"/>
              </a:rPr>
              <a:t>Commissioning</a:t>
            </a:r>
            <a:r>
              <a:rPr lang="de-DE" sz="1000" dirty="0" smtClean="0">
                <a:solidFill>
                  <a:srgbClr val="003366"/>
                </a:solidFill>
                <a:latin typeface="+mj-lt"/>
              </a:rPr>
              <a:t> </a:t>
            </a:r>
            <a:r>
              <a:rPr lang="de-DE" sz="1000" dirty="0" err="1" smtClean="0">
                <a:solidFill>
                  <a:srgbClr val="003366"/>
                </a:solidFill>
                <a:latin typeface="+mj-lt"/>
              </a:rPr>
              <a:t>Processes</a:t>
            </a:r>
            <a:r>
              <a:rPr lang="de-DE" sz="1000" dirty="0" smtClean="0">
                <a:solidFill>
                  <a:srgbClr val="003366"/>
                </a:solidFill>
                <a:latin typeface="+mj-lt"/>
              </a:rPr>
              <a:t>.</a:t>
            </a:r>
          </a:p>
          <a:p>
            <a:pPr marL="241093" indent="-241093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de-DE" sz="1000" dirty="0" err="1" smtClean="0">
                <a:solidFill>
                  <a:srgbClr val="003366"/>
                </a:solidFill>
                <a:latin typeface="+mj-lt"/>
              </a:rPr>
              <a:t>Reduced</a:t>
            </a:r>
            <a:r>
              <a:rPr lang="de-DE" sz="1000" dirty="0" smtClean="0">
                <a:solidFill>
                  <a:srgbClr val="003366"/>
                </a:solidFill>
                <a:latin typeface="+mj-lt"/>
              </a:rPr>
              <a:t> </a:t>
            </a:r>
            <a:r>
              <a:rPr lang="de-DE" sz="1000" dirty="0" err="1" smtClean="0">
                <a:solidFill>
                  <a:srgbClr val="003366"/>
                </a:solidFill>
                <a:latin typeface="+mj-lt"/>
              </a:rPr>
              <a:t>Warranty</a:t>
            </a:r>
            <a:r>
              <a:rPr lang="de-DE" sz="1000" dirty="0" smtClean="0">
                <a:solidFill>
                  <a:srgbClr val="003366"/>
                </a:solidFill>
                <a:latin typeface="+mj-lt"/>
              </a:rPr>
              <a:t> </a:t>
            </a:r>
            <a:r>
              <a:rPr lang="de-DE" sz="1000" dirty="0" err="1" smtClean="0">
                <a:solidFill>
                  <a:srgbClr val="003366"/>
                </a:solidFill>
                <a:latin typeface="+mj-lt"/>
              </a:rPr>
              <a:t>and</a:t>
            </a:r>
            <a:r>
              <a:rPr lang="de-DE" sz="1000" dirty="0" smtClean="0">
                <a:solidFill>
                  <a:srgbClr val="003366"/>
                </a:solidFill>
                <a:latin typeface="+mj-lt"/>
              </a:rPr>
              <a:t> </a:t>
            </a:r>
            <a:r>
              <a:rPr lang="de-DE" sz="1000" dirty="0" err="1" smtClean="0">
                <a:solidFill>
                  <a:srgbClr val="003366"/>
                </a:solidFill>
                <a:latin typeface="+mj-lt"/>
              </a:rPr>
              <a:t>Risk</a:t>
            </a:r>
            <a:r>
              <a:rPr lang="de-DE" sz="1000" dirty="0" smtClean="0">
                <a:solidFill>
                  <a:srgbClr val="003366"/>
                </a:solidFill>
                <a:latin typeface="+mj-lt"/>
              </a:rPr>
              <a:t> Interfaces.</a:t>
            </a:r>
            <a:endParaRPr lang="de-DE" sz="1000" dirty="0">
              <a:solidFill>
                <a:srgbClr val="003366"/>
              </a:solidFill>
              <a:latin typeface="+mj-lt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nb-NO" smtClean="0"/>
              <a:t>Harald Hagelskamp - Fair Exp. &amp; Acc. 14.12.2018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23249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1">
            <a:extLst>
              <a:ext uri="{FF2B5EF4-FFF2-40B4-BE49-F238E27FC236}">
                <a16:creationId xmlns:a16="http://schemas.microsoft.com/office/drawing/2014/main" id="{00FA24C5-0C8A-456B-AD9E-D788627598C5}"/>
              </a:ext>
            </a:extLst>
          </p:cNvPr>
          <p:cNvSpPr>
            <a:spLocks/>
          </p:cNvSpPr>
          <p:nvPr/>
        </p:nvSpPr>
        <p:spPr bwMode="auto">
          <a:xfrm>
            <a:off x="239438" y="116632"/>
            <a:ext cx="8759098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40620" bIns="0">
            <a:spAutoFit/>
          </a:bodyPr>
          <a:lstStyle>
            <a:lvl1pPr marL="5715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1pPr>
            <a:lvl2pPr marL="742950" indent="-28733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2pPr>
            <a:lvl3pPr marL="11430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3pPr>
            <a:lvl4pPr marL="1600200" indent="-230188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4pPr>
            <a:lvl5pPr marL="2057400" indent="-228600" eaLnBrk="0" hangingPunct="0"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000000"/>
                </a:solidFill>
                <a:latin typeface="Arial" pitchFamily="34" charset="0"/>
                <a:ea typeface="ヒラギノ角ゴ ProN W3" charset="-128"/>
                <a:sym typeface="Arial" pitchFamily="34" charset="0"/>
              </a:defRPr>
            </a:lvl9pPr>
          </a:lstStyle>
          <a:p>
            <a:r>
              <a:rPr lang="de-DE" altLang="de-DE" sz="2800" kern="0" dirty="0" smtClean="0">
                <a:solidFill>
                  <a:srgbClr val="00599D"/>
                </a:solidFill>
                <a:latin typeface="Calibri" panose="020F0502020204030204" pitchFamily="34" charset="0"/>
              </a:rPr>
              <a:t>FAIR Project Progress</a:t>
            </a:r>
          </a:p>
          <a:p>
            <a:r>
              <a:rPr lang="de-DE" altLang="de-DE" sz="2000" kern="0" dirty="0" smtClean="0">
                <a:solidFill>
                  <a:srgbClr val="00599D"/>
                </a:solidFill>
                <a:latin typeface="Calibri" panose="020F0502020204030204" pitchFamily="34" charset="0"/>
              </a:rPr>
              <a:t>Technical Building </a:t>
            </a:r>
            <a:r>
              <a:rPr lang="de-DE" altLang="de-DE" sz="2000" kern="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Installations</a:t>
            </a:r>
            <a:r>
              <a:rPr lang="de-DE" altLang="de-DE" sz="2000" kern="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- </a:t>
            </a:r>
            <a:r>
              <a:rPr lang="de-DE" altLang="de-DE" sz="2000" kern="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Procurement</a:t>
            </a:r>
            <a:r>
              <a:rPr lang="de-DE" altLang="de-DE" sz="2000" kern="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altLang="de-DE" sz="2000" kern="0" dirty="0">
                <a:solidFill>
                  <a:srgbClr val="00599D"/>
                </a:solidFill>
                <a:latin typeface="Calibri" panose="020F0502020204030204" pitchFamily="34" charset="0"/>
              </a:rPr>
              <a:t>and </a:t>
            </a:r>
            <a:r>
              <a:rPr lang="de-DE" altLang="de-DE" sz="2000" kern="0" dirty="0" err="1">
                <a:solidFill>
                  <a:srgbClr val="00599D"/>
                </a:solidFill>
                <a:latin typeface="Calibri" panose="020F0502020204030204" pitchFamily="34" charset="0"/>
              </a:rPr>
              <a:t>Contracting</a:t>
            </a:r>
            <a:r>
              <a:rPr lang="de-DE" altLang="de-DE" sz="2000" kern="0" dirty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altLang="de-DE" sz="2000" kern="0" dirty="0" smtClean="0">
                <a:solidFill>
                  <a:srgbClr val="00599D"/>
                </a:solidFill>
                <a:latin typeface="Calibri" panose="020F0502020204030204" pitchFamily="34" charset="0"/>
              </a:rPr>
              <a:t>Status</a:t>
            </a:r>
            <a:endParaRPr lang="de-DE" altLang="de-DE" sz="2000" kern="0" dirty="0">
              <a:solidFill>
                <a:srgbClr val="00599D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6322030"/>
              </p:ext>
            </p:extLst>
          </p:nvPr>
        </p:nvGraphicFramePr>
        <p:xfrm>
          <a:off x="516178" y="1484784"/>
          <a:ext cx="7960366" cy="4359911"/>
        </p:xfrm>
        <a:graphic>
          <a:graphicData uri="http://schemas.openxmlformats.org/drawingml/2006/table">
            <a:tbl>
              <a:tblPr firstRow="1" bandRow="1">
                <a:effectLst>
                  <a:outerShdw blurRad="127000" dist="635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118223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383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3704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8310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1960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2430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b="1" dirty="0" smtClean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s.</a:t>
                      </a:r>
                      <a:endParaRPr lang="en-US" sz="1200" b="1" dirty="0">
                        <a:solidFill>
                          <a:srgbClr val="FFFFFF"/>
                        </a:solidFill>
                        <a:effectLst>
                          <a:outerShdw blurRad="190500" algn="ctr" rotWithShape="0">
                            <a:prstClr val="black">
                              <a:alpha val="50000"/>
                            </a:prstClr>
                          </a:outerShdw>
                        </a:effectLs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rgbClr val="2A79FF">
                            <a:lumMod val="60000"/>
                            <a:lumOff val="40000"/>
                          </a:srgbClr>
                        </a:gs>
                        <a:gs pos="100000">
                          <a:srgbClr val="2A79FF"/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 defTabSz="801688" eaLnBrk="0" hangingPunct="0"/>
                      <a:r>
                        <a:rPr lang="en-US" sz="1200" b="1" noProof="1" smtClean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warding Item</a:t>
                      </a:r>
                    </a:p>
                  </a:txBody>
                  <a:tcPr marL="108000" marR="108000" marT="36000" marB="36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rgbClr val="2A79FF">
                            <a:lumMod val="60000"/>
                            <a:lumOff val="40000"/>
                          </a:srgbClr>
                        </a:gs>
                        <a:gs pos="100000">
                          <a:srgbClr val="2A79FF"/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b="1" dirty="0" smtClean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ecifications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rgbClr val="2A79FF">
                            <a:lumMod val="60000"/>
                            <a:lumOff val="40000"/>
                          </a:srgbClr>
                        </a:gs>
                        <a:gs pos="100000">
                          <a:srgbClr val="2A79FF"/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b="1" kern="1200" dirty="0" smtClean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tatus</a:t>
                      </a:r>
                      <a:endParaRPr lang="en-US" sz="1200" b="1" kern="1200" dirty="0">
                        <a:solidFill>
                          <a:srgbClr val="FFFFFF"/>
                        </a:solidFill>
                        <a:effectLst>
                          <a:outerShdw blurRad="190500" algn="ctr" rotWithShape="0">
                            <a:prstClr val="black">
                              <a:alpha val="50000"/>
                            </a:prstClr>
                          </a:outerShdw>
                        </a:effectLst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rgbClr val="2A79FF">
                            <a:lumMod val="60000"/>
                            <a:lumOff val="40000"/>
                          </a:srgbClr>
                        </a:gs>
                        <a:gs pos="100000">
                          <a:srgbClr val="2A79FF"/>
                        </a:gs>
                      </a:gsLst>
                      <a:lin ang="5400000" scaled="1"/>
                    </a:gra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1" kern="1200" noProof="0" dirty="0" smtClean="0">
                          <a:solidFill>
                            <a:srgbClr val="FFFFFF"/>
                          </a:solidFill>
                          <a:effectLst>
                            <a:outerShdw blurRad="190500" algn="ctr" rotWithShape="0">
                              <a:prstClr val="black">
                                <a:alpha val="50000"/>
                              </a:prstClr>
                            </a:outerShdw>
                          </a:effectLst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lanned Contract award date</a:t>
                      </a:r>
                      <a:endParaRPr lang="de-DE" sz="1200" b="1" kern="1200" noProof="0" dirty="0">
                        <a:solidFill>
                          <a:srgbClr val="FFFFFF"/>
                        </a:solidFill>
                        <a:effectLst>
                          <a:outerShdw blurRad="190500" algn="ctr" rotWithShape="0">
                            <a:prstClr val="black">
                              <a:alpha val="50000"/>
                            </a:prstClr>
                          </a:outerShdw>
                        </a:effectLst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08000" marR="108000" marT="36000" marB="36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gradFill>
                      <a:gsLst>
                        <a:gs pos="0">
                          <a:srgbClr val="2A79FF">
                            <a:lumMod val="60000"/>
                            <a:lumOff val="40000"/>
                          </a:srgbClr>
                        </a:gs>
                        <a:gs pos="100000">
                          <a:srgbClr val="2A79FF"/>
                        </a:gs>
                      </a:gsLst>
                      <a:lin ang="5400000" scaled="1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858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 400-001 </a:t>
                      </a:r>
                      <a:endParaRPr lang="en-US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tilation Systems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8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tilation, Air Conditioning</a:t>
                      </a:r>
                      <a:endParaRPr lang="en-US" sz="8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1050" b="0" i="0" u="none" strike="noStrike" dirty="0" smtClean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  <a:p>
                      <a:pPr algn="ctr" fontAlgn="b"/>
                      <a:r>
                        <a:rPr lang="de-DE" sz="105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ublished </a:t>
                      </a:r>
                      <a:r>
                        <a:rPr lang="de-DE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on 26.09.2018</a:t>
                      </a:r>
                    </a:p>
                  </a:txBody>
                  <a:tcPr marL="6697" marR="6697" marT="6697" marB="0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de-DE" sz="11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Q3 / Q4</a:t>
                      </a:r>
                      <a:r>
                        <a:rPr lang="de-DE" sz="11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1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019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49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 400-003 </a:t>
                      </a:r>
                      <a:endParaRPr lang="en-US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>
                        <a:lnSpc>
                          <a:spcPct val="95000"/>
                        </a:lnSpc>
                        <a:spcAft>
                          <a:spcPts val="800"/>
                        </a:spcAft>
                      </a:pPr>
                      <a:r>
                        <a:rPr lang="en-US" sz="1200" b="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nitary / Technical Gases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8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ater and Wastewater, Compressed Air, Helium</a:t>
                      </a:r>
                      <a:r>
                        <a:rPr lang="en-US" sz="8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Nitrogen</a:t>
                      </a:r>
                      <a:endParaRPr lang="en-US" sz="800" b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05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lang="de-DE" sz="105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ublished on 25.09.2018</a:t>
                      </a:r>
                    </a:p>
                  </a:txBody>
                  <a:tcPr marL="6697" marR="6697" marT="6697" marB="0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de-DE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Q3 / Q4</a:t>
                      </a:r>
                      <a:r>
                        <a:rPr lang="de-DE" sz="12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019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978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 400-005 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>
                        <a:lnSpc>
                          <a:spcPct val="95000"/>
                        </a:lnSpc>
                        <a:spcAft>
                          <a:spcPts val="800"/>
                        </a:spcAft>
                      </a:pPr>
                      <a:r>
                        <a:rPr lang="en-US" sz="1200" b="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eating/ Cooling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8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eating,</a:t>
                      </a:r>
                      <a:r>
                        <a:rPr lang="en-US" sz="8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oling for AC and Machine 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05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05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published</a:t>
                      </a:r>
                      <a:r>
                        <a:rPr kumimoji="0" lang="de-DE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on 13.10.2018</a:t>
                      </a:r>
                    </a:p>
                  </a:txBody>
                  <a:tcPr marL="6697" marR="6697" marT="6697" marB="0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de-DE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Q3 / Q4</a:t>
                      </a:r>
                      <a:r>
                        <a:rPr lang="de-DE" sz="12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019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2033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 400-002 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>
                        <a:lnSpc>
                          <a:spcPct val="95000"/>
                        </a:lnSpc>
                        <a:spcAft>
                          <a:spcPts val="800"/>
                        </a:spcAft>
                      </a:pPr>
                      <a:r>
                        <a:rPr lang="en-US" sz="1200" b="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lectrical Power Facilities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800" b="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igh&amp;Low</a:t>
                      </a:r>
                      <a:r>
                        <a:rPr lang="en-US" sz="8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Voltage, Telecommunication and IT, Data System, 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05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published on 10.10.2018</a:t>
                      </a:r>
                    </a:p>
                  </a:txBody>
                  <a:tcPr marL="6697" marR="6697" marT="6697" marB="0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de-DE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Q3 / Q4</a:t>
                      </a:r>
                      <a:r>
                        <a:rPr lang="de-DE" sz="12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019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7174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 400-007 </a:t>
                      </a:r>
                      <a:endParaRPr lang="en-US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1200" b="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fety and Security Systems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8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re Detection System, BOS- Radio, Access Control / Door Controls 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05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published on 28.09.2018</a:t>
                      </a:r>
                    </a:p>
                  </a:txBody>
                  <a:tcPr marL="6697" marR="6697" marT="6697" marB="0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de-DE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Q3 / Q4</a:t>
                      </a:r>
                      <a:r>
                        <a:rPr lang="de-DE" sz="12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019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0431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 400-004 </a:t>
                      </a:r>
                      <a:endParaRPr lang="en-US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>
                        <a:lnSpc>
                          <a:spcPct val="95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refighting Systems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refighting Systems, High Pressure Sprinkler Systems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05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published on 08.10.2018</a:t>
                      </a:r>
                    </a:p>
                  </a:txBody>
                  <a:tcPr marL="6697" marR="6697" marT="6697" marB="0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de-DE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Q3 / Q4</a:t>
                      </a:r>
                      <a:r>
                        <a:rPr lang="de-DE" sz="12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2019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1955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 400-006</a:t>
                      </a:r>
                      <a:endParaRPr lang="en-US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smtClean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ilding &amp; Process Automation Systems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en-US" sz="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utomation Systems, Control panels, Operation Facilities, divers Building Automation Systems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05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Not yet published</a:t>
                      </a:r>
                    </a:p>
                  </a:txBody>
                  <a:tcPr marL="6697" marR="6697" marT="6697" marB="0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Q2 / 2020</a:t>
                      </a:r>
                    </a:p>
                  </a:txBody>
                  <a:tcPr marL="108000" marR="108000" marT="72000" marB="72000" anchor="ctr">
                    <a:lnL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nb-NO" smtClean="0"/>
              <a:t>Harald Hagelskamp - Fair Exp. &amp; Acc. 14.12.2018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3083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4" name="Objekt 6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18" y="1118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64" name="Objekt 6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18" y="1118"/>
                        <a:ext cx="1116" cy="1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 bwMode="auto">
          <a:xfrm>
            <a:off x="1" y="1"/>
            <a:ext cx="111621" cy="111621"/>
          </a:xfrm>
          <a:prstGeom prst="rect">
            <a:avLst/>
          </a:prstGeom>
          <a:solidFill>
            <a:srgbClr val="00B8FF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 sz="984" b="1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B6D37513-0A65-41D8-B273-D73E10CA5E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1676728"/>
              </p:ext>
            </p:extLst>
          </p:nvPr>
        </p:nvGraphicFramePr>
        <p:xfrm>
          <a:off x="87282" y="1109487"/>
          <a:ext cx="8910991" cy="5219001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977895">
                  <a:extLst>
                    <a:ext uri="{9D8B030D-6E8A-4147-A177-3AD203B41FA5}">
                      <a16:colId xmlns:a16="http://schemas.microsoft.com/office/drawing/2014/main" val="2202444488"/>
                    </a:ext>
                  </a:extLst>
                </a:gridCol>
                <a:gridCol w="577758">
                  <a:extLst>
                    <a:ext uri="{9D8B030D-6E8A-4147-A177-3AD203B41FA5}">
                      <a16:colId xmlns:a16="http://schemas.microsoft.com/office/drawing/2014/main" val="3294631263"/>
                    </a:ext>
                  </a:extLst>
                </a:gridCol>
                <a:gridCol w="577758">
                  <a:extLst>
                    <a:ext uri="{9D8B030D-6E8A-4147-A177-3AD203B41FA5}">
                      <a16:colId xmlns:a16="http://schemas.microsoft.com/office/drawing/2014/main" val="2545701420"/>
                    </a:ext>
                  </a:extLst>
                </a:gridCol>
                <a:gridCol w="577758">
                  <a:extLst>
                    <a:ext uri="{9D8B030D-6E8A-4147-A177-3AD203B41FA5}">
                      <a16:colId xmlns:a16="http://schemas.microsoft.com/office/drawing/2014/main" val="2174018251"/>
                    </a:ext>
                  </a:extLst>
                </a:gridCol>
                <a:gridCol w="577758">
                  <a:extLst>
                    <a:ext uri="{9D8B030D-6E8A-4147-A177-3AD203B41FA5}">
                      <a16:colId xmlns:a16="http://schemas.microsoft.com/office/drawing/2014/main" val="1613640456"/>
                    </a:ext>
                  </a:extLst>
                </a:gridCol>
                <a:gridCol w="577758">
                  <a:extLst>
                    <a:ext uri="{9D8B030D-6E8A-4147-A177-3AD203B41FA5}">
                      <a16:colId xmlns:a16="http://schemas.microsoft.com/office/drawing/2014/main" val="1752590385"/>
                    </a:ext>
                  </a:extLst>
                </a:gridCol>
                <a:gridCol w="577758">
                  <a:extLst>
                    <a:ext uri="{9D8B030D-6E8A-4147-A177-3AD203B41FA5}">
                      <a16:colId xmlns:a16="http://schemas.microsoft.com/office/drawing/2014/main" val="1589388168"/>
                    </a:ext>
                  </a:extLst>
                </a:gridCol>
                <a:gridCol w="577758">
                  <a:extLst>
                    <a:ext uri="{9D8B030D-6E8A-4147-A177-3AD203B41FA5}">
                      <a16:colId xmlns:a16="http://schemas.microsoft.com/office/drawing/2014/main" val="2235041082"/>
                    </a:ext>
                  </a:extLst>
                </a:gridCol>
                <a:gridCol w="577758">
                  <a:extLst>
                    <a:ext uri="{9D8B030D-6E8A-4147-A177-3AD203B41FA5}">
                      <a16:colId xmlns:a16="http://schemas.microsoft.com/office/drawing/2014/main" val="884053672"/>
                    </a:ext>
                  </a:extLst>
                </a:gridCol>
                <a:gridCol w="577758">
                  <a:extLst>
                    <a:ext uri="{9D8B030D-6E8A-4147-A177-3AD203B41FA5}">
                      <a16:colId xmlns:a16="http://schemas.microsoft.com/office/drawing/2014/main" val="1140627959"/>
                    </a:ext>
                  </a:extLst>
                </a:gridCol>
                <a:gridCol w="577758">
                  <a:extLst>
                    <a:ext uri="{9D8B030D-6E8A-4147-A177-3AD203B41FA5}">
                      <a16:colId xmlns:a16="http://schemas.microsoft.com/office/drawing/2014/main" val="3451014459"/>
                    </a:ext>
                  </a:extLst>
                </a:gridCol>
                <a:gridCol w="577758">
                  <a:extLst>
                    <a:ext uri="{9D8B030D-6E8A-4147-A177-3AD203B41FA5}">
                      <a16:colId xmlns:a16="http://schemas.microsoft.com/office/drawing/2014/main" val="2080069595"/>
                    </a:ext>
                  </a:extLst>
                </a:gridCol>
                <a:gridCol w="577758">
                  <a:extLst>
                    <a:ext uri="{9D8B030D-6E8A-4147-A177-3AD203B41FA5}">
                      <a16:colId xmlns:a16="http://schemas.microsoft.com/office/drawing/2014/main" val="1752505220"/>
                    </a:ext>
                  </a:extLst>
                </a:gridCol>
              </a:tblGrid>
              <a:tr h="213384">
                <a:tc>
                  <a:txBody>
                    <a:bodyPr/>
                    <a:lstStyle/>
                    <a:p>
                      <a:endParaRPr lang="de-DE" sz="700" dirty="0"/>
                    </a:p>
                  </a:txBody>
                  <a:tcPr marL="64294" marR="64294" marT="32147" marB="32147">
                    <a:solidFill>
                      <a:srgbClr val="0070C0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de-DE" sz="700" b="1" dirty="0">
                          <a:solidFill>
                            <a:schemeClr val="bg1"/>
                          </a:solidFill>
                        </a:rPr>
                        <a:t>2017</a:t>
                      </a:r>
                      <a:endParaRPr lang="de-DE" sz="700" dirty="0"/>
                    </a:p>
                  </a:txBody>
                  <a:tcPr marL="64294" marR="64294" marT="32147" marB="32147"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de-DE" sz="700" b="1" dirty="0">
                          <a:solidFill>
                            <a:schemeClr val="bg1"/>
                          </a:solidFill>
                        </a:rPr>
                        <a:t>2018</a:t>
                      </a:r>
                    </a:p>
                  </a:txBody>
                  <a:tcPr marL="64294" marR="64294" marT="32147" marB="32147"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de-DE" sz="700" b="1" dirty="0">
                          <a:solidFill>
                            <a:schemeClr val="bg1"/>
                          </a:solidFill>
                        </a:rPr>
                        <a:t>2019</a:t>
                      </a:r>
                    </a:p>
                  </a:txBody>
                  <a:tcPr marL="64294" marR="64294" marT="32147" marB="32147"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5831708"/>
                  </a:ext>
                </a:extLst>
              </a:tr>
              <a:tr h="186711">
                <a:tc>
                  <a:txBody>
                    <a:bodyPr/>
                    <a:lstStyle/>
                    <a:p>
                      <a:endParaRPr lang="de-DE" sz="600" b="1" dirty="0">
                        <a:solidFill>
                          <a:schemeClr val="bg1"/>
                        </a:solidFill>
                      </a:endParaRPr>
                    </a:p>
                  </a:txBody>
                  <a:tcPr marL="64294" marR="64294" marT="32147" marB="32147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600" b="1" dirty="0">
                          <a:solidFill>
                            <a:schemeClr val="bg1"/>
                          </a:solidFill>
                        </a:rPr>
                        <a:t>Q1</a:t>
                      </a:r>
                    </a:p>
                  </a:txBody>
                  <a:tcPr marL="64294" marR="64294" marT="32147" marB="32147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600" b="1" dirty="0">
                          <a:solidFill>
                            <a:schemeClr val="bg1"/>
                          </a:solidFill>
                        </a:rPr>
                        <a:t>Q2</a:t>
                      </a:r>
                    </a:p>
                  </a:txBody>
                  <a:tcPr marL="64294" marR="64294" marT="32147" marB="32147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600" b="1" dirty="0">
                          <a:solidFill>
                            <a:schemeClr val="bg1"/>
                          </a:solidFill>
                        </a:rPr>
                        <a:t>Q3</a:t>
                      </a:r>
                    </a:p>
                  </a:txBody>
                  <a:tcPr marL="64294" marR="64294" marT="32147" marB="32147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600" b="1" dirty="0">
                          <a:solidFill>
                            <a:schemeClr val="bg1"/>
                          </a:solidFill>
                        </a:rPr>
                        <a:t>Q4</a:t>
                      </a:r>
                    </a:p>
                  </a:txBody>
                  <a:tcPr marL="64294" marR="64294" marT="32147" marB="32147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600" b="1" dirty="0">
                          <a:solidFill>
                            <a:schemeClr val="bg1"/>
                          </a:solidFill>
                        </a:rPr>
                        <a:t>Q1</a:t>
                      </a:r>
                    </a:p>
                  </a:txBody>
                  <a:tcPr marL="64294" marR="64294" marT="32147" marB="32147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600" b="1" dirty="0">
                          <a:solidFill>
                            <a:schemeClr val="bg1"/>
                          </a:solidFill>
                        </a:rPr>
                        <a:t>Q2</a:t>
                      </a:r>
                    </a:p>
                  </a:txBody>
                  <a:tcPr marL="64294" marR="64294" marT="32147" marB="32147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600" b="1" dirty="0">
                          <a:solidFill>
                            <a:schemeClr val="bg1"/>
                          </a:solidFill>
                        </a:rPr>
                        <a:t>Q3</a:t>
                      </a:r>
                    </a:p>
                  </a:txBody>
                  <a:tcPr marL="64294" marR="64294" marT="32147" marB="32147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600" b="1" dirty="0">
                          <a:solidFill>
                            <a:schemeClr val="bg1"/>
                          </a:solidFill>
                        </a:rPr>
                        <a:t>Q4</a:t>
                      </a:r>
                    </a:p>
                  </a:txBody>
                  <a:tcPr marL="64294" marR="64294" marT="32147" marB="32147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600" b="1" dirty="0">
                          <a:solidFill>
                            <a:schemeClr val="bg1"/>
                          </a:solidFill>
                        </a:rPr>
                        <a:t>Q1</a:t>
                      </a:r>
                    </a:p>
                  </a:txBody>
                  <a:tcPr marL="64294" marR="64294" marT="32147" marB="32147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600" b="1" dirty="0">
                          <a:solidFill>
                            <a:schemeClr val="bg1"/>
                          </a:solidFill>
                        </a:rPr>
                        <a:t>Q2</a:t>
                      </a:r>
                    </a:p>
                  </a:txBody>
                  <a:tcPr marL="64294" marR="64294" marT="32147" marB="32147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600" b="1" dirty="0">
                          <a:solidFill>
                            <a:schemeClr val="bg1"/>
                          </a:solidFill>
                        </a:rPr>
                        <a:t>Q3</a:t>
                      </a:r>
                    </a:p>
                  </a:txBody>
                  <a:tcPr marL="64294" marR="64294" marT="32147" marB="32147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600" b="1" dirty="0">
                          <a:solidFill>
                            <a:schemeClr val="bg1"/>
                          </a:solidFill>
                        </a:rPr>
                        <a:t>Q4</a:t>
                      </a:r>
                    </a:p>
                  </a:txBody>
                  <a:tcPr marL="64294" marR="64294" marT="32147" marB="32147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0998129"/>
                  </a:ext>
                </a:extLst>
              </a:tr>
              <a:tr h="235868">
                <a:tc gridSpan="1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ilestones</a:t>
                      </a:r>
                      <a:endParaRPr lang="de-DE" sz="800" b="1" dirty="0">
                        <a:solidFill>
                          <a:schemeClr val="accent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294" marR="64294" marT="32147" marB="32147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04929640"/>
                  </a:ext>
                </a:extLst>
              </a:tr>
              <a:tr h="39402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e-conditions</a:t>
                      </a:r>
                      <a:endParaRPr lang="de-DE" sz="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294" marR="64294" marT="32147" marB="32147"/>
                </a:tc>
                <a:tc>
                  <a:txBody>
                    <a:bodyPr/>
                    <a:lstStyle/>
                    <a:p>
                      <a:endParaRPr lang="de-DE" sz="800" dirty="0"/>
                    </a:p>
                  </a:txBody>
                  <a:tcPr marL="64294" marR="64294" marT="32147" marB="32147"/>
                </a:tc>
                <a:tc>
                  <a:txBody>
                    <a:bodyPr/>
                    <a:lstStyle/>
                    <a:p>
                      <a:endParaRPr lang="de-DE" sz="800" dirty="0"/>
                    </a:p>
                  </a:txBody>
                  <a:tcPr marL="64294" marR="64294" marT="32147" marB="32147"/>
                </a:tc>
                <a:tc>
                  <a:txBody>
                    <a:bodyPr/>
                    <a:lstStyle/>
                    <a:p>
                      <a:endParaRPr lang="de-DE" sz="800" dirty="0"/>
                    </a:p>
                  </a:txBody>
                  <a:tcPr marL="64294" marR="64294" marT="32147" marB="32147"/>
                </a:tc>
                <a:tc>
                  <a:txBody>
                    <a:bodyPr/>
                    <a:lstStyle/>
                    <a:p>
                      <a:endParaRPr lang="de-DE" sz="800" dirty="0"/>
                    </a:p>
                  </a:txBody>
                  <a:tcPr marL="64294" marR="64294" marT="32147" marB="32147"/>
                </a:tc>
                <a:tc>
                  <a:txBody>
                    <a:bodyPr/>
                    <a:lstStyle/>
                    <a:p>
                      <a:endParaRPr lang="de-DE" sz="800" dirty="0"/>
                    </a:p>
                  </a:txBody>
                  <a:tcPr marL="64294" marR="64294" marT="32147" marB="32147"/>
                </a:tc>
                <a:tc>
                  <a:txBody>
                    <a:bodyPr/>
                    <a:lstStyle/>
                    <a:p>
                      <a:endParaRPr lang="de-DE" sz="800" dirty="0"/>
                    </a:p>
                  </a:txBody>
                  <a:tcPr marL="64294" marR="64294" marT="32147" marB="32147"/>
                </a:tc>
                <a:tc>
                  <a:txBody>
                    <a:bodyPr/>
                    <a:lstStyle/>
                    <a:p>
                      <a:endParaRPr lang="de-DE" sz="800" dirty="0"/>
                    </a:p>
                  </a:txBody>
                  <a:tcPr marL="64294" marR="64294" marT="32147" marB="32147"/>
                </a:tc>
                <a:tc>
                  <a:txBody>
                    <a:bodyPr/>
                    <a:lstStyle/>
                    <a:p>
                      <a:endParaRPr lang="de-DE" sz="800" dirty="0"/>
                    </a:p>
                  </a:txBody>
                  <a:tcPr marL="64294" marR="64294" marT="32147" marB="32147"/>
                </a:tc>
                <a:tc>
                  <a:txBody>
                    <a:bodyPr/>
                    <a:lstStyle/>
                    <a:p>
                      <a:endParaRPr lang="de-DE" sz="800" dirty="0"/>
                    </a:p>
                  </a:txBody>
                  <a:tcPr marL="64294" marR="64294" marT="32147" marB="32147"/>
                </a:tc>
                <a:tc>
                  <a:txBody>
                    <a:bodyPr/>
                    <a:lstStyle/>
                    <a:p>
                      <a:endParaRPr lang="de-DE" sz="800" dirty="0"/>
                    </a:p>
                  </a:txBody>
                  <a:tcPr marL="64294" marR="64294" marT="32147" marB="32147"/>
                </a:tc>
                <a:tc>
                  <a:txBody>
                    <a:bodyPr/>
                    <a:lstStyle/>
                    <a:p>
                      <a:endParaRPr lang="de-DE" sz="800" dirty="0"/>
                    </a:p>
                  </a:txBody>
                  <a:tcPr marL="64294" marR="64294" marT="32147" marB="32147"/>
                </a:tc>
                <a:tc>
                  <a:txBody>
                    <a:bodyPr/>
                    <a:lstStyle/>
                    <a:p>
                      <a:endParaRPr lang="de-DE" sz="800" dirty="0"/>
                    </a:p>
                  </a:txBody>
                  <a:tcPr marL="64294" marR="64294" marT="32147" marB="32147"/>
                </a:tc>
                <a:extLst>
                  <a:ext uri="{0D108BD9-81ED-4DB2-BD59-A6C34878D82A}">
                    <a16:rowId xmlns:a16="http://schemas.microsoft.com/office/drawing/2014/main" val="736434481"/>
                  </a:ext>
                </a:extLst>
              </a:tr>
              <a:tr h="235868">
                <a:tc gridSpan="1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struction </a:t>
                      </a:r>
                      <a:r>
                        <a:rPr lang="de-DE" sz="8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ermits</a:t>
                      </a:r>
                      <a:endParaRPr lang="de-DE" sz="800" b="1" dirty="0">
                        <a:solidFill>
                          <a:schemeClr val="accent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294" marR="64294" marT="32147" marB="32147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61410114"/>
                  </a:ext>
                </a:extLst>
              </a:tr>
              <a:tr h="65811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ilding Area „North“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ilding Area „South“</a:t>
                      </a:r>
                    </a:p>
                  </a:txBody>
                  <a:tcPr marL="64294" marR="64294" marT="32147" marB="32147"/>
                </a:tc>
                <a:tc>
                  <a:txBody>
                    <a:bodyPr/>
                    <a:lstStyle/>
                    <a:p>
                      <a:endParaRPr lang="de-DE" sz="800" dirty="0"/>
                    </a:p>
                  </a:txBody>
                  <a:tcPr marL="64294" marR="64294" marT="32147" marB="32147"/>
                </a:tc>
                <a:tc>
                  <a:txBody>
                    <a:bodyPr/>
                    <a:lstStyle/>
                    <a:p>
                      <a:endParaRPr lang="de-DE" sz="800" dirty="0"/>
                    </a:p>
                  </a:txBody>
                  <a:tcPr marL="64294" marR="64294" marT="32147" marB="32147"/>
                </a:tc>
                <a:tc>
                  <a:txBody>
                    <a:bodyPr/>
                    <a:lstStyle/>
                    <a:p>
                      <a:endParaRPr lang="de-DE" sz="800" dirty="0"/>
                    </a:p>
                  </a:txBody>
                  <a:tcPr marL="64294" marR="64294" marT="32147" marB="32147"/>
                </a:tc>
                <a:tc>
                  <a:txBody>
                    <a:bodyPr/>
                    <a:lstStyle/>
                    <a:p>
                      <a:endParaRPr lang="de-DE" sz="800" dirty="0"/>
                    </a:p>
                  </a:txBody>
                  <a:tcPr marL="64294" marR="64294" marT="32147" marB="32147"/>
                </a:tc>
                <a:tc>
                  <a:txBody>
                    <a:bodyPr/>
                    <a:lstStyle/>
                    <a:p>
                      <a:endParaRPr lang="de-DE" sz="800" dirty="0"/>
                    </a:p>
                  </a:txBody>
                  <a:tcPr marL="64294" marR="64294" marT="32147" marB="32147"/>
                </a:tc>
                <a:tc>
                  <a:txBody>
                    <a:bodyPr/>
                    <a:lstStyle/>
                    <a:p>
                      <a:endParaRPr lang="de-DE" sz="800" dirty="0"/>
                    </a:p>
                  </a:txBody>
                  <a:tcPr marL="64294" marR="64294" marT="32147" marB="32147"/>
                </a:tc>
                <a:tc>
                  <a:txBody>
                    <a:bodyPr/>
                    <a:lstStyle/>
                    <a:p>
                      <a:endParaRPr lang="de-DE" sz="800" dirty="0"/>
                    </a:p>
                  </a:txBody>
                  <a:tcPr marL="64294" marR="64294" marT="32147" marB="32147"/>
                </a:tc>
                <a:tc>
                  <a:txBody>
                    <a:bodyPr/>
                    <a:lstStyle/>
                    <a:p>
                      <a:endParaRPr lang="de-DE" sz="800" dirty="0"/>
                    </a:p>
                  </a:txBody>
                  <a:tcPr marL="64294" marR="64294" marT="32147" marB="32147"/>
                </a:tc>
                <a:tc>
                  <a:txBody>
                    <a:bodyPr/>
                    <a:lstStyle/>
                    <a:p>
                      <a:endParaRPr lang="de-DE" sz="800" dirty="0"/>
                    </a:p>
                  </a:txBody>
                  <a:tcPr marL="64294" marR="64294" marT="32147" marB="32147"/>
                </a:tc>
                <a:tc>
                  <a:txBody>
                    <a:bodyPr/>
                    <a:lstStyle/>
                    <a:p>
                      <a:endParaRPr lang="de-DE" sz="800" dirty="0"/>
                    </a:p>
                  </a:txBody>
                  <a:tcPr marL="64294" marR="64294" marT="32147" marB="32147"/>
                </a:tc>
                <a:tc>
                  <a:txBody>
                    <a:bodyPr/>
                    <a:lstStyle/>
                    <a:p>
                      <a:endParaRPr lang="de-DE" sz="800" dirty="0"/>
                    </a:p>
                  </a:txBody>
                  <a:tcPr marL="64294" marR="64294" marT="32147" marB="32147"/>
                </a:tc>
                <a:tc>
                  <a:txBody>
                    <a:bodyPr/>
                    <a:lstStyle/>
                    <a:p>
                      <a:endParaRPr lang="de-DE" sz="800" dirty="0"/>
                    </a:p>
                  </a:txBody>
                  <a:tcPr marL="64294" marR="64294" marT="32147" marB="32147"/>
                </a:tc>
                <a:extLst>
                  <a:ext uri="{0D108BD9-81ED-4DB2-BD59-A6C34878D82A}">
                    <a16:rowId xmlns:a16="http://schemas.microsoft.com/office/drawing/2014/main" val="1913217493"/>
                  </a:ext>
                </a:extLst>
              </a:tr>
              <a:tr h="202520">
                <a:tc gridSpan="1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struction</a:t>
                      </a:r>
                      <a:r>
                        <a:rPr lang="de-DE" sz="800" b="1" baseline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800" b="1" baseline="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tract</a:t>
                      </a:r>
                      <a:r>
                        <a:rPr lang="de-DE" sz="800" b="1" baseline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: </a:t>
                      </a:r>
                      <a:r>
                        <a:rPr lang="de-DE" sz="800" b="1" baseline="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endering</a:t>
                      </a:r>
                      <a:r>
                        <a:rPr lang="de-DE" sz="800" b="1" baseline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&amp; Award </a:t>
                      </a:r>
                      <a:r>
                        <a:rPr lang="de-DE" sz="800" b="1" baseline="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ocess</a:t>
                      </a:r>
                      <a:endParaRPr lang="de-DE" sz="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294" marR="64294" marT="32147" marB="32147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51860704"/>
                  </a:ext>
                </a:extLst>
              </a:tr>
              <a:tr h="2396924">
                <a:tc>
                  <a:txBody>
                    <a:bodyPr/>
                    <a:lstStyle/>
                    <a:p>
                      <a:r>
                        <a:rPr lang="de-DE" sz="800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xcavation</a:t>
                      </a:r>
                      <a:r>
                        <a:rPr lang="de-DE" sz="8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8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rea </a:t>
                      </a:r>
                      <a:r>
                        <a:rPr lang="de-DE" sz="8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„North“</a:t>
                      </a:r>
                    </a:p>
                    <a:p>
                      <a:endParaRPr lang="de-DE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de-DE" sz="8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ite </a:t>
                      </a:r>
                      <a:r>
                        <a:rPr lang="de-DE" sz="800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ogistics</a:t>
                      </a:r>
                      <a:r>
                        <a:rPr lang="de-DE" sz="8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800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nd</a:t>
                      </a:r>
                      <a:r>
                        <a:rPr lang="de-DE" sz="8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800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emporary</a:t>
                      </a:r>
                      <a:r>
                        <a:rPr lang="de-DE" sz="8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ervices</a:t>
                      </a:r>
                    </a:p>
                    <a:p>
                      <a:endParaRPr lang="de-DE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de-DE" sz="8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ite Power Supply </a:t>
                      </a:r>
                      <a:r>
                        <a:rPr lang="de-DE" sz="800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nd</a:t>
                      </a:r>
                      <a:r>
                        <a:rPr lang="de-DE" sz="8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ite Security</a:t>
                      </a:r>
                      <a:r>
                        <a:rPr lang="de-DE" sz="800" baseline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endParaRPr lang="de-DE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endParaRPr lang="de-DE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de-DE" sz="8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ivil</a:t>
                      </a:r>
                      <a:r>
                        <a:rPr lang="de-DE" sz="8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Works </a:t>
                      </a:r>
                      <a:r>
                        <a:rPr lang="de-DE" sz="8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rea </a:t>
                      </a:r>
                      <a:r>
                        <a:rPr lang="de-DE" sz="800" baseline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„North“</a:t>
                      </a:r>
                      <a:endParaRPr lang="de-DE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endParaRPr lang="de-DE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de-DE" sz="8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evators</a:t>
                      </a:r>
                    </a:p>
                    <a:p>
                      <a:endParaRPr lang="de-DE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de-DE" sz="8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ranes </a:t>
                      </a:r>
                      <a:r>
                        <a:rPr lang="de-DE" sz="800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nd</a:t>
                      </a:r>
                      <a:r>
                        <a:rPr lang="de-DE" sz="8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800" dirty="0" err="1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oists</a:t>
                      </a:r>
                      <a:endParaRPr lang="de-DE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endParaRPr lang="de-DE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en-US" sz="8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ivil Works Area </a:t>
                      </a:r>
                      <a:r>
                        <a:rPr lang="en-US" sz="8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„South“</a:t>
                      </a:r>
                    </a:p>
                    <a:p>
                      <a:endParaRPr lang="de-DE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de-DE" sz="8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terior</a:t>
                      </a:r>
                      <a:r>
                        <a:rPr lang="de-DE" sz="8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8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inishing</a:t>
                      </a:r>
                      <a:r>
                        <a:rPr lang="de-DE" sz="8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Works </a:t>
                      </a:r>
                      <a:r>
                        <a:rPr lang="de-DE" sz="8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„Package 1“ </a:t>
                      </a:r>
                    </a:p>
                    <a:p>
                      <a:endParaRPr lang="de-DE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de-DE" sz="8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echnical Building </a:t>
                      </a:r>
                      <a:r>
                        <a:rPr lang="de-DE" sz="8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ervices</a:t>
                      </a:r>
                      <a:r>
                        <a:rPr lang="de-DE" sz="8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800" baseline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„Package 1“</a:t>
                      </a:r>
                      <a:endParaRPr lang="de-DE" sz="8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294" marR="64294" marT="32147" marB="32147"/>
                </a:tc>
                <a:tc>
                  <a:txBody>
                    <a:bodyPr/>
                    <a:lstStyle/>
                    <a:p>
                      <a:endParaRPr lang="de-DE" sz="800" dirty="0"/>
                    </a:p>
                  </a:txBody>
                  <a:tcPr marL="64294" marR="64294" marT="32147" marB="32147"/>
                </a:tc>
                <a:tc>
                  <a:txBody>
                    <a:bodyPr/>
                    <a:lstStyle/>
                    <a:p>
                      <a:endParaRPr lang="de-DE" sz="800" dirty="0"/>
                    </a:p>
                  </a:txBody>
                  <a:tcPr marL="64294" marR="64294" marT="32147" marB="32147"/>
                </a:tc>
                <a:tc>
                  <a:txBody>
                    <a:bodyPr/>
                    <a:lstStyle/>
                    <a:p>
                      <a:endParaRPr lang="de-DE" sz="800" dirty="0"/>
                    </a:p>
                  </a:txBody>
                  <a:tcPr marL="64294" marR="64294" marT="32147" marB="32147"/>
                </a:tc>
                <a:tc>
                  <a:txBody>
                    <a:bodyPr/>
                    <a:lstStyle/>
                    <a:p>
                      <a:endParaRPr lang="de-DE" sz="800" dirty="0"/>
                    </a:p>
                  </a:txBody>
                  <a:tcPr marL="64294" marR="64294" marT="32147" marB="32147"/>
                </a:tc>
                <a:tc>
                  <a:txBody>
                    <a:bodyPr/>
                    <a:lstStyle/>
                    <a:p>
                      <a:endParaRPr lang="de-DE" sz="800" dirty="0"/>
                    </a:p>
                  </a:txBody>
                  <a:tcPr marL="64294" marR="64294" marT="32147" marB="32147"/>
                </a:tc>
                <a:tc>
                  <a:txBody>
                    <a:bodyPr/>
                    <a:lstStyle/>
                    <a:p>
                      <a:endParaRPr lang="de-DE" sz="800" dirty="0"/>
                    </a:p>
                  </a:txBody>
                  <a:tcPr marL="64294" marR="64294" marT="32147" marB="32147"/>
                </a:tc>
                <a:tc>
                  <a:txBody>
                    <a:bodyPr/>
                    <a:lstStyle/>
                    <a:p>
                      <a:endParaRPr lang="de-DE" sz="800" dirty="0"/>
                    </a:p>
                  </a:txBody>
                  <a:tcPr marL="64294" marR="64294" marT="32147" marB="32147"/>
                </a:tc>
                <a:tc>
                  <a:txBody>
                    <a:bodyPr/>
                    <a:lstStyle/>
                    <a:p>
                      <a:endParaRPr lang="de-DE" sz="800" dirty="0"/>
                    </a:p>
                  </a:txBody>
                  <a:tcPr marL="64294" marR="64294" marT="32147" marB="32147"/>
                </a:tc>
                <a:tc>
                  <a:txBody>
                    <a:bodyPr/>
                    <a:lstStyle/>
                    <a:p>
                      <a:endParaRPr lang="de-DE" sz="800" dirty="0"/>
                    </a:p>
                  </a:txBody>
                  <a:tcPr marL="64294" marR="64294" marT="32147" marB="32147"/>
                </a:tc>
                <a:tc>
                  <a:txBody>
                    <a:bodyPr/>
                    <a:lstStyle/>
                    <a:p>
                      <a:endParaRPr lang="de-DE" sz="800" dirty="0"/>
                    </a:p>
                  </a:txBody>
                  <a:tcPr marL="64294" marR="64294" marT="32147" marB="32147"/>
                </a:tc>
                <a:tc>
                  <a:txBody>
                    <a:bodyPr/>
                    <a:lstStyle/>
                    <a:p>
                      <a:endParaRPr lang="de-DE" sz="800" dirty="0"/>
                    </a:p>
                  </a:txBody>
                  <a:tcPr marL="64294" marR="64294" marT="32147" marB="32147"/>
                </a:tc>
                <a:tc>
                  <a:txBody>
                    <a:bodyPr/>
                    <a:lstStyle/>
                    <a:p>
                      <a:endParaRPr lang="de-DE" sz="800" dirty="0"/>
                    </a:p>
                  </a:txBody>
                  <a:tcPr marL="64294" marR="64294" marT="32147" marB="32147"/>
                </a:tc>
                <a:extLst>
                  <a:ext uri="{0D108BD9-81ED-4DB2-BD59-A6C34878D82A}">
                    <a16:rowId xmlns:a16="http://schemas.microsoft.com/office/drawing/2014/main" val="3713848057"/>
                  </a:ext>
                </a:extLst>
              </a:tr>
              <a:tr h="182166">
                <a:tc gridSpan="13">
                  <a:txBody>
                    <a:bodyPr/>
                    <a:lstStyle/>
                    <a:p>
                      <a:r>
                        <a:rPr lang="de-DE" sz="8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struction </a:t>
                      </a:r>
                      <a:r>
                        <a:rPr lang="de-DE" sz="800" b="1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xecution</a:t>
                      </a:r>
                      <a:endParaRPr lang="de-DE" sz="8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4294" marR="64294" marT="32147" marB="32147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1734928"/>
                  </a:ext>
                </a:extLst>
              </a:tr>
              <a:tr h="509378">
                <a:tc>
                  <a:txBody>
                    <a:bodyPr/>
                    <a:lstStyle/>
                    <a:p>
                      <a:r>
                        <a:rPr lang="de-DE" sz="800" dirty="0"/>
                        <a:t/>
                      </a:r>
                      <a:br>
                        <a:rPr lang="de-DE" sz="800" dirty="0"/>
                      </a:br>
                      <a:endParaRPr lang="de-DE" sz="800" dirty="0"/>
                    </a:p>
                  </a:txBody>
                  <a:tcPr marL="64294" marR="64294" marT="32147" marB="32147"/>
                </a:tc>
                <a:tc>
                  <a:txBody>
                    <a:bodyPr/>
                    <a:lstStyle/>
                    <a:p>
                      <a:endParaRPr lang="de-DE" sz="800" dirty="0"/>
                    </a:p>
                  </a:txBody>
                  <a:tcPr marL="64294" marR="64294" marT="32147" marB="32147"/>
                </a:tc>
                <a:tc>
                  <a:txBody>
                    <a:bodyPr/>
                    <a:lstStyle/>
                    <a:p>
                      <a:endParaRPr lang="de-DE" sz="800" dirty="0"/>
                    </a:p>
                  </a:txBody>
                  <a:tcPr marL="64294" marR="64294" marT="32147" marB="32147"/>
                </a:tc>
                <a:tc>
                  <a:txBody>
                    <a:bodyPr/>
                    <a:lstStyle/>
                    <a:p>
                      <a:endParaRPr lang="de-DE" sz="800" dirty="0"/>
                    </a:p>
                  </a:txBody>
                  <a:tcPr marL="64294" marR="64294" marT="32147" marB="32147"/>
                </a:tc>
                <a:tc>
                  <a:txBody>
                    <a:bodyPr/>
                    <a:lstStyle/>
                    <a:p>
                      <a:endParaRPr lang="de-DE" sz="800" dirty="0"/>
                    </a:p>
                  </a:txBody>
                  <a:tcPr marL="64294" marR="64294" marT="32147" marB="32147"/>
                </a:tc>
                <a:tc>
                  <a:txBody>
                    <a:bodyPr/>
                    <a:lstStyle/>
                    <a:p>
                      <a:endParaRPr lang="de-DE" sz="800" dirty="0"/>
                    </a:p>
                  </a:txBody>
                  <a:tcPr marL="64294" marR="64294" marT="32147" marB="32147"/>
                </a:tc>
                <a:tc>
                  <a:txBody>
                    <a:bodyPr/>
                    <a:lstStyle/>
                    <a:p>
                      <a:endParaRPr lang="de-DE" sz="800" dirty="0"/>
                    </a:p>
                  </a:txBody>
                  <a:tcPr marL="64294" marR="64294" marT="32147" marB="32147"/>
                </a:tc>
                <a:tc>
                  <a:txBody>
                    <a:bodyPr/>
                    <a:lstStyle/>
                    <a:p>
                      <a:endParaRPr lang="de-DE" sz="800" dirty="0"/>
                    </a:p>
                  </a:txBody>
                  <a:tcPr marL="64294" marR="64294" marT="32147" marB="32147"/>
                </a:tc>
                <a:tc>
                  <a:txBody>
                    <a:bodyPr/>
                    <a:lstStyle/>
                    <a:p>
                      <a:endParaRPr lang="de-DE" sz="800" dirty="0"/>
                    </a:p>
                  </a:txBody>
                  <a:tcPr marL="64294" marR="64294" marT="32147" marB="32147"/>
                </a:tc>
                <a:tc>
                  <a:txBody>
                    <a:bodyPr/>
                    <a:lstStyle/>
                    <a:p>
                      <a:endParaRPr lang="de-DE" sz="800" dirty="0"/>
                    </a:p>
                  </a:txBody>
                  <a:tcPr marL="64294" marR="64294" marT="32147" marB="32147"/>
                </a:tc>
                <a:tc>
                  <a:txBody>
                    <a:bodyPr/>
                    <a:lstStyle/>
                    <a:p>
                      <a:endParaRPr lang="de-DE" sz="800" dirty="0"/>
                    </a:p>
                  </a:txBody>
                  <a:tcPr marL="64294" marR="64294" marT="32147" marB="32147"/>
                </a:tc>
                <a:tc>
                  <a:txBody>
                    <a:bodyPr/>
                    <a:lstStyle/>
                    <a:p>
                      <a:endParaRPr lang="de-DE" sz="800" dirty="0"/>
                    </a:p>
                  </a:txBody>
                  <a:tcPr marL="64294" marR="64294" marT="32147" marB="32147"/>
                </a:tc>
                <a:tc>
                  <a:txBody>
                    <a:bodyPr/>
                    <a:lstStyle/>
                    <a:p>
                      <a:endParaRPr lang="de-DE" sz="800" dirty="0"/>
                    </a:p>
                  </a:txBody>
                  <a:tcPr marL="64294" marR="64294" marT="32147" marB="32147"/>
                </a:tc>
                <a:extLst>
                  <a:ext uri="{0D108BD9-81ED-4DB2-BD59-A6C34878D82A}">
                    <a16:rowId xmlns:a16="http://schemas.microsoft.com/office/drawing/2014/main" val="801427382"/>
                  </a:ext>
                </a:extLst>
              </a:tr>
            </a:tbl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F481F87-ABCB-4694-9A0E-8ABF866C6570}"/>
              </a:ext>
            </a:extLst>
          </p:cNvPr>
          <p:cNvCxnSpPr>
            <a:cxnSpLocks/>
          </p:cNvCxnSpPr>
          <p:nvPr/>
        </p:nvCxnSpPr>
        <p:spPr>
          <a:xfrm>
            <a:off x="2822879" y="2458914"/>
            <a:ext cx="3673085" cy="0"/>
          </a:xfrm>
          <a:prstGeom prst="line">
            <a:avLst/>
          </a:prstGeom>
          <a:ln w="82550">
            <a:solidFill>
              <a:srgbClr val="92D050"/>
            </a:solidFill>
            <a:headEnd type="diamond" w="sm" len="sm"/>
            <a:tailEnd type="diamond" w="sm" len="sm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id="{BBE78BDD-CFB4-437E-A2D2-8D088E95C632}"/>
              </a:ext>
            </a:extLst>
          </p:cNvPr>
          <p:cNvSpPr txBox="1"/>
          <p:nvPr/>
        </p:nvSpPr>
        <p:spPr>
          <a:xfrm>
            <a:off x="8388424" y="2685870"/>
            <a:ext cx="505866" cy="173085"/>
          </a:xfrm>
          <a:prstGeom prst="rect">
            <a:avLst/>
          </a:prstGeom>
          <a:noFill/>
        </p:spPr>
        <p:txBody>
          <a:bodyPr wrap="square" lIns="64287" tIns="32143" rIns="64287" bIns="32143" rtlCol="0">
            <a:spAutoFit/>
          </a:bodyPr>
          <a:lstStyle>
            <a:defPPr>
              <a:defRPr lang="en-US"/>
            </a:defPPr>
            <a:lvl1pPr>
              <a:defRPr sz="1000">
                <a:solidFill>
                  <a:srgbClr val="0066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 sz="703" dirty="0"/>
              <a:t>09/19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C6E5D65E-2A12-4EE0-B62D-46732428C02B}"/>
              </a:ext>
            </a:extLst>
          </p:cNvPr>
          <p:cNvSpPr txBox="1"/>
          <p:nvPr/>
        </p:nvSpPr>
        <p:spPr>
          <a:xfrm>
            <a:off x="4673701" y="2669541"/>
            <a:ext cx="505866" cy="173085"/>
          </a:xfrm>
          <a:prstGeom prst="rect">
            <a:avLst/>
          </a:prstGeom>
          <a:noFill/>
        </p:spPr>
        <p:txBody>
          <a:bodyPr wrap="square" lIns="64287" tIns="32143" rIns="64287" bIns="32143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703" dirty="0">
                <a:solidFill>
                  <a:srgbClr val="0066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4/18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8FB24C16-4AFE-4017-8070-9EB471459073}"/>
              </a:ext>
            </a:extLst>
          </p:cNvPr>
          <p:cNvSpPr txBox="1"/>
          <p:nvPr/>
        </p:nvSpPr>
        <p:spPr>
          <a:xfrm>
            <a:off x="2476449" y="2425929"/>
            <a:ext cx="505866" cy="173085"/>
          </a:xfrm>
          <a:prstGeom prst="rect">
            <a:avLst/>
          </a:prstGeom>
          <a:noFill/>
        </p:spPr>
        <p:txBody>
          <a:bodyPr wrap="square" lIns="64287" tIns="32143" rIns="64287" bIns="32143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703" dirty="0">
                <a:solidFill>
                  <a:srgbClr val="0066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4/17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D7381E89-9CD5-4E36-8D35-0BBB1B77018D}"/>
              </a:ext>
            </a:extLst>
          </p:cNvPr>
          <p:cNvSpPr txBox="1"/>
          <p:nvPr/>
        </p:nvSpPr>
        <p:spPr>
          <a:xfrm>
            <a:off x="6830615" y="2365787"/>
            <a:ext cx="1788107" cy="281255"/>
          </a:xfrm>
          <a:prstGeom prst="rect">
            <a:avLst/>
          </a:prstGeom>
          <a:noFill/>
        </p:spPr>
        <p:txBody>
          <a:bodyPr wrap="square" lIns="64287" tIns="32143" rIns="64287" bIns="32143" rtlCol="0">
            <a:spAutoFit/>
          </a:bodyPr>
          <a:lstStyle/>
          <a:p>
            <a:r>
              <a:rPr lang="en-US" sz="703" dirty="0">
                <a:solidFill>
                  <a:srgbClr val="0066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ranting construction </a:t>
            </a:r>
            <a:r>
              <a:rPr lang="en-US" sz="703" dirty="0" smtClean="0">
                <a:solidFill>
                  <a:srgbClr val="0066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ermits by building </a:t>
            </a:r>
            <a:r>
              <a:rPr lang="en-US" sz="703" dirty="0">
                <a:solidFill>
                  <a:srgbClr val="0066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ior to commencement of works</a:t>
            </a:r>
          </a:p>
        </p:txBody>
      </p:sp>
      <p:sp>
        <p:nvSpPr>
          <p:cNvPr id="56" name="Diamond 55">
            <a:extLst>
              <a:ext uri="{FF2B5EF4-FFF2-40B4-BE49-F238E27FC236}">
                <a16:creationId xmlns:a16="http://schemas.microsoft.com/office/drawing/2014/main" id="{9EFC4AA1-CC6B-47B8-A3E6-71F0562138B1}"/>
              </a:ext>
            </a:extLst>
          </p:cNvPr>
          <p:cNvSpPr/>
          <p:nvPr/>
        </p:nvSpPr>
        <p:spPr>
          <a:xfrm>
            <a:off x="7324877" y="1802447"/>
            <a:ext cx="133824" cy="122690"/>
          </a:xfrm>
          <a:prstGeom prst="diamond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64287" tIns="32143" rIns="64287" bIns="32143" rtlCol="0" anchor="ctr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  <a:endParaRPr lang="de-DE" sz="703" dirty="0">
              <a:solidFill>
                <a:srgbClr val="000000">
                  <a:lumMod val="65000"/>
                  <a:lumOff val="35000"/>
                </a:srgb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A877BDD7-7C64-4B85-8A67-BE313EF47D3F}"/>
              </a:ext>
            </a:extLst>
          </p:cNvPr>
          <p:cNvSpPr txBox="1"/>
          <p:nvPr/>
        </p:nvSpPr>
        <p:spPr>
          <a:xfrm>
            <a:off x="5682855" y="1724880"/>
            <a:ext cx="505866" cy="173085"/>
          </a:xfrm>
          <a:prstGeom prst="rect">
            <a:avLst/>
          </a:prstGeom>
          <a:noFill/>
        </p:spPr>
        <p:txBody>
          <a:bodyPr wrap="square" lIns="64287" tIns="32143" rIns="64287" bIns="32143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703" dirty="0">
                <a:solidFill>
                  <a:srgbClr val="000000">
                    <a:lumMod val="65000"/>
                    <a:lumOff val="35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7/18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96CB763B-DF92-44C7-BFF7-128947EEC4B6}"/>
              </a:ext>
            </a:extLst>
          </p:cNvPr>
          <p:cNvSpPr txBox="1"/>
          <p:nvPr/>
        </p:nvSpPr>
        <p:spPr>
          <a:xfrm>
            <a:off x="7002270" y="1765175"/>
            <a:ext cx="505866" cy="173085"/>
          </a:xfrm>
          <a:prstGeom prst="rect">
            <a:avLst/>
          </a:prstGeom>
          <a:noFill/>
        </p:spPr>
        <p:txBody>
          <a:bodyPr wrap="square" lIns="64287" tIns="32143" rIns="64287" bIns="32143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703" dirty="0">
                <a:solidFill>
                  <a:srgbClr val="000000">
                    <a:lumMod val="65000"/>
                    <a:lumOff val="35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4/19</a:t>
            </a:r>
          </a:p>
        </p:txBody>
      </p:sp>
      <p:sp>
        <p:nvSpPr>
          <p:cNvPr id="10257" name="TextBox 10256">
            <a:extLst>
              <a:ext uri="{FF2B5EF4-FFF2-40B4-BE49-F238E27FC236}">
                <a16:creationId xmlns:a16="http://schemas.microsoft.com/office/drawing/2014/main" id="{E3F7A82E-59E2-44BF-AA00-F490405F2BD9}"/>
              </a:ext>
            </a:extLst>
          </p:cNvPr>
          <p:cNvSpPr txBox="1"/>
          <p:nvPr/>
        </p:nvSpPr>
        <p:spPr>
          <a:xfrm>
            <a:off x="7427122" y="1730040"/>
            <a:ext cx="1614210" cy="281255"/>
          </a:xfrm>
          <a:prstGeom prst="rect">
            <a:avLst/>
          </a:prstGeom>
          <a:noFill/>
        </p:spPr>
        <p:txBody>
          <a:bodyPr wrap="none" lIns="64287" tIns="32143" rIns="64287" bIns="32143" rtlCol="0">
            <a:spAutoFit/>
          </a:bodyPr>
          <a:lstStyle/>
          <a:p>
            <a:r>
              <a:rPr lang="en-US" sz="703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st Review to check cost development </a:t>
            </a:r>
            <a:br>
              <a:rPr lang="en-US" sz="703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703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upported by </a:t>
            </a:r>
            <a:r>
              <a:rPr lang="en-US" sz="703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rket </a:t>
            </a:r>
            <a:r>
              <a:rPr lang="en-US" sz="703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a</a:t>
            </a:r>
          </a:p>
        </p:txBody>
      </p:sp>
      <p:sp>
        <p:nvSpPr>
          <p:cNvPr id="89" name="TextBox 53">
            <a:extLst>
              <a:ext uri="{FF2B5EF4-FFF2-40B4-BE49-F238E27FC236}">
                <a16:creationId xmlns:a16="http://schemas.microsoft.com/office/drawing/2014/main" id="{D7381E89-9CD5-4E36-8D35-0BBB1B77018D}"/>
              </a:ext>
            </a:extLst>
          </p:cNvPr>
          <p:cNvSpPr txBox="1"/>
          <p:nvPr/>
        </p:nvSpPr>
        <p:spPr>
          <a:xfrm>
            <a:off x="7324877" y="2802663"/>
            <a:ext cx="1753249" cy="281255"/>
          </a:xfrm>
          <a:prstGeom prst="rect">
            <a:avLst/>
          </a:prstGeom>
          <a:noFill/>
        </p:spPr>
        <p:txBody>
          <a:bodyPr wrap="square" lIns="64287" tIns="32143" rIns="64287" bIns="32143" rtlCol="0">
            <a:spAutoFit/>
          </a:bodyPr>
          <a:lstStyle/>
          <a:p>
            <a:r>
              <a:rPr lang="en-US" sz="703" dirty="0">
                <a:solidFill>
                  <a:srgbClr val="0066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ranting construction permits </a:t>
            </a:r>
            <a:r>
              <a:rPr lang="en-US" sz="703" dirty="0" smtClean="0">
                <a:solidFill>
                  <a:srgbClr val="0066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y building </a:t>
            </a:r>
            <a:r>
              <a:rPr lang="en-US" sz="703" dirty="0">
                <a:solidFill>
                  <a:srgbClr val="0066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ior to commencement of works</a:t>
            </a:r>
          </a:p>
        </p:txBody>
      </p:sp>
      <p:sp>
        <p:nvSpPr>
          <p:cNvPr id="94" name="TextBox 49">
            <a:extLst>
              <a:ext uri="{FF2B5EF4-FFF2-40B4-BE49-F238E27FC236}">
                <a16:creationId xmlns:a16="http://schemas.microsoft.com/office/drawing/2014/main" id="{BBE78BDD-CFB4-437E-A2D2-8D088E95C632}"/>
              </a:ext>
            </a:extLst>
          </p:cNvPr>
          <p:cNvSpPr txBox="1"/>
          <p:nvPr/>
        </p:nvSpPr>
        <p:spPr>
          <a:xfrm>
            <a:off x="6531780" y="2374972"/>
            <a:ext cx="505866" cy="173085"/>
          </a:xfrm>
          <a:prstGeom prst="rect">
            <a:avLst/>
          </a:prstGeom>
          <a:noFill/>
        </p:spPr>
        <p:txBody>
          <a:bodyPr wrap="square" lIns="64287" tIns="32143" rIns="64287" bIns="32143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sz="703" dirty="0">
                <a:solidFill>
                  <a:srgbClr val="0066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1/18</a:t>
            </a:r>
          </a:p>
        </p:txBody>
      </p:sp>
      <p:sp>
        <p:nvSpPr>
          <p:cNvPr id="93" name="Oval 77">
            <a:extLst>
              <a:ext uri="{FF2B5EF4-FFF2-40B4-BE49-F238E27FC236}">
                <a16:creationId xmlns:a16="http://schemas.microsoft.com/office/drawing/2014/main" id="{0F90BF28-4375-4B70-AAC1-12FBD3262841}"/>
              </a:ext>
            </a:extLst>
          </p:cNvPr>
          <p:cNvSpPr/>
          <p:nvPr/>
        </p:nvSpPr>
        <p:spPr>
          <a:xfrm>
            <a:off x="1431357" y="6372197"/>
            <a:ext cx="104349" cy="88018"/>
          </a:xfrm>
          <a:prstGeom prst="ellipse">
            <a:avLst/>
          </a:prstGeom>
          <a:solidFill>
            <a:srgbClr val="336699"/>
          </a:solidFill>
          <a:ln>
            <a:solidFill>
              <a:srgbClr val="3366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r>
              <a:rPr lang="de-DE" sz="703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</a:t>
            </a:r>
            <a:r>
              <a:rPr lang="de-DE" sz="703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nouncement</a:t>
            </a:r>
            <a:endParaRPr lang="de-DE" sz="703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6" name="Diamond 78">
            <a:extLst>
              <a:ext uri="{FF2B5EF4-FFF2-40B4-BE49-F238E27FC236}">
                <a16:creationId xmlns:a16="http://schemas.microsoft.com/office/drawing/2014/main" id="{5B76BECA-DED0-4972-A8A3-2BE3BDF293D6}"/>
              </a:ext>
            </a:extLst>
          </p:cNvPr>
          <p:cNvSpPr/>
          <p:nvPr/>
        </p:nvSpPr>
        <p:spPr>
          <a:xfrm>
            <a:off x="2353775" y="6356278"/>
            <a:ext cx="131832" cy="111056"/>
          </a:xfrm>
          <a:prstGeom prst="diamond">
            <a:avLst/>
          </a:prstGeom>
          <a:solidFill>
            <a:srgbClr val="336699"/>
          </a:solidFill>
          <a:ln>
            <a:solidFill>
              <a:srgbClr val="3366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r>
              <a:rPr lang="de-DE" sz="703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</a:t>
            </a:r>
            <a:r>
              <a:rPr lang="de-DE" sz="703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ract</a:t>
            </a:r>
            <a:r>
              <a:rPr lang="de-DE" sz="703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703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ward</a:t>
            </a:r>
            <a:endParaRPr lang="de-DE" sz="703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99" name="Straight Connector 147">
            <a:extLst>
              <a:ext uri="{FF2B5EF4-FFF2-40B4-BE49-F238E27FC236}">
                <a16:creationId xmlns:a16="http://schemas.microsoft.com/office/drawing/2014/main" id="{F7AAA3EE-2B3D-44E1-BB8E-9195574C89FC}"/>
              </a:ext>
            </a:extLst>
          </p:cNvPr>
          <p:cNvCxnSpPr>
            <a:cxnSpLocks/>
          </p:cNvCxnSpPr>
          <p:nvPr/>
        </p:nvCxnSpPr>
        <p:spPr>
          <a:xfrm>
            <a:off x="3332586" y="6411807"/>
            <a:ext cx="506306" cy="0"/>
          </a:xfrm>
          <a:prstGeom prst="line">
            <a:avLst/>
          </a:prstGeom>
          <a:ln w="101600">
            <a:solidFill>
              <a:srgbClr val="3366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148">
            <a:extLst>
              <a:ext uri="{FF2B5EF4-FFF2-40B4-BE49-F238E27FC236}">
                <a16:creationId xmlns:a16="http://schemas.microsoft.com/office/drawing/2014/main" id="{A0DF1EC7-D13C-4699-9556-6A00024959C4}"/>
              </a:ext>
            </a:extLst>
          </p:cNvPr>
          <p:cNvCxnSpPr>
            <a:cxnSpLocks/>
          </p:cNvCxnSpPr>
          <p:nvPr/>
        </p:nvCxnSpPr>
        <p:spPr>
          <a:xfrm>
            <a:off x="4420108" y="6411807"/>
            <a:ext cx="506306" cy="0"/>
          </a:xfrm>
          <a:prstGeom prst="line">
            <a:avLst/>
          </a:prstGeom>
          <a:ln w="101600">
            <a:solidFill>
              <a:schemeClr val="accent5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TextBox 149">
            <a:extLst>
              <a:ext uri="{FF2B5EF4-FFF2-40B4-BE49-F238E27FC236}">
                <a16:creationId xmlns:a16="http://schemas.microsoft.com/office/drawing/2014/main" id="{17F0B69F-AAA3-4C8F-B32F-409E81A4D192}"/>
              </a:ext>
            </a:extLst>
          </p:cNvPr>
          <p:cNvSpPr txBox="1"/>
          <p:nvPr/>
        </p:nvSpPr>
        <p:spPr>
          <a:xfrm>
            <a:off x="3838892" y="6334763"/>
            <a:ext cx="860721" cy="2005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03" dirty="0" err="1">
                <a:latin typeface="Calibri" panose="020F0502020204030204" pitchFamily="34" charset="0"/>
                <a:cs typeface="Calibri" panose="020F0502020204030204" pitchFamily="34" charset="0"/>
              </a:rPr>
              <a:t>Completed</a:t>
            </a:r>
            <a:endParaRPr lang="de-DE" sz="703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2" name="TextBox 150">
            <a:extLst>
              <a:ext uri="{FF2B5EF4-FFF2-40B4-BE49-F238E27FC236}">
                <a16:creationId xmlns:a16="http://schemas.microsoft.com/office/drawing/2014/main" id="{913CAEFD-B822-42F4-ACD3-371F3A78C62E}"/>
              </a:ext>
            </a:extLst>
          </p:cNvPr>
          <p:cNvSpPr txBox="1"/>
          <p:nvPr/>
        </p:nvSpPr>
        <p:spPr>
          <a:xfrm>
            <a:off x="4926414" y="6325244"/>
            <a:ext cx="860721" cy="2005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03" dirty="0" err="1">
                <a:latin typeface="Calibri" panose="020F0502020204030204" pitchFamily="34" charset="0"/>
                <a:cs typeface="Calibri" panose="020F0502020204030204" pitchFamily="34" charset="0"/>
              </a:rPr>
              <a:t>Current</a:t>
            </a:r>
            <a:r>
              <a:rPr lang="de-DE" sz="703" dirty="0">
                <a:latin typeface="Calibri" panose="020F0502020204030204" pitchFamily="34" charset="0"/>
                <a:cs typeface="Calibri" panose="020F0502020204030204" pitchFamily="34" charset="0"/>
              </a:rPr>
              <a:t> Schedule</a:t>
            </a:r>
          </a:p>
        </p:txBody>
      </p:sp>
      <p:cxnSp>
        <p:nvCxnSpPr>
          <p:cNvPr id="104" name="Straight Connector 8">
            <a:extLst>
              <a:ext uri="{FF2B5EF4-FFF2-40B4-BE49-F238E27FC236}">
                <a16:creationId xmlns:a16="http://schemas.microsoft.com/office/drawing/2014/main" id="{F863313C-BF1A-49E1-B283-3E790A23F16E}"/>
              </a:ext>
            </a:extLst>
          </p:cNvPr>
          <p:cNvCxnSpPr>
            <a:cxnSpLocks/>
          </p:cNvCxnSpPr>
          <p:nvPr/>
        </p:nvCxnSpPr>
        <p:spPr>
          <a:xfrm>
            <a:off x="3763490" y="3545802"/>
            <a:ext cx="1175707" cy="0"/>
          </a:xfrm>
          <a:prstGeom prst="line">
            <a:avLst/>
          </a:prstGeom>
          <a:ln w="82550">
            <a:solidFill>
              <a:srgbClr val="0070C0"/>
            </a:solidFill>
            <a:headEnd type="oval" w="sm" len="sm"/>
            <a:tailEnd type="diamond" w="sm" len="sm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9">
            <a:extLst>
              <a:ext uri="{FF2B5EF4-FFF2-40B4-BE49-F238E27FC236}">
                <a16:creationId xmlns:a16="http://schemas.microsoft.com/office/drawing/2014/main" id="{A6599AC5-9AC6-4FFC-BDD5-3061C3433573}"/>
              </a:ext>
            </a:extLst>
          </p:cNvPr>
          <p:cNvCxnSpPr>
            <a:cxnSpLocks/>
          </p:cNvCxnSpPr>
          <p:nvPr/>
        </p:nvCxnSpPr>
        <p:spPr>
          <a:xfrm>
            <a:off x="2091100" y="3327739"/>
            <a:ext cx="879064" cy="0"/>
          </a:xfrm>
          <a:prstGeom prst="line">
            <a:avLst/>
          </a:prstGeom>
          <a:ln w="889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">
            <a:extLst>
              <a:ext uri="{FF2B5EF4-FFF2-40B4-BE49-F238E27FC236}">
                <a16:creationId xmlns:a16="http://schemas.microsoft.com/office/drawing/2014/main" id="{9D901138-4054-48A1-96DF-4A94AABA96A9}"/>
              </a:ext>
            </a:extLst>
          </p:cNvPr>
          <p:cNvCxnSpPr>
            <a:cxnSpLocks/>
          </p:cNvCxnSpPr>
          <p:nvPr/>
        </p:nvCxnSpPr>
        <p:spPr>
          <a:xfrm>
            <a:off x="2099321" y="3327739"/>
            <a:ext cx="879064" cy="0"/>
          </a:xfrm>
          <a:prstGeom prst="line">
            <a:avLst/>
          </a:prstGeom>
          <a:ln w="101600">
            <a:solidFill>
              <a:srgbClr val="336699"/>
            </a:solidFill>
            <a:headEnd type="none" w="sm" len="sm"/>
            <a:tailEnd type="diamond" w="sm" len="sm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TextBox 28">
            <a:extLst>
              <a:ext uri="{FF2B5EF4-FFF2-40B4-BE49-F238E27FC236}">
                <a16:creationId xmlns:a16="http://schemas.microsoft.com/office/drawing/2014/main" id="{DF1BC7B5-1AB8-4E95-B40F-0A1DFC140AE5}"/>
              </a:ext>
            </a:extLst>
          </p:cNvPr>
          <p:cNvSpPr txBox="1"/>
          <p:nvPr/>
        </p:nvSpPr>
        <p:spPr>
          <a:xfrm>
            <a:off x="3007224" y="3226478"/>
            <a:ext cx="505866" cy="2005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03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5/17</a:t>
            </a:r>
          </a:p>
        </p:txBody>
      </p:sp>
      <p:sp>
        <p:nvSpPr>
          <p:cNvPr id="125" name="TextBox 29">
            <a:extLst>
              <a:ext uri="{FF2B5EF4-FFF2-40B4-BE49-F238E27FC236}">
                <a16:creationId xmlns:a16="http://schemas.microsoft.com/office/drawing/2014/main" id="{8A4E90D5-0DF2-4A82-AC99-ADE2237E5833}"/>
              </a:ext>
            </a:extLst>
          </p:cNvPr>
          <p:cNvSpPr txBox="1"/>
          <p:nvPr/>
        </p:nvSpPr>
        <p:spPr>
          <a:xfrm>
            <a:off x="3394723" y="3459661"/>
            <a:ext cx="505866" cy="2005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03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9/17</a:t>
            </a:r>
          </a:p>
        </p:txBody>
      </p:sp>
      <p:sp>
        <p:nvSpPr>
          <p:cNvPr id="126" name="TextBox 30">
            <a:extLst>
              <a:ext uri="{FF2B5EF4-FFF2-40B4-BE49-F238E27FC236}">
                <a16:creationId xmlns:a16="http://schemas.microsoft.com/office/drawing/2014/main" id="{B74D10DD-8291-4CB7-9741-6383B8B07459}"/>
              </a:ext>
            </a:extLst>
          </p:cNvPr>
          <p:cNvSpPr txBox="1"/>
          <p:nvPr/>
        </p:nvSpPr>
        <p:spPr>
          <a:xfrm>
            <a:off x="4955089" y="3463107"/>
            <a:ext cx="505866" cy="2005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03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3/18</a:t>
            </a:r>
          </a:p>
        </p:txBody>
      </p:sp>
      <p:cxnSp>
        <p:nvCxnSpPr>
          <p:cNvPr id="127" name="Straight Connector 31">
            <a:extLst>
              <a:ext uri="{FF2B5EF4-FFF2-40B4-BE49-F238E27FC236}">
                <a16:creationId xmlns:a16="http://schemas.microsoft.com/office/drawing/2014/main" id="{6D0A35E6-A784-4D73-BD5A-3DE030DC2486}"/>
              </a:ext>
            </a:extLst>
          </p:cNvPr>
          <p:cNvCxnSpPr>
            <a:cxnSpLocks/>
          </p:cNvCxnSpPr>
          <p:nvPr/>
        </p:nvCxnSpPr>
        <p:spPr>
          <a:xfrm>
            <a:off x="3900589" y="3816083"/>
            <a:ext cx="647746" cy="2245"/>
          </a:xfrm>
          <a:prstGeom prst="line">
            <a:avLst/>
          </a:prstGeom>
          <a:ln w="101600">
            <a:solidFill>
              <a:srgbClr val="336699"/>
            </a:solidFill>
            <a:headEnd type="oval" w="sm" len="sm"/>
            <a:tailEnd type="diamond" w="sm" len="sm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TextBox 32">
            <a:extLst>
              <a:ext uri="{FF2B5EF4-FFF2-40B4-BE49-F238E27FC236}">
                <a16:creationId xmlns:a16="http://schemas.microsoft.com/office/drawing/2014/main" id="{AC4DED87-74BE-4DFF-90E1-699AF041984E}"/>
              </a:ext>
            </a:extLst>
          </p:cNvPr>
          <p:cNvSpPr txBox="1"/>
          <p:nvPr/>
        </p:nvSpPr>
        <p:spPr>
          <a:xfrm>
            <a:off x="3472228" y="3732784"/>
            <a:ext cx="390944" cy="3086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703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0/17</a:t>
            </a:r>
          </a:p>
        </p:txBody>
      </p:sp>
      <p:sp>
        <p:nvSpPr>
          <p:cNvPr id="129" name="TextBox 33">
            <a:extLst>
              <a:ext uri="{FF2B5EF4-FFF2-40B4-BE49-F238E27FC236}">
                <a16:creationId xmlns:a16="http://schemas.microsoft.com/office/drawing/2014/main" id="{C635A54D-9FC6-4271-95E2-1242E12B5786}"/>
              </a:ext>
            </a:extLst>
          </p:cNvPr>
          <p:cNvSpPr txBox="1"/>
          <p:nvPr/>
        </p:nvSpPr>
        <p:spPr>
          <a:xfrm>
            <a:off x="4572440" y="3732784"/>
            <a:ext cx="505866" cy="2005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03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1/18</a:t>
            </a:r>
          </a:p>
        </p:txBody>
      </p:sp>
      <p:cxnSp>
        <p:nvCxnSpPr>
          <p:cNvPr id="130" name="Straight Connector 34">
            <a:extLst>
              <a:ext uri="{FF2B5EF4-FFF2-40B4-BE49-F238E27FC236}">
                <a16:creationId xmlns:a16="http://schemas.microsoft.com/office/drawing/2014/main" id="{FD27AFBE-00D2-47CA-BCA0-E5EB966378CB}"/>
              </a:ext>
            </a:extLst>
          </p:cNvPr>
          <p:cNvCxnSpPr>
            <a:cxnSpLocks/>
          </p:cNvCxnSpPr>
          <p:nvPr/>
        </p:nvCxnSpPr>
        <p:spPr>
          <a:xfrm>
            <a:off x="2091100" y="4057800"/>
            <a:ext cx="2457236" cy="0"/>
          </a:xfrm>
          <a:prstGeom prst="line">
            <a:avLst/>
          </a:prstGeom>
          <a:ln w="101600">
            <a:solidFill>
              <a:srgbClr val="336699"/>
            </a:solidFill>
            <a:headEnd type="none" w="sm" len="sm"/>
            <a:tailEnd type="diamond" w="sm" len="sm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TextBox 35">
            <a:extLst>
              <a:ext uri="{FF2B5EF4-FFF2-40B4-BE49-F238E27FC236}">
                <a16:creationId xmlns:a16="http://schemas.microsoft.com/office/drawing/2014/main" id="{718A3001-B383-46D5-A34C-B25FE06D504B}"/>
              </a:ext>
            </a:extLst>
          </p:cNvPr>
          <p:cNvSpPr txBox="1"/>
          <p:nvPr/>
        </p:nvSpPr>
        <p:spPr>
          <a:xfrm>
            <a:off x="4572440" y="3985937"/>
            <a:ext cx="505866" cy="2005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03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1/18</a:t>
            </a:r>
          </a:p>
        </p:txBody>
      </p:sp>
      <p:cxnSp>
        <p:nvCxnSpPr>
          <p:cNvPr id="132" name="Straight Connector 36">
            <a:extLst>
              <a:ext uri="{FF2B5EF4-FFF2-40B4-BE49-F238E27FC236}">
                <a16:creationId xmlns:a16="http://schemas.microsoft.com/office/drawing/2014/main" id="{47326772-8FED-450B-9195-86DCD2084409}"/>
              </a:ext>
            </a:extLst>
          </p:cNvPr>
          <p:cNvCxnSpPr>
            <a:cxnSpLocks/>
            <a:stCxn id="134" idx="3"/>
            <a:endCxn id="133" idx="1"/>
          </p:cNvCxnSpPr>
          <p:nvPr/>
        </p:nvCxnSpPr>
        <p:spPr>
          <a:xfrm flipV="1">
            <a:off x="6009049" y="4533638"/>
            <a:ext cx="841769" cy="1"/>
          </a:xfrm>
          <a:prstGeom prst="line">
            <a:avLst/>
          </a:prstGeom>
          <a:ln w="101600">
            <a:solidFill>
              <a:schemeClr val="accent5">
                <a:lumMod val="90000"/>
              </a:schemeClr>
            </a:solidFill>
            <a:headEnd type="oval" w="sm" len="sm"/>
            <a:tailEnd type="diamond" w="sm" len="sm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TextBox 37">
            <a:extLst>
              <a:ext uri="{FF2B5EF4-FFF2-40B4-BE49-F238E27FC236}">
                <a16:creationId xmlns:a16="http://schemas.microsoft.com/office/drawing/2014/main" id="{5E42CE55-4D13-42D7-9BA0-01934DE3F51F}"/>
              </a:ext>
            </a:extLst>
          </p:cNvPr>
          <p:cNvSpPr txBox="1"/>
          <p:nvPr/>
        </p:nvSpPr>
        <p:spPr>
          <a:xfrm>
            <a:off x="6850818" y="4447076"/>
            <a:ext cx="505866" cy="2005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03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02/19</a:t>
            </a:r>
          </a:p>
        </p:txBody>
      </p:sp>
      <p:sp>
        <p:nvSpPr>
          <p:cNvPr id="134" name="TextBox 38">
            <a:extLst>
              <a:ext uri="{FF2B5EF4-FFF2-40B4-BE49-F238E27FC236}">
                <a16:creationId xmlns:a16="http://schemas.microsoft.com/office/drawing/2014/main" id="{68198ED4-57B8-4521-BEA3-621665D38A8E}"/>
              </a:ext>
            </a:extLst>
          </p:cNvPr>
          <p:cNvSpPr txBox="1"/>
          <p:nvPr/>
        </p:nvSpPr>
        <p:spPr>
          <a:xfrm>
            <a:off x="5503184" y="4447077"/>
            <a:ext cx="505866" cy="2005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703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9/18</a:t>
            </a:r>
          </a:p>
        </p:txBody>
      </p:sp>
      <p:cxnSp>
        <p:nvCxnSpPr>
          <p:cNvPr id="135" name="Straight Connector 39">
            <a:extLst>
              <a:ext uri="{FF2B5EF4-FFF2-40B4-BE49-F238E27FC236}">
                <a16:creationId xmlns:a16="http://schemas.microsoft.com/office/drawing/2014/main" id="{81A486DF-0B98-405B-B892-D54707E49CF0}"/>
              </a:ext>
            </a:extLst>
          </p:cNvPr>
          <p:cNvCxnSpPr>
            <a:cxnSpLocks/>
          </p:cNvCxnSpPr>
          <p:nvPr/>
        </p:nvCxnSpPr>
        <p:spPr>
          <a:xfrm>
            <a:off x="5989438" y="4843375"/>
            <a:ext cx="2462391" cy="4264"/>
          </a:xfrm>
          <a:prstGeom prst="line">
            <a:avLst/>
          </a:prstGeom>
          <a:ln w="101600">
            <a:solidFill>
              <a:schemeClr val="accent5">
                <a:lumMod val="90000"/>
              </a:schemeClr>
            </a:solidFill>
            <a:headEnd type="oval" w="sm" len="sm"/>
            <a:tailEnd type="diamond" w="sm" len="sm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TextBox 40">
            <a:extLst>
              <a:ext uri="{FF2B5EF4-FFF2-40B4-BE49-F238E27FC236}">
                <a16:creationId xmlns:a16="http://schemas.microsoft.com/office/drawing/2014/main" id="{E524E520-6B2E-4F5B-AE0D-C17CBFE1A9C3}"/>
              </a:ext>
            </a:extLst>
          </p:cNvPr>
          <p:cNvSpPr txBox="1"/>
          <p:nvPr/>
        </p:nvSpPr>
        <p:spPr>
          <a:xfrm>
            <a:off x="8470558" y="4774795"/>
            <a:ext cx="505866" cy="2005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03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10/19</a:t>
            </a:r>
          </a:p>
        </p:txBody>
      </p:sp>
      <p:sp>
        <p:nvSpPr>
          <p:cNvPr id="137" name="TextBox 41">
            <a:extLst>
              <a:ext uri="{FF2B5EF4-FFF2-40B4-BE49-F238E27FC236}">
                <a16:creationId xmlns:a16="http://schemas.microsoft.com/office/drawing/2014/main" id="{AEE3BF63-B016-4E0E-B2EE-1B3AE620B373}"/>
              </a:ext>
            </a:extLst>
          </p:cNvPr>
          <p:cNvSpPr txBox="1"/>
          <p:nvPr/>
        </p:nvSpPr>
        <p:spPr>
          <a:xfrm>
            <a:off x="5483571" y="4756813"/>
            <a:ext cx="505866" cy="2005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703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9/18</a:t>
            </a:r>
          </a:p>
        </p:txBody>
      </p:sp>
      <p:cxnSp>
        <p:nvCxnSpPr>
          <p:cNvPr id="138" name="Straight Connector 42">
            <a:extLst>
              <a:ext uri="{FF2B5EF4-FFF2-40B4-BE49-F238E27FC236}">
                <a16:creationId xmlns:a16="http://schemas.microsoft.com/office/drawing/2014/main" id="{3C719C62-426A-4E57-B4F7-C5A62404C2F3}"/>
              </a:ext>
            </a:extLst>
          </p:cNvPr>
          <p:cNvCxnSpPr>
            <a:cxnSpLocks/>
            <a:stCxn id="140" idx="3"/>
            <a:endCxn id="139" idx="1"/>
          </p:cNvCxnSpPr>
          <p:nvPr/>
        </p:nvCxnSpPr>
        <p:spPr>
          <a:xfrm>
            <a:off x="7913181" y="5094017"/>
            <a:ext cx="658638" cy="1016"/>
          </a:xfrm>
          <a:prstGeom prst="line">
            <a:avLst/>
          </a:prstGeom>
          <a:ln w="101600">
            <a:solidFill>
              <a:schemeClr val="accent5">
                <a:lumMod val="90000"/>
              </a:schemeClr>
            </a:solidFill>
            <a:headEnd type="oval" w="sm" len="sm"/>
            <a:tailEnd type="diamond" w="sm" len="sm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TextBox 43">
            <a:extLst>
              <a:ext uri="{FF2B5EF4-FFF2-40B4-BE49-F238E27FC236}">
                <a16:creationId xmlns:a16="http://schemas.microsoft.com/office/drawing/2014/main" id="{4F837C6E-2AD3-4376-BF8E-3BBA927D00F1}"/>
              </a:ext>
            </a:extLst>
          </p:cNvPr>
          <p:cNvSpPr txBox="1"/>
          <p:nvPr/>
        </p:nvSpPr>
        <p:spPr>
          <a:xfrm>
            <a:off x="8571819" y="5008471"/>
            <a:ext cx="505866" cy="2005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03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11/19</a:t>
            </a:r>
          </a:p>
        </p:txBody>
      </p:sp>
      <p:sp>
        <p:nvSpPr>
          <p:cNvPr id="140" name="TextBox 44">
            <a:extLst>
              <a:ext uri="{FF2B5EF4-FFF2-40B4-BE49-F238E27FC236}">
                <a16:creationId xmlns:a16="http://schemas.microsoft.com/office/drawing/2014/main" id="{82D4BC34-4923-42A1-986C-B9AE7BCB0CE5}"/>
              </a:ext>
            </a:extLst>
          </p:cNvPr>
          <p:cNvSpPr txBox="1"/>
          <p:nvPr/>
        </p:nvSpPr>
        <p:spPr>
          <a:xfrm>
            <a:off x="7407315" y="5007455"/>
            <a:ext cx="505866" cy="2005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703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07/19</a:t>
            </a:r>
          </a:p>
        </p:txBody>
      </p:sp>
      <p:cxnSp>
        <p:nvCxnSpPr>
          <p:cNvPr id="141" name="Straight Connector 45">
            <a:extLst>
              <a:ext uri="{FF2B5EF4-FFF2-40B4-BE49-F238E27FC236}">
                <a16:creationId xmlns:a16="http://schemas.microsoft.com/office/drawing/2014/main" id="{22A3F097-A05F-4D4E-9402-4A5F00FC962A}"/>
              </a:ext>
            </a:extLst>
          </p:cNvPr>
          <p:cNvCxnSpPr>
            <a:cxnSpLocks/>
          </p:cNvCxnSpPr>
          <p:nvPr/>
        </p:nvCxnSpPr>
        <p:spPr>
          <a:xfrm>
            <a:off x="5989438" y="5367606"/>
            <a:ext cx="2462391" cy="1449"/>
          </a:xfrm>
          <a:prstGeom prst="line">
            <a:avLst/>
          </a:prstGeom>
          <a:ln w="101600">
            <a:solidFill>
              <a:schemeClr val="accent5">
                <a:lumMod val="90000"/>
              </a:schemeClr>
            </a:solidFill>
            <a:headEnd type="oval" w="sm" len="sm"/>
            <a:tailEnd type="diamond" w="sm" len="sm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TextBox 46">
            <a:extLst>
              <a:ext uri="{FF2B5EF4-FFF2-40B4-BE49-F238E27FC236}">
                <a16:creationId xmlns:a16="http://schemas.microsoft.com/office/drawing/2014/main" id="{E3BF5108-716B-4ADE-BBDA-E6F4E7664359}"/>
              </a:ext>
            </a:extLst>
          </p:cNvPr>
          <p:cNvSpPr txBox="1"/>
          <p:nvPr/>
        </p:nvSpPr>
        <p:spPr>
          <a:xfrm>
            <a:off x="8521629" y="5293306"/>
            <a:ext cx="505866" cy="2005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03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0/19</a:t>
            </a:r>
          </a:p>
        </p:txBody>
      </p:sp>
      <p:sp>
        <p:nvSpPr>
          <p:cNvPr id="143" name="TextBox 47">
            <a:extLst>
              <a:ext uri="{FF2B5EF4-FFF2-40B4-BE49-F238E27FC236}">
                <a16:creationId xmlns:a16="http://schemas.microsoft.com/office/drawing/2014/main" id="{4E6EC239-D551-43EC-A763-565564AC3D8C}"/>
              </a:ext>
            </a:extLst>
          </p:cNvPr>
          <p:cNvSpPr txBox="1"/>
          <p:nvPr/>
        </p:nvSpPr>
        <p:spPr>
          <a:xfrm>
            <a:off x="5563326" y="5290546"/>
            <a:ext cx="354431" cy="3086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03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9/18</a:t>
            </a:r>
          </a:p>
        </p:txBody>
      </p:sp>
      <p:sp>
        <p:nvSpPr>
          <p:cNvPr id="144" name="Diamond 58">
            <a:extLst>
              <a:ext uri="{FF2B5EF4-FFF2-40B4-BE49-F238E27FC236}">
                <a16:creationId xmlns:a16="http://schemas.microsoft.com/office/drawing/2014/main" id="{2A349ED4-1CEC-4379-99C8-0960F3E48429}"/>
              </a:ext>
            </a:extLst>
          </p:cNvPr>
          <p:cNvSpPr/>
          <p:nvPr/>
        </p:nvSpPr>
        <p:spPr>
          <a:xfrm>
            <a:off x="3124918" y="6006290"/>
            <a:ext cx="133824" cy="122690"/>
          </a:xfrm>
          <a:prstGeom prst="diamond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r>
              <a:rPr lang="de-DE" sz="773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Start </a:t>
            </a:r>
            <a:r>
              <a:rPr lang="de-DE" sz="773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</a:t>
            </a:r>
            <a:r>
              <a:rPr lang="de-DE" sz="773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cavation</a:t>
            </a:r>
            <a:endParaRPr lang="de-DE" sz="773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de-DE" sz="773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A</a:t>
            </a:r>
            <a:r>
              <a:rPr lang="de-DE" sz="773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a </a:t>
            </a:r>
            <a:r>
              <a:rPr lang="de-DE" sz="773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„North“</a:t>
            </a:r>
          </a:p>
        </p:txBody>
      </p:sp>
      <p:sp>
        <p:nvSpPr>
          <p:cNvPr id="154" name="Diamond 62">
            <a:extLst>
              <a:ext uri="{FF2B5EF4-FFF2-40B4-BE49-F238E27FC236}">
                <a16:creationId xmlns:a16="http://schemas.microsoft.com/office/drawing/2014/main" id="{719E6E14-B3FB-407F-BA89-D632D56D6522}"/>
              </a:ext>
            </a:extLst>
          </p:cNvPr>
          <p:cNvSpPr/>
          <p:nvPr/>
        </p:nvSpPr>
        <p:spPr>
          <a:xfrm>
            <a:off x="8627934" y="5866679"/>
            <a:ext cx="133824" cy="122690"/>
          </a:xfrm>
          <a:prstGeom prst="diamond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r>
              <a:rPr lang="de-DE" sz="773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11/19 </a:t>
            </a:r>
          </a:p>
        </p:txBody>
      </p:sp>
      <p:sp>
        <p:nvSpPr>
          <p:cNvPr id="157" name="Diamond 66">
            <a:extLst>
              <a:ext uri="{FF2B5EF4-FFF2-40B4-BE49-F238E27FC236}">
                <a16:creationId xmlns:a16="http://schemas.microsoft.com/office/drawing/2014/main" id="{F002A68B-2ACA-4515-879E-8A45CA2AF3B8}"/>
              </a:ext>
            </a:extLst>
          </p:cNvPr>
          <p:cNvSpPr/>
          <p:nvPr/>
        </p:nvSpPr>
        <p:spPr>
          <a:xfrm>
            <a:off x="8826839" y="6101042"/>
            <a:ext cx="133824" cy="122690"/>
          </a:xfrm>
          <a:prstGeom prst="diamond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pPr algn="ctr"/>
            <a:r>
              <a:rPr lang="de-DE" sz="773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de-DE" sz="773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de-DE" sz="773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de-DE" sz="773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de-DE" sz="773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12/19 </a:t>
            </a:r>
          </a:p>
        </p:txBody>
      </p:sp>
      <p:sp>
        <p:nvSpPr>
          <p:cNvPr id="162" name="TextBox 72">
            <a:extLst>
              <a:ext uri="{FF2B5EF4-FFF2-40B4-BE49-F238E27FC236}">
                <a16:creationId xmlns:a16="http://schemas.microsoft.com/office/drawing/2014/main" id="{8409E811-455F-4B52-AA3D-A202A438E130}"/>
              </a:ext>
            </a:extLst>
          </p:cNvPr>
          <p:cNvSpPr txBox="1"/>
          <p:nvPr/>
        </p:nvSpPr>
        <p:spPr>
          <a:xfrm>
            <a:off x="2799928" y="5971338"/>
            <a:ext cx="505866" cy="2005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03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6/17</a:t>
            </a:r>
          </a:p>
        </p:txBody>
      </p:sp>
      <p:cxnSp>
        <p:nvCxnSpPr>
          <p:cNvPr id="163" name="Straight Connector 74">
            <a:extLst>
              <a:ext uri="{FF2B5EF4-FFF2-40B4-BE49-F238E27FC236}">
                <a16:creationId xmlns:a16="http://schemas.microsoft.com/office/drawing/2014/main" id="{0F4C16A1-5859-4541-B683-59D166C1BCEB}"/>
              </a:ext>
            </a:extLst>
          </p:cNvPr>
          <p:cNvCxnSpPr>
            <a:cxnSpLocks/>
          </p:cNvCxnSpPr>
          <p:nvPr/>
        </p:nvCxnSpPr>
        <p:spPr>
          <a:xfrm flipV="1">
            <a:off x="3762734" y="3545802"/>
            <a:ext cx="1171116" cy="421"/>
          </a:xfrm>
          <a:prstGeom prst="line">
            <a:avLst/>
          </a:prstGeom>
          <a:ln w="101600">
            <a:solidFill>
              <a:srgbClr val="336699"/>
            </a:solidFill>
            <a:headEnd type="oval" w="sm" len="sm"/>
            <a:tailEnd type="diamond" w="sm" len="sm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5" name="TextBox 1">
            <a:extLst>
              <a:ext uri="{FF2B5EF4-FFF2-40B4-BE49-F238E27FC236}">
                <a16:creationId xmlns:a16="http://schemas.microsoft.com/office/drawing/2014/main" id="{A3EE60D1-A9EE-4026-A678-AA202569750A}"/>
              </a:ext>
            </a:extLst>
          </p:cNvPr>
          <p:cNvSpPr txBox="1"/>
          <p:nvPr/>
        </p:nvSpPr>
        <p:spPr>
          <a:xfrm>
            <a:off x="87282" y="5504856"/>
            <a:ext cx="3995004" cy="1897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33" i="1" dirty="0">
                <a:latin typeface="Calibri" panose="020F0502020204030204" pitchFamily="34" charset="0"/>
                <a:cs typeface="Calibri" panose="020F0502020204030204" pitchFamily="34" charset="0"/>
              </a:rPr>
              <a:t>Note 1) Expected start of tendering process for “package 2” in Q4/2019 … Q1/2020 depending on cost review results</a:t>
            </a:r>
          </a:p>
        </p:txBody>
      </p:sp>
      <p:sp>
        <p:nvSpPr>
          <p:cNvPr id="52" name="Textfeld 51"/>
          <p:cNvSpPr txBox="1"/>
          <p:nvPr/>
        </p:nvSpPr>
        <p:spPr>
          <a:xfrm>
            <a:off x="5682855" y="1844120"/>
            <a:ext cx="1339706" cy="33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773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MBF‘s grant decision to support amendment notice</a:t>
            </a:r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F71FE81E-B408-46AF-923F-7B7B49FFFB6C}"/>
              </a:ext>
            </a:extLst>
          </p:cNvPr>
          <p:cNvCxnSpPr>
            <a:cxnSpLocks/>
          </p:cNvCxnSpPr>
          <p:nvPr/>
        </p:nvCxnSpPr>
        <p:spPr>
          <a:xfrm flipV="1">
            <a:off x="2831541" y="2458914"/>
            <a:ext cx="3435401" cy="1"/>
          </a:xfrm>
          <a:prstGeom prst="line">
            <a:avLst/>
          </a:prstGeom>
          <a:ln w="82550">
            <a:solidFill>
              <a:srgbClr val="006600"/>
            </a:solidFill>
            <a:headEnd type="diamond" w="sm" len="sm"/>
            <a:tailEnd type="none" w="sm" len="sm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A2ECC4CE-801E-4797-8247-1F6CAB48D94F}"/>
              </a:ext>
            </a:extLst>
          </p:cNvPr>
          <p:cNvCxnSpPr>
            <a:cxnSpLocks/>
          </p:cNvCxnSpPr>
          <p:nvPr/>
        </p:nvCxnSpPr>
        <p:spPr>
          <a:xfrm>
            <a:off x="5045649" y="2751663"/>
            <a:ext cx="3278194" cy="4984"/>
          </a:xfrm>
          <a:prstGeom prst="line">
            <a:avLst/>
          </a:prstGeom>
          <a:ln w="82550">
            <a:solidFill>
              <a:srgbClr val="92D050"/>
            </a:solidFill>
            <a:headEnd type="diamond" w="sm" len="sm"/>
            <a:tailEnd type="diamond" w="sm" len="sm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TextBox 146">
            <a:extLst>
              <a:ext uri="{FF2B5EF4-FFF2-40B4-BE49-F238E27FC236}">
                <a16:creationId xmlns:a16="http://schemas.microsoft.com/office/drawing/2014/main" id="{B20BE45F-8628-42A5-BB0B-257480B2A588}"/>
              </a:ext>
            </a:extLst>
          </p:cNvPr>
          <p:cNvSpPr txBox="1"/>
          <p:nvPr/>
        </p:nvSpPr>
        <p:spPr>
          <a:xfrm>
            <a:off x="8269197" y="6307631"/>
            <a:ext cx="860721" cy="3086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03" dirty="0">
                <a:latin typeface="Calibri" panose="020F0502020204030204" pitchFamily="34" charset="0"/>
                <a:cs typeface="Calibri" panose="020F0502020204030204" pitchFamily="34" charset="0"/>
              </a:rPr>
              <a:t>Status 30/10/2018</a:t>
            </a:r>
          </a:p>
        </p:txBody>
      </p:sp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F71FE81E-B408-46AF-923F-7B7B49FFFB6C}"/>
              </a:ext>
            </a:extLst>
          </p:cNvPr>
          <p:cNvCxnSpPr>
            <a:cxnSpLocks/>
          </p:cNvCxnSpPr>
          <p:nvPr/>
        </p:nvCxnSpPr>
        <p:spPr>
          <a:xfrm>
            <a:off x="5045648" y="2751663"/>
            <a:ext cx="1221294" cy="4984"/>
          </a:xfrm>
          <a:prstGeom prst="line">
            <a:avLst/>
          </a:prstGeom>
          <a:ln w="82550">
            <a:solidFill>
              <a:srgbClr val="006600"/>
            </a:solidFill>
            <a:headEnd type="diamond" w="sm" len="sm"/>
            <a:tailEnd type="none" w="sm" len="sm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4622397F-F599-4AE9-A62D-B2D10B505408}"/>
              </a:ext>
            </a:extLst>
          </p:cNvPr>
          <p:cNvGrpSpPr/>
          <p:nvPr/>
        </p:nvGrpSpPr>
        <p:grpSpPr>
          <a:xfrm>
            <a:off x="5967681" y="1504695"/>
            <a:ext cx="629544" cy="4776069"/>
            <a:chOff x="7845231" y="2121753"/>
            <a:chExt cx="895352" cy="6792631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48E3EC83-5AE2-4458-824D-11908BF2D373}"/>
                </a:ext>
              </a:extLst>
            </p:cNvPr>
            <p:cNvCxnSpPr>
              <a:cxnSpLocks/>
            </p:cNvCxnSpPr>
            <p:nvPr/>
          </p:nvCxnSpPr>
          <p:spPr>
            <a:xfrm>
              <a:off x="8270847" y="2121753"/>
              <a:ext cx="20609" cy="6792631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  <p:sp>
          <p:nvSpPr>
            <p:cNvPr id="167" name="TextBox 146">
              <a:extLst>
                <a:ext uri="{FF2B5EF4-FFF2-40B4-BE49-F238E27FC236}">
                  <a16:creationId xmlns:a16="http://schemas.microsoft.com/office/drawing/2014/main" id="{B20BE45F-8628-42A5-BB0B-257480B2A588}"/>
                </a:ext>
              </a:extLst>
            </p:cNvPr>
            <p:cNvSpPr txBox="1"/>
            <p:nvPr/>
          </p:nvSpPr>
          <p:spPr>
            <a:xfrm>
              <a:off x="7845231" y="2121753"/>
              <a:ext cx="895352" cy="285161"/>
            </a:xfrm>
            <a:prstGeom prst="rect">
              <a:avLst/>
            </a:prstGeom>
            <a:solidFill>
              <a:srgbClr val="CBE6FF"/>
            </a:solidFill>
            <a:ln>
              <a:solidFill>
                <a:srgbClr val="FF0000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703" dirty="0">
                  <a:solidFill>
                    <a:srgbClr val="FF0000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30/10/2018</a:t>
              </a:r>
            </a:p>
          </p:txBody>
        </p:sp>
      </p:grpSp>
      <p:cxnSp>
        <p:nvCxnSpPr>
          <p:cNvPr id="173" name="Straight Connector 36">
            <a:extLst>
              <a:ext uri="{FF2B5EF4-FFF2-40B4-BE49-F238E27FC236}">
                <a16:creationId xmlns:a16="http://schemas.microsoft.com/office/drawing/2014/main" id="{47326772-8FED-450B-9195-86DCD2084409}"/>
              </a:ext>
            </a:extLst>
          </p:cNvPr>
          <p:cNvCxnSpPr>
            <a:cxnSpLocks/>
          </p:cNvCxnSpPr>
          <p:nvPr/>
        </p:nvCxnSpPr>
        <p:spPr>
          <a:xfrm>
            <a:off x="4167396" y="4288054"/>
            <a:ext cx="1033151" cy="0"/>
          </a:xfrm>
          <a:prstGeom prst="line">
            <a:avLst/>
          </a:prstGeom>
          <a:ln w="101600">
            <a:solidFill>
              <a:srgbClr val="336699"/>
            </a:solidFill>
            <a:headEnd type="oval" w="sm" len="sm"/>
            <a:tailEnd type="diamond" w="sm" len="sm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" name="TextBox 37">
            <a:extLst>
              <a:ext uri="{FF2B5EF4-FFF2-40B4-BE49-F238E27FC236}">
                <a16:creationId xmlns:a16="http://schemas.microsoft.com/office/drawing/2014/main" id="{5E42CE55-4D13-42D7-9BA0-01934DE3F51F}"/>
              </a:ext>
            </a:extLst>
          </p:cNvPr>
          <p:cNvSpPr txBox="1"/>
          <p:nvPr/>
        </p:nvSpPr>
        <p:spPr>
          <a:xfrm>
            <a:off x="5230638" y="4207289"/>
            <a:ext cx="505866" cy="2005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03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4/18</a:t>
            </a:r>
          </a:p>
        </p:txBody>
      </p:sp>
      <p:sp>
        <p:nvSpPr>
          <p:cNvPr id="175" name="TextBox 38">
            <a:extLst>
              <a:ext uri="{FF2B5EF4-FFF2-40B4-BE49-F238E27FC236}">
                <a16:creationId xmlns:a16="http://schemas.microsoft.com/office/drawing/2014/main" id="{68198ED4-57B8-4521-BEA3-621665D38A8E}"/>
              </a:ext>
            </a:extLst>
          </p:cNvPr>
          <p:cNvSpPr txBox="1"/>
          <p:nvPr/>
        </p:nvSpPr>
        <p:spPr>
          <a:xfrm>
            <a:off x="3790200" y="4188460"/>
            <a:ext cx="505866" cy="2005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703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1/17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351031" y="5830312"/>
            <a:ext cx="1382110" cy="2112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773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art </a:t>
            </a:r>
            <a:r>
              <a:rPr lang="de-DE" sz="773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</a:t>
            </a:r>
            <a:r>
              <a:rPr lang="de-DE" sz="773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xcavation</a:t>
            </a:r>
            <a:r>
              <a:rPr lang="de-DE" sz="773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773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</a:t>
            </a:r>
            <a:r>
              <a:rPr lang="de-DE" sz="773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a </a:t>
            </a:r>
            <a:r>
              <a:rPr lang="de-DE" sz="773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„South“</a:t>
            </a:r>
          </a:p>
        </p:txBody>
      </p:sp>
      <p:sp>
        <p:nvSpPr>
          <p:cNvPr id="177" name="TextBox 176"/>
          <p:cNvSpPr txBox="1"/>
          <p:nvPr/>
        </p:nvSpPr>
        <p:spPr>
          <a:xfrm>
            <a:off x="7460959" y="6064677"/>
            <a:ext cx="1451038" cy="2112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773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art </a:t>
            </a:r>
            <a:r>
              <a:rPr lang="de-DE" sz="773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ivil</a:t>
            </a:r>
            <a:r>
              <a:rPr lang="de-DE" sz="773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Works Area </a:t>
            </a:r>
            <a:r>
              <a:rPr lang="de-DE" sz="773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„South“</a:t>
            </a:r>
          </a:p>
        </p:txBody>
      </p:sp>
      <p:sp>
        <p:nvSpPr>
          <p:cNvPr id="55" name="Diamond 54">
            <a:extLst>
              <a:ext uri="{FF2B5EF4-FFF2-40B4-BE49-F238E27FC236}">
                <a16:creationId xmlns:a16="http://schemas.microsoft.com/office/drawing/2014/main" id="{E6F959C7-5C3F-4B42-A3FE-3242E4DC53B8}"/>
              </a:ext>
            </a:extLst>
          </p:cNvPr>
          <p:cNvSpPr/>
          <p:nvPr/>
        </p:nvSpPr>
        <p:spPr>
          <a:xfrm>
            <a:off x="5582744" y="1857096"/>
            <a:ext cx="133824" cy="122690"/>
          </a:xfrm>
          <a:prstGeom prst="diamond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64287" tIns="32143" rIns="64287" bIns="32143" rtlCol="0" anchor="ctr">
            <a:noAutofit/>
          </a:bodyPr>
          <a:lstStyle/>
          <a:p>
            <a:endParaRPr lang="de-DE" sz="773" dirty="0">
              <a:solidFill>
                <a:srgbClr val="000000">
                  <a:lumMod val="65000"/>
                  <a:lumOff val="35000"/>
                </a:srgb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6" name="Diamond 59">
            <a:extLst>
              <a:ext uri="{FF2B5EF4-FFF2-40B4-BE49-F238E27FC236}">
                <a16:creationId xmlns:a16="http://schemas.microsoft.com/office/drawing/2014/main" id="{E1B5B16C-9226-4201-BB69-4AE3A526D611}"/>
              </a:ext>
            </a:extLst>
          </p:cNvPr>
          <p:cNvSpPr/>
          <p:nvPr/>
        </p:nvSpPr>
        <p:spPr>
          <a:xfrm>
            <a:off x="4893852" y="6015099"/>
            <a:ext cx="133824" cy="122690"/>
          </a:xfrm>
          <a:prstGeom prst="diamond">
            <a:avLst/>
          </a:prstGeom>
          <a:solidFill>
            <a:schemeClr val="tx1">
              <a:lumMod val="75000"/>
              <a:lumOff val="25000"/>
            </a:schemeClr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>
            <a:noAutofit/>
          </a:bodyPr>
          <a:lstStyle/>
          <a:p>
            <a:r>
              <a:rPr lang="de-DE" sz="773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03/18</a:t>
            </a:r>
            <a:br>
              <a:rPr lang="de-DE" sz="773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de-DE" sz="773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Start </a:t>
            </a:r>
            <a:r>
              <a:rPr lang="de-DE" sz="773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ivil</a:t>
            </a:r>
            <a:r>
              <a:rPr lang="de-DE" sz="773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Works Area </a:t>
            </a:r>
            <a:r>
              <a:rPr lang="de-DE" sz="773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„North“</a:t>
            </a:r>
            <a:endParaRPr lang="de-DE" sz="773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E7A086F-8305-42DF-838D-E6BB5C18241B}"/>
              </a:ext>
            </a:extLst>
          </p:cNvPr>
          <p:cNvSpPr txBox="1"/>
          <p:nvPr/>
        </p:nvSpPr>
        <p:spPr>
          <a:xfrm>
            <a:off x="1771947" y="5348543"/>
            <a:ext cx="391454" cy="1680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492" i="1" dirty="0"/>
              <a:t>Note 1)</a:t>
            </a:r>
          </a:p>
        </p:txBody>
      </p:sp>
      <p:cxnSp>
        <p:nvCxnSpPr>
          <p:cNvPr id="164" name="Straight Connector 36">
            <a:extLst>
              <a:ext uri="{FF2B5EF4-FFF2-40B4-BE49-F238E27FC236}">
                <a16:creationId xmlns:a16="http://schemas.microsoft.com/office/drawing/2014/main" id="{47326772-8FED-450B-9195-86DCD2084409}"/>
              </a:ext>
            </a:extLst>
          </p:cNvPr>
          <p:cNvCxnSpPr>
            <a:cxnSpLocks/>
          </p:cNvCxnSpPr>
          <p:nvPr/>
        </p:nvCxnSpPr>
        <p:spPr>
          <a:xfrm>
            <a:off x="5997948" y="4529745"/>
            <a:ext cx="283485" cy="3893"/>
          </a:xfrm>
          <a:prstGeom prst="line">
            <a:avLst/>
          </a:prstGeom>
          <a:ln w="101600">
            <a:solidFill>
              <a:schemeClr val="accent5">
                <a:lumMod val="25000"/>
              </a:schemeClr>
            </a:solidFill>
            <a:headEnd type="oval" w="sm" len="sm"/>
            <a:tailEnd type="none" w="sm" len="sm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Connector 36">
            <a:extLst>
              <a:ext uri="{FF2B5EF4-FFF2-40B4-BE49-F238E27FC236}">
                <a16:creationId xmlns:a16="http://schemas.microsoft.com/office/drawing/2014/main" id="{47326772-8FED-450B-9195-86DCD2084409}"/>
              </a:ext>
            </a:extLst>
          </p:cNvPr>
          <p:cNvCxnSpPr>
            <a:cxnSpLocks/>
          </p:cNvCxnSpPr>
          <p:nvPr/>
        </p:nvCxnSpPr>
        <p:spPr>
          <a:xfrm>
            <a:off x="5983877" y="4838007"/>
            <a:ext cx="283065" cy="2844"/>
          </a:xfrm>
          <a:prstGeom prst="line">
            <a:avLst/>
          </a:prstGeom>
          <a:ln w="101600">
            <a:solidFill>
              <a:schemeClr val="accent5">
                <a:lumMod val="25000"/>
              </a:schemeClr>
            </a:solidFill>
            <a:headEnd type="oval" w="sm" len="sm"/>
            <a:tailEnd type="none" w="sm" len="sm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36">
            <a:extLst>
              <a:ext uri="{FF2B5EF4-FFF2-40B4-BE49-F238E27FC236}">
                <a16:creationId xmlns:a16="http://schemas.microsoft.com/office/drawing/2014/main" id="{47326772-8FED-450B-9195-86DCD2084409}"/>
              </a:ext>
            </a:extLst>
          </p:cNvPr>
          <p:cNvCxnSpPr>
            <a:cxnSpLocks/>
          </p:cNvCxnSpPr>
          <p:nvPr/>
        </p:nvCxnSpPr>
        <p:spPr>
          <a:xfrm flipV="1">
            <a:off x="5983877" y="5367606"/>
            <a:ext cx="297555" cy="1449"/>
          </a:xfrm>
          <a:prstGeom prst="line">
            <a:avLst/>
          </a:prstGeom>
          <a:ln w="101600">
            <a:solidFill>
              <a:schemeClr val="accent5">
                <a:lumMod val="25000"/>
              </a:schemeClr>
            </a:solidFill>
            <a:headEnd type="oval" w="sm" len="sm"/>
            <a:tailEnd type="none" w="sm" len="sm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itel 1"/>
          <p:cNvSpPr txBox="1">
            <a:spLocks/>
          </p:cNvSpPr>
          <p:nvPr/>
        </p:nvSpPr>
        <p:spPr>
          <a:xfrm>
            <a:off x="155921" y="30191"/>
            <a:ext cx="8605837" cy="77492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9pPr>
          </a:lstStyle>
          <a:p>
            <a:r>
              <a:rPr lang="en-US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FAIR Project Progress</a:t>
            </a:r>
          </a:p>
          <a:p>
            <a:r>
              <a:rPr lang="en-US" sz="200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Procurement and Contracting Status and Forecast 30.10.2018</a:t>
            </a:r>
            <a:endParaRPr lang="de-DE" sz="2000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nb-NO" smtClean="0"/>
              <a:t>Harald Hagelskamp - Fair Exp. &amp; Acc. 14.12.2018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44064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ieren 2"/>
          <p:cNvGrpSpPr/>
          <p:nvPr/>
        </p:nvGrpSpPr>
        <p:grpSpPr>
          <a:xfrm>
            <a:off x="120986" y="1041677"/>
            <a:ext cx="8830019" cy="5357563"/>
            <a:chOff x="111449" y="1052737"/>
            <a:chExt cx="8830019" cy="5357563"/>
          </a:xfrm>
        </p:grpSpPr>
        <p:sp>
          <p:nvSpPr>
            <p:cNvPr id="4" name="Rectangle 151"/>
            <p:cNvSpPr>
              <a:spLocks noChangeArrowheads="1"/>
            </p:cNvSpPr>
            <p:nvPr/>
          </p:nvSpPr>
          <p:spPr bwMode="gray">
            <a:xfrm>
              <a:off x="111451" y="1474081"/>
              <a:ext cx="8830017" cy="4936219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7D7D7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88000" tIns="0" rIns="0" bIns="0" anchor="ctr"/>
            <a:lstStyle/>
            <a:p>
              <a:pPr defTabSz="801688" eaLnBrk="0" hangingPunct="0">
                <a:defRPr/>
              </a:pPr>
              <a:endParaRPr lang="en-US" b="1" noProof="1">
                <a:solidFill>
                  <a:srgbClr val="000000"/>
                </a:solidFill>
                <a:ea typeface="ヒラギノ角ゴ ProN W3" charset="-128"/>
                <a:sym typeface="Arial" pitchFamily="34" charset="0"/>
              </a:endParaRPr>
            </a:p>
          </p:txBody>
        </p:sp>
        <p:sp>
          <p:nvSpPr>
            <p:cNvPr id="5" name="Rectangle 19"/>
            <p:cNvSpPr>
              <a:spLocks noChangeArrowheads="1"/>
            </p:cNvSpPr>
            <p:nvPr/>
          </p:nvSpPr>
          <p:spPr bwMode="gray">
            <a:xfrm>
              <a:off x="111449" y="1052737"/>
              <a:ext cx="8830017" cy="423211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7D7D7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88000" tIns="0" rIns="0" bIns="0" anchor="ctr"/>
            <a:lstStyle/>
            <a:p>
              <a:pPr defTabSz="801688" eaLnBrk="0" hangingPunct="0">
                <a:defRPr/>
              </a:pPr>
              <a:endParaRPr lang="en-US" sz="1600" b="1" noProof="1">
                <a:solidFill>
                  <a:srgbClr val="00599D"/>
                </a:solidFill>
                <a:latin typeface="Calibri" panose="020F0502020204030204" pitchFamily="34" charset="0"/>
                <a:sym typeface="Arial" pitchFamily="34" charset="0"/>
              </a:endParaRPr>
            </a:p>
          </p:txBody>
        </p:sp>
      </p:grpSp>
      <p:sp>
        <p:nvSpPr>
          <p:cNvPr id="6" name="Titel 1"/>
          <p:cNvSpPr txBox="1">
            <a:spLocks/>
          </p:cNvSpPr>
          <p:nvPr/>
        </p:nvSpPr>
        <p:spPr>
          <a:xfrm>
            <a:off x="287338" y="225425"/>
            <a:ext cx="8605837" cy="490538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9pPr>
          </a:lstStyle>
          <a:p>
            <a:r>
              <a:rPr lang="en-US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FAIR Project Progress – Civil Construction</a:t>
            </a:r>
            <a:br>
              <a:rPr lang="en-US" kern="0" dirty="0" smtClean="0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de-DE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Foliennummernplatzhalter 3"/>
          <p:cNvSpPr txBox="1">
            <a:spLocks/>
          </p:cNvSpPr>
          <p:nvPr/>
        </p:nvSpPr>
        <p:spPr bwMode="auto">
          <a:xfrm>
            <a:off x="8316913" y="6607175"/>
            <a:ext cx="728662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599D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B13E67DB-3F5A-400D-8115-4A6680BE68C1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  <p:sp>
        <p:nvSpPr>
          <p:cNvPr id="15" name="Rechteck 14"/>
          <p:cNvSpPr/>
          <p:nvPr/>
        </p:nvSpPr>
        <p:spPr>
          <a:xfrm>
            <a:off x="467544" y="1104749"/>
            <a:ext cx="524983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>
                <a:solidFill>
                  <a:srgbClr val="00599D"/>
                </a:solidFill>
                <a:latin typeface="Calibri" panose="020F0502020204030204" pitchFamily="34" charset="0"/>
              </a:rPr>
              <a:t>Completion of interface works between GSI and FAIR </a:t>
            </a:r>
            <a:endParaRPr lang="de-DE" dirty="0">
              <a:solidFill>
                <a:srgbClr val="00599D"/>
              </a:solidFill>
              <a:latin typeface="Calibri" panose="020F0502020204030204" pitchFamily="34" charset="0"/>
            </a:endParaRPr>
          </a:p>
        </p:txBody>
      </p:sp>
      <p:sp>
        <p:nvSpPr>
          <p:cNvPr id="17" name="Textfeld 16"/>
          <p:cNvSpPr txBox="1"/>
          <p:nvPr/>
        </p:nvSpPr>
        <p:spPr bwMode="auto">
          <a:xfrm>
            <a:off x="4125982" y="5708132"/>
            <a:ext cx="4694490" cy="6911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6800" tIns="90000" rIns="468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e-DE" kern="0" dirty="0" smtClean="0">
              <a:latin typeface="Calibri" panose="020F0502020204030204" pitchFamily="34" charset="0"/>
            </a:endParaRPr>
          </a:p>
        </p:txBody>
      </p:sp>
      <p:sp>
        <p:nvSpPr>
          <p:cNvPr id="14" name="Fußzeilenplatzhalter 1"/>
          <p:cNvSpPr txBox="1">
            <a:spLocks/>
          </p:cNvSpPr>
          <p:nvPr/>
        </p:nvSpPr>
        <p:spPr>
          <a:xfrm>
            <a:off x="96034" y="6597352"/>
            <a:ext cx="4392613" cy="250825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nb-NO" sz="1200" dirty="0">
                <a:solidFill>
                  <a:srgbClr val="0070C0"/>
                </a:solidFill>
              </a:rPr>
              <a:t>Harald Hagelskamp - Fair Exp. &amp; Acc. 14.12.2018</a:t>
            </a:r>
            <a:endParaRPr lang="de-DE" sz="1200" dirty="0">
              <a:solidFill>
                <a:srgbClr val="0070C0"/>
              </a:solidFill>
            </a:endParaRP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6966" y="2086584"/>
            <a:ext cx="8485529" cy="3582614"/>
          </a:xfrm>
          <a:prstGeom prst="rect">
            <a:avLst/>
          </a:prstGeom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66817179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ieren 2"/>
          <p:cNvGrpSpPr/>
          <p:nvPr/>
        </p:nvGrpSpPr>
        <p:grpSpPr>
          <a:xfrm>
            <a:off x="120986" y="1041677"/>
            <a:ext cx="8830019" cy="5357563"/>
            <a:chOff x="111449" y="1052737"/>
            <a:chExt cx="8830019" cy="5357563"/>
          </a:xfrm>
        </p:grpSpPr>
        <p:sp>
          <p:nvSpPr>
            <p:cNvPr id="4" name="Rectangle 151"/>
            <p:cNvSpPr>
              <a:spLocks noChangeArrowheads="1"/>
            </p:cNvSpPr>
            <p:nvPr/>
          </p:nvSpPr>
          <p:spPr bwMode="gray">
            <a:xfrm>
              <a:off x="111451" y="1474081"/>
              <a:ext cx="8830017" cy="4936219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7D7D7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88000" tIns="0" rIns="0" bIns="0" anchor="ctr"/>
            <a:lstStyle/>
            <a:p>
              <a:pPr defTabSz="801688" eaLnBrk="0" hangingPunct="0">
                <a:defRPr/>
              </a:pPr>
              <a:endParaRPr lang="en-US" b="1" noProof="1">
                <a:solidFill>
                  <a:srgbClr val="000000"/>
                </a:solidFill>
                <a:ea typeface="ヒラギノ角ゴ ProN W3" charset="-128"/>
                <a:sym typeface="Arial" pitchFamily="34" charset="0"/>
              </a:endParaRPr>
            </a:p>
          </p:txBody>
        </p:sp>
        <p:sp>
          <p:nvSpPr>
            <p:cNvPr id="5" name="Rectangle 19"/>
            <p:cNvSpPr>
              <a:spLocks noChangeArrowheads="1"/>
            </p:cNvSpPr>
            <p:nvPr/>
          </p:nvSpPr>
          <p:spPr bwMode="gray">
            <a:xfrm>
              <a:off x="111449" y="1052737"/>
              <a:ext cx="8830017" cy="423211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7D7D7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88000" tIns="0" rIns="0" bIns="0" anchor="ctr"/>
            <a:lstStyle/>
            <a:p>
              <a:pPr defTabSz="801688" eaLnBrk="0" hangingPunct="0">
                <a:defRPr/>
              </a:pPr>
              <a:endParaRPr lang="en-US" sz="1600" b="1" noProof="1">
                <a:solidFill>
                  <a:srgbClr val="00599D"/>
                </a:solidFill>
                <a:latin typeface="Calibri" panose="020F0502020204030204" pitchFamily="34" charset="0"/>
                <a:sym typeface="Arial" pitchFamily="34" charset="0"/>
              </a:endParaRPr>
            </a:p>
          </p:txBody>
        </p:sp>
      </p:grpSp>
      <p:sp>
        <p:nvSpPr>
          <p:cNvPr id="6" name="Titel 1"/>
          <p:cNvSpPr txBox="1">
            <a:spLocks/>
          </p:cNvSpPr>
          <p:nvPr/>
        </p:nvSpPr>
        <p:spPr>
          <a:xfrm>
            <a:off x="287338" y="225425"/>
            <a:ext cx="8605837" cy="490538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9pPr>
          </a:lstStyle>
          <a:p>
            <a:r>
              <a:rPr lang="en-US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FAIR Project Progress – Civil Construction</a:t>
            </a:r>
            <a:br>
              <a:rPr lang="en-US" kern="0" dirty="0" smtClean="0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de-DE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Foliennummernplatzhalter 3"/>
          <p:cNvSpPr txBox="1">
            <a:spLocks/>
          </p:cNvSpPr>
          <p:nvPr/>
        </p:nvSpPr>
        <p:spPr bwMode="auto">
          <a:xfrm>
            <a:off x="8316913" y="6607175"/>
            <a:ext cx="728662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599D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B13E67DB-3F5A-400D-8115-4A6680BE68C1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  <p:sp>
        <p:nvSpPr>
          <p:cNvPr id="15" name="Rechteck 14"/>
          <p:cNvSpPr/>
          <p:nvPr/>
        </p:nvSpPr>
        <p:spPr>
          <a:xfrm>
            <a:off x="467544" y="1104749"/>
            <a:ext cx="429771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599D"/>
                </a:solidFill>
                <a:latin typeface="Calibri" panose="020F0502020204030204" pitchFamily="34" charset="0"/>
              </a:rPr>
              <a:t>Excavation Pit 1 A</a:t>
            </a:r>
            <a:r>
              <a:rPr lang="en-US" dirty="0" smtClean="0">
                <a:solidFill>
                  <a:srgbClr val="00599D"/>
                </a:solidFill>
                <a:latin typeface="Calibri" panose="020F0502020204030204" pitchFamily="34" charset="0"/>
              </a:rPr>
              <a:t>rea North – SIS 100 Tunnel</a:t>
            </a:r>
            <a:endParaRPr lang="de-DE" dirty="0">
              <a:solidFill>
                <a:srgbClr val="00599D"/>
              </a:solidFill>
              <a:latin typeface="Calibri" panose="020F0502020204030204" pitchFamily="34" charset="0"/>
            </a:endParaRPr>
          </a:p>
        </p:txBody>
      </p:sp>
      <p:sp>
        <p:nvSpPr>
          <p:cNvPr id="16" name="Textfeld 15"/>
          <p:cNvSpPr txBox="1"/>
          <p:nvPr/>
        </p:nvSpPr>
        <p:spPr bwMode="auto">
          <a:xfrm>
            <a:off x="347507" y="1731397"/>
            <a:ext cx="5520637" cy="6997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6800" tIns="90000" rIns="468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53988" indent="-153988">
              <a:buFont typeface="Arial" panose="020B0604020202020204" pitchFamily="34" charset="0"/>
              <a:buChar char="•"/>
            </a:pPr>
            <a:r>
              <a:rPr lang="en-US" sz="1600" kern="0" dirty="0" smtClean="0">
                <a:solidFill>
                  <a:srgbClr val="00599D"/>
                </a:solidFill>
                <a:latin typeface="Calibri" panose="020F0502020204030204" pitchFamily="34" charset="0"/>
              </a:rPr>
              <a:t>Concrete works of 1</a:t>
            </a:r>
            <a:r>
              <a:rPr lang="en-US" sz="1600" kern="0" baseline="300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st</a:t>
            </a:r>
            <a:r>
              <a:rPr lang="en-US" sz="1600" kern="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section tunnel walls – 9</a:t>
            </a:r>
            <a:r>
              <a:rPr lang="en-US" sz="1600" kern="0" baseline="30000" dirty="0" smtClean="0">
                <a:solidFill>
                  <a:srgbClr val="00599D"/>
                </a:solidFill>
                <a:latin typeface="Calibri" panose="020F0502020204030204" pitchFamily="34" charset="0"/>
              </a:rPr>
              <a:t>th</a:t>
            </a:r>
            <a:r>
              <a:rPr lang="en-US" sz="1600" kern="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Novembe</a:t>
            </a:r>
            <a:r>
              <a:rPr lang="en-US" sz="1600" kern="0" dirty="0">
                <a:solidFill>
                  <a:srgbClr val="00599D"/>
                </a:solidFill>
                <a:latin typeface="Calibri" panose="020F0502020204030204" pitchFamily="34" charset="0"/>
              </a:rPr>
              <a:t>r</a:t>
            </a:r>
            <a:r>
              <a:rPr lang="en-US" sz="1600" kern="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2018</a:t>
            </a:r>
          </a:p>
          <a:p>
            <a:pPr marL="153988" indent="-153988">
              <a:buFont typeface="Arial" panose="020B0604020202020204" pitchFamily="34" charset="0"/>
              <a:buChar char="•"/>
            </a:pPr>
            <a:r>
              <a:rPr lang="de-DE" sz="1600" kern="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Preparation</a:t>
            </a:r>
            <a:r>
              <a:rPr lang="de-DE" sz="1600" kern="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kern="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of</a:t>
            </a:r>
            <a:r>
              <a:rPr lang="de-DE" sz="1600" kern="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kern="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formworks</a:t>
            </a:r>
            <a:r>
              <a:rPr lang="de-DE" sz="1600" kern="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kern="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for</a:t>
            </a:r>
            <a:r>
              <a:rPr lang="de-DE" sz="1600" kern="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kern="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the</a:t>
            </a:r>
            <a:r>
              <a:rPr lang="de-DE" sz="1600" kern="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kern="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tunnel</a:t>
            </a:r>
            <a:r>
              <a:rPr lang="de-DE" sz="1600" kern="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kern="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roof</a:t>
            </a:r>
            <a:endParaRPr lang="de-DE" sz="1600" kern="0" dirty="0">
              <a:solidFill>
                <a:srgbClr val="00599D"/>
              </a:solidFill>
              <a:latin typeface="Calibri" panose="020F0502020204030204" pitchFamily="34" charset="0"/>
            </a:endParaRPr>
          </a:p>
        </p:txBody>
      </p:sp>
      <p:sp>
        <p:nvSpPr>
          <p:cNvPr id="17" name="Textfeld 16"/>
          <p:cNvSpPr txBox="1"/>
          <p:nvPr/>
        </p:nvSpPr>
        <p:spPr bwMode="auto">
          <a:xfrm>
            <a:off x="4125982" y="5708132"/>
            <a:ext cx="4694490" cy="6911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6800" tIns="90000" rIns="468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de-DE" kern="0" dirty="0" smtClean="0">
              <a:latin typeface="Calibri" panose="020F0502020204030204" pitchFamily="34" charset="0"/>
            </a:endParaRPr>
          </a:p>
        </p:txBody>
      </p:sp>
      <p:sp>
        <p:nvSpPr>
          <p:cNvPr id="14" name="Fußzeilenplatzhalter 1"/>
          <p:cNvSpPr txBox="1">
            <a:spLocks/>
          </p:cNvSpPr>
          <p:nvPr/>
        </p:nvSpPr>
        <p:spPr>
          <a:xfrm>
            <a:off x="96034" y="6597352"/>
            <a:ext cx="4392613" cy="250825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nb-NO" sz="1200" dirty="0">
                <a:solidFill>
                  <a:srgbClr val="0070C0"/>
                </a:solidFill>
              </a:rPr>
              <a:t>Harald Hagelskamp - Fair Exp. &amp; Acc. 14.12.2018</a:t>
            </a:r>
            <a:endParaRPr lang="de-DE" sz="1200" dirty="0">
              <a:solidFill>
                <a:srgbClr val="0070C0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2472" y="3607643"/>
            <a:ext cx="4608000" cy="2592000"/>
          </a:xfrm>
          <a:prstGeom prst="rect">
            <a:avLst/>
          </a:prstGeom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268" y="2492896"/>
            <a:ext cx="4608511" cy="2592288"/>
          </a:xfrm>
          <a:prstGeom prst="rect">
            <a:avLst/>
          </a:prstGeom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9" name="Textfeld 18"/>
          <p:cNvSpPr txBox="1"/>
          <p:nvPr/>
        </p:nvSpPr>
        <p:spPr bwMode="auto">
          <a:xfrm>
            <a:off x="5025456" y="2981519"/>
            <a:ext cx="3707483" cy="6997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6800" tIns="90000" rIns="46800" bIns="90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53988" indent="-153988">
              <a:buFont typeface="Arial" panose="020B0604020202020204" pitchFamily="34" charset="0"/>
              <a:buChar char="•"/>
            </a:pPr>
            <a:r>
              <a:rPr lang="de-DE" sz="1600" kern="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Concrete</a:t>
            </a:r>
            <a:r>
              <a:rPr lang="de-DE" sz="1600" kern="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kern="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works</a:t>
            </a:r>
            <a:r>
              <a:rPr lang="de-DE" sz="1600" kern="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kern="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preparation</a:t>
            </a:r>
            <a:r>
              <a:rPr lang="de-DE" sz="1600" kern="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kern="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for</a:t>
            </a:r>
            <a:r>
              <a:rPr lang="de-DE" sz="1600" kern="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kern="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the</a:t>
            </a:r>
            <a:r>
              <a:rPr lang="de-DE" sz="1600" kern="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kern="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next</a:t>
            </a:r>
            <a:r>
              <a:rPr lang="de-DE" sz="1600" kern="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kern="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foundation</a:t>
            </a:r>
            <a:r>
              <a:rPr lang="de-DE" sz="1600" kern="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kern="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slab</a:t>
            </a:r>
            <a:r>
              <a:rPr lang="de-DE" sz="1600" kern="0" dirty="0" smtClean="0">
                <a:solidFill>
                  <a:srgbClr val="00599D"/>
                </a:solidFill>
                <a:latin typeface="Calibri" panose="020F0502020204030204" pitchFamily="34" charset="0"/>
              </a:rPr>
              <a:t> </a:t>
            </a:r>
            <a:r>
              <a:rPr lang="de-DE" sz="1600" kern="0" dirty="0" err="1" smtClean="0">
                <a:solidFill>
                  <a:srgbClr val="00599D"/>
                </a:solidFill>
                <a:latin typeface="Calibri" panose="020F0502020204030204" pitchFamily="34" charset="0"/>
              </a:rPr>
              <a:t>sections</a:t>
            </a:r>
            <a:endParaRPr lang="de-DE" sz="1600" kern="0" dirty="0">
              <a:solidFill>
                <a:srgbClr val="00599D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562091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ieren 2"/>
          <p:cNvGrpSpPr/>
          <p:nvPr/>
        </p:nvGrpSpPr>
        <p:grpSpPr>
          <a:xfrm>
            <a:off x="111449" y="1052737"/>
            <a:ext cx="8830019" cy="5357563"/>
            <a:chOff x="111449" y="1052737"/>
            <a:chExt cx="8830019" cy="5357563"/>
          </a:xfrm>
        </p:grpSpPr>
        <p:sp>
          <p:nvSpPr>
            <p:cNvPr id="4" name="Rectangle 151"/>
            <p:cNvSpPr>
              <a:spLocks noChangeArrowheads="1"/>
            </p:cNvSpPr>
            <p:nvPr/>
          </p:nvSpPr>
          <p:spPr bwMode="gray">
            <a:xfrm>
              <a:off x="111451" y="1474081"/>
              <a:ext cx="8830017" cy="4936219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7D7D7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88000" tIns="0" rIns="0" bIns="0" anchor="ctr"/>
            <a:lstStyle/>
            <a:p>
              <a:pPr defTabSz="801688" eaLnBrk="0" hangingPunct="0">
                <a:defRPr/>
              </a:pPr>
              <a:endParaRPr lang="en-US" b="1" noProof="1">
                <a:solidFill>
                  <a:srgbClr val="000000"/>
                </a:solidFill>
                <a:ea typeface="ヒラギノ角ゴ ProN W3" charset="-128"/>
                <a:sym typeface="Arial" pitchFamily="34" charset="0"/>
              </a:endParaRPr>
            </a:p>
          </p:txBody>
        </p:sp>
        <p:sp>
          <p:nvSpPr>
            <p:cNvPr id="5" name="Rectangle 19"/>
            <p:cNvSpPr>
              <a:spLocks noChangeArrowheads="1"/>
            </p:cNvSpPr>
            <p:nvPr/>
          </p:nvSpPr>
          <p:spPr bwMode="gray">
            <a:xfrm>
              <a:off x="111449" y="1052737"/>
              <a:ext cx="8830017" cy="423211"/>
            </a:xfrm>
            <a:prstGeom prst="rect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7D7D7"/>
                </a:gs>
              </a:gsLst>
              <a:lin ang="5400000" scaled="1"/>
            </a:gradFill>
            <a:ln w="12700" algn="ctr">
              <a:solidFill>
                <a:srgbClr val="C0C0C0"/>
              </a:solidFill>
              <a:miter lim="800000"/>
              <a:headEnd/>
              <a:tailEnd/>
            </a:ln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288000" tIns="0" rIns="0" bIns="0" anchor="ctr"/>
            <a:lstStyle/>
            <a:p>
              <a:pPr defTabSz="801688" eaLnBrk="0" hangingPunct="0">
                <a:defRPr/>
              </a:pPr>
              <a:endParaRPr lang="en-US" sz="1600" b="1" noProof="1">
                <a:solidFill>
                  <a:srgbClr val="00599D"/>
                </a:solidFill>
                <a:latin typeface="Calibri" panose="020F0502020204030204" pitchFamily="34" charset="0"/>
                <a:sym typeface="Arial" pitchFamily="34" charset="0"/>
              </a:endParaRPr>
            </a:p>
          </p:txBody>
        </p:sp>
      </p:grpSp>
      <p:sp>
        <p:nvSpPr>
          <p:cNvPr id="6" name="Titel 1"/>
          <p:cNvSpPr txBox="1">
            <a:spLocks/>
          </p:cNvSpPr>
          <p:nvPr/>
        </p:nvSpPr>
        <p:spPr>
          <a:xfrm>
            <a:off x="287338" y="225425"/>
            <a:ext cx="8605837" cy="490538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9pPr>
          </a:lstStyle>
          <a:p>
            <a:r>
              <a:rPr lang="en-US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FAIR Project Progress – Civil Construction</a:t>
            </a:r>
            <a:br>
              <a:rPr lang="en-US" kern="0" dirty="0" smtClean="0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de-DE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Foliennummernplatzhalter 3"/>
          <p:cNvSpPr txBox="1">
            <a:spLocks/>
          </p:cNvSpPr>
          <p:nvPr/>
        </p:nvSpPr>
        <p:spPr bwMode="auto">
          <a:xfrm>
            <a:off x="8316913" y="6607175"/>
            <a:ext cx="728662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599D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B13E67DB-3F5A-400D-8115-4A6680BE68C1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  <p:sp>
        <p:nvSpPr>
          <p:cNvPr id="12" name="Rechteck 11"/>
          <p:cNvSpPr/>
          <p:nvPr/>
        </p:nvSpPr>
        <p:spPr>
          <a:xfrm>
            <a:off x="467544" y="1104749"/>
            <a:ext cx="331667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0599D"/>
                </a:solidFill>
                <a:latin typeface="Calibri" panose="020F0502020204030204" pitchFamily="34" charset="0"/>
              </a:rPr>
              <a:t>Excavation Pit </a:t>
            </a:r>
            <a:r>
              <a:rPr lang="en-US" dirty="0" smtClean="0">
                <a:solidFill>
                  <a:srgbClr val="00599D"/>
                </a:solidFill>
                <a:latin typeface="Calibri" panose="020F0502020204030204" pitchFamily="34" charset="0"/>
              </a:rPr>
              <a:t>2 and 3 Area </a:t>
            </a:r>
            <a:r>
              <a:rPr lang="en-US" dirty="0">
                <a:solidFill>
                  <a:srgbClr val="00599D"/>
                </a:solidFill>
                <a:latin typeface="Calibri" panose="020F0502020204030204" pitchFamily="34" charset="0"/>
              </a:rPr>
              <a:t>N</a:t>
            </a:r>
            <a:r>
              <a:rPr lang="en-US" dirty="0" smtClean="0">
                <a:solidFill>
                  <a:srgbClr val="00599D"/>
                </a:solidFill>
                <a:latin typeface="Calibri" panose="020F0502020204030204" pitchFamily="34" charset="0"/>
              </a:rPr>
              <a:t>orth</a:t>
            </a:r>
            <a:endParaRPr lang="de-DE" dirty="0">
              <a:solidFill>
                <a:srgbClr val="00599D"/>
              </a:solidFill>
              <a:latin typeface="Calibri" panose="020F0502020204030204" pitchFamily="34" charset="0"/>
            </a:endParaRPr>
          </a:p>
        </p:txBody>
      </p:sp>
      <p:sp>
        <p:nvSpPr>
          <p:cNvPr id="14" name="Fußzeilenplatzhalter 1"/>
          <p:cNvSpPr txBox="1">
            <a:spLocks/>
          </p:cNvSpPr>
          <p:nvPr/>
        </p:nvSpPr>
        <p:spPr>
          <a:xfrm>
            <a:off x="96034" y="6597352"/>
            <a:ext cx="4392613" cy="250825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nb-NO" sz="1200" dirty="0">
                <a:solidFill>
                  <a:srgbClr val="0070C0"/>
                </a:solidFill>
              </a:rPr>
              <a:t>Harald Hagelskamp - Fair Exp. &amp; Acc. 14.12.2018</a:t>
            </a:r>
            <a:endParaRPr lang="de-DE" sz="1200" dirty="0">
              <a:solidFill>
                <a:srgbClr val="0070C0"/>
              </a:solidFill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7615" y="2138198"/>
            <a:ext cx="8545281" cy="3575369"/>
          </a:xfrm>
          <a:prstGeom prst="rect">
            <a:avLst/>
          </a:prstGeom>
          <a:ln w="63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3224950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Aj.UgDSzWCQel805qN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7cEiRDTaWO56.esM3g2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17323;28.34646;28.34645;42.51968;42.51968;56.69291;"/>
  <p:tag name="VCT-BULLETVISIBILITY" val="G ****"/>
  <p:tag name="VCTCREATESHAPEHANDLED" val="0"/>
</p:tagLst>
</file>

<file path=ppt/theme/theme1.xml><?xml version="1.0" encoding="utf-8"?>
<a:theme xmlns:a="http://schemas.openxmlformats.org/drawingml/2006/main" name="FAIR_Theme">
  <a:themeElements>
    <a:clrScheme name="Benutzerdefiniertes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enutzerdefiniertes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enutzerdefiniertes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emplate_Presentation.pot [Compatibility Mode]" id="{266B1E99-A49A-4E63-903B-65721F5398E6}" vid="{F629DFE5-5A45-4C50-A193-8FF27B90B390}"/>
    </a:ext>
  </a:ext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_FAIR_Power_Point</Template>
  <TotalTime>0</TotalTime>
  <Words>1847</Words>
  <Application>Microsoft Office PowerPoint</Application>
  <PresentationFormat>Bildschirmpräsentation (4:3)</PresentationFormat>
  <Paragraphs>432</Paragraphs>
  <Slides>26</Slides>
  <Notes>6</Notes>
  <HiddenSlides>3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6</vt:i4>
      </vt:variant>
    </vt:vector>
  </HeadingPairs>
  <TitlesOfParts>
    <vt:vector size="36" baseType="lpstr">
      <vt:lpstr>Arial</vt:lpstr>
      <vt:lpstr>Arial Narrow</vt:lpstr>
      <vt:lpstr>Calibri</vt:lpstr>
      <vt:lpstr>Courier New</vt:lpstr>
      <vt:lpstr>Gulim</vt:lpstr>
      <vt:lpstr>Times New Roman</vt:lpstr>
      <vt:lpstr>Wingdings</vt:lpstr>
      <vt:lpstr>ヒラギノ角ゴ ProN W3</vt:lpstr>
      <vt:lpstr>FAIR_Theme</vt:lpstr>
      <vt:lpstr>think-cell Folie</vt:lpstr>
      <vt:lpstr>FAIR Experiments &amp; Accelerator – 14st Dec. 2018 FAIR – Construction &amp; Install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Site Management  Interface Coordination</vt:lpstr>
      <vt:lpstr>PowerPoint-Präsentation</vt:lpstr>
      <vt:lpstr>Site Management  Interface Coordination</vt:lpstr>
      <vt:lpstr>PowerPoint-Präsentation</vt:lpstr>
      <vt:lpstr>Site Management  Interface Coordination</vt:lpstr>
      <vt:lpstr>Site Management Installation Team</vt:lpstr>
      <vt:lpstr>PowerPoint-Präsentation</vt:lpstr>
      <vt:lpstr>PowerPoint-Präsentation</vt:lpstr>
      <vt:lpstr>Site Management  Logistics and Warehousing of Accelerator Components   </vt:lpstr>
      <vt:lpstr>PowerPoint-Präsentation</vt:lpstr>
      <vt:lpstr>PowerPoint-Präsentation</vt:lpstr>
      <vt:lpstr>Site Management  External Logistics</vt:lpstr>
      <vt:lpstr>PowerPoint-Präsentation</vt:lpstr>
      <vt:lpstr>PowerPoint-Präsentation</vt:lpstr>
    </vt:vector>
  </TitlesOfParts>
  <Company>GSI Helmholzzentrum für Schwerionenforschung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Herberz, Ruth</dc:creator>
  <cp:lastModifiedBy>Hagelskamp, Harald</cp:lastModifiedBy>
  <cp:revision>1463</cp:revision>
  <cp:lastPrinted>2018-10-16T12:45:20Z</cp:lastPrinted>
  <dcterms:created xsi:type="dcterms:W3CDTF">2012-03-26T12:03:48Z</dcterms:created>
  <dcterms:modified xsi:type="dcterms:W3CDTF">2018-12-14T11:06:44Z</dcterms:modified>
</cp:coreProperties>
</file>